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7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8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1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2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13.xml" ContentType="application/vnd.openxmlformats-officedocument.them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theme/theme15.xml" ContentType="application/vnd.openxmlformats-officedocument.theme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37" r:id="rId2"/>
    <p:sldMasterId id="2147483751" r:id="rId3"/>
    <p:sldMasterId id="2147483837" r:id="rId4"/>
    <p:sldMasterId id="2147483850" r:id="rId5"/>
    <p:sldMasterId id="2147483865" r:id="rId6"/>
    <p:sldMasterId id="2147483931" r:id="rId7"/>
    <p:sldMasterId id="2147483964" r:id="rId8"/>
    <p:sldMasterId id="2147483970" r:id="rId9"/>
    <p:sldMasterId id="2147483983" r:id="rId10"/>
    <p:sldMasterId id="2147483997" r:id="rId11"/>
    <p:sldMasterId id="2147484032" r:id="rId12"/>
    <p:sldMasterId id="2147484040" r:id="rId13"/>
    <p:sldMasterId id="2147484067" r:id="rId14"/>
    <p:sldMasterId id="2147484082" r:id="rId15"/>
    <p:sldMasterId id="2147484109" r:id="rId16"/>
  </p:sldMasterIdLst>
  <p:notesMasterIdLst>
    <p:notesMasterId r:id="rId54"/>
  </p:notesMasterIdLst>
  <p:sldIdLst>
    <p:sldId id="2783" r:id="rId17"/>
    <p:sldId id="2147377567" r:id="rId18"/>
    <p:sldId id="2147377607" r:id="rId19"/>
    <p:sldId id="2147377874" r:id="rId20"/>
    <p:sldId id="838" r:id="rId21"/>
    <p:sldId id="2147377564" r:id="rId22"/>
    <p:sldId id="2147377562" r:id="rId23"/>
    <p:sldId id="2789" r:id="rId24"/>
    <p:sldId id="2785" r:id="rId25"/>
    <p:sldId id="271" r:id="rId26"/>
    <p:sldId id="303" r:id="rId27"/>
    <p:sldId id="2824" r:id="rId28"/>
    <p:sldId id="2812" r:id="rId29"/>
    <p:sldId id="2147377869" r:id="rId30"/>
    <p:sldId id="2147377870" r:id="rId31"/>
    <p:sldId id="2817" r:id="rId32"/>
    <p:sldId id="2147377871" r:id="rId33"/>
    <p:sldId id="2815" r:id="rId34"/>
    <p:sldId id="2752" r:id="rId35"/>
    <p:sldId id="2779" r:id="rId36"/>
    <p:sldId id="2780" r:id="rId37"/>
    <p:sldId id="2781" r:id="rId38"/>
    <p:sldId id="2782" r:id="rId39"/>
    <p:sldId id="2753" r:id="rId40"/>
    <p:sldId id="2147377872" r:id="rId41"/>
    <p:sldId id="2757" r:id="rId42"/>
    <p:sldId id="2756" r:id="rId43"/>
    <p:sldId id="2755" r:id="rId44"/>
    <p:sldId id="2147377873" r:id="rId45"/>
    <p:sldId id="2761" r:id="rId46"/>
    <p:sldId id="2147377563" r:id="rId47"/>
    <p:sldId id="2776" r:id="rId48"/>
    <p:sldId id="259" r:id="rId49"/>
    <p:sldId id="2715" r:id="rId50"/>
    <p:sldId id="263" r:id="rId51"/>
    <p:sldId id="2819" r:id="rId52"/>
    <p:sldId id="2809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8" userDrawn="1">
          <p15:clr>
            <a:srgbClr val="A4A3A4"/>
          </p15:clr>
        </p15:guide>
        <p15:guide id="3" pos="384" userDrawn="1">
          <p15:clr>
            <a:srgbClr val="A4A3A4"/>
          </p15:clr>
        </p15:guide>
        <p15:guide id="4" pos="7320" userDrawn="1">
          <p15:clr>
            <a:srgbClr val="A4A3A4"/>
          </p15:clr>
        </p15:guide>
        <p15:guide id="5" orient="horz" pos="43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912"/>
    <a:srgbClr val="1D3166"/>
    <a:srgbClr val="243D81"/>
    <a:srgbClr val="FEB813"/>
    <a:srgbClr val="979DAC"/>
    <a:srgbClr val="7D8597"/>
    <a:srgbClr val="1E3267"/>
    <a:srgbClr val="33415C"/>
    <a:srgbClr val="03478B"/>
    <a:srgbClr val="0466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DE73AD-45D9-A24F-A76D-445426AFCBAC}" v="23" dt="2025-07-16T04:36:59.8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892" autoAdjust="0"/>
    <p:restoredTop sz="96197"/>
  </p:normalViewPr>
  <p:slideViewPr>
    <p:cSldViewPr snapToGrid="0">
      <p:cViewPr>
        <p:scale>
          <a:sx n="126" d="100"/>
          <a:sy n="126" d="100"/>
        </p:scale>
        <p:origin x="144" y="-1280"/>
      </p:cViewPr>
      <p:guideLst>
        <p:guide orient="horz" pos="3888"/>
        <p:guide pos="384"/>
        <p:guide pos="7320"/>
        <p:guide orient="horz" pos="43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slide" Target="slides/slide23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slide" Target="slides/slide26.xml"/><Relationship Id="rId47" Type="http://schemas.openxmlformats.org/officeDocument/2006/relationships/slide" Target="slides/slide31.xml"/><Relationship Id="rId50" Type="http://schemas.openxmlformats.org/officeDocument/2006/relationships/slide" Target="slides/slide34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3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40" Type="http://schemas.openxmlformats.org/officeDocument/2006/relationships/slide" Target="slides/slide24.xml"/><Relationship Id="rId45" Type="http://schemas.openxmlformats.org/officeDocument/2006/relationships/slide" Target="slides/slide29.xml"/><Relationship Id="rId53" Type="http://schemas.openxmlformats.org/officeDocument/2006/relationships/slide" Target="slides/slide37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slide" Target="slides/slide27.xml"/><Relationship Id="rId48" Type="http://schemas.openxmlformats.org/officeDocument/2006/relationships/slide" Target="slides/slide32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Relationship Id="rId46" Type="http://schemas.openxmlformats.org/officeDocument/2006/relationships/slide" Target="slides/slide30.xml"/><Relationship Id="rId59" Type="http://schemas.microsoft.com/office/2015/10/relationships/revisionInfo" Target="revisionInfo.xml"/><Relationship Id="rId20" Type="http://schemas.openxmlformats.org/officeDocument/2006/relationships/slide" Target="slides/slide4.xml"/><Relationship Id="rId41" Type="http://schemas.openxmlformats.org/officeDocument/2006/relationships/slide" Target="slides/slide25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49" Type="http://schemas.openxmlformats.org/officeDocument/2006/relationships/slide" Target="slides/slide33.xml"/><Relationship Id="rId57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5.xml"/><Relationship Id="rId44" Type="http://schemas.openxmlformats.org/officeDocument/2006/relationships/slide" Target="slides/slide28.xml"/><Relationship Id="rId52" Type="http://schemas.openxmlformats.org/officeDocument/2006/relationships/slide" Target="slides/slide3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F46759-CFF2-4450-B2C6-D86188733A0A}" type="datetimeFigureOut">
              <a:rPr lang="en-ID" smtClean="0"/>
              <a:t>16/07/25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1B707F-C521-495F-8261-6A0F85E6438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370451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ctgrhm?utm_source=unsplash&amp;utm_medium=referral&amp;utm_content=creditCopyText" TargetMode="External"/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writing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ctgrhm?utm_source=unsplash&amp;utm_medium=referral&amp;utm_content=creditCopyTex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writing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kobuagency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unsplash.com/s/photos/meeting?utm_source=unsplash&amp;utm_medium=referral&amp;utm_content=creditCopyText" TargetMode="External"/><Relationship Id="rId4" Type="http://schemas.openxmlformats.org/officeDocument/2006/relationships/hyperlink" Target="https://unsplash.com/@austindistel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1604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B707F-C521-495F-8261-6A0F85E64386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39549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B707F-C521-495F-8261-6A0F85E64386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6901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engesahan</a:t>
            </a:r>
            <a:r>
              <a:rPr lang="en-US" dirty="0"/>
              <a:t> </a:t>
            </a:r>
            <a:r>
              <a:rPr lang="en-US" dirty="0" err="1"/>
              <a:t>atau</a:t>
            </a:r>
            <a:r>
              <a:rPr lang="en-US" dirty="0"/>
              <a:t> </a:t>
            </a:r>
            <a:r>
              <a:rPr lang="en-US" dirty="0" err="1"/>
              <a:t>persetujuan</a:t>
            </a:r>
            <a:r>
              <a:rPr lang="en-US" dirty="0"/>
              <a:t> </a:t>
            </a:r>
            <a:r>
              <a:rPr lang="en-US" dirty="0" err="1"/>
              <a:t>atas</a:t>
            </a:r>
            <a:r>
              <a:rPr lang="en-US" dirty="0"/>
              <a:t> </a:t>
            </a:r>
          </a:p>
          <a:p>
            <a:r>
              <a:rPr lang="en-ID" dirty="0">
                <a:effectLst/>
                <a:latin typeface="Helvetica" pitchFamily="2" charset="0"/>
              </a:rPr>
              <a:t>a. </a:t>
            </a:r>
            <a:r>
              <a:rPr lang="en-ID" dirty="0" err="1">
                <a:effectLst/>
                <a:latin typeface="Helvetica" pitchFamily="2" charset="0"/>
              </a:rPr>
              <a:t>hasil</a:t>
            </a:r>
            <a:r>
              <a:rPr lang="en-ID" dirty="0">
                <a:effectLst/>
                <a:latin typeface="Helvetica" pitchFamily="2" charset="0"/>
              </a:rPr>
              <a:t> </a:t>
            </a:r>
            <a:r>
              <a:rPr lang="en-ID" dirty="0" err="1">
                <a:effectLst/>
                <a:latin typeface="Helvetica" pitchFamily="2" charset="0"/>
              </a:rPr>
              <a:t>pengkajian</a:t>
            </a:r>
            <a:r>
              <a:rPr lang="en-ID" dirty="0">
                <a:effectLst/>
                <a:latin typeface="Helvetica" pitchFamily="2" charset="0"/>
              </a:rPr>
              <a:t>, </a:t>
            </a:r>
            <a:r>
              <a:rPr lang="en-ID" dirty="0" err="1">
                <a:effectLst/>
                <a:latin typeface="Helvetica" pitchFamily="2" charset="0"/>
              </a:rPr>
              <a:t>perencanaan</a:t>
            </a:r>
            <a:r>
              <a:rPr lang="en-ID" dirty="0">
                <a:effectLst/>
                <a:latin typeface="Helvetica" pitchFamily="2" charset="0"/>
              </a:rPr>
              <a:t>, dan/</a:t>
            </a:r>
            <a:r>
              <a:rPr lang="en-ID" dirty="0" err="1">
                <a:effectLst/>
                <a:latin typeface="Helvetica" pitchFamily="2" charset="0"/>
              </a:rPr>
              <a:t>atau</a:t>
            </a:r>
            <a:r>
              <a:rPr lang="en-ID" dirty="0">
                <a:effectLst/>
                <a:latin typeface="Helvetica" pitchFamily="2" charset="0"/>
              </a:rPr>
              <a:t> </a:t>
            </a:r>
            <a:r>
              <a:rPr lang="en-ID" dirty="0" err="1">
                <a:effectLst/>
                <a:latin typeface="Helvetica" pitchFamily="2" charset="0"/>
              </a:rPr>
              <a:t>perancangan</a:t>
            </a:r>
            <a:r>
              <a:rPr lang="en-ID" dirty="0">
                <a:effectLst/>
                <a:latin typeface="Helvetica" pitchFamily="2" charset="0"/>
              </a:rPr>
              <a:t>;</a:t>
            </a:r>
          </a:p>
          <a:p>
            <a:r>
              <a:rPr lang="en-ID" dirty="0">
                <a:effectLst/>
                <a:latin typeface="Helvetica" pitchFamily="2" charset="0"/>
              </a:rPr>
              <a:t>b. </a:t>
            </a:r>
            <a:r>
              <a:rPr lang="en-ID" dirty="0" err="1">
                <a:effectLst/>
                <a:latin typeface="Helvetica" pitchFamily="2" charset="0"/>
              </a:rPr>
              <a:t>rencana</a:t>
            </a:r>
            <a:r>
              <a:rPr lang="en-ID" dirty="0">
                <a:effectLst/>
                <a:latin typeface="Helvetica" pitchFamily="2" charset="0"/>
              </a:rPr>
              <a:t> </a:t>
            </a:r>
            <a:r>
              <a:rPr lang="en-ID" dirty="0" err="1">
                <a:effectLst/>
                <a:latin typeface="Helvetica" pitchFamily="2" charset="0"/>
              </a:rPr>
              <a:t>teknis</a:t>
            </a:r>
            <a:r>
              <a:rPr lang="en-ID" dirty="0">
                <a:effectLst/>
                <a:latin typeface="Helvetica" pitchFamily="2" charset="0"/>
              </a:rPr>
              <a:t> proses </a:t>
            </a:r>
            <a:r>
              <a:rPr lang="en-ID" dirty="0" err="1">
                <a:effectLst/>
                <a:latin typeface="Helvetica" pitchFamily="2" charset="0"/>
              </a:rPr>
              <a:t>pembangunan</a:t>
            </a:r>
            <a:r>
              <a:rPr lang="en-ID" dirty="0">
                <a:effectLst/>
                <a:latin typeface="Helvetica" pitchFamily="2" charset="0"/>
              </a:rPr>
              <a:t>, </a:t>
            </a:r>
            <a:r>
              <a:rPr lang="en-ID" dirty="0" err="1">
                <a:effectLst/>
                <a:latin typeface="Helvetica" pitchFamily="2" charset="0"/>
              </a:rPr>
              <a:t>pemeliharaan</a:t>
            </a:r>
            <a:r>
              <a:rPr lang="en-ID" dirty="0">
                <a:effectLst/>
                <a:latin typeface="Helvetica" pitchFamily="2" charset="0"/>
              </a:rPr>
              <a:t>, </a:t>
            </a:r>
            <a:r>
              <a:rPr lang="en-ID" dirty="0" err="1">
                <a:effectLst/>
                <a:latin typeface="Helvetica" pitchFamily="2" charset="0"/>
              </a:rPr>
              <a:t>pembongkaran</a:t>
            </a:r>
            <a:r>
              <a:rPr lang="en-ID" dirty="0">
                <a:effectLst/>
                <a:latin typeface="Helvetica" pitchFamily="2" charset="0"/>
              </a:rPr>
              <a:t>, dan/</a:t>
            </a:r>
            <a:r>
              <a:rPr lang="en-ID" dirty="0" err="1">
                <a:effectLst/>
                <a:latin typeface="Helvetica" pitchFamily="2" charset="0"/>
              </a:rPr>
              <a:t>atau</a:t>
            </a:r>
            <a:r>
              <a:rPr lang="en-ID" dirty="0">
                <a:effectLst/>
                <a:latin typeface="Helvetica" pitchFamily="2" charset="0"/>
              </a:rPr>
              <a:t> </a:t>
            </a:r>
            <a:r>
              <a:rPr lang="en-ID" dirty="0" err="1">
                <a:effectLst/>
                <a:latin typeface="Helvetica" pitchFamily="2" charset="0"/>
              </a:rPr>
              <a:t>pembangunan</a:t>
            </a:r>
            <a:r>
              <a:rPr lang="en-ID" dirty="0">
                <a:effectLst/>
                <a:latin typeface="Helvetica" pitchFamily="2" charset="0"/>
              </a:rPr>
              <a:t> </a:t>
            </a:r>
            <a:r>
              <a:rPr lang="en-ID" dirty="0" err="1">
                <a:effectLst/>
                <a:latin typeface="Helvetica" pitchFamily="2" charset="0"/>
              </a:rPr>
              <a:t>kembali</a:t>
            </a:r>
            <a:r>
              <a:rPr lang="en-ID" dirty="0">
                <a:effectLst/>
                <a:latin typeface="Helvetica" pitchFamily="2" charset="0"/>
              </a:rPr>
              <a:t>;</a:t>
            </a:r>
          </a:p>
          <a:p>
            <a:r>
              <a:rPr lang="en-ID" dirty="0">
                <a:effectLst/>
                <a:latin typeface="Helvetica" pitchFamily="2" charset="0"/>
              </a:rPr>
              <a:t>c. </a:t>
            </a:r>
            <a:r>
              <a:rPr lang="en-ID" dirty="0" err="1">
                <a:effectLst/>
                <a:latin typeface="Helvetica" pitchFamily="2" charset="0"/>
              </a:rPr>
              <a:t>pelaksanaan</a:t>
            </a:r>
            <a:r>
              <a:rPr lang="en-ID" dirty="0">
                <a:effectLst/>
                <a:latin typeface="Helvetica" pitchFamily="2" charset="0"/>
              </a:rPr>
              <a:t> </a:t>
            </a:r>
            <a:r>
              <a:rPr lang="en-ID" dirty="0" err="1">
                <a:effectLst/>
                <a:latin typeface="Helvetica" pitchFamily="2" charset="0"/>
              </a:rPr>
              <a:t>suatu</a:t>
            </a:r>
            <a:r>
              <a:rPr lang="en-ID" dirty="0">
                <a:effectLst/>
                <a:latin typeface="Helvetica" pitchFamily="2" charset="0"/>
              </a:rPr>
              <a:t> proses </a:t>
            </a:r>
            <a:r>
              <a:rPr lang="en-ID" dirty="0" err="1">
                <a:effectLst/>
                <a:latin typeface="Helvetica" pitchFamily="2" charset="0"/>
              </a:rPr>
              <a:t>pembangunan</a:t>
            </a:r>
            <a:r>
              <a:rPr lang="en-ID" dirty="0">
                <a:effectLst/>
                <a:latin typeface="Helvetica" pitchFamily="2" charset="0"/>
              </a:rPr>
              <a:t>, </a:t>
            </a:r>
            <a:r>
              <a:rPr lang="en-ID" dirty="0" err="1">
                <a:effectLst/>
                <a:latin typeface="Helvetica" pitchFamily="2" charset="0"/>
              </a:rPr>
              <a:t>pemeliharaan</a:t>
            </a:r>
            <a:r>
              <a:rPr lang="en-ID" dirty="0">
                <a:effectLst/>
                <a:latin typeface="Helvetica" pitchFamily="2" charset="0"/>
              </a:rPr>
              <a:t>, </a:t>
            </a:r>
            <a:r>
              <a:rPr lang="en-ID" dirty="0" err="1">
                <a:effectLst/>
                <a:latin typeface="Helvetica" pitchFamily="2" charset="0"/>
              </a:rPr>
              <a:t>pembongkaran</a:t>
            </a:r>
            <a:r>
              <a:rPr lang="en-ID" dirty="0">
                <a:effectLst/>
                <a:latin typeface="Helvetica" pitchFamily="2" charset="0"/>
              </a:rPr>
              <a:t>, dan/</a:t>
            </a:r>
            <a:r>
              <a:rPr lang="en-ID" dirty="0" err="1">
                <a:effectLst/>
                <a:latin typeface="Helvetica" pitchFamily="2" charset="0"/>
              </a:rPr>
              <a:t>atau</a:t>
            </a:r>
            <a:r>
              <a:rPr lang="en-ID" dirty="0">
                <a:effectLst/>
                <a:latin typeface="Helvetica" pitchFamily="2" charset="0"/>
              </a:rPr>
              <a:t> </a:t>
            </a:r>
            <a:r>
              <a:rPr lang="en-ID" dirty="0" err="1">
                <a:effectLst/>
                <a:latin typeface="Helvetica" pitchFamily="2" charset="0"/>
              </a:rPr>
              <a:t>pembangunan</a:t>
            </a:r>
            <a:r>
              <a:rPr lang="en-ID" dirty="0">
                <a:effectLst/>
                <a:latin typeface="Helvetica" pitchFamily="2" charset="0"/>
              </a:rPr>
              <a:t> </a:t>
            </a:r>
            <a:r>
              <a:rPr lang="en-ID" dirty="0" err="1">
                <a:effectLst/>
                <a:latin typeface="Helvetica" pitchFamily="2" charset="0"/>
              </a:rPr>
              <a:t>kembali</a:t>
            </a:r>
            <a:r>
              <a:rPr lang="en-ID" dirty="0">
                <a:effectLst/>
                <a:latin typeface="Helvetica" pitchFamily="2" charset="0"/>
              </a:rPr>
              <a:t>;</a:t>
            </a:r>
          </a:p>
          <a:p>
            <a:r>
              <a:rPr lang="en-ID" dirty="0">
                <a:effectLst/>
                <a:latin typeface="Helvetica" pitchFamily="2" charset="0"/>
              </a:rPr>
              <a:t>d. </a:t>
            </a:r>
            <a:r>
              <a:rPr lang="en-ID" dirty="0" err="1">
                <a:effectLst/>
                <a:latin typeface="Helvetica" pitchFamily="2" charset="0"/>
              </a:rPr>
              <a:t>penggunaan</a:t>
            </a:r>
            <a:r>
              <a:rPr lang="en-ID" dirty="0">
                <a:effectLst/>
                <a:latin typeface="Helvetica" pitchFamily="2" charset="0"/>
              </a:rPr>
              <a:t> material, </a:t>
            </a:r>
            <a:r>
              <a:rPr lang="en-ID" dirty="0" err="1">
                <a:effectLst/>
                <a:latin typeface="Helvetica" pitchFamily="2" charset="0"/>
              </a:rPr>
              <a:t>peralatan</a:t>
            </a:r>
            <a:r>
              <a:rPr lang="en-ID" dirty="0">
                <a:effectLst/>
                <a:latin typeface="Helvetica" pitchFamily="2" charset="0"/>
              </a:rPr>
              <a:t> dan/</a:t>
            </a:r>
            <a:r>
              <a:rPr lang="en-ID" dirty="0" err="1">
                <a:effectLst/>
                <a:latin typeface="Helvetica" pitchFamily="2" charset="0"/>
              </a:rPr>
              <a:t>atau</a:t>
            </a:r>
            <a:r>
              <a:rPr lang="en-ID" dirty="0">
                <a:effectLst/>
                <a:latin typeface="Helvetica" pitchFamily="2" charset="0"/>
              </a:rPr>
              <a:t> </a:t>
            </a:r>
            <a:r>
              <a:rPr lang="en-ID" dirty="0" err="1">
                <a:effectLst/>
                <a:latin typeface="Helvetica" pitchFamily="2" charset="0"/>
              </a:rPr>
              <a:t>teknologi</a:t>
            </a:r>
            <a:r>
              <a:rPr lang="en-ID" dirty="0">
                <a:effectLst/>
                <a:latin typeface="Helvetica" pitchFamily="2" charset="0"/>
              </a:rPr>
              <a:t>; dan/ </a:t>
            </a:r>
            <a:r>
              <a:rPr lang="en-ID" dirty="0" err="1">
                <a:effectLst/>
                <a:latin typeface="Helvetica" pitchFamily="2" charset="0"/>
              </a:rPr>
              <a:t>atau</a:t>
            </a:r>
            <a:endParaRPr lang="en-ID" dirty="0">
              <a:effectLst/>
              <a:latin typeface="Helvetica" pitchFamily="2" charset="0"/>
            </a:endParaRPr>
          </a:p>
          <a:p>
            <a:r>
              <a:rPr lang="en-ID" dirty="0">
                <a:effectLst/>
                <a:latin typeface="Helvetica" pitchFamily="2" charset="0"/>
              </a:rPr>
              <a:t>e. </a:t>
            </a:r>
            <a:r>
              <a:rPr lang="en-ID" dirty="0" err="1">
                <a:effectLst/>
                <a:latin typeface="Helvetica" pitchFamily="2" charset="0"/>
              </a:rPr>
              <a:t>hasil</a:t>
            </a:r>
            <a:r>
              <a:rPr lang="en-ID" dirty="0">
                <a:effectLst/>
                <a:latin typeface="Helvetica" pitchFamily="2" charset="0"/>
              </a:rPr>
              <a:t> </a:t>
            </a:r>
            <a:r>
              <a:rPr lang="en-ID" dirty="0" err="1">
                <a:effectLst/>
                <a:latin typeface="Helvetica" pitchFamily="2" charset="0"/>
              </a:rPr>
              <a:t>layanan</a:t>
            </a:r>
            <a:r>
              <a:rPr lang="en-ID" dirty="0">
                <a:effectLst/>
                <a:latin typeface="Helvetica" pitchFamily="2" charset="0"/>
              </a:rPr>
              <a:t> Jasa </a:t>
            </a:r>
            <a:r>
              <a:rPr lang="en-ID" dirty="0" err="1">
                <a:effectLst/>
                <a:latin typeface="Helvetica" pitchFamily="2" charset="0"/>
              </a:rPr>
              <a:t>Konstruksi</a:t>
            </a:r>
            <a:r>
              <a:rPr lang="en-ID" dirty="0">
                <a:effectLst/>
                <a:latin typeface="Helvetica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545903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Scott Graham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on </a:t>
            </a:r>
            <a:r>
              <a:rPr lang="en-ID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24F282-BE79-6146-BA61-9EEBC12ED3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93059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183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B707F-C521-495F-8261-6A0F85E64386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17815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Scott Graham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on </a:t>
            </a:r>
            <a:r>
              <a:rPr lang="en-ID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24F282-BE79-6146-BA61-9EEBC12ED3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95743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B707F-C521-495F-8261-6A0F85E64386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69864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Austin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Distel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 </a:t>
            </a:r>
            <a:r>
              <a:rPr lang="en-ID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Unsplash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24F282-BE79-6146-BA61-9EEBC12ED3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75386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B707F-C521-495F-8261-6A0F85E64386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6114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B707F-C521-495F-8261-6A0F85E64386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60792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B707F-C521-495F-8261-6A0F85E64386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30527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4.xml"/></Relationships>
</file>

<file path=ppt/slideLayouts/_rels/slideLayout20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704B89-BF70-48A5-B93C-F14B283CD7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73F7AD-6743-4333-8B0C-73BE14D4D7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840E8B-25A5-443B-B26C-3FE7234D04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401108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8B3DC-A1A2-4178-BC9C-18D28A5CA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DF5056-601E-48C9-8177-A4DDD8BE01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4C52C1-85F8-4074-B0F2-2412533EAF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EC94D1-8771-4A8C-B032-A9D0D623B3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065715-8350-4A91-84C1-9D43CEFF15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9404AC-C928-4B49-8FE2-6236075715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AD8F014-6D2F-43FC-904F-C2B5DFDD6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814FBA-D065-4FA3-B2A4-B3A14F9E3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33075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BA3D676-62DA-4803-8CB5-DF82E15887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4299520"/>
            <a:ext cx="12191999" cy="2570073"/>
          </a:xfrm>
          <a:custGeom>
            <a:avLst/>
            <a:gdLst>
              <a:gd name="connsiteX0" fmla="*/ 1126324 w 12191999"/>
              <a:gd name="connsiteY0" fmla="*/ 0 h 2570073"/>
              <a:gd name="connsiteX1" fmla="*/ 2454730 w 12191999"/>
              <a:gd name="connsiteY1" fmla="*/ 0 h 2570073"/>
              <a:gd name="connsiteX2" fmla="*/ 3481005 w 12191999"/>
              <a:gd name="connsiteY2" fmla="*/ 0 h 2570073"/>
              <a:gd name="connsiteX3" fmla="*/ 3540677 w 12191999"/>
              <a:gd name="connsiteY3" fmla="*/ 0 h 2570073"/>
              <a:gd name="connsiteX4" fmla="*/ 4809411 w 12191999"/>
              <a:gd name="connsiteY4" fmla="*/ 0 h 2570073"/>
              <a:gd name="connsiteX5" fmla="*/ 4869085 w 12191999"/>
              <a:gd name="connsiteY5" fmla="*/ 0 h 2570073"/>
              <a:gd name="connsiteX6" fmla="*/ 4869085 w 12191999"/>
              <a:gd name="connsiteY6" fmla="*/ 1332 h 2570073"/>
              <a:gd name="connsiteX7" fmla="*/ 5935733 w 12191999"/>
              <a:gd name="connsiteY7" fmla="*/ 1332 h 2570073"/>
              <a:gd name="connsiteX8" fmla="*/ 5935733 w 12191999"/>
              <a:gd name="connsiteY8" fmla="*/ 316755 h 2570073"/>
              <a:gd name="connsiteX9" fmla="*/ 5935733 w 12191999"/>
              <a:gd name="connsiteY9" fmla="*/ 1082676 h 2570073"/>
              <a:gd name="connsiteX10" fmla="*/ 5935736 w 12191999"/>
              <a:gd name="connsiteY10" fmla="*/ 1082676 h 2570073"/>
              <a:gd name="connsiteX11" fmla="*/ 5935736 w 12191999"/>
              <a:gd name="connsiteY11" fmla="*/ 1074434 h 2570073"/>
              <a:gd name="connsiteX12" fmla="*/ 5938273 w 12191999"/>
              <a:gd name="connsiteY12" fmla="*/ 1074434 h 2570073"/>
              <a:gd name="connsiteX13" fmla="*/ 5940855 w 12191999"/>
              <a:gd name="connsiteY13" fmla="*/ 1019920 h 2570073"/>
              <a:gd name="connsiteX14" fmla="*/ 5941326 w 12191999"/>
              <a:gd name="connsiteY14" fmla="*/ 1016613 h 2570073"/>
              <a:gd name="connsiteX15" fmla="*/ 5941548 w 12191999"/>
              <a:gd name="connsiteY15" fmla="*/ 1012207 h 2570073"/>
              <a:gd name="connsiteX16" fmla="*/ 5978689 w 12191999"/>
              <a:gd name="connsiteY16" fmla="*/ 818244 h 2570073"/>
              <a:gd name="connsiteX17" fmla="*/ 5980205 w 12191999"/>
              <a:gd name="connsiteY17" fmla="*/ 813682 h 2570073"/>
              <a:gd name="connsiteX18" fmla="*/ 5980394 w 12191999"/>
              <a:gd name="connsiteY18" fmla="*/ 812894 h 2570073"/>
              <a:gd name="connsiteX19" fmla="*/ 5983069 w 12191999"/>
              <a:gd name="connsiteY19" fmla="*/ 805066 h 2570073"/>
              <a:gd name="connsiteX20" fmla="*/ 6009331 w 12191999"/>
              <a:gd name="connsiteY20" fmla="*/ 726078 h 2570073"/>
              <a:gd name="connsiteX21" fmla="*/ 6012832 w 12191999"/>
              <a:gd name="connsiteY21" fmla="*/ 717971 h 2570073"/>
              <a:gd name="connsiteX22" fmla="*/ 6013885 w 12191999"/>
              <a:gd name="connsiteY22" fmla="*/ 714889 h 2570073"/>
              <a:gd name="connsiteX23" fmla="*/ 6021353 w 12191999"/>
              <a:gd name="connsiteY23" fmla="*/ 698231 h 2570073"/>
              <a:gd name="connsiteX24" fmla="*/ 6047512 w 12191999"/>
              <a:gd name="connsiteY24" fmla="*/ 637633 h 2570073"/>
              <a:gd name="connsiteX25" fmla="*/ 6053591 w 12191999"/>
              <a:gd name="connsiteY25" fmla="*/ 626323 h 2570073"/>
              <a:gd name="connsiteX26" fmla="*/ 6055899 w 12191999"/>
              <a:gd name="connsiteY26" fmla="*/ 621176 h 2570073"/>
              <a:gd name="connsiteX27" fmla="*/ 6066075 w 12191999"/>
              <a:gd name="connsiteY27" fmla="*/ 603101 h 2570073"/>
              <a:gd name="connsiteX28" fmla="*/ 6092846 w 12191999"/>
              <a:gd name="connsiteY28" fmla="*/ 553294 h 2570073"/>
              <a:gd name="connsiteX29" fmla="*/ 6102058 w 12191999"/>
              <a:gd name="connsiteY29" fmla="*/ 539178 h 2570073"/>
              <a:gd name="connsiteX30" fmla="*/ 6105971 w 12191999"/>
              <a:gd name="connsiteY30" fmla="*/ 532224 h 2570073"/>
              <a:gd name="connsiteX31" fmla="*/ 6117825 w 12191999"/>
              <a:gd name="connsiteY31" fmla="*/ 515013 h 2570073"/>
              <a:gd name="connsiteX32" fmla="*/ 6144948 w 12191999"/>
              <a:gd name="connsiteY32" fmla="*/ 473445 h 2570073"/>
              <a:gd name="connsiteX33" fmla="*/ 6157796 w 12191999"/>
              <a:gd name="connsiteY33" fmla="*/ 456974 h 2570073"/>
              <a:gd name="connsiteX34" fmla="*/ 6163633 w 12191999"/>
              <a:gd name="connsiteY34" fmla="*/ 448498 h 2570073"/>
              <a:gd name="connsiteX35" fmla="*/ 6176451 w 12191999"/>
              <a:gd name="connsiteY35" fmla="*/ 433062 h 2570073"/>
              <a:gd name="connsiteX36" fmla="*/ 6203435 w 12191999"/>
              <a:gd name="connsiteY36" fmla="*/ 398470 h 2570073"/>
              <a:gd name="connsiteX37" fmla="*/ 6220383 w 12191999"/>
              <a:gd name="connsiteY37" fmla="*/ 380147 h 2570073"/>
              <a:gd name="connsiteX38" fmla="*/ 6228423 w 12191999"/>
              <a:gd name="connsiteY38" fmla="*/ 370466 h 2570073"/>
              <a:gd name="connsiteX39" fmla="*/ 6241622 w 12191999"/>
              <a:gd name="connsiteY39" fmla="*/ 357186 h 2570073"/>
              <a:gd name="connsiteX40" fmla="*/ 6267921 w 12191999"/>
              <a:gd name="connsiteY40" fmla="*/ 328755 h 2570073"/>
              <a:gd name="connsiteX41" fmla="*/ 6289392 w 12191999"/>
              <a:gd name="connsiteY41" fmla="*/ 309131 h 2570073"/>
              <a:gd name="connsiteX42" fmla="*/ 6299866 w 12191999"/>
              <a:gd name="connsiteY42" fmla="*/ 298593 h 2570073"/>
              <a:gd name="connsiteX43" fmla="*/ 6312962 w 12191999"/>
              <a:gd name="connsiteY43" fmla="*/ 287587 h 2570073"/>
              <a:gd name="connsiteX44" fmla="*/ 6338022 w 12191999"/>
              <a:gd name="connsiteY44" fmla="*/ 264683 h 2570073"/>
              <a:gd name="connsiteX45" fmla="*/ 6364404 w 12191999"/>
              <a:gd name="connsiteY45" fmla="*/ 244356 h 2570073"/>
              <a:gd name="connsiteX46" fmla="*/ 6377503 w 12191999"/>
              <a:gd name="connsiteY46" fmla="*/ 233348 h 2570073"/>
              <a:gd name="connsiteX47" fmla="*/ 6390061 w 12191999"/>
              <a:gd name="connsiteY47" fmla="*/ 224587 h 2570073"/>
              <a:gd name="connsiteX48" fmla="*/ 6413357 w 12191999"/>
              <a:gd name="connsiteY48" fmla="*/ 206638 h 2570073"/>
              <a:gd name="connsiteX49" fmla="*/ 6445019 w 12191999"/>
              <a:gd name="connsiteY49" fmla="*/ 186248 h 2570073"/>
              <a:gd name="connsiteX50" fmla="*/ 6460863 w 12191999"/>
              <a:gd name="connsiteY50" fmla="*/ 175195 h 2570073"/>
              <a:gd name="connsiteX51" fmla="*/ 6472496 w 12191999"/>
              <a:gd name="connsiteY51" fmla="*/ 168554 h 2570073"/>
              <a:gd name="connsiteX52" fmla="*/ 6493537 w 12191999"/>
              <a:gd name="connsiteY52" fmla="*/ 155005 h 2570073"/>
              <a:gd name="connsiteX53" fmla="*/ 6530864 w 12191999"/>
              <a:gd name="connsiteY53" fmla="*/ 135232 h 2570073"/>
              <a:gd name="connsiteX54" fmla="*/ 6549482 w 12191999"/>
              <a:gd name="connsiteY54" fmla="*/ 124603 h 2570073"/>
              <a:gd name="connsiteX55" fmla="*/ 6559839 w 12191999"/>
              <a:gd name="connsiteY55" fmla="*/ 119882 h 2570073"/>
              <a:gd name="connsiteX56" fmla="*/ 6578180 w 12191999"/>
              <a:gd name="connsiteY56" fmla="*/ 110167 h 2570073"/>
              <a:gd name="connsiteX57" fmla="*/ 6621627 w 12191999"/>
              <a:gd name="connsiteY57" fmla="*/ 91726 h 2570073"/>
              <a:gd name="connsiteX58" fmla="*/ 6642892 w 12191999"/>
              <a:gd name="connsiteY58" fmla="*/ 82036 h 2570073"/>
              <a:gd name="connsiteX59" fmla="*/ 6651657 w 12191999"/>
              <a:gd name="connsiteY59" fmla="*/ 78980 h 2570073"/>
              <a:gd name="connsiteX60" fmla="*/ 6666902 w 12191999"/>
              <a:gd name="connsiteY60" fmla="*/ 72509 h 2570073"/>
              <a:gd name="connsiteX61" fmla="*/ 6717142 w 12191999"/>
              <a:gd name="connsiteY61" fmla="*/ 56150 h 2570073"/>
              <a:gd name="connsiteX62" fmla="*/ 6740626 w 12191999"/>
              <a:gd name="connsiteY62" fmla="*/ 47963 h 2570073"/>
              <a:gd name="connsiteX63" fmla="*/ 6747514 w 12191999"/>
              <a:gd name="connsiteY63" fmla="*/ 46260 h 2570073"/>
              <a:gd name="connsiteX64" fmla="*/ 6759319 w 12191999"/>
              <a:gd name="connsiteY64" fmla="*/ 42416 h 2570073"/>
              <a:gd name="connsiteX65" fmla="*/ 6817670 w 12191999"/>
              <a:gd name="connsiteY65" fmla="*/ 28918 h 2570073"/>
              <a:gd name="connsiteX66" fmla="*/ 6842218 w 12191999"/>
              <a:gd name="connsiteY66" fmla="*/ 22850 h 2570073"/>
              <a:gd name="connsiteX67" fmla="*/ 6846973 w 12191999"/>
              <a:gd name="connsiteY67" fmla="*/ 22139 h 2570073"/>
              <a:gd name="connsiteX68" fmla="*/ 6855046 w 12191999"/>
              <a:gd name="connsiteY68" fmla="*/ 20272 h 2570073"/>
              <a:gd name="connsiteX69" fmla="*/ 6925243 w 12191999"/>
              <a:gd name="connsiteY69" fmla="*/ 10445 h 2570073"/>
              <a:gd name="connsiteX70" fmla="*/ 6947201 w 12191999"/>
              <a:gd name="connsiteY70" fmla="*/ 7163 h 2570073"/>
              <a:gd name="connsiteX71" fmla="*/ 6949512 w 12191999"/>
              <a:gd name="connsiteY71" fmla="*/ 7047 h 2570073"/>
              <a:gd name="connsiteX72" fmla="*/ 6953699 w 12191999"/>
              <a:gd name="connsiteY72" fmla="*/ 6460 h 2570073"/>
              <a:gd name="connsiteX73" fmla="*/ 7002386 w 12191999"/>
              <a:gd name="connsiteY73" fmla="*/ 4155 h 2570073"/>
              <a:gd name="connsiteX74" fmla="*/ 7002386 w 12191999"/>
              <a:gd name="connsiteY74" fmla="*/ 1346 h 2570073"/>
              <a:gd name="connsiteX75" fmla="*/ 7047272 w 12191999"/>
              <a:gd name="connsiteY75" fmla="*/ 1346 h 2570073"/>
              <a:gd name="connsiteX76" fmla="*/ 7061721 w 12191999"/>
              <a:gd name="connsiteY76" fmla="*/ 1346 h 2570073"/>
              <a:gd name="connsiteX77" fmla="*/ 7062058 w 12191999"/>
              <a:gd name="connsiteY77" fmla="*/ 1346 h 2570073"/>
              <a:gd name="connsiteX78" fmla="*/ 7062058 w 12191999"/>
              <a:gd name="connsiteY78" fmla="*/ 0 h 2570073"/>
              <a:gd name="connsiteX79" fmla="*/ 9416738 w 12191999"/>
              <a:gd name="connsiteY79" fmla="*/ 0 h 2570073"/>
              <a:gd name="connsiteX80" fmla="*/ 9476411 w 12191999"/>
              <a:gd name="connsiteY80" fmla="*/ 0 h 2570073"/>
              <a:gd name="connsiteX81" fmla="*/ 9476411 w 12191999"/>
              <a:gd name="connsiteY81" fmla="*/ 1332 h 2570073"/>
              <a:gd name="connsiteX82" fmla="*/ 9621926 w 12191999"/>
              <a:gd name="connsiteY82" fmla="*/ 1332 h 2570073"/>
              <a:gd name="connsiteX83" fmla="*/ 9621926 w 12191999"/>
              <a:gd name="connsiteY83" fmla="*/ 1232695 h 2570073"/>
              <a:gd name="connsiteX84" fmla="*/ 9621927 w 12191999"/>
              <a:gd name="connsiteY84" fmla="*/ 1232695 h 2570073"/>
              <a:gd name="connsiteX85" fmla="*/ 9621927 w 12191999"/>
              <a:gd name="connsiteY85" fmla="*/ 1224666 h 2570073"/>
              <a:gd name="connsiteX86" fmla="*/ 9624974 w 12191999"/>
              <a:gd name="connsiteY86" fmla="*/ 1224666 h 2570073"/>
              <a:gd name="connsiteX87" fmla="*/ 9628560 w 12191999"/>
              <a:gd name="connsiteY87" fmla="*/ 1153649 h 2570073"/>
              <a:gd name="connsiteX88" fmla="*/ 10906963 w 12191999"/>
              <a:gd name="connsiteY88" fmla="*/ 0 h 2570073"/>
              <a:gd name="connsiteX89" fmla="*/ 12191999 w 12191999"/>
              <a:gd name="connsiteY89" fmla="*/ 1285037 h 2570073"/>
              <a:gd name="connsiteX90" fmla="*/ 11038350 w 12191999"/>
              <a:gd name="connsiteY90" fmla="*/ 2563438 h 2570073"/>
              <a:gd name="connsiteX91" fmla="*/ 10924212 w 12191999"/>
              <a:gd name="connsiteY91" fmla="*/ 2569202 h 2570073"/>
              <a:gd name="connsiteX92" fmla="*/ 10924212 w 12191999"/>
              <a:gd name="connsiteY92" fmla="*/ 2570073 h 2570073"/>
              <a:gd name="connsiteX93" fmla="*/ 10906963 w 12191999"/>
              <a:gd name="connsiteY93" fmla="*/ 2570073 h 2570073"/>
              <a:gd name="connsiteX94" fmla="*/ 10572749 w 12191999"/>
              <a:gd name="connsiteY94" fmla="*/ 2570073 h 2570073"/>
              <a:gd name="connsiteX95" fmla="*/ 9621927 w 12191999"/>
              <a:gd name="connsiteY95" fmla="*/ 2570073 h 2570073"/>
              <a:gd name="connsiteX96" fmla="*/ 9416738 w 12191999"/>
              <a:gd name="connsiteY96" fmla="*/ 2570073 h 2570073"/>
              <a:gd name="connsiteX97" fmla="*/ 7062058 w 12191999"/>
              <a:gd name="connsiteY97" fmla="*/ 2570073 h 2570073"/>
              <a:gd name="connsiteX98" fmla="*/ 7002386 w 12191999"/>
              <a:gd name="connsiteY98" fmla="*/ 2570073 h 2570073"/>
              <a:gd name="connsiteX99" fmla="*/ 6572250 w 12191999"/>
              <a:gd name="connsiteY99" fmla="*/ 2570073 h 2570073"/>
              <a:gd name="connsiteX100" fmla="*/ 6572250 w 12191999"/>
              <a:gd name="connsiteY100" fmla="*/ 2568741 h 2570073"/>
              <a:gd name="connsiteX101" fmla="*/ 5935736 w 12191999"/>
              <a:gd name="connsiteY101" fmla="*/ 2568741 h 2570073"/>
              <a:gd name="connsiteX102" fmla="*/ 5935736 w 12191999"/>
              <a:gd name="connsiteY102" fmla="*/ 2253318 h 2570073"/>
              <a:gd name="connsiteX103" fmla="*/ 5935736 w 12191999"/>
              <a:gd name="connsiteY103" fmla="*/ 1487489 h 2570073"/>
              <a:gd name="connsiteX104" fmla="*/ 5935733 w 12191999"/>
              <a:gd name="connsiteY104" fmla="*/ 1487489 h 2570073"/>
              <a:gd name="connsiteX105" fmla="*/ 5935733 w 12191999"/>
              <a:gd name="connsiteY105" fmla="*/ 1495639 h 2570073"/>
              <a:gd name="connsiteX106" fmla="*/ 5933197 w 12191999"/>
              <a:gd name="connsiteY106" fmla="*/ 1495639 h 2570073"/>
              <a:gd name="connsiteX107" fmla="*/ 5930617 w 12191999"/>
              <a:gd name="connsiteY107" fmla="*/ 1550153 h 2570073"/>
              <a:gd name="connsiteX108" fmla="*/ 5930144 w 12191999"/>
              <a:gd name="connsiteY108" fmla="*/ 1553460 h 2570073"/>
              <a:gd name="connsiteX109" fmla="*/ 5929922 w 12191999"/>
              <a:gd name="connsiteY109" fmla="*/ 1557867 h 2570073"/>
              <a:gd name="connsiteX110" fmla="*/ 5892783 w 12191999"/>
              <a:gd name="connsiteY110" fmla="*/ 1751829 h 2570073"/>
              <a:gd name="connsiteX111" fmla="*/ 5891264 w 12191999"/>
              <a:gd name="connsiteY111" fmla="*/ 1756392 h 2570073"/>
              <a:gd name="connsiteX112" fmla="*/ 5891075 w 12191999"/>
              <a:gd name="connsiteY112" fmla="*/ 1757179 h 2570073"/>
              <a:gd name="connsiteX113" fmla="*/ 5888401 w 12191999"/>
              <a:gd name="connsiteY113" fmla="*/ 1765008 h 2570073"/>
              <a:gd name="connsiteX114" fmla="*/ 5862138 w 12191999"/>
              <a:gd name="connsiteY114" fmla="*/ 1843996 h 2570073"/>
              <a:gd name="connsiteX115" fmla="*/ 5858638 w 12191999"/>
              <a:gd name="connsiteY115" fmla="*/ 1852103 h 2570073"/>
              <a:gd name="connsiteX116" fmla="*/ 5857585 w 12191999"/>
              <a:gd name="connsiteY116" fmla="*/ 1855185 h 2570073"/>
              <a:gd name="connsiteX117" fmla="*/ 5850118 w 12191999"/>
              <a:gd name="connsiteY117" fmla="*/ 1871843 h 2570073"/>
              <a:gd name="connsiteX118" fmla="*/ 5823958 w 12191999"/>
              <a:gd name="connsiteY118" fmla="*/ 1932441 h 2570073"/>
              <a:gd name="connsiteX119" fmla="*/ 5817879 w 12191999"/>
              <a:gd name="connsiteY119" fmla="*/ 1943751 h 2570073"/>
              <a:gd name="connsiteX120" fmla="*/ 5815571 w 12191999"/>
              <a:gd name="connsiteY120" fmla="*/ 1948897 h 2570073"/>
              <a:gd name="connsiteX121" fmla="*/ 5805397 w 12191999"/>
              <a:gd name="connsiteY121" fmla="*/ 1966972 h 2570073"/>
              <a:gd name="connsiteX122" fmla="*/ 5778624 w 12191999"/>
              <a:gd name="connsiteY122" fmla="*/ 2016780 h 2570073"/>
              <a:gd name="connsiteX123" fmla="*/ 5769414 w 12191999"/>
              <a:gd name="connsiteY123" fmla="*/ 2030895 h 2570073"/>
              <a:gd name="connsiteX124" fmla="*/ 5765499 w 12191999"/>
              <a:gd name="connsiteY124" fmla="*/ 2037850 h 2570073"/>
              <a:gd name="connsiteX125" fmla="*/ 5753645 w 12191999"/>
              <a:gd name="connsiteY125" fmla="*/ 2055061 h 2570073"/>
              <a:gd name="connsiteX126" fmla="*/ 5726522 w 12191999"/>
              <a:gd name="connsiteY126" fmla="*/ 2096629 h 2570073"/>
              <a:gd name="connsiteX127" fmla="*/ 5713674 w 12191999"/>
              <a:gd name="connsiteY127" fmla="*/ 2113099 h 2570073"/>
              <a:gd name="connsiteX128" fmla="*/ 5707835 w 12191999"/>
              <a:gd name="connsiteY128" fmla="*/ 2121576 h 2570073"/>
              <a:gd name="connsiteX129" fmla="*/ 5695021 w 12191999"/>
              <a:gd name="connsiteY129" fmla="*/ 2137011 h 2570073"/>
              <a:gd name="connsiteX130" fmla="*/ 5668037 w 12191999"/>
              <a:gd name="connsiteY130" fmla="*/ 2171603 h 2570073"/>
              <a:gd name="connsiteX131" fmla="*/ 5651087 w 12191999"/>
              <a:gd name="connsiteY131" fmla="*/ 2189926 h 2570073"/>
              <a:gd name="connsiteX132" fmla="*/ 5643049 w 12191999"/>
              <a:gd name="connsiteY132" fmla="*/ 2199608 h 2570073"/>
              <a:gd name="connsiteX133" fmla="*/ 5629848 w 12191999"/>
              <a:gd name="connsiteY133" fmla="*/ 2212888 h 2570073"/>
              <a:gd name="connsiteX134" fmla="*/ 5603549 w 12191999"/>
              <a:gd name="connsiteY134" fmla="*/ 2241318 h 2570073"/>
              <a:gd name="connsiteX135" fmla="*/ 5582080 w 12191999"/>
              <a:gd name="connsiteY135" fmla="*/ 2260943 h 2570073"/>
              <a:gd name="connsiteX136" fmla="*/ 5571603 w 12191999"/>
              <a:gd name="connsiteY136" fmla="*/ 2271480 h 2570073"/>
              <a:gd name="connsiteX137" fmla="*/ 5558507 w 12191999"/>
              <a:gd name="connsiteY137" fmla="*/ 2282487 h 2570073"/>
              <a:gd name="connsiteX138" fmla="*/ 5533446 w 12191999"/>
              <a:gd name="connsiteY138" fmla="*/ 2305391 h 2570073"/>
              <a:gd name="connsiteX139" fmla="*/ 5507067 w 12191999"/>
              <a:gd name="connsiteY139" fmla="*/ 2325718 h 2570073"/>
              <a:gd name="connsiteX140" fmla="*/ 5493967 w 12191999"/>
              <a:gd name="connsiteY140" fmla="*/ 2336726 h 2570073"/>
              <a:gd name="connsiteX141" fmla="*/ 5481408 w 12191999"/>
              <a:gd name="connsiteY141" fmla="*/ 2345487 h 2570073"/>
              <a:gd name="connsiteX142" fmla="*/ 5458115 w 12191999"/>
              <a:gd name="connsiteY142" fmla="*/ 2363435 h 2570073"/>
              <a:gd name="connsiteX143" fmla="*/ 5426451 w 12191999"/>
              <a:gd name="connsiteY143" fmla="*/ 2383826 h 2570073"/>
              <a:gd name="connsiteX144" fmla="*/ 5410606 w 12191999"/>
              <a:gd name="connsiteY144" fmla="*/ 2394879 h 2570073"/>
              <a:gd name="connsiteX145" fmla="*/ 5398974 w 12191999"/>
              <a:gd name="connsiteY145" fmla="*/ 2401520 h 2570073"/>
              <a:gd name="connsiteX146" fmla="*/ 5377932 w 12191999"/>
              <a:gd name="connsiteY146" fmla="*/ 2415069 h 2570073"/>
              <a:gd name="connsiteX147" fmla="*/ 5340606 w 12191999"/>
              <a:gd name="connsiteY147" fmla="*/ 2434842 h 2570073"/>
              <a:gd name="connsiteX148" fmla="*/ 5321988 w 12191999"/>
              <a:gd name="connsiteY148" fmla="*/ 2445471 h 2570073"/>
              <a:gd name="connsiteX149" fmla="*/ 5311630 w 12191999"/>
              <a:gd name="connsiteY149" fmla="*/ 2450191 h 2570073"/>
              <a:gd name="connsiteX150" fmla="*/ 5293290 w 12191999"/>
              <a:gd name="connsiteY150" fmla="*/ 2459906 h 2570073"/>
              <a:gd name="connsiteX151" fmla="*/ 5249844 w 12191999"/>
              <a:gd name="connsiteY151" fmla="*/ 2478347 h 2570073"/>
              <a:gd name="connsiteX152" fmla="*/ 5228578 w 12191999"/>
              <a:gd name="connsiteY152" fmla="*/ 2488037 h 2570073"/>
              <a:gd name="connsiteX153" fmla="*/ 5219811 w 12191999"/>
              <a:gd name="connsiteY153" fmla="*/ 2491093 h 2570073"/>
              <a:gd name="connsiteX154" fmla="*/ 5204566 w 12191999"/>
              <a:gd name="connsiteY154" fmla="*/ 2497564 h 2570073"/>
              <a:gd name="connsiteX155" fmla="*/ 5154327 w 12191999"/>
              <a:gd name="connsiteY155" fmla="*/ 2513923 h 2570073"/>
              <a:gd name="connsiteX156" fmla="*/ 5130844 w 12191999"/>
              <a:gd name="connsiteY156" fmla="*/ 2522110 h 2570073"/>
              <a:gd name="connsiteX157" fmla="*/ 5123955 w 12191999"/>
              <a:gd name="connsiteY157" fmla="*/ 2523813 h 2570073"/>
              <a:gd name="connsiteX158" fmla="*/ 5112150 w 12191999"/>
              <a:gd name="connsiteY158" fmla="*/ 2527657 h 2570073"/>
              <a:gd name="connsiteX159" fmla="*/ 5053798 w 12191999"/>
              <a:gd name="connsiteY159" fmla="*/ 2541156 h 2570073"/>
              <a:gd name="connsiteX160" fmla="*/ 5029252 w 12191999"/>
              <a:gd name="connsiteY160" fmla="*/ 2547223 h 2570073"/>
              <a:gd name="connsiteX161" fmla="*/ 5024497 w 12191999"/>
              <a:gd name="connsiteY161" fmla="*/ 2547934 h 2570073"/>
              <a:gd name="connsiteX162" fmla="*/ 5016423 w 12191999"/>
              <a:gd name="connsiteY162" fmla="*/ 2549802 h 2570073"/>
              <a:gd name="connsiteX163" fmla="*/ 4946226 w 12191999"/>
              <a:gd name="connsiteY163" fmla="*/ 2559629 h 2570073"/>
              <a:gd name="connsiteX164" fmla="*/ 4924267 w 12191999"/>
              <a:gd name="connsiteY164" fmla="*/ 2562910 h 2570073"/>
              <a:gd name="connsiteX165" fmla="*/ 4921958 w 12191999"/>
              <a:gd name="connsiteY165" fmla="*/ 2563027 h 2570073"/>
              <a:gd name="connsiteX166" fmla="*/ 4917769 w 12191999"/>
              <a:gd name="connsiteY166" fmla="*/ 2563613 h 2570073"/>
              <a:gd name="connsiteX167" fmla="*/ 4869085 w 12191999"/>
              <a:gd name="connsiteY167" fmla="*/ 2565918 h 2570073"/>
              <a:gd name="connsiteX168" fmla="*/ 4869085 w 12191999"/>
              <a:gd name="connsiteY168" fmla="*/ 2568728 h 2570073"/>
              <a:gd name="connsiteX169" fmla="*/ 4824196 w 12191999"/>
              <a:gd name="connsiteY169" fmla="*/ 2568728 h 2570073"/>
              <a:gd name="connsiteX170" fmla="*/ 4809749 w 12191999"/>
              <a:gd name="connsiteY170" fmla="*/ 2568728 h 2570073"/>
              <a:gd name="connsiteX171" fmla="*/ 4809411 w 12191999"/>
              <a:gd name="connsiteY171" fmla="*/ 2568728 h 2570073"/>
              <a:gd name="connsiteX172" fmla="*/ 4809411 w 12191999"/>
              <a:gd name="connsiteY172" fmla="*/ 2570073 h 2570073"/>
              <a:gd name="connsiteX173" fmla="*/ 3481005 w 12191999"/>
              <a:gd name="connsiteY173" fmla="*/ 2570073 h 2570073"/>
              <a:gd name="connsiteX174" fmla="*/ 2454730 w 12191999"/>
              <a:gd name="connsiteY174" fmla="*/ 2570073 h 2570073"/>
              <a:gd name="connsiteX175" fmla="*/ 2395058 w 12191999"/>
              <a:gd name="connsiteY175" fmla="*/ 2570073 h 2570073"/>
              <a:gd name="connsiteX176" fmla="*/ 1126324 w 12191999"/>
              <a:gd name="connsiteY176" fmla="*/ 2570073 h 2570073"/>
              <a:gd name="connsiteX177" fmla="*/ 1066652 w 12191999"/>
              <a:gd name="connsiteY177" fmla="*/ 2570073 h 2570073"/>
              <a:gd name="connsiteX178" fmla="*/ 1066652 w 12191999"/>
              <a:gd name="connsiteY178" fmla="*/ 2568741 h 2570073"/>
              <a:gd name="connsiteX179" fmla="*/ 1 w 12191999"/>
              <a:gd name="connsiteY179" fmla="*/ 2568741 h 2570073"/>
              <a:gd name="connsiteX180" fmla="*/ 1 w 12191999"/>
              <a:gd name="connsiteY180" fmla="*/ 2253318 h 2570073"/>
              <a:gd name="connsiteX181" fmla="*/ 1 w 12191999"/>
              <a:gd name="connsiteY181" fmla="*/ 1443429 h 2570073"/>
              <a:gd name="connsiteX182" fmla="*/ 1 w 12191999"/>
              <a:gd name="connsiteY182" fmla="*/ 1442766 h 2570073"/>
              <a:gd name="connsiteX183" fmla="*/ 0 w 12191999"/>
              <a:gd name="connsiteY183" fmla="*/ 1442755 h 2570073"/>
              <a:gd name="connsiteX184" fmla="*/ 1 w 12191999"/>
              <a:gd name="connsiteY184" fmla="*/ 1442744 h 2570073"/>
              <a:gd name="connsiteX185" fmla="*/ 1 w 12191999"/>
              <a:gd name="connsiteY185" fmla="*/ 1389857 h 2570073"/>
              <a:gd name="connsiteX186" fmla="*/ 1 w 12191999"/>
              <a:gd name="connsiteY186" fmla="*/ 1128007 h 2570073"/>
              <a:gd name="connsiteX187" fmla="*/ 1 w 12191999"/>
              <a:gd name="connsiteY187" fmla="*/ 1127343 h 2570073"/>
              <a:gd name="connsiteX188" fmla="*/ 0 w 12191999"/>
              <a:gd name="connsiteY188" fmla="*/ 1127332 h 2570073"/>
              <a:gd name="connsiteX189" fmla="*/ 1 w 12191999"/>
              <a:gd name="connsiteY189" fmla="*/ 1127322 h 2570073"/>
              <a:gd name="connsiteX190" fmla="*/ 1 w 12191999"/>
              <a:gd name="connsiteY190" fmla="*/ 1074434 h 2570073"/>
              <a:gd name="connsiteX191" fmla="*/ 2538 w 12191999"/>
              <a:gd name="connsiteY191" fmla="*/ 1074434 h 2570073"/>
              <a:gd name="connsiteX192" fmla="*/ 5119 w 12191999"/>
              <a:gd name="connsiteY192" fmla="*/ 1019920 h 2570073"/>
              <a:gd name="connsiteX193" fmla="*/ 5592 w 12191999"/>
              <a:gd name="connsiteY193" fmla="*/ 1016613 h 2570073"/>
              <a:gd name="connsiteX194" fmla="*/ 5814 w 12191999"/>
              <a:gd name="connsiteY194" fmla="*/ 1012207 h 2570073"/>
              <a:gd name="connsiteX195" fmla="*/ 42953 w 12191999"/>
              <a:gd name="connsiteY195" fmla="*/ 818244 h 2570073"/>
              <a:gd name="connsiteX196" fmla="*/ 44470 w 12191999"/>
              <a:gd name="connsiteY196" fmla="*/ 813682 h 2570073"/>
              <a:gd name="connsiteX197" fmla="*/ 44660 w 12191999"/>
              <a:gd name="connsiteY197" fmla="*/ 812894 h 2570073"/>
              <a:gd name="connsiteX198" fmla="*/ 47335 w 12191999"/>
              <a:gd name="connsiteY198" fmla="*/ 805066 h 2570073"/>
              <a:gd name="connsiteX199" fmla="*/ 73597 w 12191999"/>
              <a:gd name="connsiteY199" fmla="*/ 726078 h 2570073"/>
              <a:gd name="connsiteX200" fmla="*/ 77097 w 12191999"/>
              <a:gd name="connsiteY200" fmla="*/ 717971 h 2570073"/>
              <a:gd name="connsiteX201" fmla="*/ 78150 w 12191999"/>
              <a:gd name="connsiteY201" fmla="*/ 714889 h 2570073"/>
              <a:gd name="connsiteX202" fmla="*/ 85619 w 12191999"/>
              <a:gd name="connsiteY202" fmla="*/ 698231 h 2570073"/>
              <a:gd name="connsiteX203" fmla="*/ 111778 w 12191999"/>
              <a:gd name="connsiteY203" fmla="*/ 637633 h 2570073"/>
              <a:gd name="connsiteX204" fmla="*/ 117857 w 12191999"/>
              <a:gd name="connsiteY204" fmla="*/ 626323 h 2570073"/>
              <a:gd name="connsiteX205" fmla="*/ 120165 w 12191999"/>
              <a:gd name="connsiteY205" fmla="*/ 621176 h 2570073"/>
              <a:gd name="connsiteX206" fmla="*/ 130339 w 12191999"/>
              <a:gd name="connsiteY206" fmla="*/ 603101 h 2570073"/>
              <a:gd name="connsiteX207" fmla="*/ 157112 w 12191999"/>
              <a:gd name="connsiteY207" fmla="*/ 553294 h 2570073"/>
              <a:gd name="connsiteX208" fmla="*/ 166322 w 12191999"/>
              <a:gd name="connsiteY208" fmla="*/ 539178 h 2570073"/>
              <a:gd name="connsiteX209" fmla="*/ 170237 w 12191999"/>
              <a:gd name="connsiteY209" fmla="*/ 532224 h 2570073"/>
              <a:gd name="connsiteX210" fmla="*/ 182090 w 12191999"/>
              <a:gd name="connsiteY210" fmla="*/ 515013 h 2570073"/>
              <a:gd name="connsiteX211" fmla="*/ 209214 w 12191999"/>
              <a:gd name="connsiteY211" fmla="*/ 473445 h 2570073"/>
              <a:gd name="connsiteX212" fmla="*/ 222062 w 12191999"/>
              <a:gd name="connsiteY212" fmla="*/ 456974 h 2570073"/>
              <a:gd name="connsiteX213" fmla="*/ 227900 w 12191999"/>
              <a:gd name="connsiteY213" fmla="*/ 448498 h 2570073"/>
              <a:gd name="connsiteX214" fmla="*/ 240715 w 12191999"/>
              <a:gd name="connsiteY214" fmla="*/ 433062 h 2570073"/>
              <a:gd name="connsiteX215" fmla="*/ 267700 w 12191999"/>
              <a:gd name="connsiteY215" fmla="*/ 398470 h 2570073"/>
              <a:gd name="connsiteX216" fmla="*/ 284649 w 12191999"/>
              <a:gd name="connsiteY216" fmla="*/ 380147 h 2570073"/>
              <a:gd name="connsiteX217" fmla="*/ 292687 w 12191999"/>
              <a:gd name="connsiteY217" fmla="*/ 370466 h 2570073"/>
              <a:gd name="connsiteX218" fmla="*/ 305888 w 12191999"/>
              <a:gd name="connsiteY218" fmla="*/ 357186 h 2570073"/>
              <a:gd name="connsiteX219" fmla="*/ 332186 w 12191999"/>
              <a:gd name="connsiteY219" fmla="*/ 328755 h 2570073"/>
              <a:gd name="connsiteX220" fmla="*/ 353657 w 12191999"/>
              <a:gd name="connsiteY220" fmla="*/ 309131 h 2570073"/>
              <a:gd name="connsiteX221" fmla="*/ 364133 w 12191999"/>
              <a:gd name="connsiteY221" fmla="*/ 298593 h 2570073"/>
              <a:gd name="connsiteX222" fmla="*/ 377228 w 12191999"/>
              <a:gd name="connsiteY222" fmla="*/ 287587 h 2570073"/>
              <a:gd name="connsiteX223" fmla="*/ 402288 w 12191999"/>
              <a:gd name="connsiteY223" fmla="*/ 264683 h 2570073"/>
              <a:gd name="connsiteX224" fmla="*/ 428670 w 12191999"/>
              <a:gd name="connsiteY224" fmla="*/ 244356 h 2570073"/>
              <a:gd name="connsiteX225" fmla="*/ 441769 w 12191999"/>
              <a:gd name="connsiteY225" fmla="*/ 233348 h 2570073"/>
              <a:gd name="connsiteX226" fmla="*/ 454327 w 12191999"/>
              <a:gd name="connsiteY226" fmla="*/ 224587 h 2570073"/>
              <a:gd name="connsiteX227" fmla="*/ 477622 w 12191999"/>
              <a:gd name="connsiteY227" fmla="*/ 206638 h 2570073"/>
              <a:gd name="connsiteX228" fmla="*/ 509285 w 12191999"/>
              <a:gd name="connsiteY228" fmla="*/ 186248 h 2570073"/>
              <a:gd name="connsiteX229" fmla="*/ 525129 w 12191999"/>
              <a:gd name="connsiteY229" fmla="*/ 175195 h 2570073"/>
              <a:gd name="connsiteX230" fmla="*/ 536762 w 12191999"/>
              <a:gd name="connsiteY230" fmla="*/ 168554 h 2570073"/>
              <a:gd name="connsiteX231" fmla="*/ 557803 w 12191999"/>
              <a:gd name="connsiteY231" fmla="*/ 155005 h 2570073"/>
              <a:gd name="connsiteX232" fmla="*/ 595129 w 12191999"/>
              <a:gd name="connsiteY232" fmla="*/ 135232 h 2570073"/>
              <a:gd name="connsiteX233" fmla="*/ 613748 w 12191999"/>
              <a:gd name="connsiteY233" fmla="*/ 124603 h 2570073"/>
              <a:gd name="connsiteX234" fmla="*/ 624106 w 12191999"/>
              <a:gd name="connsiteY234" fmla="*/ 119882 h 2570073"/>
              <a:gd name="connsiteX235" fmla="*/ 642446 w 12191999"/>
              <a:gd name="connsiteY235" fmla="*/ 110167 h 2570073"/>
              <a:gd name="connsiteX236" fmla="*/ 685893 w 12191999"/>
              <a:gd name="connsiteY236" fmla="*/ 91726 h 2570073"/>
              <a:gd name="connsiteX237" fmla="*/ 707157 w 12191999"/>
              <a:gd name="connsiteY237" fmla="*/ 82036 h 2570073"/>
              <a:gd name="connsiteX238" fmla="*/ 715923 w 12191999"/>
              <a:gd name="connsiteY238" fmla="*/ 78980 h 2570073"/>
              <a:gd name="connsiteX239" fmla="*/ 731168 w 12191999"/>
              <a:gd name="connsiteY239" fmla="*/ 72509 h 2570073"/>
              <a:gd name="connsiteX240" fmla="*/ 781408 w 12191999"/>
              <a:gd name="connsiteY240" fmla="*/ 56150 h 2570073"/>
              <a:gd name="connsiteX241" fmla="*/ 804892 w 12191999"/>
              <a:gd name="connsiteY241" fmla="*/ 47963 h 2570073"/>
              <a:gd name="connsiteX242" fmla="*/ 811780 w 12191999"/>
              <a:gd name="connsiteY242" fmla="*/ 46260 h 2570073"/>
              <a:gd name="connsiteX243" fmla="*/ 823585 w 12191999"/>
              <a:gd name="connsiteY243" fmla="*/ 42416 h 2570073"/>
              <a:gd name="connsiteX244" fmla="*/ 881937 w 12191999"/>
              <a:gd name="connsiteY244" fmla="*/ 28918 h 2570073"/>
              <a:gd name="connsiteX245" fmla="*/ 906484 w 12191999"/>
              <a:gd name="connsiteY245" fmla="*/ 22850 h 2570073"/>
              <a:gd name="connsiteX246" fmla="*/ 911239 w 12191999"/>
              <a:gd name="connsiteY246" fmla="*/ 22139 h 2570073"/>
              <a:gd name="connsiteX247" fmla="*/ 919312 w 12191999"/>
              <a:gd name="connsiteY247" fmla="*/ 20272 h 2570073"/>
              <a:gd name="connsiteX248" fmla="*/ 989509 w 12191999"/>
              <a:gd name="connsiteY248" fmla="*/ 10445 h 2570073"/>
              <a:gd name="connsiteX249" fmla="*/ 1011467 w 12191999"/>
              <a:gd name="connsiteY249" fmla="*/ 7163 h 2570073"/>
              <a:gd name="connsiteX250" fmla="*/ 1013779 w 12191999"/>
              <a:gd name="connsiteY250" fmla="*/ 7047 h 2570073"/>
              <a:gd name="connsiteX251" fmla="*/ 1017965 w 12191999"/>
              <a:gd name="connsiteY251" fmla="*/ 6460 h 2570073"/>
              <a:gd name="connsiteX252" fmla="*/ 1066652 w 12191999"/>
              <a:gd name="connsiteY252" fmla="*/ 4155 h 2570073"/>
              <a:gd name="connsiteX253" fmla="*/ 1066652 w 12191999"/>
              <a:gd name="connsiteY253" fmla="*/ 1346 h 2570073"/>
              <a:gd name="connsiteX254" fmla="*/ 1111538 w 12191999"/>
              <a:gd name="connsiteY254" fmla="*/ 1346 h 2570073"/>
              <a:gd name="connsiteX255" fmla="*/ 1125987 w 12191999"/>
              <a:gd name="connsiteY255" fmla="*/ 1346 h 2570073"/>
              <a:gd name="connsiteX256" fmla="*/ 1126324 w 12191999"/>
              <a:gd name="connsiteY256" fmla="*/ 1346 h 2570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</a:cxnLst>
            <a:rect l="l" t="t" r="r" b="b"/>
            <a:pathLst>
              <a:path w="12191999" h="2570073">
                <a:moveTo>
                  <a:pt x="1126324" y="0"/>
                </a:moveTo>
                <a:lnTo>
                  <a:pt x="2454730" y="0"/>
                </a:lnTo>
                <a:lnTo>
                  <a:pt x="3481005" y="0"/>
                </a:lnTo>
                <a:lnTo>
                  <a:pt x="3540677" y="0"/>
                </a:lnTo>
                <a:lnTo>
                  <a:pt x="4809411" y="0"/>
                </a:lnTo>
                <a:lnTo>
                  <a:pt x="4869085" y="0"/>
                </a:lnTo>
                <a:lnTo>
                  <a:pt x="4869085" y="1332"/>
                </a:lnTo>
                <a:lnTo>
                  <a:pt x="5935733" y="1332"/>
                </a:lnTo>
                <a:lnTo>
                  <a:pt x="5935733" y="316755"/>
                </a:lnTo>
                <a:lnTo>
                  <a:pt x="5935733" y="1082676"/>
                </a:lnTo>
                <a:lnTo>
                  <a:pt x="5935736" y="1082676"/>
                </a:lnTo>
                <a:lnTo>
                  <a:pt x="5935736" y="1074434"/>
                </a:lnTo>
                <a:lnTo>
                  <a:pt x="5938273" y="1074434"/>
                </a:lnTo>
                <a:lnTo>
                  <a:pt x="5940855" y="1019920"/>
                </a:lnTo>
                <a:lnTo>
                  <a:pt x="5941326" y="1016613"/>
                </a:lnTo>
                <a:lnTo>
                  <a:pt x="5941548" y="1012207"/>
                </a:lnTo>
                <a:cubicBezTo>
                  <a:pt x="5948307" y="945669"/>
                  <a:pt x="5960857" y="880845"/>
                  <a:pt x="5978689" y="818244"/>
                </a:cubicBezTo>
                <a:lnTo>
                  <a:pt x="5980205" y="813682"/>
                </a:lnTo>
                <a:lnTo>
                  <a:pt x="5980394" y="812894"/>
                </a:lnTo>
                <a:lnTo>
                  <a:pt x="5983069" y="805066"/>
                </a:lnTo>
                <a:lnTo>
                  <a:pt x="6009331" y="726078"/>
                </a:lnTo>
                <a:lnTo>
                  <a:pt x="6012832" y="717971"/>
                </a:lnTo>
                <a:lnTo>
                  <a:pt x="6013885" y="714889"/>
                </a:lnTo>
                <a:lnTo>
                  <a:pt x="6021353" y="698231"/>
                </a:lnTo>
                <a:lnTo>
                  <a:pt x="6047512" y="637633"/>
                </a:lnTo>
                <a:lnTo>
                  <a:pt x="6053591" y="626323"/>
                </a:lnTo>
                <a:lnTo>
                  <a:pt x="6055899" y="621176"/>
                </a:lnTo>
                <a:lnTo>
                  <a:pt x="6066075" y="603101"/>
                </a:lnTo>
                <a:lnTo>
                  <a:pt x="6092846" y="553294"/>
                </a:lnTo>
                <a:lnTo>
                  <a:pt x="6102058" y="539178"/>
                </a:lnTo>
                <a:lnTo>
                  <a:pt x="6105971" y="532224"/>
                </a:lnTo>
                <a:lnTo>
                  <a:pt x="6117825" y="515013"/>
                </a:lnTo>
                <a:lnTo>
                  <a:pt x="6144948" y="473445"/>
                </a:lnTo>
                <a:lnTo>
                  <a:pt x="6157796" y="456974"/>
                </a:lnTo>
                <a:lnTo>
                  <a:pt x="6163633" y="448498"/>
                </a:lnTo>
                <a:lnTo>
                  <a:pt x="6176451" y="433062"/>
                </a:lnTo>
                <a:lnTo>
                  <a:pt x="6203435" y="398470"/>
                </a:lnTo>
                <a:lnTo>
                  <a:pt x="6220383" y="380147"/>
                </a:lnTo>
                <a:lnTo>
                  <a:pt x="6228423" y="370466"/>
                </a:lnTo>
                <a:lnTo>
                  <a:pt x="6241622" y="357186"/>
                </a:lnTo>
                <a:lnTo>
                  <a:pt x="6267921" y="328755"/>
                </a:lnTo>
                <a:lnTo>
                  <a:pt x="6289392" y="309131"/>
                </a:lnTo>
                <a:lnTo>
                  <a:pt x="6299866" y="298593"/>
                </a:lnTo>
                <a:lnTo>
                  <a:pt x="6312962" y="287587"/>
                </a:lnTo>
                <a:lnTo>
                  <a:pt x="6338022" y="264683"/>
                </a:lnTo>
                <a:lnTo>
                  <a:pt x="6364404" y="244356"/>
                </a:lnTo>
                <a:lnTo>
                  <a:pt x="6377503" y="233348"/>
                </a:lnTo>
                <a:lnTo>
                  <a:pt x="6390061" y="224587"/>
                </a:lnTo>
                <a:lnTo>
                  <a:pt x="6413357" y="206638"/>
                </a:lnTo>
                <a:lnTo>
                  <a:pt x="6445019" y="186248"/>
                </a:lnTo>
                <a:lnTo>
                  <a:pt x="6460863" y="175195"/>
                </a:lnTo>
                <a:lnTo>
                  <a:pt x="6472496" y="168554"/>
                </a:lnTo>
                <a:lnTo>
                  <a:pt x="6493537" y="155005"/>
                </a:lnTo>
                <a:lnTo>
                  <a:pt x="6530864" y="135232"/>
                </a:lnTo>
                <a:lnTo>
                  <a:pt x="6549482" y="124603"/>
                </a:lnTo>
                <a:lnTo>
                  <a:pt x="6559839" y="119882"/>
                </a:lnTo>
                <a:lnTo>
                  <a:pt x="6578180" y="110167"/>
                </a:lnTo>
                <a:lnTo>
                  <a:pt x="6621627" y="91726"/>
                </a:lnTo>
                <a:lnTo>
                  <a:pt x="6642892" y="82036"/>
                </a:lnTo>
                <a:lnTo>
                  <a:pt x="6651657" y="78980"/>
                </a:lnTo>
                <a:lnTo>
                  <a:pt x="6666902" y="72509"/>
                </a:lnTo>
                <a:lnTo>
                  <a:pt x="6717142" y="56150"/>
                </a:lnTo>
                <a:lnTo>
                  <a:pt x="6740626" y="47963"/>
                </a:lnTo>
                <a:lnTo>
                  <a:pt x="6747514" y="46260"/>
                </a:lnTo>
                <a:lnTo>
                  <a:pt x="6759319" y="42416"/>
                </a:lnTo>
                <a:lnTo>
                  <a:pt x="6817670" y="28918"/>
                </a:lnTo>
                <a:lnTo>
                  <a:pt x="6842218" y="22850"/>
                </a:lnTo>
                <a:lnTo>
                  <a:pt x="6846973" y="22139"/>
                </a:lnTo>
                <a:lnTo>
                  <a:pt x="6855046" y="20272"/>
                </a:lnTo>
                <a:lnTo>
                  <a:pt x="6925243" y="10445"/>
                </a:lnTo>
                <a:lnTo>
                  <a:pt x="6947201" y="7163"/>
                </a:lnTo>
                <a:lnTo>
                  <a:pt x="6949512" y="7047"/>
                </a:lnTo>
                <a:lnTo>
                  <a:pt x="6953699" y="6460"/>
                </a:lnTo>
                <a:lnTo>
                  <a:pt x="7002386" y="4155"/>
                </a:lnTo>
                <a:lnTo>
                  <a:pt x="7002386" y="1346"/>
                </a:lnTo>
                <a:lnTo>
                  <a:pt x="7047272" y="1346"/>
                </a:lnTo>
                <a:lnTo>
                  <a:pt x="7061721" y="1346"/>
                </a:lnTo>
                <a:lnTo>
                  <a:pt x="7062058" y="1346"/>
                </a:lnTo>
                <a:lnTo>
                  <a:pt x="7062058" y="0"/>
                </a:lnTo>
                <a:lnTo>
                  <a:pt x="9416738" y="0"/>
                </a:lnTo>
                <a:lnTo>
                  <a:pt x="9476411" y="0"/>
                </a:lnTo>
                <a:lnTo>
                  <a:pt x="9476411" y="1332"/>
                </a:lnTo>
                <a:lnTo>
                  <a:pt x="9621926" y="1332"/>
                </a:lnTo>
                <a:lnTo>
                  <a:pt x="9621926" y="1232695"/>
                </a:lnTo>
                <a:lnTo>
                  <a:pt x="9621927" y="1232695"/>
                </a:lnTo>
                <a:lnTo>
                  <a:pt x="9621927" y="1224666"/>
                </a:lnTo>
                <a:lnTo>
                  <a:pt x="9624974" y="1224666"/>
                </a:lnTo>
                <a:lnTo>
                  <a:pt x="9628560" y="1153649"/>
                </a:lnTo>
                <a:cubicBezTo>
                  <a:pt x="9694367" y="505662"/>
                  <a:pt x="10241613" y="0"/>
                  <a:pt x="10906963" y="0"/>
                </a:cubicBezTo>
                <a:cubicBezTo>
                  <a:pt x="11616669" y="0"/>
                  <a:pt x="12191999" y="575331"/>
                  <a:pt x="12191999" y="1285037"/>
                </a:cubicBezTo>
                <a:cubicBezTo>
                  <a:pt x="12191999" y="1950386"/>
                  <a:pt x="11686337" y="2497632"/>
                  <a:pt x="11038350" y="2563438"/>
                </a:cubicBezTo>
                <a:lnTo>
                  <a:pt x="10924212" y="2569202"/>
                </a:lnTo>
                <a:lnTo>
                  <a:pt x="10924212" y="2570073"/>
                </a:lnTo>
                <a:lnTo>
                  <a:pt x="10906963" y="2570073"/>
                </a:lnTo>
                <a:lnTo>
                  <a:pt x="10572749" y="2570073"/>
                </a:lnTo>
                <a:lnTo>
                  <a:pt x="9621927" y="2570073"/>
                </a:lnTo>
                <a:lnTo>
                  <a:pt x="9416738" y="2570073"/>
                </a:lnTo>
                <a:lnTo>
                  <a:pt x="7062058" y="2570073"/>
                </a:lnTo>
                <a:lnTo>
                  <a:pt x="7002386" y="2570073"/>
                </a:lnTo>
                <a:lnTo>
                  <a:pt x="6572250" y="2570073"/>
                </a:lnTo>
                <a:lnTo>
                  <a:pt x="6572250" y="2568741"/>
                </a:lnTo>
                <a:lnTo>
                  <a:pt x="5935736" y="2568741"/>
                </a:lnTo>
                <a:lnTo>
                  <a:pt x="5935736" y="2253318"/>
                </a:lnTo>
                <a:lnTo>
                  <a:pt x="5935736" y="1487489"/>
                </a:lnTo>
                <a:lnTo>
                  <a:pt x="5935733" y="1487489"/>
                </a:lnTo>
                <a:lnTo>
                  <a:pt x="5935733" y="1495639"/>
                </a:lnTo>
                <a:lnTo>
                  <a:pt x="5933197" y="1495639"/>
                </a:lnTo>
                <a:lnTo>
                  <a:pt x="5930617" y="1550153"/>
                </a:lnTo>
                <a:lnTo>
                  <a:pt x="5930144" y="1553460"/>
                </a:lnTo>
                <a:lnTo>
                  <a:pt x="5929922" y="1557867"/>
                </a:lnTo>
                <a:cubicBezTo>
                  <a:pt x="5923165" y="1624404"/>
                  <a:pt x="5910612" y="1689229"/>
                  <a:pt x="5892783" y="1751829"/>
                </a:cubicBezTo>
                <a:lnTo>
                  <a:pt x="5891264" y="1756392"/>
                </a:lnTo>
                <a:lnTo>
                  <a:pt x="5891075" y="1757179"/>
                </a:lnTo>
                <a:lnTo>
                  <a:pt x="5888401" y="1765008"/>
                </a:lnTo>
                <a:lnTo>
                  <a:pt x="5862138" y="1843996"/>
                </a:lnTo>
                <a:lnTo>
                  <a:pt x="5858638" y="1852103"/>
                </a:lnTo>
                <a:lnTo>
                  <a:pt x="5857585" y="1855185"/>
                </a:lnTo>
                <a:lnTo>
                  <a:pt x="5850118" y="1871843"/>
                </a:lnTo>
                <a:lnTo>
                  <a:pt x="5823958" y="1932441"/>
                </a:lnTo>
                <a:lnTo>
                  <a:pt x="5817879" y="1943751"/>
                </a:lnTo>
                <a:lnTo>
                  <a:pt x="5815571" y="1948897"/>
                </a:lnTo>
                <a:lnTo>
                  <a:pt x="5805397" y="1966972"/>
                </a:lnTo>
                <a:lnTo>
                  <a:pt x="5778624" y="2016780"/>
                </a:lnTo>
                <a:lnTo>
                  <a:pt x="5769414" y="2030895"/>
                </a:lnTo>
                <a:lnTo>
                  <a:pt x="5765499" y="2037850"/>
                </a:lnTo>
                <a:lnTo>
                  <a:pt x="5753645" y="2055061"/>
                </a:lnTo>
                <a:lnTo>
                  <a:pt x="5726522" y="2096629"/>
                </a:lnTo>
                <a:lnTo>
                  <a:pt x="5713674" y="2113099"/>
                </a:lnTo>
                <a:lnTo>
                  <a:pt x="5707835" y="2121576"/>
                </a:lnTo>
                <a:lnTo>
                  <a:pt x="5695021" y="2137011"/>
                </a:lnTo>
                <a:lnTo>
                  <a:pt x="5668037" y="2171603"/>
                </a:lnTo>
                <a:lnTo>
                  <a:pt x="5651087" y="2189926"/>
                </a:lnTo>
                <a:lnTo>
                  <a:pt x="5643049" y="2199608"/>
                </a:lnTo>
                <a:lnTo>
                  <a:pt x="5629848" y="2212888"/>
                </a:lnTo>
                <a:lnTo>
                  <a:pt x="5603549" y="2241318"/>
                </a:lnTo>
                <a:lnTo>
                  <a:pt x="5582080" y="2260943"/>
                </a:lnTo>
                <a:lnTo>
                  <a:pt x="5571603" y="2271480"/>
                </a:lnTo>
                <a:lnTo>
                  <a:pt x="5558507" y="2282487"/>
                </a:lnTo>
                <a:lnTo>
                  <a:pt x="5533446" y="2305391"/>
                </a:lnTo>
                <a:lnTo>
                  <a:pt x="5507067" y="2325718"/>
                </a:lnTo>
                <a:lnTo>
                  <a:pt x="5493967" y="2336726"/>
                </a:lnTo>
                <a:lnTo>
                  <a:pt x="5481408" y="2345487"/>
                </a:lnTo>
                <a:lnTo>
                  <a:pt x="5458115" y="2363435"/>
                </a:lnTo>
                <a:lnTo>
                  <a:pt x="5426451" y="2383826"/>
                </a:lnTo>
                <a:lnTo>
                  <a:pt x="5410606" y="2394879"/>
                </a:lnTo>
                <a:lnTo>
                  <a:pt x="5398974" y="2401520"/>
                </a:lnTo>
                <a:lnTo>
                  <a:pt x="5377932" y="2415069"/>
                </a:lnTo>
                <a:lnTo>
                  <a:pt x="5340606" y="2434842"/>
                </a:lnTo>
                <a:lnTo>
                  <a:pt x="5321988" y="2445471"/>
                </a:lnTo>
                <a:lnTo>
                  <a:pt x="5311630" y="2450191"/>
                </a:lnTo>
                <a:lnTo>
                  <a:pt x="5293290" y="2459906"/>
                </a:lnTo>
                <a:lnTo>
                  <a:pt x="5249844" y="2478347"/>
                </a:lnTo>
                <a:lnTo>
                  <a:pt x="5228578" y="2488037"/>
                </a:lnTo>
                <a:lnTo>
                  <a:pt x="5219811" y="2491093"/>
                </a:lnTo>
                <a:lnTo>
                  <a:pt x="5204566" y="2497564"/>
                </a:lnTo>
                <a:lnTo>
                  <a:pt x="5154327" y="2513923"/>
                </a:lnTo>
                <a:lnTo>
                  <a:pt x="5130844" y="2522110"/>
                </a:lnTo>
                <a:lnTo>
                  <a:pt x="5123955" y="2523813"/>
                </a:lnTo>
                <a:lnTo>
                  <a:pt x="5112150" y="2527657"/>
                </a:lnTo>
                <a:lnTo>
                  <a:pt x="5053798" y="2541156"/>
                </a:lnTo>
                <a:lnTo>
                  <a:pt x="5029252" y="2547223"/>
                </a:lnTo>
                <a:lnTo>
                  <a:pt x="5024497" y="2547934"/>
                </a:lnTo>
                <a:lnTo>
                  <a:pt x="5016423" y="2549802"/>
                </a:lnTo>
                <a:lnTo>
                  <a:pt x="4946226" y="2559629"/>
                </a:lnTo>
                <a:lnTo>
                  <a:pt x="4924267" y="2562910"/>
                </a:lnTo>
                <a:lnTo>
                  <a:pt x="4921958" y="2563027"/>
                </a:lnTo>
                <a:lnTo>
                  <a:pt x="4917769" y="2563613"/>
                </a:lnTo>
                <a:lnTo>
                  <a:pt x="4869085" y="2565918"/>
                </a:lnTo>
                <a:lnTo>
                  <a:pt x="4869085" y="2568728"/>
                </a:lnTo>
                <a:lnTo>
                  <a:pt x="4824196" y="2568728"/>
                </a:lnTo>
                <a:lnTo>
                  <a:pt x="4809749" y="2568728"/>
                </a:lnTo>
                <a:lnTo>
                  <a:pt x="4809411" y="2568728"/>
                </a:lnTo>
                <a:lnTo>
                  <a:pt x="4809411" y="2570073"/>
                </a:lnTo>
                <a:lnTo>
                  <a:pt x="3481005" y="2570073"/>
                </a:lnTo>
                <a:lnTo>
                  <a:pt x="2454730" y="2570073"/>
                </a:lnTo>
                <a:lnTo>
                  <a:pt x="2395058" y="2570073"/>
                </a:lnTo>
                <a:lnTo>
                  <a:pt x="1126324" y="2570073"/>
                </a:lnTo>
                <a:lnTo>
                  <a:pt x="1066652" y="2570073"/>
                </a:lnTo>
                <a:lnTo>
                  <a:pt x="1066652" y="2568741"/>
                </a:lnTo>
                <a:lnTo>
                  <a:pt x="1" y="2568741"/>
                </a:lnTo>
                <a:lnTo>
                  <a:pt x="1" y="2253318"/>
                </a:lnTo>
                <a:lnTo>
                  <a:pt x="1" y="1443429"/>
                </a:lnTo>
                <a:lnTo>
                  <a:pt x="1" y="1442766"/>
                </a:lnTo>
                <a:lnTo>
                  <a:pt x="0" y="1442755"/>
                </a:lnTo>
                <a:lnTo>
                  <a:pt x="1" y="1442744"/>
                </a:lnTo>
                <a:lnTo>
                  <a:pt x="1" y="1389857"/>
                </a:lnTo>
                <a:lnTo>
                  <a:pt x="1" y="1128007"/>
                </a:lnTo>
                <a:lnTo>
                  <a:pt x="1" y="1127343"/>
                </a:lnTo>
                <a:lnTo>
                  <a:pt x="0" y="1127332"/>
                </a:lnTo>
                <a:lnTo>
                  <a:pt x="1" y="1127322"/>
                </a:lnTo>
                <a:lnTo>
                  <a:pt x="1" y="1074434"/>
                </a:lnTo>
                <a:lnTo>
                  <a:pt x="2538" y="1074434"/>
                </a:lnTo>
                <a:lnTo>
                  <a:pt x="5119" y="1019920"/>
                </a:lnTo>
                <a:lnTo>
                  <a:pt x="5592" y="1016613"/>
                </a:lnTo>
                <a:lnTo>
                  <a:pt x="5814" y="1012207"/>
                </a:lnTo>
                <a:cubicBezTo>
                  <a:pt x="12572" y="945669"/>
                  <a:pt x="25122" y="880845"/>
                  <a:pt x="42953" y="818244"/>
                </a:cubicBezTo>
                <a:lnTo>
                  <a:pt x="44470" y="813682"/>
                </a:lnTo>
                <a:lnTo>
                  <a:pt x="44660" y="812894"/>
                </a:lnTo>
                <a:lnTo>
                  <a:pt x="47335" y="805066"/>
                </a:lnTo>
                <a:lnTo>
                  <a:pt x="73597" y="726078"/>
                </a:lnTo>
                <a:lnTo>
                  <a:pt x="77097" y="717971"/>
                </a:lnTo>
                <a:lnTo>
                  <a:pt x="78150" y="714889"/>
                </a:lnTo>
                <a:lnTo>
                  <a:pt x="85619" y="698231"/>
                </a:lnTo>
                <a:lnTo>
                  <a:pt x="111778" y="637633"/>
                </a:lnTo>
                <a:lnTo>
                  <a:pt x="117857" y="626323"/>
                </a:lnTo>
                <a:lnTo>
                  <a:pt x="120165" y="621176"/>
                </a:lnTo>
                <a:lnTo>
                  <a:pt x="130339" y="603101"/>
                </a:lnTo>
                <a:lnTo>
                  <a:pt x="157112" y="553294"/>
                </a:lnTo>
                <a:lnTo>
                  <a:pt x="166322" y="539178"/>
                </a:lnTo>
                <a:lnTo>
                  <a:pt x="170237" y="532224"/>
                </a:lnTo>
                <a:lnTo>
                  <a:pt x="182090" y="515013"/>
                </a:lnTo>
                <a:lnTo>
                  <a:pt x="209214" y="473445"/>
                </a:lnTo>
                <a:lnTo>
                  <a:pt x="222062" y="456974"/>
                </a:lnTo>
                <a:lnTo>
                  <a:pt x="227900" y="448498"/>
                </a:lnTo>
                <a:lnTo>
                  <a:pt x="240715" y="433062"/>
                </a:lnTo>
                <a:lnTo>
                  <a:pt x="267700" y="398470"/>
                </a:lnTo>
                <a:lnTo>
                  <a:pt x="284649" y="380147"/>
                </a:lnTo>
                <a:lnTo>
                  <a:pt x="292687" y="370466"/>
                </a:lnTo>
                <a:lnTo>
                  <a:pt x="305888" y="357186"/>
                </a:lnTo>
                <a:lnTo>
                  <a:pt x="332186" y="328755"/>
                </a:lnTo>
                <a:lnTo>
                  <a:pt x="353657" y="309131"/>
                </a:lnTo>
                <a:lnTo>
                  <a:pt x="364133" y="298593"/>
                </a:lnTo>
                <a:lnTo>
                  <a:pt x="377228" y="287587"/>
                </a:lnTo>
                <a:lnTo>
                  <a:pt x="402288" y="264683"/>
                </a:lnTo>
                <a:lnTo>
                  <a:pt x="428670" y="244356"/>
                </a:lnTo>
                <a:lnTo>
                  <a:pt x="441769" y="233348"/>
                </a:lnTo>
                <a:lnTo>
                  <a:pt x="454327" y="224587"/>
                </a:lnTo>
                <a:lnTo>
                  <a:pt x="477622" y="206638"/>
                </a:lnTo>
                <a:lnTo>
                  <a:pt x="509285" y="186248"/>
                </a:lnTo>
                <a:lnTo>
                  <a:pt x="525129" y="175195"/>
                </a:lnTo>
                <a:lnTo>
                  <a:pt x="536762" y="168554"/>
                </a:lnTo>
                <a:lnTo>
                  <a:pt x="557803" y="155005"/>
                </a:lnTo>
                <a:lnTo>
                  <a:pt x="595129" y="135232"/>
                </a:lnTo>
                <a:lnTo>
                  <a:pt x="613748" y="124603"/>
                </a:lnTo>
                <a:lnTo>
                  <a:pt x="624106" y="119882"/>
                </a:lnTo>
                <a:lnTo>
                  <a:pt x="642446" y="110167"/>
                </a:lnTo>
                <a:lnTo>
                  <a:pt x="685893" y="91726"/>
                </a:lnTo>
                <a:lnTo>
                  <a:pt x="707157" y="82036"/>
                </a:lnTo>
                <a:lnTo>
                  <a:pt x="715923" y="78980"/>
                </a:lnTo>
                <a:lnTo>
                  <a:pt x="731168" y="72509"/>
                </a:lnTo>
                <a:lnTo>
                  <a:pt x="781408" y="56150"/>
                </a:lnTo>
                <a:lnTo>
                  <a:pt x="804892" y="47963"/>
                </a:lnTo>
                <a:lnTo>
                  <a:pt x="811780" y="46260"/>
                </a:lnTo>
                <a:lnTo>
                  <a:pt x="823585" y="42416"/>
                </a:lnTo>
                <a:lnTo>
                  <a:pt x="881937" y="28918"/>
                </a:lnTo>
                <a:lnTo>
                  <a:pt x="906484" y="22850"/>
                </a:lnTo>
                <a:lnTo>
                  <a:pt x="911239" y="22139"/>
                </a:lnTo>
                <a:lnTo>
                  <a:pt x="919312" y="20272"/>
                </a:lnTo>
                <a:lnTo>
                  <a:pt x="989509" y="10445"/>
                </a:lnTo>
                <a:lnTo>
                  <a:pt x="1011467" y="7163"/>
                </a:lnTo>
                <a:lnTo>
                  <a:pt x="1013779" y="7047"/>
                </a:lnTo>
                <a:lnTo>
                  <a:pt x="1017965" y="6460"/>
                </a:lnTo>
                <a:lnTo>
                  <a:pt x="1066652" y="4155"/>
                </a:lnTo>
                <a:lnTo>
                  <a:pt x="1066652" y="1346"/>
                </a:lnTo>
                <a:lnTo>
                  <a:pt x="1111538" y="1346"/>
                </a:lnTo>
                <a:lnTo>
                  <a:pt x="1125987" y="1346"/>
                </a:lnTo>
                <a:lnTo>
                  <a:pt x="1126324" y="134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8048031-9346-4EA8-B0BB-6AEC838796E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38739" y="1831975"/>
            <a:ext cx="2014092" cy="4290612"/>
          </a:xfrm>
          <a:custGeom>
            <a:avLst/>
            <a:gdLst>
              <a:gd name="connsiteX0" fmla="*/ 249969 w 2014092"/>
              <a:gd name="connsiteY0" fmla="*/ 0 h 4290612"/>
              <a:gd name="connsiteX1" fmla="*/ 1764123 w 2014092"/>
              <a:gd name="connsiteY1" fmla="*/ 0 h 4290612"/>
              <a:gd name="connsiteX2" fmla="*/ 2014092 w 2014092"/>
              <a:gd name="connsiteY2" fmla="*/ 249969 h 4290612"/>
              <a:gd name="connsiteX3" fmla="*/ 2014092 w 2014092"/>
              <a:gd name="connsiteY3" fmla="*/ 4040643 h 4290612"/>
              <a:gd name="connsiteX4" fmla="*/ 1764123 w 2014092"/>
              <a:gd name="connsiteY4" fmla="*/ 4290612 h 4290612"/>
              <a:gd name="connsiteX5" fmla="*/ 249969 w 2014092"/>
              <a:gd name="connsiteY5" fmla="*/ 4290612 h 4290612"/>
              <a:gd name="connsiteX6" fmla="*/ 0 w 2014092"/>
              <a:gd name="connsiteY6" fmla="*/ 4040643 h 4290612"/>
              <a:gd name="connsiteX7" fmla="*/ 0 w 2014092"/>
              <a:gd name="connsiteY7" fmla="*/ 249969 h 4290612"/>
              <a:gd name="connsiteX8" fmla="*/ 249969 w 2014092"/>
              <a:gd name="connsiteY8" fmla="*/ 0 h 4290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4092" h="4290612">
                <a:moveTo>
                  <a:pt x="249969" y="0"/>
                </a:moveTo>
                <a:lnTo>
                  <a:pt x="1764123" y="0"/>
                </a:lnTo>
                <a:cubicBezTo>
                  <a:pt x="1902177" y="0"/>
                  <a:pt x="2014092" y="111915"/>
                  <a:pt x="2014092" y="249969"/>
                </a:cubicBezTo>
                <a:lnTo>
                  <a:pt x="2014092" y="4040643"/>
                </a:lnTo>
                <a:cubicBezTo>
                  <a:pt x="2014092" y="4178697"/>
                  <a:pt x="1902177" y="4290612"/>
                  <a:pt x="1764123" y="4290612"/>
                </a:cubicBezTo>
                <a:lnTo>
                  <a:pt x="249969" y="4290612"/>
                </a:lnTo>
                <a:cubicBezTo>
                  <a:pt x="111915" y="4290612"/>
                  <a:pt x="0" y="4178697"/>
                  <a:pt x="0" y="4040643"/>
                </a:cubicBezTo>
                <a:lnTo>
                  <a:pt x="0" y="249969"/>
                </a:lnTo>
                <a:cubicBezTo>
                  <a:pt x="0" y="111915"/>
                  <a:pt x="111915" y="0"/>
                  <a:pt x="24996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05532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D4529F-0E75-46EC-990D-BB8F30B0F6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85028" y="1473975"/>
            <a:ext cx="4206345" cy="3113438"/>
          </a:xfrm>
          <a:custGeom>
            <a:avLst/>
            <a:gdLst>
              <a:gd name="connsiteX0" fmla="*/ 4184082 w 4206345"/>
              <a:gd name="connsiteY0" fmla="*/ 32 h 3113438"/>
              <a:gd name="connsiteX1" fmla="*/ 4194531 w 4206345"/>
              <a:gd name="connsiteY1" fmla="*/ 7640 h 3113438"/>
              <a:gd name="connsiteX2" fmla="*/ 4196160 w 4206345"/>
              <a:gd name="connsiteY2" fmla="*/ 32415 h 3113438"/>
              <a:gd name="connsiteX3" fmla="*/ 4194083 w 4206345"/>
              <a:gd name="connsiteY3" fmla="*/ 139544 h 3113438"/>
              <a:gd name="connsiteX4" fmla="*/ 4195412 w 4206345"/>
              <a:gd name="connsiteY4" fmla="*/ 500244 h 3113438"/>
              <a:gd name="connsiteX5" fmla="*/ 4196383 w 4206345"/>
              <a:gd name="connsiteY5" fmla="*/ 830282 h 3113438"/>
              <a:gd name="connsiteX6" fmla="*/ 4198700 w 4206345"/>
              <a:gd name="connsiteY6" fmla="*/ 1256440 h 3113438"/>
              <a:gd name="connsiteX7" fmla="*/ 4199834 w 4206345"/>
              <a:gd name="connsiteY7" fmla="*/ 1588956 h 3113438"/>
              <a:gd name="connsiteX8" fmla="*/ 4201553 w 4206345"/>
              <a:gd name="connsiteY8" fmla="*/ 2006030 h 3113438"/>
              <a:gd name="connsiteX9" fmla="*/ 4202688 w 4206345"/>
              <a:gd name="connsiteY9" fmla="*/ 2338544 h 3113438"/>
              <a:gd name="connsiteX10" fmla="*/ 4204732 w 4206345"/>
              <a:gd name="connsiteY10" fmla="*/ 2823610 h 3113438"/>
              <a:gd name="connsiteX11" fmla="*/ 4205390 w 4206345"/>
              <a:gd name="connsiteY11" fmla="*/ 3073216 h 3113438"/>
              <a:gd name="connsiteX12" fmla="*/ 4206345 w 4206345"/>
              <a:gd name="connsiteY12" fmla="*/ 3112964 h 3113438"/>
              <a:gd name="connsiteX13" fmla="*/ 4177344 w 4206345"/>
              <a:gd name="connsiteY13" fmla="*/ 3113212 h 3113438"/>
              <a:gd name="connsiteX14" fmla="*/ 3761930 w 4206345"/>
              <a:gd name="connsiteY14" fmla="*/ 3112324 h 3113438"/>
              <a:gd name="connsiteX15" fmla="*/ 3302549 w 4206345"/>
              <a:gd name="connsiteY15" fmla="*/ 3111008 h 3113438"/>
              <a:gd name="connsiteX16" fmla="*/ 2936882 w 4206345"/>
              <a:gd name="connsiteY16" fmla="*/ 3110164 h 3113438"/>
              <a:gd name="connsiteX17" fmla="*/ 2573692 w 4206345"/>
              <a:gd name="connsiteY17" fmla="*/ 3109160 h 3113438"/>
              <a:gd name="connsiteX18" fmla="*/ 2257825 w 4206345"/>
              <a:gd name="connsiteY18" fmla="*/ 3109192 h 3113438"/>
              <a:gd name="connsiteX19" fmla="*/ 1941850 w 4206345"/>
              <a:gd name="connsiteY19" fmla="*/ 3107572 h 3113438"/>
              <a:gd name="connsiteX20" fmla="*/ 1674078 w 4206345"/>
              <a:gd name="connsiteY20" fmla="*/ 3107758 h 3113438"/>
              <a:gd name="connsiteX21" fmla="*/ 1358104 w 4206345"/>
              <a:gd name="connsiteY21" fmla="*/ 3106138 h 3113438"/>
              <a:gd name="connsiteX22" fmla="*/ 1090332 w 4206345"/>
              <a:gd name="connsiteY22" fmla="*/ 3106324 h 3113438"/>
              <a:gd name="connsiteX23" fmla="*/ 824103 w 4206345"/>
              <a:gd name="connsiteY23" fmla="*/ 3104752 h 3113438"/>
              <a:gd name="connsiteX24" fmla="*/ 606078 w 4206345"/>
              <a:gd name="connsiteY24" fmla="*/ 3104984 h 3113438"/>
              <a:gd name="connsiteX25" fmla="*/ 338198 w 4206345"/>
              <a:gd name="connsiteY25" fmla="*/ 3103520 h 3113438"/>
              <a:gd name="connsiteX26" fmla="*/ 120172 w 4206345"/>
              <a:gd name="connsiteY26" fmla="*/ 3103754 h 3113438"/>
              <a:gd name="connsiteX27" fmla="*/ 869 w 4206345"/>
              <a:gd name="connsiteY27" fmla="*/ 3104962 h 3113438"/>
              <a:gd name="connsiteX28" fmla="*/ 0 w 4206345"/>
              <a:gd name="connsiteY28" fmla="*/ 3091748 h 3113438"/>
              <a:gd name="connsiteX29" fmla="*/ 8104 w 4206345"/>
              <a:gd name="connsiteY29" fmla="*/ 3013252 h 3113438"/>
              <a:gd name="connsiteX30" fmla="*/ 36449 w 4206345"/>
              <a:gd name="connsiteY30" fmla="*/ 2637330 h 3113438"/>
              <a:gd name="connsiteX31" fmla="*/ 61296 w 4206345"/>
              <a:gd name="connsiteY31" fmla="*/ 2296472 h 3113438"/>
              <a:gd name="connsiteX32" fmla="*/ 87978 w 4206345"/>
              <a:gd name="connsiteY32" fmla="*/ 1933100 h 3113438"/>
              <a:gd name="connsiteX33" fmla="*/ 112423 w 4206345"/>
              <a:gd name="connsiteY33" fmla="*/ 1611344 h 3113438"/>
              <a:gd name="connsiteX34" fmla="*/ 137878 w 4206345"/>
              <a:gd name="connsiteY34" fmla="*/ 1267128 h 3113438"/>
              <a:gd name="connsiteX35" fmla="*/ 158259 w 4206345"/>
              <a:gd name="connsiteY35" fmla="*/ 997064 h 3113438"/>
              <a:gd name="connsiteX36" fmla="*/ 168516 w 4206345"/>
              <a:gd name="connsiteY36" fmla="*/ 850414 h 3113438"/>
              <a:gd name="connsiteX37" fmla="*/ 171275 w 4206345"/>
              <a:gd name="connsiteY37" fmla="*/ 841938 h 3113438"/>
              <a:gd name="connsiteX38" fmla="*/ 406788 w 4206345"/>
              <a:gd name="connsiteY38" fmla="*/ 792452 h 3113438"/>
              <a:gd name="connsiteX39" fmla="*/ 648851 w 4206345"/>
              <a:gd name="connsiteY39" fmla="*/ 741700 h 3113438"/>
              <a:gd name="connsiteX40" fmla="*/ 915461 w 4206345"/>
              <a:gd name="connsiteY40" fmla="*/ 686020 h 3113438"/>
              <a:gd name="connsiteX41" fmla="*/ 1180421 w 4206345"/>
              <a:gd name="connsiteY41" fmla="*/ 630450 h 3113438"/>
              <a:gd name="connsiteX42" fmla="*/ 1445380 w 4206345"/>
              <a:gd name="connsiteY42" fmla="*/ 574878 h 3113438"/>
              <a:gd name="connsiteX43" fmla="*/ 1734886 w 4206345"/>
              <a:gd name="connsiteY43" fmla="*/ 514374 h 3113438"/>
              <a:gd name="connsiteX44" fmla="*/ 2046463 w 4206345"/>
              <a:gd name="connsiteY44" fmla="*/ 449102 h 3113438"/>
              <a:gd name="connsiteX45" fmla="*/ 2380992 w 4206345"/>
              <a:gd name="connsiteY45" fmla="*/ 379834 h 3113438"/>
              <a:gd name="connsiteX46" fmla="*/ 2716237 w 4206345"/>
              <a:gd name="connsiteY46" fmla="*/ 308860 h 3113438"/>
              <a:gd name="connsiteX47" fmla="*/ 3097329 w 4206345"/>
              <a:gd name="connsiteY47" fmla="*/ 229065 h 3113438"/>
              <a:gd name="connsiteX48" fmla="*/ 3502144 w 4206345"/>
              <a:gd name="connsiteY48" fmla="*/ 144392 h 3113438"/>
              <a:gd name="connsiteX49" fmla="*/ 3953575 w 4206345"/>
              <a:gd name="connsiteY49" fmla="*/ 50021 h 3113438"/>
              <a:gd name="connsiteX50" fmla="*/ 4171916 w 4206345"/>
              <a:gd name="connsiteY50" fmla="*/ 4149 h 3113438"/>
              <a:gd name="connsiteX51" fmla="*/ 4184082 w 4206345"/>
              <a:gd name="connsiteY51" fmla="*/ 32 h 3113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4206345" h="3113438">
                <a:moveTo>
                  <a:pt x="4184082" y="32"/>
                </a:moveTo>
                <a:cubicBezTo>
                  <a:pt x="4189089" y="533"/>
                  <a:pt x="4195530" y="-2379"/>
                  <a:pt x="4194531" y="7640"/>
                </a:cubicBezTo>
                <a:cubicBezTo>
                  <a:pt x="4193422" y="16006"/>
                  <a:pt x="4195617" y="24156"/>
                  <a:pt x="4196160" y="32415"/>
                </a:cubicBezTo>
                <a:cubicBezTo>
                  <a:pt x="4195192" y="68142"/>
                  <a:pt x="4194224" y="103870"/>
                  <a:pt x="4194083" y="139544"/>
                </a:cubicBezTo>
                <a:cubicBezTo>
                  <a:pt x="4193700" y="259832"/>
                  <a:pt x="4194969" y="380012"/>
                  <a:pt x="4195412" y="500244"/>
                </a:cubicBezTo>
                <a:cubicBezTo>
                  <a:pt x="4196029" y="610514"/>
                  <a:pt x="4196592" y="719958"/>
                  <a:pt x="4196383" y="830282"/>
                </a:cubicBezTo>
                <a:cubicBezTo>
                  <a:pt x="4197413" y="972040"/>
                  <a:pt x="4197671" y="1114682"/>
                  <a:pt x="4198700" y="1256440"/>
                </a:cubicBezTo>
                <a:cubicBezTo>
                  <a:pt x="4198546" y="1367592"/>
                  <a:pt x="4199217" y="1478688"/>
                  <a:pt x="4199834" y="1588956"/>
                </a:cubicBezTo>
                <a:cubicBezTo>
                  <a:pt x="4200700" y="1728238"/>
                  <a:pt x="4200742" y="1867576"/>
                  <a:pt x="4201553" y="2006030"/>
                </a:cubicBezTo>
                <a:cubicBezTo>
                  <a:pt x="4202225" y="2117126"/>
                  <a:pt x="4202896" y="2228222"/>
                  <a:pt x="4202688" y="2338544"/>
                </a:cubicBezTo>
                <a:cubicBezTo>
                  <a:pt x="4203369" y="2500232"/>
                  <a:pt x="4204050" y="2661922"/>
                  <a:pt x="4204732" y="2823610"/>
                </a:cubicBezTo>
                <a:cubicBezTo>
                  <a:pt x="4205262" y="2907344"/>
                  <a:pt x="4205739" y="2990252"/>
                  <a:pt x="4205390" y="3073216"/>
                </a:cubicBezTo>
                <a:cubicBezTo>
                  <a:pt x="4206258" y="3086428"/>
                  <a:pt x="4206247" y="3098872"/>
                  <a:pt x="4206345" y="3112964"/>
                </a:cubicBezTo>
                <a:cubicBezTo>
                  <a:pt x="4195613" y="3113670"/>
                  <a:pt x="4186478" y="3113440"/>
                  <a:pt x="4177344" y="3113212"/>
                </a:cubicBezTo>
                <a:cubicBezTo>
                  <a:pt x="4038891" y="3113192"/>
                  <a:pt x="3900438" y="3113170"/>
                  <a:pt x="3761930" y="3112324"/>
                </a:cubicBezTo>
                <a:cubicBezTo>
                  <a:pt x="3609390" y="3112398"/>
                  <a:pt x="3455970" y="3111704"/>
                  <a:pt x="3302549" y="3111008"/>
                </a:cubicBezTo>
                <a:cubicBezTo>
                  <a:pt x="3180660" y="3110726"/>
                  <a:pt x="3058826" y="3111272"/>
                  <a:pt x="2936882" y="3110164"/>
                </a:cubicBezTo>
                <a:cubicBezTo>
                  <a:pt x="2815819" y="3109832"/>
                  <a:pt x="2694755" y="3109496"/>
                  <a:pt x="2573692" y="3109160"/>
                </a:cubicBezTo>
                <a:cubicBezTo>
                  <a:pt x="2468366" y="3108620"/>
                  <a:pt x="2363096" y="3108906"/>
                  <a:pt x="2257825" y="3109192"/>
                </a:cubicBezTo>
                <a:cubicBezTo>
                  <a:pt x="2152500" y="3108652"/>
                  <a:pt x="2047175" y="3108112"/>
                  <a:pt x="1941850" y="3107572"/>
                </a:cubicBezTo>
                <a:cubicBezTo>
                  <a:pt x="1852317" y="3107652"/>
                  <a:pt x="1762786" y="3107732"/>
                  <a:pt x="1674078" y="3107758"/>
                </a:cubicBezTo>
                <a:cubicBezTo>
                  <a:pt x="1568753" y="3107216"/>
                  <a:pt x="1463428" y="3106678"/>
                  <a:pt x="1358104" y="3106138"/>
                </a:cubicBezTo>
                <a:cubicBezTo>
                  <a:pt x="1268571" y="3106218"/>
                  <a:pt x="1179864" y="3106244"/>
                  <a:pt x="1090332" y="3106324"/>
                </a:cubicBezTo>
                <a:cubicBezTo>
                  <a:pt x="1001571" y="3105524"/>
                  <a:pt x="912809" y="3104724"/>
                  <a:pt x="824103" y="3104752"/>
                </a:cubicBezTo>
                <a:cubicBezTo>
                  <a:pt x="751134" y="3104572"/>
                  <a:pt x="679046" y="3105164"/>
                  <a:pt x="606078" y="3104984"/>
                </a:cubicBezTo>
                <a:cubicBezTo>
                  <a:pt x="516491" y="3104240"/>
                  <a:pt x="427730" y="3103440"/>
                  <a:pt x="338198" y="3103520"/>
                </a:cubicBezTo>
                <a:cubicBezTo>
                  <a:pt x="265229" y="3103340"/>
                  <a:pt x="193087" y="3103108"/>
                  <a:pt x="120172" y="3103754"/>
                </a:cubicBezTo>
                <a:cubicBezTo>
                  <a:pt x="80387" y="3103880"/>
                  <a:pt x="40655" y="3104836"/>
                  <a:pt x="869" y="3104962"/>
                </a:cubicBezTo>
                <a:cubicBezTo>
                  <a:pt x="597" y="3100832"/>
                  <a:pt x="272" y="3095878"/>
                  <a:pt x="0" y="3091748"/>
                </a:cubicBezTo>
                <a:cubicBezTo>
                  <a:pt x="3270" y="3065822"/>
                  <a:pt x="5660" y="3039124"/>
                  <a:pt x="8104" y="3013252"/>
                </a:cubicBezTo>
                <a:cubicBezTo>
                  <a:pt x="17296" y="2888238"/>
                  <a:pt x="27312" y="2763170"/>
                  <a:pt x="36449" y="2637330"/>
                </a:cubicBezTo>
                <a:cubicBezTo>
                  <a:pt x="44749" y="2523984"/>
                  <a:pt x="53050" y="2410640"/>
                  <a:pt x="61296" y="2296472"/>
                </a:cubicBezTo>
                <a:cubicBezTo>
                  <a:pt x="69933" y="2175640"/>
                  <a:pt x="79341" y="2053930"/>
                  <a:pt x="87978" y="1933100"/>
                </a:cubicBezTo>
                <a:cubicBezTo>
                  <a:pt x="96659" y="1825536"/>
                  <a:pt x="104568" y="1718852"/>
                  <a:pt x="112423" y="1611344"/>
                </a:cubicBezTo>
                <a:cubicBezTo>
                  <a:pt x="120669" y="1497174"/>
                  <a:pt x="129687" y="1382124"/>
                  <a:pt x="137878" y="1267128"/>
                </a:cubicBezTo>
                <a:cubicBezTo>
                  <a:pt x="145222" y="1177072"/>
                  <a:pt x="151741" y="1087068"/>
                  <a:pt x="158259" y="997064"/>
                </a:cubicBezTo>
                <a:cubicBezTo>
                  <a:pt x="161715" y="948730"/>
                  <a:pt x="165115" y="899572"/>
                  <a:pt x="168516" y="850414"/>
                </a:cubicBezTo>
                <a:cubicBezTo>
                  <a:pt x="169178" y="847882"/>
                  <a:pt x="169841" y="845352"/>
                  <a:pt x="171275" y="841938"/>
                </a:cubicBezTo>
                <a:cubicBezTo>
                  <a:pt x="249816" y="825994"/>
                  <a:pt x="328302" y="809222"/>
                  <a:pt x="406788" y="792452"/>
                </a:cubicBezTo>
                <a:cubicBezTo>
                  <a:pt x="486925" y="775570"/>
                  <a:pt x="567889" y="758636"/>
                  <a:pt x="648851" y="741700"/>
                </a:cubicBezTo>
                <a:cubicBezTo>
                  <a:pt x="738015" y="723398"/>
                  <a:pt x="826353" y="705150"/>
                  <a:pt x="915461" y="686020"/>
                </a:cubicBezTo>
                <a:cubicBezTo>
                  <a:pt x="1003799" y="667772"/>
                  <a:pt x="1092137" y="649524"/>
                  <a:pt x="1180421" y="630450"/>
                </a:cubicBezTo>
                <a:cubicBezTo>
                  <a:pt x="1268758" y="612200"/>
                  <a:pt x="1357096" y="593952"/>
                  <a:pt x="1445380" y="574878"/>
                </a:cubicBezTo>
                <a:cubicBezTo>
                  <a:pt x="1541918" y="555260"/>
                  <a:pt x="1638403" y="534816"/>
                  <a:pt x="1734886" y="514374"/>
                </a:cubicBezTo>
                <a:cubicBezTo>
                  <a:pt x="1838746" y="492618"/>
                  <a:pt x="1942605" y="470860"/>
                  <a:pt x="2046463" y="449102"/>
                </a:cubicBezTo>
                <a:cubicBezTo>
                  <a:pt x="2157698" y="426032"/>
                  <a:pt x="2269758" y="402906"/>
                  <a:pt x="2380992" y="379834"/>
                </a:cubicBezTo>
                <a:cubicBezTo>
                  <a:pt x="2492997" y="355882"/>
                  <a:pt x="2604231" y="332812"/>
                  <a:pt x="2716237" y="308860"/>
                </a:cubicBezTo>
                <a:cubicBezTo>
                  <a:pt x="2842992" y="282280"/>
                  <a:pt x="2970574" y="255644"/>
                  <a:pt x="3097329" y="229065"/>
                </a:cubicBezTo>
                <a:cubicBezTo>
                  <a:pt x="3232285" y="201117"/>
                  <a:pt x="3367242" y="173167"/>
                  <a:pt x="3502144" y="144392"/>
                </a:cubicBezTo>
                <a:cubicBezTo>
                  <a:pt x="3652621" y="112935"/>
                  <a:pt x="3803098" y="81479"/>
                  <a:pt x="3953575" y="50021"/>
                </a:cubicBezTo>
                <a:cubicBezTo>
                  <a:pt x="4026392" y="35281"/>
                  <a:pt x="4099154" y="19715"/>
                  <a:pt x="4171916" y="4149"/>
                </a:cubicBezTo>
                <a:cubicBezTo>
                  <a:pt x="4176044" y="3878"/>
                  <a:pt x="4180063" y="1955"/>
                  <a:pt x="4184082" y="32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09677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50A6A2E-1603-406A-8350-942C41BEC7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0435" y="2009671"/>
            <a:ext cx="4854545" cy="2775690"/>
          </a:xfrm>
          <a:custGeom>
            <a:avLst/>
            <a:gdLst>
              <a:gd name="connsiteX0" fmla="*/ 0 w 4854545"/>
              <a:gd name="connsiteY0" fmla="*/ 0 h 2775690"/>
              <a:gd name="connsiteX1" fmla="*/ 4854545 w 4854545"/>
              <a:gd name="connsiteY1" fmla="*/ 0 h 2775690"/>
              <a:gd name="connsiteX2" fmla="*/ 4854545 w 4854545"/>
              <a:gd name="connsiteY2" fmla="*/ 2775690 h 2775690"/>
              <a:gd name="connsiteX3" fmla="*/ 0 w 4854545"/>
              <a:gd name="connsiteY3" fmla="*/ 2775690 h 277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45" h="2775690">
                <a:moveTo>
                  <a:pt x="0" y="0"/>
                </a:moveTo>
                <a:lnTo>
                  <a:pt x="4854545" y="0"/>
                </a:lnTo>
                <a:lnTo>
                  <a:pt x="4854545" y="2775690"/>
                </a:lnTo>
                <a:lnTo>
                  <a:pt x="0" y="277569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3694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E8F7024-C752-480A-AFDB-A95221CACBD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86583" y="1"/>
            <a:ext cx="5166485" cy="6855583"/>
          </a:xfrm>
          <a:custGeom>
            <a:avLst/>
            <a:gdLst>
              <a:gd name="connsiteX0" fmla="*/ 1086626 w 5166485"/>
              <a:gd name="connsiteY0" fmla="*/ 3265888 h 6855583"/>
              <a:gd name="connsiteX1" fmla="*/ 1086635 w 5166485"/>
              <a:gd name="connsiteY1" fmla="*/ 3265890 h 6855583"/>
              <a:gd name="connsiteX2" fmla="*/ 1087274 w 5166485"/>
              <a:gd name="connsiteY2" fmla="*/ 3265890 h 6855583"/>
              <a:gd name="connsiteX3" fmla="*/ 1119550 w 5166485"/>
              <a:gd name="connsiteY3" fmla="*/ 3265890 h 6855583"/>
              <a:gd name="connsiteX4" fmla="*/ 1170447 w 5166485"/>
              <a:gd name="connsiteY4" fmla="*/ 3265890 h 6855583"/>
              <a:gd name="connsiteX5" fmla="*/ 1170458 w 5166485"/>
              <a:gd name="connsiteY5" fmla="*/ 3265888 h 6855583"/>
              <a:gd name="connsiteX6" fmla="*/ 1170468 w 5166485"/>
              <a:gd name="connsiteY6" fmla="*/ 3265890 h 6855583"/>
              <a:gd name="connsiteX7" fmla="*/ 1171107 w 5166485"/>
              <a:gd name="connsiteY7" fmla="*/ 3265890 h 6855583"/>
              <a:gd name="connsiteX8" fmla="*/ 1752107 w 5166485"/>
              <a:gd name="connsiteY8" fmla="*/ 3265890 h 6855583"/>
              <a:gd name="connsiteX9" fmla="*/ 1801177 w 5166485"/>
              <a:gd name="connsiteY9" fmla="*/ 3265890 h 6855583"/>
              <a:gd name="connsiteX10" fmla="*/ 1803005 w 5166485"/>
              <a:gd name="connsiteY10" fmla="*/ 3265890 h 6855583"/>
              <a:gd name="connsiteX11" fmla="*/ 1803015 w 5166485"/>
              <a:gd name="connsiteY11" fmla="*/ 3265888 h 6855583"/>
              <a:gd name="connsiteX12" fmla="*/ 1803026 w 5166485"/>
              <a:gd name="connsiteY12" fmla="*/ 3265890 h 6855583"/>
              <a:gd name="connsiteX13" fmla="*/ 1803664 w 5166485"/>
              <a:gd name="connsiteY13" fmla="*/ 3265890 h 6855583"/>
              <a:gd name="connsiteX14" fmla="*/ 1835940 w 5166485"/>
              <a:gd name="connsiteY14" fmla="*/ 3265890 h 6855583"/>
              <a:gd name="connsiteX15" fmla="*/ 1852074 w 5166485"/>
              <a:gd name="connsiteY15" fmla="*/ 3265890 h 6855583"/>
              <a:gd name="connsiteX16" fmla="*/ 1852084 w 5166485"/>
              <a:gd name="connsiteY16" fmla="*/ 3265888 h 6855583"/>
              <a:gd name="connsiteX17" fmla="*/ 1852095 w 5166485"/>
              <a:gd name="connsiteY17" fmla="*/ 3265890 h 6855583"/>
              <a:gd name="connsiteX18" fmla="*/ 1852734 w 5166485"/>
              <a:gd name="connsiteY18" fmla="*/ 3265890 h 6855583"/>
              <a:gd name="connsiteX19" fmla="*/ 1885010 w 5166485"/>
              <a:gd name="connsiteY19" fmla="*/ 3265890 h 6855583"/>
              <a:gd name="connsiteX20" fmla="*/ 1886837 w 5166485"/>
              <a:gd name="connsiteY20" fmla="*/ 3265890 h 6855583"/>
              <a:gd name="connsiteX21" fmla="*/ 1886846 w 5166485"/>
              <a:gd name="connsiteY21" fmla="*/ 3265888 h 6855583"/>
              <a:gd name="connsiteX22" fmla="*/ 1886857 w 5166485"/>
              <a:gd name="connsiteY22" fmla="*/ 3265890 h 6855583"/>
              <a:gd name="connsiteX23" fmla="*/ 1887496 w 5166485"/>
              <a:gd name="connsiteY23" fmla="*/ 3265890 h 6855583"/>
              <a:gd name="connsiteX24" fmla="*/ 1935905 w 5166485"/>
              <a:gd name="connsiteY24" fmla="*/ 3265890 h 6855583"/>
              <a:gd name="connsiteX25" fmla="*/ 1935916 w 5166485"/>
              <a:gd name="connsiteY25" fmla="*/ 3265888 h 6855583"/>
              <a:gd name="connsiteX26" fmla="*/ 1935926 w 5166485"/>
              <a:gd name="connsiteY26" fmla="*/ 3265890 h 6855583"/>
              <a:gd name="connsiteX27" fmla="*/ 1936565 w 5166485"/>
              <a:gd name="connsiteY27" fmla="*/ 3265890 h 6855583"/>
              <a:gd name="connsiteX28" fmla="*/ 2170246 w 5166485"/>
              <a:gd name="connsiteY28" fmla="*/ 3265890 h 6855583"/>
              <a:gd name="connsiteX29" fmla="*/ 2254079 w 5166485"/>
              <a:gd name="connsiteY29" fmla="*/ 3265890 h 6855583"/>
              <a:gd name="connsiteX30" fmla="*/ 2517566 w 5166485"/>
              <a:gd name="connsiteY30" fmla="*/ 3265890 h 6855583"/>
              <a:gd name="connsiteX31" fmla="*/ 2568463 w 5166485"/>
              <a:gd name="connsiteY31" fmla="*/ 3265890 h 6855583"/>
              <a:gd name="connsiteX32" fmla="*/ 2568473 w 5166485"/>
              <a:gd name="connsiteY32" fmla="*/ 3265888 h 6855583"/>
              <a:gd name="connsiteX33" fmla="*/ 2568484 w 5166485"/>
              <a:gd name="connsiteY33" fmla="*/ 3265890 h 6855583"/>
              <a:gd name="connsiteX34" fmla="*/ 2569123 w 5166485"/>
              <a:gd name="connsiteY34" fmla="*/ 3265890 h 6855583"/>
              <a:gd name="connsiteX35" fmla="*/ 2601399 w 5166485"/>
              <a:gd name="connsiteY35" fmla="*/ 3265890 h 6855583"/>
              <a:gd name="connsiteX36" fmla="*/ 2652295 w 5166485"/>
              <a:gd name="connsiteY36" fmla="*/ 3265890 h 6855583"/>
              <a:gd name="connsiteX37" fmla="*/ 2652306 w 5166485"/>
              <a:gd name="connsiteY37" fmla="*/ 3265888 h 6855583"/>
              <a:gd name="connsiteX38" fmla="*/ 2652315 w 5166485"/>
              <a:gd name="connsiteY38" fmla="*/ 3265890 h 6855583"/>
              <a:gd name="connsiteX39" fmla="*/ 2652954 w 5166485"/>
              <a:gd name="connsiteY39" fmla="*/ 3265890 h 6855583"/>
              <a:gd name="connsiteX40" fmla="*/ 2886635 w 5166485"/>
              <a:gd name="connsiteY40" fmla="*/ 3265890 h 6855583"/>
              <a:gd name="connsiteX41" fmla="*/ 2935705 w 5166485"/>
              <a:gd name="connsiteY41" fmla="*/ 3265890 h 6855583"/>
              <a:gd name="connsiteX42" fmla="*/ 2970468 w 5166485"/>
              <a:gd name="connsiteY42" fmla="*/ 3265890 h 6855583"/>
              <a:gd name="connsiteX43" fmla="*/ 3019538 w 5166485"/>
              <a:gd name="connsiteY43" fmla="*/ 3265890 h 6855583"/>
              <a:gd name="connsiteX44" fmla="*/ 3652094 w 5166485"/>
              <a:gd name="connsiteY44" fmla="*/ 3265890 h 6855583"/>
              <a:gd name="connsiteX45" fmla="*/ 3735927 w 5166485"/>
              <a:gd name="connsiteY45" fmla="*/ 3265890 h 6855583"/>
              <a:gd name="connsiteX46" fmla="*/ 3735927 w 5166485"/>
              <a:gd name="connsiteY46" fmla="*/ 4199586 h 6855583"/>
              <a:gd name="connsiteX47" fmla="*/ 3734217 w 5166485"/>
              <a:gd name="connsiteY47" fmla="*/ 4199586 h 6855583"/>
              <a:gd name="connsiteX48" fmla="*/ 3734217 w 5166485"/>
              <a:gd name="connsiteY48" fmla="*/ 4437486 h 6855583"/>
              <a:gd name="connsiteX49" fmla="*/ 3735499 w 5166485"/>
              <a:gd name="connsiteY49" fmla="*/ 4437486 h 6855583"/>
              <a:gd name="connsiteX50" fmla="*/ 3735499 w 5166485"/>
              <a:gd name="connsiteY50" fmla="*/ 4514790 h 6855583"/>
              <a:gd name="connsiteX51" fmla="*/ 3735499 w 5166485"/>
              <a:gd name="connsiteY51" fmla="*/ 4794177 h 6855583"/>
              <a:gd name="connsiteX52" fmla="*/ 3735500 w 5166485"/>
              <a:gd name="connsiteY52" fmla="*/ 5379128 h 6855583"/>
              <a:gd name="connsiteX53" fmla="*/ 3735500 w 5166485"/>
              <a:gd name="connsiteY53" fmla="*/ 5405390 h 6855583"/>
              <a:gd name="connsiteX54" fmla="*/ 3735500 w 5166485"/>
              <a:gd name="connsiteY54" fmla="*/ 5598154 h 6855583"/>
              <a:gd name="connsiteX55" fmla="*/ 3734205 w 5166485"/>
              <a:gd name="connsiteY55" fmla="*/ 5598154 h 6855583"/>
              <a:gd name="connsiteX56" fmla="*/ 3734205 w 5166485"/>
              <a:gd name="connsiteY56" fmla="*/ 5598486 h 6855583"/>
              <a:gd name="connsiteX57" fmla="*/ 3734205 w 5166485"/>
              <a:gd name="connsiteY57" fmla="*/ 5612740 h 6855583"/>
              <a:gd name="connsiteX58" fmla="*/ 3734205 w 5166485"/>
              <a:gd name="connsiteY58" fmla="*/ 5657025 h 6855583"/>
              <a:gd name="connsiteX59" fmla="*/ 3731500 w 5166485"/>
              <a:gd name="connsiteY59" fmla="*/ 5657025 h 6855583"/>
              <a:gd name="connsiteX60" fmla="*/ 3729283 w 5166485"/>
              <a:gd name="connsiteY60" fmla="*/ 5705056 h 6855583"/>
              <a:gd name="connsiteX61" fmla="*/ 3728718 w 5166485"/>
              <a:gd name="connsiteY61" fmla="*/ 5709186 h 6855583"/>
              <a:gd name="connsiteX62" fmla="*/ 3728606 w 5166485"/>
              <a:gd name="connsiteY62" fmla="*/ 5711467 h 6855583"/>
              <a:gd name="connsiteX63" fmla="*/ 3725448 w 5166485"/>
              <a:gd name="connsiteY63" fmla="*/ 5733130 h 6855583"/>
              <a:gd name="connsiteX64" fmla="*/ 3723149 w 5166485"/>
              <a:gd name="connsiteY64" fmla="*/ 5749961 h 6855583"/>
              <a:gd name="connsiteX65" fmla="*/ 3723149 w 5166485"/>
              <a:gd name="connsiteY65" fmla="*/ 5785114 h 6855583"/>
              <a:gd name="connsiteX66" fmla="*/ 3720444 w 5166485"/>
              <a:gd name="connsiteY66" fmla="*/ 5785114 h 6855583"/>
              <a:gd name="connsiteX67" fmla="*/ 3718226 w 5166485"/>
              <a:gd name="connsiteY67" fmla="*/ 5833975 h 6855583"/>
              <a:gd name="connsiteX68" fmla="*/ 3717662 w 5166485"/>
              <a:gd name="connsiteY68" fmla="*/ 5838176 h 6855583"/>
              <a:gd name="connsiteX69" fmla="*/ 3717549 w 5166485"/>
              <a:gd name="connsiteY69" fmla="*/ 5840496 h 6855583"/>
              <a:gd name="connsiteX70" fmla="*/ 3714391 w 5166485"/>
              <a:gd name="connsiteY70" fmla="*/ 5862534 h 6855583"/>
              <a:gd name="connsiteX71" fmla="*/ 3704933 w 5166485"/>
              <a:gd name="connsiteY71" fmla="*/ 5932981 h 6855583"/>
              <a:gd name="connsiteX72" fmla="*/ 3703137 w 5166485"/>
              <a:gd name="connsiteY72" fmla="*/ 5941083 h 6855583"/>
              <a:gd name="connsiteX73" fmla="*/ 3702452 w 5166485"/>
              <a:gd name="connsiteY73" fmla="*/ 5945855 h 6855583"/>
              <a:gd name="connsiteX74" fmla="*/ 3696614 w 5166485"/>
              <a:gd name="connsiteY74" fmla="*/ 5970492 h 6855583"/>
              <a:gd name="connsiteX75" fmla="*/ 3683622 w 5166485"/>
              <a:gd name="connsiteY75" fmla="*/ 6029051 h 6855583"/>
              <a:gd name="connsiteX76" fmla="*/ 3679923 w 5166485"/>
              <a:gd name="connsiteY76" fmla="*/ 6040897 h 6855583"/>
              <a:gd name="connsiteX77" fmla="*/ 3678285 w 5166485"/>
              <a:gd name="connsiteY77" fmla="*/ 6047812 h 6855583"/>
              <a:gd name="connsiteX78" fmla="*/ 3670406 w 5166485"/>
              <a:gd name="connsiteY78" fmla="*/ 6071379 h 6855583"/>
              <a:gd name="connsiteX79" fmla="*/ 3654662 w 5166485"/>
              <a:gd name="connsiteY79" fmla="*/ 6121798 h 6855583"/>
              <a:gd name="connsiteX80" fmla="*/ 3648434 w 5166485"/>
              <a:gd name="connsiteY80" fmla="*/ 6137099 h 6855583"/>
              <a:gd name="connsiteX81" fmla="*/ 3645495 w 5166485"/>
              <a:gd name="connsiteY81" fmla="*/ 6145895 h 6855583"/>
              <a:gd name="connsiteX82" fmla="*/ 3636168 w 5166485"/>
              <a:gd name="connsiteY82" fmla="*/ 6167235 h 6855583"/>
              <a:gd name="connsiteX83" fmla="*/ 3618421 w 5166485"/>
              <a:gd name="connsiteY83" fmla="*/ 6210838 h 6855583"/>
              <a:gd name="connsiteX84" fmla="*/ 3609070 w 5166485"/>
              <a:gd name="connsiteY84" fmla="*/ 6229244 h 6855583"/>
              <a:gd name="connsiteX85" fmla="*/ 3604529 w 5166485"/>
              <a:gd name="connsiteY85" fmla="*/ 6239639 h 6855583"/>
              <a:gd name="connsiteX86" fmla="*/ 3594298 w 5166485"/>
              <a:gd name="connsiteY86" fmla="*/ 6258324 h 6855583"/>
              <a:gd name="connsiteX87" fmla="*/ 3575270 w 5166485"/>
              <a:gd name="connsiteY87" fmla="*/ 6295785 h 6855583"/>
              <a:gd name="connsiteX88" fmla="*/ 3562231 w 5166485"/>
              <a:gd name="connsiteY88" fmla="*/ 6316901 h 6855583"/>
              <a:gd name="connsiteX89" fmla="*/ 3555841 w 5166485"/>
              <a:gd name="connsiteY89" fmla="*/ 6328575 h 6855583"/>
              <a:gd name="connsiteX90" fmla="*/ 3545203 w 5166485"/>
              <a:gd name="connsiteY90" fmla="*/ 6344476 h 6855583"/>
              <a:gd name="connsiteX91" fmla="*/ 3525580 w 5166485"/>
              <a:gd name="connsiteY91" fmla="*/ 6376252 h 6855583"/>
              <a:gd name="connsiteX92" fmla="*/ 3508306 w 5166485"/>
              <a:gd name="connsiteY92" fmla="*/ 6399630 h 6855583"/>
              <a:gd name="connsiteX93" fmla="*/ 3499876 w 5166485"/>
              <a:gd name="connsiteY93" fmla="*/ 6412234 h 6855583"/>
              <a:gd name="connsiteX94" fmla="*/ 3489281 w 5166485"/>
              <a:gd name="connsiteY94" fmla="*/ 6425379 h 6855583"/>
              <a:gd name="connsiteX95" fmla="*/ 3469720 w 5166485"/>
              <a:gd name="connsiteY95" fmla="*/ 6451856 h 6855583"/>
              <a:gd name="connsiteX96" fmla="*/ 3447676 w 5166485"/>
              <a:gd name="connsiteY96" fmla="*/ 6477005 h 6855583"/>
              <a:gd name="connsiteX97" fmla="*/ 3437085 w 5166485"/>
              <a:gd name="connsiteY97" fmla="*/ 6490148 h 6855583"/>
              <a:gd name="connsiteX98" fmla="*/ 3426944 w 5166485"/>
              <a:gd name="connsiteY98" fmla="*/ 6500661 h 6855583"/>
              <a:gd name="connsiteX99" fmla="*/ 3408058 w 5166485"/>
              <a:gd name="connsiteY99" fmla="*/ 6522209 h 6855583"/>
              <a:gd name="connsiteX100" fmla="*/ 3380698 w 5166485"/>
              <a:gd name="connsiteY100" fmla="*/ 6548600 h 6855583"/>
              <a:gd name="connsiteX101" fmla="*/ 3367917 w 5166485"/>
              <a:gd name="connsiteY101" fmla="*/ 6561848 h 6855583"/>
              <a:gd name="connsiteX102" fmla="*/ 3358599 w 5166485"/>
              <a:gd name="connsiteY102" fmla="*/ 6569916 h 6855583"/>
              <a:gd name="connsiteX103" fmla="*/ 3340966 w 5166485"/>
              <a:gd name="connsiteY103" fmla="*/ 6586926 h 6855583"/>
              <a:gd name="connsiteX104" fmla="*/ 3307673 w 5166485"/>
              <a:gd name="connsiteY104" fmla="*/ 6614008 h 6855583"/>
              <a:gd name="connsiteX105" fmla="*/ 3292820 w 5166485"/>
              <a:gd name="connsiteY105" fmla="*/ 6626869 h 6855583"/>
              <a:gd name="connsiteX106" fmla="*/ 3284662 w 5166485"/>
              <a:gd name="connsiteY106" fmla="*/ 6632728 h 6855583"/>
              <a:gd name="connsiteX107" fmla="*/ 3268811 w 5166485"/>
              <a:gd name="connsiteY107" fmla="*/ 6645621 h 6855583"/>
              <a:gd name="connsiteX108" fmla="*/ 3228808 w 5166485"/>
              <a:gd name="connsiteY108" fmla="*/ 6672841 h 6855583"/>
              <a:gd name="connsiteX109" fmla="*/ 3212245 w 5166485"/>
              <a:gd name="connsiteY109" fmla="*/ 6684739 h 6855583"/>
              <a:gd name="connsiteX110" fmla="*/ 3205551 w 5166485"/>
              <a:gd name="connsiteY110" fmla="*/ 6688665 h 6855583"/>
              <a:gd name="connsiteX111" fmla="*/ 3191968 w 5166485"/>
              <a:gd name="connsiteY111" fmla="*/ 6697909 h 6855583"/>
              <a:gd name="connsiteX112" fmla="*/ 3144033 w 5166485"/>
              <a:gd name="connsiteY112" fmla="*/ 6724779 h 6855583"/>
              <a:gd name="connsiteX113" fmla="*/ 3126640 w 5166485"/>
              <a:gd name="connsiteY113" fmla="*/ 6734990 h 6855583"/>
              <a:gd name="connsiteX114" fmla="*/ 3121686 w 5166485"/>
              <a:gd name="connsiteY114" fmla="*/ 6737306 h 6855583"/>
              <a:gd name="connsiteX115" fmla="*/ 3110802 w 5166485"/>
              <a:gd name="connsiteY115" fmla="*/ 6743407 h 6855583"/>
              <a:gd name="connsiteX116" fmla="*/ 3052483 w 5166485"/>
              <a:gd name="connsiteY116" fmla="*/ 6769660 h 6855583"/>
              <a:gd name="connsiteX117" fmla="*/ 3036452 w 5166485"/>
              <a:gd name="connsiteY117" fmla="*/ 6777154 h 6855583"/>
              <a:gd name="connsiteX118" fmla="*/ 3033487 w 5166485"/>
              <a:gd name="connsiteY118" fmla="*/ 6778211 h 6855583"/>
              <a:gd name="connsiteX119" fmla="*/ 3025684 w 5166485"/>
              <a:gd name="connsiteY119" fmla="*/ 6781724 h 6855583"/>
              <a:gd name="connsiteX120" fmla="*/ 2949668 w 5166485"/>
              <a:gd name="connsiteY120" fmla="*/ 6808079 h 6855583"/>
              <a:gd name="connsiteX121" fmla="*/ 2942133 w 5166485"/>
              <a:gd name="connsiteY121" fmla="*/ 6810763 h 6855583"/>
              <a:gd name="connsiteX122" fmla="*/ 2941376 w 5166485"/>
              <a:gd name="connsiteY122" fmla="*/ 6810955 h 6855583"/>
              <a:gd name="connsiteX123" fmla="*/ 2936985 w 5166485"/>
              <a:gd name="connsiteY123" fmla="*/ 6812477 h 6855583"/>
              <a:gd name="connsiteX124" fmla="*/ 2750320 w 5166485"/>
              <a:gd name="connsiteY124" fmla="*/ 6849749 h 6855583"/>
              <a:gd name="connsiteX125" fmla="*/ 2746081 w 5166485"/>
              <a:gd name="connsiteY125" fmla="*/ 6849972 h 6855583"/>
              <a:gd name="connsiteX126" fmla="*/ 2742897 w 5166485"/>
              <a:gd name="connsiteY126" fmla="*/ 6850446 h 6855583"/>
              <a:gd name="connsiteX127" fmla="*/ 2690435 w 5166485"/>
              <a:gd name="connsiteY127" fmla="*/ 6853038 h 6855583"/>
              <a:gd name="connsiteX128" fmla="*/ 2690435 w 5166485"/>
              <a:gd name="connsiteY128" fmla="*/ 6855583 h 6855583"/>
              <a:gd name="connsiteX129" fmla="*/ 2639538 w 5166485"/>
              <a:gd name="connsiteY129" fmla="*/ 6855583 h 6855583"/>
              <a:gd name="connsiteX130" fmla="*/ 2639527 w 5166485"/>
              <a:gd name="connsiteY130" fmla="*/ 6855583 h 6855583"/>
              <a:gd name="connsiteX131" fmla="*/ 2639516 w 5166485"/>
              <a:gd name="connsiteY131" fmla="*/ 6855583 h 6855583"/>
              <a:gd name="connsiteX132" fmla="*/ 2638878 w 5166485"/>
              <a:gd name="connsiteY132" fmla="*/ 6855583 h 6855583"/>
              <a:gd name="connsiteX133" fmla="*/ 2617659 w 5166485"/>
              <a:gd name="connsiteY133" fmla="*/ 6855583 h 6855583"/>
              <a:gd name="connsiteX134" fmla="*/ 2566761 w 5166485"/>
              <a:gd name="connsiteY134" fmla="*/ 6855583 h 6855583"/>
              <a:gd name="connsiteX135" fmla="*/ 2566750 w 5166485"/>
              <a:gd name="connsiteY135" fmla="*/ 6855583 h 6855583"/>
              <a:gd name="connsiteX136" fmla="*/ 2566740 w 5166485"/>
              <a:gd name="connsiteY136" fmla="*/ 6855583 h 6855583"/>
              <a:gd name="connsiteX137" fmla="*/ 2566100 w 5166485"/>
              <a:gd name="connsiteY137" fmla="*/ 6855583 h 6855583"/>
              <a:gd name="connsiteX138" fmla="*/ 1974046 w 5166485"/>
              <a:gd name="connsiteY138" fmla="*/ 6855583 h 6855583"/>
              <a:gd name="connsiteX139" fmla="*/ 1924977 w 5166485"/>
              <a:gd name="connsiteY139" fmla="*/ 6855583 h 6855583"/>
              <a:gd name="connsiteX140" fmla="*/ 1923149 w 5166485"/>
              <a:gd name="connsiteY140" fmla="*/ 6855583 h 6855583"/>
              <a:gd name="connsiteX141" fmla="*/ 1923138 w 5166485"/>
              <a:gd name="connsiteY141" fmla="*/ 6855583 h 6855583"/>
              <a:gd name="connsiteX142" fmla="*/ 1923127 w 5166485"/>
              <a:gd name="connsiteY142" fmla="*/ 6855583 h 6855583"/>
              <a:gd name="connsiteX143" fmla="*/ 1922488 w 5166485"/>
              <a:gd name="connsiteY143" fmla="*/ 6855583 h 6855583"/>
              <a:gd name="connsiteX144" fmla="*/ 1901270 w 5166485"/>
              <a:gd name="connsiteY144" fmla="*/ 6855583 h 6855583"/>
              <a:gd name="connsiteX145" fmla="*/ 1874079 w 5166485"/>
              <a:gd name="connsiteY145" fmla="*/ 6855583 h 6855583"/>
              <a:gd name="connsiteX146" fmla="*/ 1874068 w 5166485"/>
              <a:gd name="connsiteY146" fmla="*/ 6855583 h 6855583"/>
              <a:gd name="connsiteX147" fmla="*/ 1874058 w 5166485"/>
              <a:gd name="connsiteY147" fmla="*/ 6855583 h 6855583"/>
              <a:gd name="connsiteX148" fmla="*/ 1873420 w 5166485"/>
              <a:gd name="connsiteY148" fmla="*/ 6855583 h 6855583"/>
              <a:gd name="connsiteX149" fmla="*/ 1852200 w 5166485"/>
              <a:gd name="connsiteY149" fmla="*/ 6855583 h 6855583"/>
              <a:gd name="connsiteX150" fmla="*/ 1850372 w 5166485"/>
              <a:gd name="connsiteY150" fmla="*/ 6855583 h 6855583"/>
              <a:gd name="connsiteX151" fmla="*/ 1850361 w 5166485"/>
              <a:gd name="connsiteY151" fmla="*/ 6855583 h 6855583"/>
              <a:gd name="connsiteX152" fmla="*/ 1850351 w 5166485"/>
              <a:gd name="connsiteY152" fmla="*/ 6855583 h 6855583"/>
              <a:gd name="connsiteX153" fmla="*/ 1849711 w 5166485"/>
              <a:gd name="connsiteY153" fmla="*/ 6855583 h 6855583"/>
              <a:gd name="connsiteX154" fmla="*/ 1801303 w 5166485"/>
              <a:gd name="connsiteY154" fmla="*/ 6855583 h 6855583"/>
              <a:gd name="connsiteX155" fmla="*/ 1801292 w 5166485"/>
              <a:gd name="connsiteY155" fmla="*/ 6855583 h 6855583"/>
              <a:gd name="connsiteX156" fmla="*/ 1801282 w 5166485"/>
              <a:gd name="connsiteY156" fmla="*/ 6855583 h 6855583"/>
              <a:gd name="connsiteX157" fmla="*/ 1800642 w 5166485"/>
              <a:gd name="connsiteY157" fmla="*/ 6855583 h 6855583"/>
              <a:gd name="connsiteX158" fmla="*/ 1555906 w 5166485"/>
              <a:gd name="connsiteY158" fmla="*/ 6855583 h 6855583"/>
              <a:gd name="connsiteX159" fmla="*/ 1483128 w 5166485"/>
              <a:gd name="connsiteY159" fmla="*/ 6855583 h 6855583"/>
              <a:gd name="connsiteX160" fmla="*/ 1208587 w 5166485"/>
              <a:gd name="connsiteY160" fmla="*/ 6855583 h 6855583"/>
              <a:gd name="connsiteX161" fmla="*/ 1157689 w 5166485"/>
              <a:gd name="connsiteY161" fmla="*/ 6855583 h 6855583"/>
              <a:gd name="connsiteX162" fmla="*/ 1157678 w 5166485"/>
              <a:gd name="connsiteY162" fmla="*/ 6855583 h 6855583"/>
              <a:gd name="connsiteX163" fmla="*/ 1157669 w 5166485"/>
              <a:gd name="connsiteY163" fmla="*/ 6855583 h 6855583"/>
              <a:gd name="connsiteX164" fmla="*/ 1157031 w 5166485"/>
              <a:gd name="connsiteY164" fmla="*/ 6855583 h 6855583"/>
              <a:gd name="connsiteX165" fmla="*/ 1135810 w 5166485"/>
              <a:gd name="connsiteY165" fmla="*/ 6855583 h 6855583"/>
              <a:gd name="connsiteX166" fmla="*/ 1084913 w 5166485"/>
              <a:gd name="connsiteY166" fmla="*/ 6855583 h 6855583"/>
              <a:gd name="connsiteX167" fmla="*/ 1084902 w 5166485"/>
              <a:gd name="connsiteY167" fmla="*/ 6855583 h 6855583"/>
              <a:gd name="connsiteX168" fmla="*/ 1084893 w 5166485"/>
              <a:gd name="connsiteY168" fmla="*/ 6855583 h 6855583"/>
              <a:gd name="connsiteX169" fmla="*/ 1084253 w 5166485"/>
              <a:gd name="connsiteY169" fmla="*/ 6855583 h 6855583"/>
              <a:gd name="connsiteX170" fmla="*/ 839517 w 5166485"/>
              <a:gd name="connsiteY170" fmla="*/ 6855583 h 6855583"/>
              <a:gd name="connsiteX171" fmla="*/ 790448 w 5166485"/>
              <a:gd name="connsiteY171" fmla="*/ 6855583 h 6855583"/>
              <a:gd name="connsiteX172" fmla="*/ 766740 w 5166485"/>
              <a:gd name="connsiteY172" fmla="*/ 6855583 h 6855583"/>
              <a:gd name="connsiteX173" fmla="*/ 717671 w 5166485"/>
              <a:gd name="connsiteY173" fmla="*/ 6855583 h 6855583"/>
              <a:gd name="connsiteX174" fmla="*/ 74059 w 5166485"/>
              <a:gd name="connsiteY174" fmla="*/ 6855583 h 6855583"/>
              <a:gd name="connsiteX175" fmla="*/ 1282 w 5166485"/>
              <a:gd name="connsiteY175" fmla="*/ 6855583 h 6855583"/>
              <a:gd name="connsiteX176" fmla="*/ 1282 w 5166485"/>
              <a:gd name="connsiteY176" fmla="*/ 6709335 h 6855583"/>
              <a:gd name="connsiteX177" fmla="*/ 1282 w 5166485"/>
              <a:gd name="connsiteY177" fmla="*/ 5785114 h 6855583"/>
              <a:gd name="connsiteX178" fmla="*/ 0 w 5166485"/>
              <a:gd name="connsiteY178" fmla="*/ 5785114 h 6855583"/>
              <a:gd name="connsiteX179" fmla="*/ 0 w 5166485"/>
              <a:gd name="connsiteY179" fmla="*/ 5725228 h 6855583"/>
              <a:gd name="connsiteX180" fmla="*/ 0 w 5166485"/>
              <a:gd name="connsiteY180" fmla="*/ 5657025 h 6855583"/>
              <a:gd name="connsiteX181" fmla="*/ 0 w 5166485"/>
              <a:gd name="connsiteY181" fmla="*/ 5598154 h 6855583"/>
              <a:gd name="connsiteX182" fmla="*/ 0 w 5166485"/>
              <a:gd name="connsiteY182" fmla="*/ 5529139 h 6855583"/>
              <a:gd name="connsiteX183" fmla="*/ 0 w 5166485"/>
              <a:gd name="connsiteY183" fmla="*/ 5502424 h 6855583"/>
              <a:gd name="connsiteX184" fmla="*/ 0 w 5166485"/>
              <a:gd name="connsiteY184" fmla="*/ 5405390 h 6855583"/>
              <a:gd name="connsiteX185" fmla="*/ 0 w 5166485"/>
              <a:gd name="connsiteY185" fmla="*/ 5379128 h 6855583"/>
              <a:gd name="connsiteX186" fmla="*/ 0 w 5166485"/>
              <a:gd name="connsiteY186" fmla="*/ 4907380 h 6855583"/>
              <a:gd name="connsiteX187" fmla="*/ 0 w 5166485"/>
              <a:gd name="connsiteY187" fmla="*/ 4794177 h 6855583"/>
              <a:gd name="connsiteX188" fmla="*/ 0 w 5166485"/>
              <a:gd name="connsiteY188" fmla="*/ 4623176 h 6855583"/>
              <a:gd name="connsiteX189" fmla="*/ 0 w 5166485"/>
              <a:gd name="connsiteY189" fmla="*/ 4514791 h 6855583"/>
              <a:gd name="connsiteX190" fmla="*/ 1294 w 5166485"/>
              <a:gd name="connsiteY190" fmla="*/ 4514791 h 6855583"/>
              <a:gd name="connsiteX191" fmla="*/ 1294 w 5166485"/>
              <a:gd name="connsiteY191" fmla="*/ 4514790 h 6855583"/>
              <a:gd name="connsiteX192" fmla="*/ 1294 w 5166485"/>
              <a:gd name="connsiteY192" fmla="*/ 4514355 h 6855583"/>
              <a:gd name="connsiteX193" fmla="*/ 1294 w 5166485"/>
              <a:gd name="connsiteY193" fmla="*/ 4495635 h 6855583"/>
              <a:gd name="connsiteX194" fmla="*/ 1294 w 5166485"/>
              <a:gd name="connsiteY194" fmla="*/ 4437486 h 6855583"/>
              <a:gd name="connsiteX195" fmla="*/ 3998 w 5166485"/>
              <a:gd name="connsiteY195" fmla="*/ 4437486 h 6855583"/>
              <a:gd name="connsiteX196" fmla="*/ 6216 w 5166485"/>
              <a:gd name="connsiteY196" fmla="*/ 4374413 h 6855583"/>
              <a:gd name="connsiteX197" fmla="*/ 6782 w 5166485"/>
              <a:gd name="connsiteY197" fmla="*/ 4368991 h 6855583"/>
              <a:gd name="connsiteX198" fmla="*/ 6892 w 5166485"/>
              <a:gd name="connsiteY198" fmla="*/ 4365997 h 6855583"/>
              <a:gd name="connsiteX199" fmla="*/ 10050 w 5166485"/>
              <a:gd name="connsiteY199" fmla="*/ 4337551 h 6855583"/>
              <a:gd name="connsiteX200" fmla="*/ 19508 w 5166485"/>
              <a:gd name="connsiteY200" fmla="*/ 4246611 h 6855583"/>
              <a:gd name="connsiteX201" fmla="*/ 21306 w 5166485"/>
              <a:gd name="connsiteY201" fmla="*/ 4236154 h 6855583"/>
              <a:gd name="connsiteX202" fmla="*/ 21989 w 5166485"/>
              <a:gd name="connsiteY202" fmla="*/ 4229994 h 6855583"/>
              <a:gd name="connsiteX203" fmla="*/ 27574 w 5166485"/>
              <a:gd name="connsiteY203" fmla="*/ 4199586 h 6855583"/>
              <a:gd name="connsiteX204" fmla="*/ 29284 w 5166485"/>
              <a:gd name="connsiteY204" fmla="*/ 4199586 h 6855583"/>
              <a:gd name="connsiteX205" fmla="*/ 29540 w 5166485"/>
              <a:gd name="connsiteY205" fmla="*/ 4198449 h 6855583"/>
              <a:gd name="connsiteX206" fmla="*/ 42529 w 5166485"/>
              <a:gd name="connsiteY206" fmla="*/ 4136748 h 6855583"/>
              <a:gd name="connsiteX207" fmla="*/ 46228 w 5166485"/>
              <a:gd name="connsiteY207" fmla="*/ 4124266 h 6855583"/>
              <a:gd name="connsiteX208" fmla="*/ 47868 w 5166485"/>
              <a:gd name="connsiteY208" fmla="*/ 4116981 h 6855583"/>
              <a:gd name="connsiteX209" fmla="*/ 55747 w 5166485"/>
              <a:gd name="connsiteY209" fmla="*/ 4092151 h 6855583"/>
              <a:gd name="connsiteX210" fmla="*/ 71490 w 5166485"/>
              <a:gd name="connsiteY210" fmla="*/ 4039027 h 6855583"/>
              <a:gd name="connsiteX211" fmla="*/ 77718 w 5166485"/>
              <a:gd name="connsiteY211" fmla="*/ 4022906 h 6855583"/>
              <a:gd name="connsiteX212" fmla="*/ 80657 w 5166485"/>
              <a:gd name="connsiteY212" fmla="*/ 4013638 h 6855583"/>
              <a:gd name="connsiteX213" fmla="*/ 89984 w 5166485"/>
              <a:gd name="connsiteY213" fmla="*/ 3991153 h 6855583"/>
              <a:gd name="connsiteX214" fmla="*/ 107731 w 5166485"/>
              <a:gd name="connsiteY214" fmla="*/ 3945212 h 6855583"/>
              <a:gd name="connsiteX215" fmla="*/ 117082 w 5166485"/>
              <a:gd name="connsiteY215" fmla="*/ 3925819 h 6855583"/>
              <a:gd name="connsiteX216" fmla="*/ 121624 w 5166485"/>
              <a:gd name="connsiteY216" fmla="*/ 3914866 h 6855583"/>
              <a:gd name="connsiteX217" fmla="*/ 131854 w 5166485"/>
              <a:gd name="connsiteY217" fmla="*/ 3895180 h 6855583"/>
              <a:gd name="connsiteX218" fmla="*/ 150882 w 5166485"/>
              <a:gd name="connsiteY218" fmla="*/ 3855710 h 6855583"/>
              <a:gd name="connsiteX219" fmla="*/ 163921 w 5166485"/>
              <a:gd name="connsiteY219" fmla="*/ 3833461 h 6855583"/>
              <a:gd name="connsiteX220" fmla="*/ 170313 w 5166485"/>
              <a:gd name="connsiteY220" fmla="*/ 3821161 h 6855583"/>
              <a:gd name="connsiteX221" fmla="*/ 180949 w 5166485"/>
              <a:gd name="connsiteY221" fmla="*/ 3804408 h 6855583"/>
              <a:gd name="connsiteX222" fmla="*/ 200571 w 5166485"/>
              <a:gd name="connsiteY222" fmla="*/ 3770926 h 6855583"/>
              <a:gd name="connsiteX223" fmla="*/ 217848 w 5166485"/>
              <a:gd name="connsiteY223" fmla="*/ 3746294 h 6855583"/>
              <a:gd name="connsiteX224" fmla="*/ 226277 w 5166485"/>
              <a:gd name="connsiteY224" fmla="*/ 3733015 h 6855583"/>
              <a:gd name="connsiteX225" fmla="*/ 236872 w 5166485"/>
              <a:gd name="connsiteY225" fmla="*/ 3719164 h 6855583"/>
              <a:gd name="connsiteX226" fmla="*/ 256434 w 5166485"/>
              <a:gd name="connsiteY226" fmla="*/ 3691269 h 6855583"/>
              <a:gd name="connsiteX227" fmla="*/ 278476 w 5166485"/>
              <a:gd name="connsiteY227" fmla="*/ 3664770 h 6855583"/>
              <a:gd name="connsiteX228" fmla="*/ 289068 w 5166485"/>
              <a:gd name="connsiteY228" fmla="*/ 3650922 h 6855583"/>
              <a:gd name="connsiteX229" fmla="*/ 299210 w 5166485"/>
              <a:gd name="connsiteY229" fmla="*/ 3639845 h 6855583"/>
              <a:gd name="connsiteX230" fmla="*/ 318094 w 5166485"/>
              <a:gd name="connsiteY230" fmla="*/ 3617142 h 6855583"/>
              <a:gd name="connsiteX231" fmla="*/ 345456 w 5166485"/>
              <a:gd name="connsiteY231" fmla="*/ 3589336 h 6855583"/>
              <a:gd name="connsiteX232" fmla="*/ 358237 w 5166485"/>
              <a:gd name="connsiteY232" fmla="*/ 3575375 h 6855583"/>
              <a:gd name="connsiteX233" fmla="*/ 367555 w 5166485"/>
              <a:gd name="connsiteY233" fmla="*/ 3566877 h 6855583"/>
              <a:gd name="connsiteX234" fmla="*/ 385187 w 5166485"/>
              <a:gd name="connsiteY234" fmla="*/ 3548953 h 6855583"/>
              <a:gd name="connsiteX235" fmla="*/ 418478 w 5166485"/>
              <a:gd name="connsiteY235" fmla="*/ 3520422 h 6855583"/>
              <a:gd name="connsiteX236" fmla="*/ 433333 w 5166485"/>
              <a:gd name="connsiteY236" fmla="*/ 3506870 h 6855583"/>
              <a:gd name="connsiteX237" fmla="*/ 441492 w 5166485"/>
              <a:gd name="connsiteY237" fmla="*/ 3500699 h 6855583"/>
              <a:gd name="connsiteX238" fmla="*/ 457342 w 5166485"/>
              <a:gd name="connsiteY238" fmla="*/ 3487112 h 6855583"/>
              <a:gd name="connsiteX239" fmla="*/ 497345 w 5166485"/>
              <a:gd name="connsiteY239" fmla="*/ 3458431 h 6855583"/>
              <a:gd name="connsiteX240" fmla="*/ 513909 w 5166485"/>
              <a:gd name="connsiteY240" fmla="*/ 3445896 h 6855583"/>
              <a:gd name="connsiteX241" fmla="*/ 520601 w 5166485"/>
              <a:gd name="connsiteY241" fmla="*/ 3441758 h 6855583"/>
              <a:gd name="connsiteX242" fmla="*/ 534185 w 5166485"/>
              <a:gd name="connsiteY242" fmla="*/ 3432019 h 6855583"/>
              <a:gd name="connsiteX243" fmla="*/ 582120 w 5166485"/>
              <a:gd name="connsiteY243" fmla="*/ 3403709 h 6855583"/>
              <a:gd name="connsiteX244" fmla="*/ 599514 w 5166485"/>
              <a:gd name="connsiteY244" fmla="*/ 3392950 h 6855583"/>
              <a:gd name="connsiteX245" fmla="*/ 604468 w 5166485"/>
              <a:gd name="connsiteY245" fmla="*/ 3390510 h 6855583"/>
              <a:gd name="connsiteX246" fmla="*/ 615351 w 5166485"/>
              <a:gd name="connsiteY246" fmla="*/ 3384083 h 6855583"/>
              <a:gd name="connsiteX247" fmla="*/ 673670 w 5166485"/>
              <a:gd name="connsiteY247" fmla="*/ 3356422 h 6855583"/>
              <a:gd name="connsiteX248" fmla="*/ 689699 w 5166485"/>
              <a:gd name="connsiteY248" fmla="*/ 3348524 h 6855583"/>
              <a:gd name="connsiteX249" fmla="*/ 692665 w 5166485"/>
              <a:gd name="connsiteY249" fmla="*/ 3347410 h 6855583"/>
              <a:gd name="connsiteX250" fmla="*/ 700468 w 5166485"/>
              <a:gd name="connsiteY250" fmla="*/ 3343710 h 6855583"/>
              <a:gd name="connsiteX251" fmla="*/ 776485 w 5166485"/>
              <a:gd name="connsiteY251" fmla="*/ 3315941 h 6855583"/>
              <a:gd name="connsiteX252" fmla="*/ 784019 w 5166485"/>
              <a:gd name="connsiteY252" fmla="*/ 3313112 h 6855583"/>
              <a:gd name="connsiteX253" fmla="*/ 784777 w 5166485"/>
              <a:gd name="connsiteY253" fmla="*/ 3312912 h 6855583"/>
              <a:gd name="connsiteX254" fmla="*/ 789167 w 5166485"/>
              <a:gd name="connsiteY254" fmla="*/ 3311308 h 6855583"/>
              <a:gd name="connsiteX255" fmla="*/ 975831 w 5166485"/>
              <a:gd name="connsiteY255" fmla="*/ 3272037 h 6855583"/>
              <a:gd name="connsiteX256" fmla="*/ 980073 w 5166485"/>
              <a:gd name="connsiteY256" fmla="*/ 3271801 h 6855583"/>
              <a:gd name="connsiteX257" fmla="*/ 983256 w 5166485"/>
              <a:gd name="connsiteY257" fmla="*/ 3271301 h 6855583"/>
              <a:gd name="connsiteX258" fmla="*/ 1035718 w 5166485"/>
              <a:gd name="connsiteY258" fmla="*/ 3268571 h 6855583"/>
              <a:gd name="connsiteX259" fmla="*/ 1035718 w 5166485"/>
              <a:gd name="connsiteY259" fmla="*/ 3265890 h 6855583"/>
              <a:gd name="connsiteX260" fmla="*/ 1086616 w 5166485"/>
              <a:gd name="connsiteY260" fmla="*/ 3265890 h 6855583"/>
              <a:gd name="connsiteX261" fmla="*/ 4098476 w 5166485"/>
              <a:gd name="connsiteY261" fmla="*/ 852993 h 6855583"/>
              <a:gd name="connsiteX262" fmla="*/ 5166485 w 5166485"/>
              <a:gd name="connsiteY262" fmla="*/ 1921002 h 6855583"/>
              <a:gd name="connsiteX263" fmla="*/ 4207674 w 5166485"/>
              <a:gd name="connsiteY263" fmla="*/ 2983496 h 6855583"/>
              <a:gd name="connsiteX264" fmla="*/ 4112812 w 5166485"/>
              <a:gd name="connsiteY264" fmla="*/ 2988286 h 6855583"/>
              <a:gd name="connsiteX265" fmla="*/ 4112812 w 5166485"/>
              <a:gd name="connsiteY265" fmla="*/ 2989010 h 6855583"/>
              <a:gd name="connsiteX266" fmla="*/ 4098476 w 5166485"/>
              <a:gd name="connsiteY266" fmla="*/ 2989010 h 6855583"/>
              <a:gd name="connsiteX267" fmla="*/ 3030468 w 5166485"/>
              <a:gd name="connsiteY267" fmla="*/ 2989010 h 6855583"/>
              <a:gd name="connsiteX268" fmla="*/ 3030468 w 5166485"/>
              <a:gd name="connsiteY268" fmla="*/ 1921011 h 6855583"/>
              <a:gd name="connsiteX269" fmla="*/ 3030468 w 5166485"/>
              <a:gd name="connsiteY269" fmla="*/ 1921002 h 6855583"/>
              <a:gd name="connsiteX270" fmla="*/ 3030468 w 5166485"/>
              <a:gd name="connsiteY270" fmla="*/ 1920991 h 6855583"/>
              <a:gd name="connsiteX271" fmla="*/ 3030468 w 5166485"/>
              <a:gd name="connsiteY271" fmla="*/ 1870827 h 6855583"/>
              <a:gd name="connsiteX272" fmla="*/ 3033002 w 5166485"/>
              <a:gd name="connsiteY272" fmla="*/ 1870827 h 6855583"/>
              <a:gd name="connsiteX273" fmla="*/ 3035982 w 5166485"/>
              <a:gd name="connsiteY273" fmla="*/ 1811804 h 6855583"/>
              <a:gd name="connsiteX274" fmla="*/ 4098476 w 5166485"/>
              <a:gd name="connsiteY274" fmla="*/ 852993 h 6855583"/>
              <a:gd name="connsiteX275" fmla="*/ 988607 w 5166485"/>
              <a:gd name="connsiteY275" fmla="*/ 0 h 6855583"/>
              <a:gd name="connsiteX276" fmla="*/ 988617 w 5166485"/>
              <a:gd name="connsiteY276" fmla="*/ 1 h 6855583"/>
              <a:gd name="connsiteX277" fmla="*/ 989198 w 5166485"/>
              <a:gd name="connsiteY277" fmla="*/ 1 h 6855583"/>
              <a:gd name="connsiteX278" fmla="*/ 1018562 w 5166485"/>
              <a:gd name="connsiteY278" fmla="*/ 1 h 6855583"/>
              <a:gd name="connsiteX279" fmla="*/ 1064868 w 5166485"/>
              <a:gd name="connsiteY279" fmla="*/ 1 h 6855583"/>
              <a:gd name="connsiteX280" fmla="*/ 1064878 w 5166485"/>
              <a:gd name="connsiteY280" fmla="*/ 0 h 6855583"/>
              <a:gd name="connsiteX281" fmla="*/ 1064887 w 5166485"/>
              <a:gd name="connsiteY281" fmla="*/ 1 h 6855583"/>
              <a:gd name="connsiteX282" fmla="*/ 1065468 w 5166485"/>
              <a:gd name="connsiteY282" fmla="*/ 1 h 6855583"/>
              <a:gd name="connsiteX283" fmla="*/ 1638703 w 5166485"/>
              <a:gd name="connsiteY283" fmla="*/ 1 h 6855583"/>
              <a:gd name="connsiteX284" fmla="*/ 1685008 w 5166485"/>
              <a:gd name="connsiteY284" fmla="*/ 1 h 6855583"/>
              <a:gd name="connsiteX285" fmla="*/ 1685018 w 5166485"/>
              <a:gd name="connsiteY285" fmla="*/ 0 h 6855583"/>
              <a:gd name="connsiteX286" fmla="*/ 1685028 w 5166485"/>
              <a:gd name="connsiteY286" fmla="*/ 1 h 6855583"/>
              <a:gd name="connsiteX287" fmla="*/ 1685609 w 5166485"/>
              <a:gd name="connsiteY287" fmla="*/ 1 h 6855583"/>
              <a:gd name="connsiteX288" fmla="*/ 1714972 w 5166485"/>
              <a:gd name="connsiteY288" fmla="*/ 1 h 6855583"/>
              <a:gd name="connsiteX289" fmla="*/ 1761279 w 5166485"/>
              <a:gd name="connsiteY289" fmla="*/ 1 h 6855583"/>
              <a:gd name="connsiteX290" fmla="*/ 1761288 w 5166485"/>
              <a:gd name="connsiteY290" fmla="*/ 0 h 6855583"/>
              <a:gd name="connsiteX291" fmla="*/ 1761297 w 5166485"/>
              <a:gd name="connsiteY291" fmla="*/ 1 h 6855583"/>
              <a:gd name="connsiteX292" fmla="*/ 1761879 w 5166485"/>
              <a:gd name="connsiteY292" fmla="*/ 1 h 6855583"/>
              <a:gd name="connsiteX293" fmla="*/ 1974481 w 5166485"/>
              <a:gd name="connsiteY293" fmla="*/ 1 h 6855583"/>
              <a:gd name="connsiteX294" fmla="*/ 2050751 w 5166485"/>
              <a:gd name="connsiteY294" fmla="*/ 1 h 6855583"/>
              <a:gd name="connsiteX295" fmla="*/ 2670892 w 5166485"/>
              <a:gd name="connsiteY295" fmla="*/ 1 h 6855583"/>
              <a:gd name="connsiteX296" fmla="*/ 2747162 w 5166485"/>
              <a:gd name="connsiteY296" fmla="*/ 1 h 6855583"/>
              <a:gd name="connsiteX297" fmla="*/ 2747162 w 5166485"/>
              <a:gd name="connsiteY297" fmla="*/ 849474 h 6855583"/>
              <a:gd name="connsiteX298" fmla="*/ 2745606 w 5166485"/>
              <a:gd name="connsiteY298" fmla="*/ 849474 h 6855583"/>
              <a:gd name="connsiteX299" fmla="*/ 2745606 w 5166485"/>
              <a:gd name="connsiteY299" fmla="*/ 1065915 h 6855583"/>
              <a:gd name="connsiteX300" fmla="*/ 2746772 w 5166485"/>
              <a:gd name="connsiteY300" fmla="*/ 1065915 h 6855583"/>
              <a:gd name="connsiteX301" fmla="*/ 2746772 w 5166485"/>
              <a:gd name="connsiteY301" fmla="*/ 1136245 h 6855583"/>
              <a:gd name="connsiteX302" fmla="*/ 2746772 w 5166485"/>
              <a:gd name="connsiteY302" fmla="*/ 1390429 h 6855583"/>
              <a:gd name="connsiteX303" fmla="*/ 2746772 w 5166485"/>
              <a:gd name="connsiteY303" fmla="*/ 1922616 h 6855583"/>
              <a:gd name="connsiteX304" fmla="*/ 2746772 w 5166485"/>
              <a:gd name="connsiteY304" fmla="*/ 1946508 h 6855583"/>
              <a:gd name="connsiteX305" fmla="*/ 2746772 w 5166485"/>
              <a:gd name="connsiteY305" fmla="*/ 2121884 h 6855583"/>
              <a:gd name="connsiteX306" fmla="*/ 2745595 w 5166485"/>
              <a:gd name="connsiteY306" fmla="*/ 2121884 h 6855583"/>
              <a:gd name="connsiteX307" fmla="*/ 2745595 w 5166485"/>
              <a:gd name="connsiteY307" fmla="*/ 2122187 h 6855583"/>
              <a:gd name="connsiteX308" fmla="*/ 2745595 w 5166485"/>
              <a:gd name="connsiteY308" fmla="*/ 2135156 h 6855583"/>
              <a:gd name="connsiteX309" fmla="*/ 2745595 w 5166485"/>
              <a:gd name="connsiteY309" fmla="*/ 2175445 h 6855583"/>
              <a:gd name="connsiteX310" fmla="*/ 2743134 w 5166485"/>
              <a:gd name="connsiteY310" fmla="*/ 2175445 h 6855583"/>
              <a:gd name="connsiteX311" fmla="*/ 2741116 w 5166485"/>
              <a:gd name="connsiteY311" fmla="*/ 2219143 h 6855583"/>
              <a:gd name="connsiteX312" fmla="*/ 2740603 w 5166485"/>
              <a:gd name="connsiteY312" fmla="*/ 2222901 h 6855583"/>
              <a:gd name="connsiteX313" fmla="*/ 2740500 w 5166485"/>
              <a:gd name="connsiteY313" fmla="*/ 2224976 h 6855583"/>
              <a:gd name="connsiteX314" fmla="*/ 2737627 w 5166485"/>
              <a:gd name="connsiteY314" fmla="*/ 2244685 h 6855583"/>
              <a:gd name="connsiteX315" fmla="*/ 2735536 w 5166485"/>
              <a:gd name="connsiteY315" fmla="*/ 2259998 h 6855583"/>
              <a:gd name="connsiteX316" fmla="*/ 2735536 w 5166485"/>
              <a:gd name="connsiteY316" fmla="*/ 2291981 h 6855583"/>
              <a:gd name="connsiteX317" fmla="*/ 2733075 w 5166485"/>
              <a:gd name="connsiteY317" fmla="*/ 2291981 h 6855583"/>
              <a:gd name="connsiteX318" fmla="*/ 2731057 w 5166485"/>
              <a:gd name="connsiteY318" fmla="*/ 2336433 h 6855583"/>
              <a:gd name="connsiteX319" fmla="*/ 2730544 w 5166485"/>
              <a:gd name="connsiteY319" fmla="*/ 2340255 h 6855583"/>
              <a:gd name="connsiteX320" fmla="*/ 2730441 w 5166485"/>
              <a:gd name="connsiteY320" fmla="*/ 2342367 h 6855583"/>
              <a:gd name="connsiteX321" fmla="*/ 2727568 w 5166485"/>
              <a:gd name="connsiteY321" fmla="*/ 2362415 h 6855583"/>
              <a:gd name="connsiteX322" fmla="*/ 2718964 w 5166485"/>
              <a:gd name="connsiteY322" fmla="*/ 2426508 h 6855583"/>
              <a:gd name="connsiteX323" fmla="*/ 2717329 w 5166485"/>
              <a:gd name="connsiteY323" fmla="*/ 2433880 h 6855583"/>
              <a:gd name="connsiteX324" fmla="*/ 2716706 w 5166485"/>
              <a:gd name="connsiteY324" fmla="*/ 2438222 h 6855583"/>
              <a:gd name="connsiteX325" fmla="*/ 2711395 w 5166485"/>
              <a:gd name="connsiteY325" fmla="*/ 2460635 h 6855583"/>
              <a:gd name="connsiteX326" fmla="*/ 2699576 w 5166485"/>
              <a:gd name="connsiteY326" fmla="*/ 2513912 h 6855583"/>
              <a:gd name="connsiteX327" fmla="*/ 2696210 w 5166485"/>
              <a:gd name="connsiteY327" fmla="*/ 2524690 h 6855583"/>
              <a:gd name="connsiteX328" fmla="*/ 2694719 w 5166485"/>
              <a:gd name="connsiteY328" fmla="*/ 2530980 h 6855583"/>
              <a:gd name="connsiteX329" fmla="*/ 2687551 w 5166485"/>
              <a:gd name="connsiteY329" fmla="*/ 2552423 h 6855583"/>
              <a:gd name="connsiteX330" fmla="*/ 2673227 w 5166485"/>
              <a:gd name="connsiteY330" fmla="*/ 2598293 h 6855583"/>
              <a:gd name="connsiteX331" fmla="*/ 2667561 w 5166485"/>
              <a:gd name="connsiteY331" fmla="*/ 2612213 h 6855583"/>
              <a:gd name="connsiteX332" fmla="*/ 2664886 w 5166485"/>
              <a:gd name="connsiteY332" fmla="*/ 2620217 h 6855583"/>
              <a:gd name="connsiteX333" fmla="*/ 2656402 w 5166485"/>
              <a:gd name="connsiteY333" fmla="*/ 2639632 h 6855583"/>
              <a:gd name="connsiteX334" fmla="*/ 2640256 w 5166485"/>
              <a:gd name="connsiteY334" fmla="*/ 2679301 h 6855583"/>
              <a:gd name="connsiteX335" fmla="*/ 2631748 w 5166485"/>
              <a:gd name="connsiteY335" fmla="*/ 2696048 h 6855583"/>
              <a:gd name="connsiteX336" fmla="*/ 2627616 w 5166485"/>
              <a:gd name="connsiteY336" fmla="*/ 2705505 h 6855583"/>
              <a:gd name="connsiteX337" fmla="*/ 2618309 w 5166485"/>
              <a:gd name="connsiteY337" fmla="*/ 2722504 h 6855583"/>
              <a:gd name="connsiteX338" fmla="*/ 2600997 w 5166485"/>
              <a:gd name="connsiteY338" fmla="*/ 2756585 h 6855583"/>
              <a:gd name="connsiteX339" fmla="*/ 2589134 w 5166485"/>
              <a:gd name="connsiteY339" fmla="*/ 2775797 h 6855583"/>
              <a:gd name="connsiteX340" fmla="*/ 2583319 w 5166485"/>
              <a:gd name="connsiteY340" fmla="*/ 2786419 h 6855583"/>
              <a:gd name="connsiteX341" fmla="*/ 2573641 w 5166485"/>
              <a:gd name="connsiteY341" fmla="*/ 2800885 h 6855583"/>
              <a:gd name="connsiteX342" fmla="*/ 2555790 w 5166485"/>
              <a:gd name="connsiteY342" fmla="*/ 2829795 h 6855583"/>
              <a:gd name="connsiteX343" fmla="*/ 2540073 w 5166485"/>
              <a:gd name="connsiteY343" fmla="*/ 2851064 h 6855583"/>
              <a:gd name="connsiteX344" fmla="*/ 2532404 w 5166485"/>
              <a:gd name="connsiteY344" fmla="*/ 2862531 h 6855583"/>
              <a:gd name="connsiteX345" fmla="*/ 2522765 w 5166485"/>
              <a:gd name="connsiteY345" fmla="*/ 2874490 h 6855583"/>
              <a:gd name="connsiteX346" fmla="*/ 2504967 w 5166485"/>
              <a:gd name="connsiteY346" fmla="*/ 2898578 h 6855583"/>
              <a:gd name="connsiteX347" fmla="*/ 2484913 w 5166485"/>
              <a:gd name="connsiteY347" fmla="*/ 2921459 h 6855583"/>
              <a:gd name="connsiteX348" fmla="*/ 2475277 w 5166485"/>
              <a:gd name="connsiteY348" fmla="*/ 2933417 h 6855583"/>
              <a:gd name="connsiteX349" fmla="*/ 2466050 w 5166485"/>
              <a:gd name="connsiteY349" fmla="*/ 2942981 h 6855583"/>
              <a:gd name="connsiteX350" fmla="*/ 2448868 w 5166485"/>
              <a:gd name="connsiteY350" fmla="*/ 2962585 h 6855583"/>
              <a:gd name="connsiteX351" fmla="*/ 2423976 w 5166485"/>
              <a:gd name="connsiteY351" fmla="*/ 2986596 h 6855583"/>
              <a:gd name="connsiteX352" fmla="*/ 2412348 w 5166485"/>
              <a:gd name="connsiteY352" fmla="*/ 2998650 h 6855583"/>
              <a:gd name="connsiteX353" fmla="*/ 2403870 w 5166485"/>
              <a:gd name="connsiteY353" fmla="*/ 3005990 h 6855583"/>
              <a:gd name="connsiteX354" fmla="*/ 2387828 w 5166485"/>
              <a:gd name="connsiteY354" fmla="*/ 3021464 h 6855583"/>
              <a:gd name="connsiteX355" fmla="*/ 2357540 w 5166485"/>
              <a:gd name="connsiteY355" fmla="*/ 3046103 h 6855583"/>
              <a:gd name="connsiteX356" fmla="*/ 2344025 w 5166485"/>
              <a:gd name="connsiteY356" fmla="*/ 3057805 h 6855583"/>
              <a:gd name="connsiteX357" fmla="*/ 2336603 w 5166485"/>
              <a:gd name="connsiteY357" fmla="*/ 3063135 h 6855583"/>
              <a:gd name="connsiteX358" fmla="*/ 2322182 w 5166485"/>
              <a:gd name="connsiteY358" fmla="*/ 3074865 h 6855583"/>
              <a:gd name="connsiteX359" fmla="*/ 2285787 w 5166485"/>
              <a:gd name="connsiteY359" fmla="*/ 3099631 h 6855583"/>
              <a:gd name="connsiteX360" fmla="*/ 2270718 w 5166485"/>
              <a:gd name="connsiteY360" fmla="*/ 3110454 h 6855583"/>
              <a:gd name="connsiteX361" fmla="*/ 2264629 w 5166485"/>
              <a:gd name="connsiteY361" fmla="*/ 3114027 h 6855583"/>
              <a:gd name="connsiteX362" fmla="*/ 2252269 w 5166485"/>
              <a:gd name="connsiteY362" fmla="*/ 3122437 h 6855583"/>
              <a:gd name="connsiteX363" fmla="*/ 2208660 w 5166485"/>
              <a:gd name="connsiteY363" fmla="*/ 3146882 h 6855583"/>
              <a:gd name="connsiteX364" fmla="*/ 2192835 w 5166485"/>
              <a:gd name="connsiteY364" fmla="*/ 3156172 h 6855583"/>
              <a:gd name="connsiteX365" fmla="*/ 2188328 w 5166485"/>
              <a:gd name="connsiteY365" fmla="*/ 3158279 h 6855583"/>
              <a:gd name="connsiteX366" fmla="*/ 2178425 w 5166485"/>
              <a:gd name="connsiteY366" fmla="*/ 3163830 h 6855583"/>
              <a:gd name="connsiteX367" fmla="*/ 2125368 w 5166485"/>
              <a:gd name="connsiteY367" fmla="*/ 3187714 h 6855583"/>
              <a:gd name="connsiteX368" fmla="*/ 2110783 w 5166485"/>
              <a:gd name="connsiteY368" fmla="*/ 3194534 h 6855583"/>
              <a:gd name="connsiteX369" fmla="*/ 2108085 w 5166485"/>
              <a:gd name="connsiteY369" fmla="*/ 3195495 h 6855583"/>
              <a:gd name="connsiteX370" fmla="*/ 2100986 w 5166485"/>
              <a:gd name="connsiteY370" fmla="*/ 3198691 h 6855583"/>
              <a:gd name="connsiteX371" fmla="*/ 2031826 w 5166485"/>
              <a:gd name="connsiteY371" fmla="*/ 3222668 h 6855583"/>
              <a:gd name="connsiteX372" fmla="*/ 2024972 w 5166485"/>
              <a:gd name="connsiteY372" fmla="*/ 3225111 h 6855583"/>
              <a:gd name="connsiteX373" fmla="*/ 2024283 w 5166485"/>
              <a:gd name="connsiteY373" fmla="*/ 3225284 h 6855583"/>
              <a:gd name="connsiteX374" fmla="*/ 2020288 w 5166485"/>
              <a:gd name="connsiteY374" fmla="*/ 3226670 h 6855583"/>
              <a:gd name="connsiteX375" fmla="*/ 1850461 w 5166485"/>
              <a:gd name="connsiteY375" fmla="*/ 3260580 h 6855583"/>
              <a:gd name="connsiteX376" fmla="*/ 1846605 w 5166485"/>
              <a:gd name="connsiteY376" fmla="*/ 3260783 h 6855583"/>
              <a:gd name="connsiteX377" fmla="*/ 1843708 w 5166485"/>
              <a:gd name="connsiteY377" fmla="*/ 3261214 h 6855583"/>
              <a:gd name="connsiteX378" fmla="*/ 1795978 w 5166485"/>
              <a:gd name="connsiteY378" fmla="*/ 3263571 h 6855583"/>
              <a:gd name="connsiteX379" fmla="*/ 1795978 w 5166485"/>
              <a:gd name="connsiteY379" fmla="*/ 3265886 h 6855583"/>
              <a:gd name="connsiteX380" fmla="*/ 1749672 w 5166485"/>
              <a:gd name="connsiteY380" fmla="*/ 3265886 h 6855583"/>
              <a:gd name="connsiteX381" fmla="*/ 1749662 w 5166485"/>
              <a:gd name="connsiteY381" fmla="*/ 3265887 h 6855583"/>
              <a:gd name="connsiteX382" fmla="*/ 1749653 w 5166485"/>
              <a:gd name="connsiteY382" fmla="*/ 3265886 h 6855583"/>
              <a:gd name="connsiteX383" fmla="*/ 1749071 w 5166485"/>
              <a:gd name="connsiteY383" fmla="*/ 3265886 h 6855583"/>
              <a:gd name="connsiteX384" fmla="*/ 1729765 w 5166485"/>
              <a:gd name="connsiteY384" fmla="*/ 3265886 h 6855583"/>
              <a:gd name="connsiteX385" fmla="*/ 1683460 w 5166485"/>
              <a:gd name="connsiteY385" fmla="*/ 3265886 h 6855583"/>
              <a:gd name="connsiteX386" fmla="*/ 1683450 w 5166485"/>
              <a:gd name="connsiteY386" fmla="*/ 3265887 h 6855583"/>
              <a:gd name="connsiteX387" fmla="*/ 1683441 w 5166485"/>
              <a:gd name="connsiteY387" fmla="*/ 3265886 h 6855583"/>
              <a:gd name="connsiteX388" fmla="*/ 1682859 w 5166485"/>
              <a:gd name="connsiteY388" fmla="*/ 3265886 h 6855583"/>
              <a:gd name="connsiteX389" fmla="*/ 1099567 w 5166485"/>
              <a:gd name="connsiteY389" fmla="*/ 3265887 h 6855583"/>
              <a:gd name="connsiteX390" fmla="*/ 1053261 w 5166485"/>
              <a:gd name="connsiteY390" fmla="*/ 3265887 h 6855583"/>
              <a:gd name="connsiteX391" fmla="*/ 1053251 w 5166485"/>
              <a:gd name="connsiteY391" fmla="*/ 3265887 h 6855583"/>
              <a:gd name="connsiteX392" fmla="*/ 1053242 w 5166485"/>
              <a:gd name="connsiteY392" fmla="*/ 3265887 h 6855583"/>
              <a:gd name="connsiteX393" fmla="*/ 1052660 w 5166485"/>
              <a:gd name="connsiteY393" fmla="*/ 3265887 h 6855583"/>
              <a:gd name="connsiteX394" fmla="*/ 1033356 w 5166485"/>
              <a:gd name="connsiteY394" fmla="*/ 3265887 h 6855583"/>
              <a:gd name="connsiteX395" fmla="*/ 987049 w 5166485"/>
              <a:gd name="connsiteY395" fmla="*/ 3265887 h 6855583"/>
              <a:gd name="connsiteX396" fmla="*/ 987040 w 5166485"/>
              <a:gd name="connsiteY396" fmla="*/ 3265887 h 6855583"/>
              <a:gd name="connsiteX397" fmla="*/ 987030 w 5166485"/>
              <a:gd name="connsiteY397" fmla="*/ 3265887 h 6855583"/>
              <a:gd name="connsiteX398" fmla="*/ 986449 w 5166485"/>
              <a:gd name="connsiteY398" fmla="*/ 3265887 h 6855583"/>
              <a:gd name="connsiteX399" fmla="*/ 763788 w 5166485"/>
              <a:gd name="connsiteY399" fmla="*/ 3265887 h 6855583"/>
              <a:gd name="connsiteX400" fmla="*/ 697577 w 5166485"/>
              <a:gd name="connsiteY400" fmla="*/ 3265887 h 6855583"/>
              <a:gd name="connsiteX401" fmla="*/ 67379 w 5166485"/>
              <a:gd name="connsiteY401" fmla="*/ 3265887 h 6855583"/>
              <a:gd name="connsiteX402" fmla="*/ 1166 w 5166485"/>
              <a:gd name="connsiteY402" fmla="*/ 3265887 h 6855583"/>
              <a:gd name="connsiteX403" fmla="*/ 1166 w 5166485"/>
              <a:gd name="connsiteY403" fmla="*/ 3132833 h 6855583"/>
              <a:gd name="connsiteX404" fmla="*/ 1166 w 5166485"/>
              <a:gd name="connsiteY404" fmla="*/ 2291981 h 6855583"/>
              <a:gd name="connsiteX405" fmla="*/ 0 w 5166485"/>
              <a:gd name="connsiteY405" fmla="*/ 2291981 h 6855583"/>
              <a:gd name="connsiteX406" fmla="*/ 0 w 5166485"/>
              <a:gd name="connsiteY406" fmla="*/ 2237497 h 6855583"/>
              <a:gd name="connsiteX407" fmla="*/ 0 w 5166485"/>
              <a:gd name="connsiteY407" fmla="*/ 2175445 h 6855583"/>
              <a:gd name="connsiteX408" fmla="*/ 0 w 5166485"/>
              <a:gd name="connsiteY408" fmla="*/ 2121884 h 6855583"/>
              <a:gd name="connsiteX409" fmla="*/ 0 w 5166485"/>
              <a:gd name="connsiteY409" fmla="*/ 2059094 h 6855583"/>
              <a:gd name="connsiteX410" fmla="*/ 0 w 5166485"/>
              <a:gd name="connsiteY410" fmla="*/ 2034789 h 6855583"/>
              <a:gd name="connsiteX411" fmla="*/ 0 w 5166485"/>
              <a:gd name="connsiteY411" fmla="*/ 1946508 h 6855583"/>
              <a:gd name="connsiteX412" fmla="*/ 0 w 5166485"/>
              <a:gd name="connsiteY412" fmla="*/ 1922616 h 6855583"/>
              <a:gd name="connsiteX413" fmla="*/ 0 w 5166485"/>
              <a:gd name="connsiteY413" fmla="*/ 1493422 h 6855583"/>
              <a:gd name="connsiteX414" fmla="*/ 0 w 5166485"/>
              <a:gd name="connsiteY414" fmla="*/ 1390429 h 6855583"/>
              <a:gd name="connsiteX415" fmla="*/ 0 w 5166485"/>
              <a:gd name="connsiteY415" fmla="*/ 1234853 h 6855583"/>
              <a:gd name="connsiteX416" fmla="*/ 0 w 5166485"/>
              <a:gd name="connsiteY416" fmla="*/ 1136246 h 6855583"/>
              <a:gd name="connsiteX417" fmla="*/ 1178 w 5166485"/>
              <a:gd name="connsiteY417" fmla="*/ 1136246 h 6855583"/>
              <a:gd name="connsiteX418" fmla="*/ 1178 w 5166485"/>
              <a:gd name="connsiteY418" fmla="*/ 1136245 h 6855583"/>
              <a:gd name="connsiteX419" fmla="*/ 1178 w 5166485"/>
              <a:gd name="connsiteY419" fmla="*/ 1135849 h 6855583"/>
              <a:gd name="connsiteX420" fmla="*/ 1178 w 5166485"/>
              <a:gd name="connsiteY420" fmla="*/ 1118819 h 6855583"/>
              <a:gd name="connsiteX421" fmla="*/ 1178 w 5166485"/>
              <a:gd name="connsiteY421" fmla="*/ 1065915 h 6855583"/>
              <a:gd name="connsiteX422" fmla="*/ 3638 w 5166485"/>
              <a:gd name="connsiteY422" fmla="*/ 1065915 h 6855583"/>
              <a:gd name="connsiteX423" fmla="*/ 5656 w 5166485"/>
              <a:gd name="connsiteY423" fmla="*/ 1008533 h 6855583"/>
              <a:gd name="connsiteX424" fmla="*/ 6170 w 5166485"/>
              <a:gd name="connsiteY424" fmla="*/ 1003598 h 6855583"/>
              <a:gd name="connsiteX425" fmla="*/ 6271 w 5166485"/>
              <a:gd name="connsiteY425" fmla="*/ 1000874 h 6855583"/>
              <a:gd name="connsiteX426" fmla="*/ 9144 w 5166485"/>
              <a:gd name="connsiteY426" fmla="*/ 974994 h 6855583"/>
              <a:gd name="connsiteX427" fmla="*/ 17749 w 5166485"/>
              <a:gd name="connsiteY427" fmla="*/ 892259 h 6855583"/>
              <a:gd name="connsiteX428" fmla="*/ 19384 w 5166485"/>
              <a:gd name="connsiteY428" fmla="*/ 882743 h 6855583"/>
              <a:gd name="connsiteX429" fmla="*/ 20006 w 5166485"/>
              <a:gd name="connsiteY429" fmla="*/ 877139 h 6855583"/>
              <a:gd name="connsiteX430" fmla="*/ 25086 w 5166485"/>
              <a:gd name="connsiteY430" fmla="*/ 849474 h 6855583"/>
              <a:gd name="connsiteX431" fmla="*/ 26643 w 5166485"/>
              <a:gd name="connsiteY431" fmla="*/ 849474 h 6855583"/>
              <a:gd name="connsiteX432" fmla="*/ 26876 w 5166485"/>
              <a:gd name="connsiteY432" fmla="*/ 848439 h 6855583"/>
              <a:gd name="connsiteX433" fmla="*/ 38694 w 5166485"/>
              <a:gd name="connsiteY433" fmla="*/ 792304 h 6855583"/>
              <a:gd name="connsiteX434" fmla="*/ 42059 w 5166485"/>
              <a:gd name="connsiteY434" fmla="*/ 780948 h 6855583"/>
              <a:gd name="connsiteX435" fmla="*/ 43550 w 5166485"/>
              <a:gd name="connsiteY435" fmla="*/ 774321 h 6855583"/>
              <a:gd name="connsiteX436" fmla="*/ 50718 w 5166485"/>
              <a:gd name="connsiteY436" fmla="*/ 751729 h 6855583"/>
              <a:gd name="connsiteX437" fmla="*/ 65042 w 5166485"/>
              <a:gd name="connsiteY437" fmla="*/ 703398 h 6855583"/>
              <a:gd name="connsiteX438" fmla="*/ 70707 w 5166485"/>
              <a:gd name="connsiteY438" fmla="*/ 688731 h 6855583"/>
              <a:gd name="connsiteX439" fmla="*/ 73382 w 5166485"/>
              <a:gd name="connsiteY439" fmla="*/ 680300 h 6855583"/>
              <a:gd name="connsiteX440" fmla="*/ 81869 w 5166485"/>
              <a:gd name="connsiteY440" fmla="*/ 659842 h 6855583"/>
              <a:gd name="connsiteX441" fmla="*/ 98014 w 5166485"/>
              <a:gd name="connsiteY441" fmla="*/ 618045 h 6855583"/>
              <a:gd name="connsiteX442" fmla="*/ 106521 w 5166485"/>
              <a:gd name="connsiteY442" fmla="*/ 600402 h 6855583"/>
              <a:gd name="connsiteX443" fmla="*/ 110652 w 5166485"/>
              <a:gd name="connsiteY443" fmla="*/ 590437 h 6855583"/>
              <a:gd name="connsiteX444" fmla="*/ 119961 w 5166485"/>
              <a:gd name="connsiteY444" fmla="*/ 572526 h 6855583"/>
              <a:gd name="connsiteX445" fmla="*/ 137272 w 5166485"/>
              <a:gd name="connsiteY445" fmla="*/ 536617 h 6855583"/>
              <a:gd name="connsiteX446" fmla="*/ 149135 w 5166485"/>
              <a:gd name="connsiteY446" fmla="*/ 516375 h 6855583"/>
              <a:gd name="connsiteX447" fmla="*/ 154950 w 5166485"/>
              <a:gd name="connsiteY447" fmla="*/ 505184 h 6855583"/>
              <a:gd name="connsiteX448" fmla="*/ 164628 w 5166485"/>
              <a:gd name="connsiteY448" fmla="*/ 489942 h 6855583"/>
              <a:gd name="connsiteX449" fmla="*/ 182480 w 5166485"/>
              <a:gd name="connsiteY449" fmla="*/ 459481 h 6855583"/>
              <a:gd name="connsiteX450" fmla="*/ 198196 w 5166485"/>
              <a:gd name="connsiteY450" fmla="*/ 437070 h 6855583"/>
              <a:gd name="connsiteX451" fmla="*/ 205866 w 5166485"/>
              <a:gd name="connsiteY451" fmla="*/ 424989 h 6855583"/>
              <a:gd name="connsiteX452" fmla="*/ 215505 w 5166485"/>
              <a:gd name="connsiteY452" fmla="*/ 412388 h 6855583"/>
              <a:gd name="connsiteX453" fmla="*/ 233302 w 5166485"/>
              <a:gd name="connsiteY453" fmla="*/ 387010 h 6855583"/>
              <a:gd name="connsiteX454" fmla="*/ 253356 w 5166485"/>
              <a:gd name="connsiteY454" fmla="*/ 362902 h 6855583"/>
              <a:gd name="connsiteX455" fmla="*/ 262993 w 5166485"/>
              <a:gd name="connsiteY455" fmla="*/ 350303 h 6855583"/>
              <a:gd name="connsiteX456" fmla="*/ 272219 w 5166485"/>
              <a:gd name="connsiteY456" fmla="*/ 340225 h 6855583"/>
              <a:gd name="connsiteX457" fmla="*/ 289401 w 5166485"/>
              <a:gd name="connsiteY457" fmla="*/ 319569 h 6855583"/>
              <a:gd name="connsiteX458" fmla="*/ 314295 w 5166485"/>
              <a:gd name="connsiteY458" fmla="*/ 294271 h 6855583"/>
              <a:gd name="connsiteX459" fmla="*/ 325922 w 5166485"/>
              <a:gd name="connsiteY459" fmla="*/ 281570 h 6855583"/>
              <a:gd name="connsiteX460" fmla="*/ 334399 w 5166485"/>
              <a:gd name="connsiteY460" fmla="*/ 273838 h 6855583"/>
              <a:gd name="connsiteX461" fmla="*/ 350443 w 5166485"/>
              <a:gd name="connsiteY461" fmla="*/ 257532 h 6855583"/>
              <a:gd name="connsiteX462" fmla="*/ 380729 w 5166485"/>
              <a:gd name="connsiteY462" fmla="*/ 231573 h 6855583"/>
              <a:gd name="connsiteX463" fmla="*/ 394244 w 5166485"/>
              <a:gd name="connsiteY463" fmla="*/ 219244 h 6855583"/>
              <a:gd name="connsiteX464" fmla="*/ 401667 w 5166485"/>
              <a:gd name="connsiteY464" fmla="*/ 213629 h 6855583"/>
              <a:gd name="connsiteX465" fmla="*/ 416087 w 5166485"/>
              <a:gd name="connsiteY465" fmla="*/ 201267 h 6855583"/>
              <a:gd name="connsiteX466" fmla="*/ 452481 w 5166485"/>
              <a:gd name="connsiteY466" fmla="*/ 175174 h 6855583"/>
              <a:gd name="connsiteX467" fmla="*/ 467551 w 5166485"/>
              <a:gd name="connsiteY467" fmla="*/ 163770 h 6855583"/>
              <a:gd name="connsiteX468" fmla="*/ 473642 w 5166485"/>
              <a:gd name="connsiteY468" fmla="*/ 160005 h 6855583"/>
              <a:gd name="connsiteX469" fmla="*/ 485999 w 5166485"/>
              <a:gd name="connsiteY469" fmla="*/ 151145 h 6855583"/>
              <a:gd name="connsiteX470" fmla="*/ 529610 w 5166485"/>
              <a:gd name="connsiteY470" fmla="*/ 125388 h 6855583"/>
              <a:gd name="connsiteX471" fmla="*/ 545435 w 5166485"/>
              <a:gd name="connsiteY471" fmla="*/ 115600 h 6855583"/>
              <a:gd name="connsiteX472" fmla="*/ 549942 w 5166485"/>
              <a:gd name="connsiteY472" fmla="*/ 113381 h 6855583"/>
              <a:gd name="connsiteX473" fmla="*/ 559845 w 5166485"/>
              <a:gd name="connsiteY473" fmla="*/ 107533 h 6855583"/>
              <a:gd name="connsiteX474" fmla="*/ 612902 w 5166485"/>
              <a:gd name="connsiteY474" fmla="*/ 82367 h 6855583"/>
              <a:gd name="connsiteX475" fmla="*/ 627487 w 5166485"/>
              <a:gd name="connsiteY475" fmla="*/ 75182 h 6855583"/>
              <a:gd name="connsiteX476" fmla="*/ 630185 w 5166485"/>
              <a:gd name="connsiteY476" fmla="*/ 74169 h 6855583"/>
              <a:gd name="connsiteX477" fmla="*/ 637283 w 5166485"/>
              <a:gd name="connsiteY477" fmla="*/ 70802 h 6855583"/>
              <a:gd name="connsiteX478" fmla="*/ 706443 w 5166485"/>
              <a:gd name="connsiteY478" fmla="*/ 45538 h 6855583"/>
              <a:gd name="connsiteX479" fmla="*/ 713297 w 5166485"/>
              <a:gd name="connsiteY479" fmla="*/ 42964 h 6855583"/>
              <a:gd name="connsiteX480" fmla="*/ 713985 w 5166485"/>
              <a:gd name="connsiteY480" fmla="*/ 42781 h 6855583"/>
              <a:gd name="connsiteX481" fmla="*/ 717981 w 5166485"/>
              <a:gd name="connsiteY481" fmla="*/ 41323 h 6855583"/>
              <a:gd name="connsiteX482" fmla="*/ 887808 w 5166485"/>
              <a:gd name="connsiteY482" fmla="*/ 5593 h 6855583"/>
              <a:gd name="connsiteX483" fmla="*/ 891667 w 5166485"/>
              <a:gd name="connsiteY483" fmla="*/ 5380 h 6855583"/>
              <a:gd name="connsiteX484" fmla="*/ 894562 w 5166485"/>
              <a:gd name="connsiteY484" fmla="*/ 4925 h 6855583"/>
              <a:gd name="connsiteX485" fmla="*/ 942291 w 5166485"/>
              <a:gd name="connsiteY485" fmla="*/ 2441 h 6855583"/>
              <a:gd name="connsiteX486" fmla="*/ 942291 w 5166485"/>
              <a:gd name="connsiteY486" fmla="*/ 1 h 6855583"/>
              <a:gd name="connsiteX487" fmla="*/ 988599 w 5166485"/>
              <a:gd name="connsiteY487" fmla="*/ 1 h 6855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</a:cxnLst>
            <a:rect l="l" t="t" r="r" b="b"/>
            <a:pathLst>
              <a:path w="5166485" h="6855583">
                <a:moveTo>
                  <a:pt x="1086626" y="3265888"/>
                </a:moveTo>
                <a:lnTo>
                  <a:pt x="1086635" y="3265890"/>
                </a:lnTo>
                <a:lnTo>
                  <a:pt x="1087274" y="3265890"/>
                </a:lnTo>
                <a:lnTo>
                  <a:pt x="1119550" y="3265890"/>
                </a:lnTo>
                <a:lnTo>
                  <a:pt x="1170447" y="3265890"/>
                </a:lnTo>
                <a:lnTo>
                  <a:pt x="1170458" y="3265888"/>
                </a:lnTo>
                <a:lnTo>
                  <a:pt x="1170468" y="3265890"/>
                </a:lnTo>
                <a:lnTo>
                  <a:pt x="1171107" y="3265890"/>
                </a:lnTo>
                <a:lnTo>
                  <a:pt x="1752107" y="3265890"/>
                </a:lnTo>
                <a:lnTo>
                  <a:pt x="1801177" y="3265890"/>
                </a:lnTo>
                <a:lnTo>
                  <a:pt x="1803005" y="3265890"/>
                </a:lnTo>
                <a:lnTo>
                  <a:pt x="1803015" y="3265888"/>
                </a:lnTo>
                <a:lnTo>
                  <a:pt x="1803026" y="3265890"/>
                </a:lnTo>
                <a:lnTo>
                  <a:pt x="1803664" y="3265890"/>
                </a:lnTo>
                <a:lnTo>
                  <a:pt x="1835940" y="3265890"/>
                </a:lnTo>
                <a:lnTo>
                  <a:pt x="1852074" y="3265890"/>
                </a:lnTo>
                <a:lnTo>
                  <a:pt x="1852084" y="3265888"/>
                </a:lnTo>
                <a:lnTo>
                  <a:pt x="1852095" y="3265890"/>
                </a:lnTo>
                <a:lnTo>
                  <a:pt x="1852734" y="3265890"/>
                </a:lnTo>
                <a:lnTo>
                  <a:pt x="1885010" y="3265890"/>
                </a:lnTo>
                <a:lnTo>
                  <a:pt x="1886837" y="3265890"/>
                </a:lnTo>
                <a:lnTo>
                  <a:pt x="1886846" y="3265888"/>
                </a:lnTo>
                <a:lnTo>
                  <a:pt x="1886857" y="3265890"/>
                </a:lnTo>
                <a:lnTo>
                  <a:pt x="1887496" y="3265890"/>
                </a:lnTo>
                <a:lnTo>
                  <a:pt x="1935905" y="3265890"/>
                </a:lnTo>
                <a:lnTo>
                  <a:pt x="1935916" y="3265888"/>
                </a:lnTo>
                <a:lnTo>
                  <a:pt x="1935926" y="3265890"/>
                </a:lnTo>
                <a:lnTo>
                  <a:pt x="1936565" y="3265890"/>
                </a:lnTo>
                <a:lnTo>
                  <a:pt x="2170246" y="3265890"/>
                </a:lnTo>
                <a:lnTo>
                  <a:pt x="2254079" y="3265890"/>
                </a:lnTo>
                <a:lnTo>
                  <a:pt x="2517566" y="3265890"/>
                </a:lnTo>
                <a:lnTo>
                  <a:pt x="2568463" y="3265890"/>
                </a:lnTo>
                <a:lnTo>
                  <a:pt x="2568473" y="3265888"/>
                </a:lnTo>
                <a:lnTo>
                  <a:pt x="2568484" y="3265890"/>
                </a:lnTo>
                <a:lnTo>
                  <a:pt x="2569123" y="3265890"/>
                </a:lnTo>
                <a:lnTo>
                  <a:pt x="2601399" y="3265890"/>
                </a:lnTo>
                <a:lnTo>
                  <a:pt x="2652295" y="3265890"/>
                </a:lnTo>
                <a:lnTo>
                  <a:pt x="2652306" y="3265888"/>
                </a:lnTo>
                <a:lnTo>
                  <a:pt x="2652315" y="3265890"/>
                </a:lnTo>
                <a:lnTo>
                  <a:pt x="2652954" y="3265890"/>
                </a:lnTo>
                <a:lnTo>
                  <a:pt x="2886635" y="3265890"/>
                </a:lnTo>
                <a:lnTo>
                  <a:pt x="2935705" y="3265890"/>
                </a:lnTo>
                <a:lnTo>
                  <a:pt x="2970468" y="3265890"/>
                </a:lnTo>
                <a:lnTo>
                  <a:pt x="3019538" y="3265890"/>
                </a:lnTo>
                <a:lnTo>
                  <a:pt x="3652094" y="3265890"/>
                </a:lnTo>
                <a:lnTo>
                  <a:pt x="3735927" y="3265890"/>
                </a:lnTo>
                <a:lnTo>
                  <a:pt x="3735927" y="4199586"/>
                </a:lnTo>
                <a:lnTo>
                  <a:pt x="3734217" y="4199586"/>
                </a:lnTo>
                <a:lnTo>
                  <a:pt x="3734217" y="4437486"/>
                </a:lnTo>
                <a:lnTo>
                  <a:pt x="3735499" y="4437486"/>
                </a:lnTo>
                <a:lnTo>
                  <a:pt x="3735499" y="4514790"/>
                </a:lnTo>
                <a:lnTo>
                  <a:pt x="3735499" y="4794177"/>
                </a:lnTo>
                <a:lnTo>
                  <a:pt x="3735500" y="5379128"/>
                </a:lnTo>
                <a:lnTo>
                  <a:pt x="3735500" y="5405390"/>
                </a:lnTo>
                <a:lnTo>
                  <a:pt x="3735500" y="5598154"/>
                </a:lnTo>
                <a:lnTo>
                  <a:pt x="3734205" y="5598154"/>
                </a:lnTo>
                <a:lnTo>
                  <a:pt x="3734205" y="5598486"/>
                </a:lnTo>
                <a:lnTo>
                  <a:pt x="3734205" y="5612740"/>
                </a:lnTo>
                <a:lnTo>
                  <a:pt x="3734205" y="5657025"/>
                </a:lnTo>
                <a:lnTo>
                  <a:pt x="3731500" y="5657025"/>
                </a:lnTo>
                <a:lnTo>
                  <a:pt x="3729283" y="5705056"/>
                </a:lnTo>
                <a:lnTo>
                  <a:pt x="3728718" y="5709186"/>
                </a:lnTo>
                <a:lnTo>
                  <a:pt x="3728606" y="5711467"/>
                </a:lnTo>
                <a:lnTo>
                  <a:pt x="3725448" y="5733130"/>
                </a:lnTo>
                <a:lnTo>
                  <a:pt x="3723149" y="5749961"/>
                </a:lnTo>
                <a:lnTo>
                  <a:pt x="3723149" y="5785114"/>
                </a:lnTo>
                <a:lnTo>
                  <a:pt x="3720444" y="5785114"/>
                </a:lnTo>
                <a:lnTo>
                  <a:pt x="3718226" y="5833975"/>
                </a:lnTo>
                <a:lnTo>
                  <a:pt x="3717662" y="5838176"/>
                </a:lnTo>
                <a:lnTo>
                  <a:pt x="3717549" y="5840496"/>
                </a:lnTo>
                <a:lnTo>
                  <a:pt x="3714391" y="5862534"/>
                </a:lnTo>
                <a:lnTo>
                  <a:pt x="3704933" y="5932981"/>
                </a:lnTo>
                <a:lnTo>
                  <a:pt x="3703137" y="5941083"/>
                </a:lnTo>
                <a:lnTo>
                  <a:pt x="3702452" y="5945855"/>
                </a:lnTo>
                <a:lnTo>
                  <a:pt x="3696614" y="5970492"/>
                </a:lnTo>
                <a:lnTo>
                  <a:pt x="3683622" y="6029051"/>
                </a:lnTo>
                <a:lnTo>
                  <a:pt x="3679923" y="6040897"/>
                </a:lnTo>
                <a:lnTo>
                  <a:pt x="3678285" y="6047812"/>
                </a:lnTo>
                <a:lnTo>
                  <a:pt x="3670406" y="6071379"/>
                </a:lnTo>
                <a:lnTo>
                  <a:pt x="3654662" y="6121798"/>
                </a:lnTo>
                <a:lnTo>
                  <a:pt x="3648434" y="6137099"/>
                </a:lnTo>
                <a:lnTo>
                  <a:pt x="3645495" y="6145895"/>
                </a:lnTo>
                <a:lnTo>
                  <a:pt x="3636168" y="6167235"/>
                </a:lnTo>
                <a:lnTo>
                  <a:pt x="3618421" y="6210838"/>
                </a:lnTo>
                <a:lnTo>
                  <a:pt x="3609070" y="6229244"/>
                </a:lnTo>
                <a:lnTo>
                  <a:pt x="3604529" y="6239639"/>
                </a:lnTo>
                <a:lnTo>
                  <a:pt x="3594298" y="6258324"/>
                </a:lnTo>
                <a:lnTo>
                  <a:pt x="3575270" y="6295785"/>
                </a:lnTo>
                <a:lnTo>
                  <a:pt x="3562231" y="6316901"/>
                </a:lnTo>
                <a:lnTo>
                  <a:pt x="3555841" y="6328575"/>
                </a:lnTo>
                <a:lnTo>
                  <a:pt x="3545203" y="6344476"/>
                </a:lnTo>
                <a:lnTo>
                  <a:pt x="3525580" y="6376252"/>
                </a:lnTo>
                <a:lnTo>
                  <a:pt x="3508306" y="6399630"/>
                </a:lnTo>
                <a:lnTo>
                  <a:pt x="3499876" y="6412234"/>
                </a:lnTo>
                <a:lnTo>
                  <a:pt x="3489281" y="6425379"/>
                </a:lnTo>
                <a:lnTo>
                  <a:pt x="3469720" y="6451856"/>
                </a:lnTo>
                <a:lnTo>
                  <a:pt x="3447676" y="6477005"/>
                </a:lnTo>
                <a:lnTo>
                  <a:pt x="3437085" y="6490148"/>
                </a:lnTo>
                <a:lnTo>
                  <a:pt x="3426944" y="6500661"/>
                </a:lnTo>
                <a:lnTo>
                  <a:pt x="3408058" y="6522209"/>
                </a:lnTo>
                <a:lnTo>
                  <a:pt x="3380698" y="6548600"/>
                </a:lnTo>
                <a:lnTo>
                  <a:pt x="3367917" y="6561848"/>
                </a:lnTo>
                <a:lnTo>
                  <a:pt x="3358599" y="6569916"/>
                </a:lnTo>
                <a:lnTo>
                  <a:pt x="3340966" y="6586926"/>
                </a:lnTo>
                <a:lnTo>
                  <a:pt x="3307673" y="6614008"/>
                </a:lnTo>
                <a:lnTo>
                  <a:pt x="3292820" y="6626869"/>
                </a:lnTo>
                <a:lnTo>
                  <a:pt x="3284662" y="6632728"/>
                </a:lnTo>
                <a:lnTo>
                  <a:pt x="3268811" y="6645621"/>
                </a:lnTo>
                <a:lnTo>
                  <a:pt x="3228808" y="6672841"/>
                </a:lnTo>
                <a:lnTo>
                  <a:pt x="3212245" y="6684739"/>
                </a:lnTo>
                <a:lnTo>
                  <a:pt x="3205551" y="6688665"/>
                </a:lnTo>
                <a:lnTo>
                  <a:pt x="3191968" y="6697909"/>
                </a:lnTo>
                <a:lnTo>
                  <a:pt x="3144033" y="6724779"/>
                </a:lnTo>
                <a:lnTo>
                  <a:pt x="3126640" y="6734990"/>
                </a:lnTo>
                <a:lnTo>
                  <a:pt x="3121686" y="6737306"/>
                </a:lnTo>
                <a:lnTo>
                  <a:pt x="3110802" y="6743407"/>
                </a:lnTo>
                <a:lnTo>
                  <a:pt x="3052483" y="6769660"/>
                </a:lnTo>
                <a:lnTo>
                  <a:pt x="3036452" y="6777154"/>
                </a:lnTo>
                <a:lnTo>
                  <a:pt x="3033487" y="6778211"/>
                </a:lnTo>
                <a:lnTo>
                  <a:pt x="3025684" y="6781724"/>
                </a:lnTo>
                <a:lnTo>
                  <a:pt x="2949668" y="6808079"/>
                </a:lnTo>
                <a:lnTo>
                  <a:pt x="2942133" y="6810763"/>
                </a:lnTo>
                <a:lnTo>
                  <a:pt x="2941376" y="6810955"/>
                </a:lnTo>
                <a:lnTo>
                  <a:pt x="2936985" y="6812477"/>
                </a:lnTo>
                <a:cubicBezTo>
                  <a:pt x="2876741" y="6830372"/>
                  <a:pt x="2814355" y="6842968"/>
                  <a:pt x="2750320" y="6849749"/>
                </a:cubicBezTo>
                <a:lnTo>
                  <a:pt x="2746081" y="6849972"/>
                </a:lnTo>
                <a:lnTo>
                  <a:pt x="2742897" y="6850446"/>
                </a:lnTo>
                <a:lnTo>
                  <a:pt x="2690435" y="6853038"/>
                </a:lnTo>
                <a:lnTo>
                  <a:pt x="2690435" y="6855583"/>
                </a:lnTo>
                <a:lnTo>
                  <a:pt x="2639538" y="6855583"/>
                </a:lnTo>
                <a:lnTo>
                  <a:pt x="2639527" y="6855583"/>
                </a:lnTo>
                <a:lnTo>
                  <a:pt x="2639516" y="6855583"/>
                </a:lnTo>
                <a:lnTo>
                  <a:pt x="2638878" y="6855583"/>
                </a:lnTo>
                <a:lnTo>
                  <a:pt x="2617659" y="6855583"/>
                </a:lnTo>
                <a:lnTo>
                  <a:pt x="2566761" y="6855583"/>
                </a:lnTo>
                <a:lnTo>
                  <a:pt x="2566750" y="6855583"/>
                </a:lnTo>
                <a:lnTo>
                  <a:pt x="2566740" y="6855583"/>
                </a:lnTo>
                <a:lnTo>
                  <a:pt x="2566100" y="6855583"/>
                </a:lnTo>
                <a:lnTo>
                  <a:pt x="1974046" y="6855583"/>
                </a:lnTo>
                <a:lnTo>
                  <a:pt x="1924977" y="6855583"/>
                </a:lnTo>
                <a:lnTo>
                  <a:pt x="1923149" y="6855583"/>
                </a:lnTo>
                <a:lnTo>
                  <a:pt x="1923138" y="6855583"/>
                </a:lnTo>
                <a:lnTo>
                  <a:pt x="1923127" y="6855583"/>
                </a:lnTo>
                <a:lnTo>
                  <a:pt x="1922488" y="6855583"/>
                </a:lnTo>
                <a:lnTo>
                  <a:pt x="1901270" y="6855583"/>
                </a:lnTo>
                <a:lnTo>
                  <a:pt x="1874079" y="6855583"/>
                </a:lnTo>
                <a:lnTo>
                  <a:pt x="1874068" y="6855583"/>
                </a:lnTo>
                <a:lnTo>
                  <a:pt x="1874058" y="6855583"/>
                </a:lnTo>
                <a:lnTo>
                  <a:pt x="1873420" y="6855583"/>
                </a:lnTo>
                <a:lnTo>
                  <a:pt x="1852200" y="6855583"/>
                </a:lnTo>
                <a:lnTo>
                  <a:pt x="1850372" y="6855583"/>
                </a:lnTo>
                <a:lnTo>
                  <a:pt x="1850361" y="6855583"/>
                </a:lnTo>
                <a:lnTo>
                  <a:pt x="1850351" y="6855583"/>
                </a:lnTo>
                <a:lnTo>
                  <a:pt x="1849711" y="6855583"/>
                </a:lnTo>
                <a:lnTo>
                  <a:pt x="1801303" y="6855583"/>
                </a:lnTo>
                <a:lnTo>
                  <a:pt x="1801292" y="6855583"/>
                </a:lnTo>
                <a:lnTo>
                  <a:pt x="1801282" y="6855583"/>
                </a:lnTo>
                <a:lnTo>
                  <a:pt x="1800642" y="6855583"/>
                </a:lnTo>
                <a:lnTo>
                  <a:pt x="1555906" y="6855583"/>
                </a:lnTo>
                <a:lnTo>
                  <a:pt x="1483128" y="6855583"/>
                </a:lnTo>
                <a:lnTo>
                  <a:pt x="1208587" y="6855583"/>
                </a:lnTo>
                <a:lnTo>
                  <a:pt x="1157689" y="6855583"/>
                </a:lnTo>
                <a:lnTo>
                  <a:pt x="1157678" y="6855583"/>
                </a:lnTo>
                <a:lnTo>
                  <a:pt x="1157669" y="6855583"/>
                </a:lnTo>
                <a:lnTo>
                  <a:pt x="1157031" y="6855583"/>
                </a:lnTo>
                <a:lnTo>
                  <a:pt x="1135810" y="6855583"/>
                </a:lnTo>
                <a:lnTo>
                  <a:pt x="1084913" y="6855583"/>
                </a:lnTo>
                <a:lnTo>
                  <a:pt x="1084902" y="6855583"/>
                </a:lnTo>
                <a:lnTo>
                  <a:pt x="1084893" y="6855583"/>
                </a:lnTo>
                <a:lnTo>
                  <a:pt x="1084253" y="6855583"/>
                </a:lnTo>
                <a:lnTo>
                  <a:pt x="839517" y="6855583"/>
                </a:lnTo>
                <a:lnTo>
                  <a:pt x="790448" y="6855583"/>
                </a:lnTo>
                <a:lnTo>
                  <a:pt x="766740" y="6855583"/>
                </a:lnTo>
                <a:lnTo>
                  <a:pt x="717671" y="6855583"/>
                </a:lnTo>
                <a:lnTo>
                  <a:pt x="74059" y="6855583"/>
                </a:lnTo>
                <a:lnTo>
                  <a:pt x="1282" y="6855583"/>
                </a:lnTo>
                <a:lnTo>
                  <a:pt x="1282" y="6709335"/>
                </a:lnTo>
                <a:lnTo>
                  <a:pt x="1282" y="5785114"/>
                </a:lnTo>
                <a:lnTo>
                  <a:pt x="0" y="5785114"/>
                </a:lnTo>
                <a:lnTo>
                  <a:pt x="0" y="5725228"/>
                </a:lnTo>
                <a:lnTo>
                  <a:pt x="0" y="5657025"/>
                </a:lnTo>
                <a:lnTo>
                  <a:pt x="0" y="5598154"/>
                </a:lnTo>
                <a:lnTo>
                  <a:pt x="0" y="5529139"/>
                </a:lnTo>
                <a:lnTo>
                  <a:pt x="0" y="5502424"/>
                </a:lnTo>
                <a:lnTo>
                  <a:pt x="0" y="5405390"/>
                </a:lnTo>
                <a:lnTo>
                  <a:pt x="0" y="5379128"/>
                </a:lnTo>
                <a:lnTo>
                  <a:pt x="0" y="4907380"/>
                </a:lnTo>
                <a:lnTo>
                  <a:pt x="0" y="4794177"/>
                </a:lnTo>
                <a:lnTo>
                  <a:pt x="0" y="4623176"/>
                </a:lnTo>
                <a:lnTo>
                  <a:pt x="0" y="4514791"/>
                </a:lnTo>
                <a:lnTo>
                  <a:pt x="1294" y="4514791"/>
                </a:lnTo>
                <a:lnTo>
                  <a:pt x="1294" y="4514790"/>
                </a:lnTo>
                <a:lnTo>
                  <a:pt x="1294" y="4514355"/>
                </a:lnTo>
                <a:lnTo>
                  <a:pt x="1294" y="4495635"/>
                </a:lnTo>
                <a:lnTo>
                  <a:pt x="1294" y="4437486"/>
                </a:lnTo>
                <a:lnTo>
                  <a:pt x="3998" y="4437486"/>
                </a:lnTo>
                <a:lnTo>
                  <a:pt x="6216" y="4374413"/>
                </a:lnTo>
                <a:lnTo>
                  <a:pt x="6782" y="4368991"/>
                </a:lnTo>
                <a:lnTo>
                  <a:pt x="6892" y="4365997"/>
                </a:lnTo>
                <a:lnTo>
                  <a:pt x="10050" y="4337551"/>
                </a:lnTo>
                <a:lnTo>
                  <a:pt x="19508" y="4246611"/>
                </a:lnTo>
                <a:lnTo>
                  <a:pt x="21306" y="4236154"/>
                </a:lnTo>
                <a:lnTo>
                  <a:pt x="21989" y="4229994"/>
                </a:lnTo>
                <a:lnTo>
                  <a:pt x="27574" y="4199586"/>
                </a:lnTo>
                <a:lnTo>
                  <a:pt x="29284" y="4199586"/>
                </a:lnTo>
                <a:lnTo>
                  <a:pt x="29540" y="4198449"/>
                </a:lnTo>
                <a:lnTo>
                  <a:pt x="42529" y="4136748"/>
                </a:lnTo>
                <a:lnTo>
                  <a:pt x="46228" y="4124266"/>
                </a:lnTo>
                <a:lnTo>
                  <a:pt x="47868" y="4116981"/>
                </a:lnTo>
                <a:lnTo>
                  <a:pt x="55747" y="4092151"/>
                </a:lnTo>
                <a:lnTo>
                  <a:pt x="71490" y="4039027"/>
                </a:lnTo>
                <a:lnTo>
                  <a:pt x="77718" y="4022906"/>
                </a:lnTo>
                <a:lnTo>
                  <a:pt x="80657" y="4013638"/>
                </a:lnTo>
                <a:lnTo>
                  <a:pt x="89984" y="3991153"/>
                </a:lnTo>
                <a:lnTo>
                  <a:pt x="107731" y="3945212"/>
                </a:lnTo>
                <a:lnTo>
                  <a:pt x="117082" y="3925819"/>
                </a:lnTo>
                <a:lnTo>
                  <a:pt x="121624" y="3914866"/>
                </a:lnTo>
                <a:lnTo>
                  <a:pt x="131854" y="3895180"/>
                </a:lnTo>
                <a:lnTo>
                  <a:pt x="150882" y="3855710"/>
                </a:lnTo>
                <a:lnTo>
                  <a:pt x="163921" y="3833461"/>
                </a:lnTo>
                <a:lnTo>
                  <a:pt x="170313" y="3821161"/>
                </a:lnTo>
                <a:lnTo>
                  <a:pt x="180949" y="3804408"/>
                </a:lnTo>
                <a:lnTo>
                  <a:pt x="200571" y="3770926"/>
                </a:lnTo>
                <a:lnTo>
                  <a:pt x="217848" y="3746294"/>
                </a:lnTo>
                <a:lnTo>
                  <a:pt x="226277" y="3733015"/>
                </a:lnTo>
                <a:lnTo>
                  <a:pt x="236872" y="3719164"/>
                </a:lnTo>
                <a:lnTo>
                  <a:pt x="256434" y="3691269"/>
                </a:lnTo>
                <a:lnTo>
                  <a:pt x="278476" y="3664770"/>
                </a:lnTo>
                <a:lnTo>
                  <a:pt x="289068" y="3650922"/>
                </a:lnTo>
                <a:lnTo>
                  <a:pt x="299210" y="3639845"/>
                </a:lnTo>
                <a:lnTo>
                  <a:pt x="318094" y="3617142"/>
                </a:lnTo>
                <a:lnTo>
                  <a:pt x="345456" y="3589336"/>
                </a:lnTo>
                <a:lnTo>
                  <a:pt x="358237" y="3575375"/>
                </a:lnTo>
                <a:lnTo>
                  <a:pt x="367555" y="3566877"/>
                </a:lnTo>
                <a:lnTo>
                  <a:pt x="385187" y="3548953"/>
                </a:lnTo>
                <a:lnTo>
                  <a:pt x="418478" y="3520422"/>
                </a:lnTo>
                <a:lnTo>
                  <a:pt x="433333" y="3506870"/>
                </a:lnTo>
                <a:lnTo>
                  <a:pt x="441492" y="3500699"/>
                </a:lnTo>
                <a:lnTo>
                  <a:pt x="457342" y="3487112"/>
                </a:lnTo>
                <a:lnTo>
                  <a:pt x="497345" y="3458431"/>
                </a:lnTo>
                <a:lnTo>
                  <a:pt x="513909" y="3445896"/>
                </a:lnTo>
                <a:lnTo>
                  <a:pt x="520601" y="3441758"/>
                </a:lnTo>
                <a:lnTo>
                  <a:pt x="534185" y="3432019"/>
                </a:lnTo>
                <a:lnTo>
                  <a:pt x="582120" y="3403709"/>
                </a:lnTo>
                <a:lnTo>
                  <a:pt x="599514" y="3392950"/>
                </a:lnTo>
                <a:lnTo>
                  <a:pt x="604468" y="3390510"/>
                </a:lnTo>
                <a:lnTo>
                  <a:pt x="615351" y="3384083"/>
                </a:lnTo>
                <a:lnTo>
                  <a:pt x="673670" y="3356422"/>
                </a:lnTo>
                <a:lnTo>
                  <a:pt x="689699" y="3348524"/>
                </a:lnTo>
                <a:lnTo>
                  <a:pt x="692665" y="3347410"/>
                </a:lnTo>
                <a:lnTo>
                  <a:pt x="700468" y="3343710"/>
                </a:lnTo>
                <a:lnTo>
                  <a:pt x="776485" y="3315941"/>
                </a:lnTo>
                <a:lnTo>
                  <a:pt x="784019" y="3313112"/>
                </a:lnTo>
                <a:lnTo>
                  <a:pt x="784777" y="3312912"/>
                </a:lnTo>
                <a:lnTo>
                  <a:pt x="789167" y="3311308"/>
                </a:lnTo>
                <a:cubicBezTo>
                  <a:pt x="849413" y="3292452"/>
                  <a:pt x="911798" y="3279182"/>
                  <a:pt x="975831" y="3272037"/>
                </a:cubicBezTo>
                <a:lnTo>
                  <a:pt x="980073" y="3271801"/>
                </a:lnTo>
                <a:lnTo>
                  <a:pt x="983256" y="3271301"/>
                </a:lnTo>
                <a:lnTo>
                  <a:pt x="1035718" y="3268571"/>
                </a:lnTo>
                <a:lnTo>
                  <a:pt x="1035718" y="3265890"/>
                </a:lnTo>
                <a:lnTo>
                  <a:pt x="1086616" y="3265890"/>
                </a:lnTo>
                <a:close/>
                <a:moveTo>
                  <a:pt x="4098476" y="852993"/>
                </a:moveTo>
                <a:cubicBezTo>
                  <a:pt x="4688321" y="852993"/>
                  <a:pt x="5166485" y="1331157"/>
                  <a:pt x="5166485" y="1921002"/>
                </a:cubicBezTo>
                <a:cubicBezTo>
                  <a:pt x="5166485" y="2473981"/>
                  <a:pt x="4746224" y="2928803"/>
                  <a:pt x="4207674" y="2983496"/>
                </a:cubicBezTo>
                <a:lnTo>
                  <a:pt x="4112812" y="2988286"/>
                </a:lnTo>
                <a:lnTo>
                  <a:pt x="4112812" y="2989010"/>
                </a:lnTo>
                <a:lnTo>
                  <a:pt x="4098476" y="2989010"/>
                </a:lnTo>
                <a:lnTo>
                  <a:pt x="3030468" y="2989010"/>
                </a:lnTo>
                <a:lnTo>
                  <a:pt x="3030468" y="1921011"/>
                </a:lnTo>
                <a:lnTo>
                  <a:pt x="3030468" y="1921002"/>
                </a:lnTo>
                <a:lnTo>
                  <a:pt x="3030468" y="1920991"/>
                </a:lnTo>
                <a:lnTo>
                  <a:pt x="3030468" y="1870827"/>
                </a:lnTo>
                <a:lnTo>
                  <a:pt x="3033002" y="1870827"/>
                </a:lnTo>
                <a:lnTo>
                  <a:pt x="3035982" y="1811804"/>
                </a:lnTo>
                <a:cubicBezTo>
                  <a:pt x="3090675" y="1273254"/>
                  <a:pt x="3545497" y="852993"/>
                  <a:pt x="4098476" y="852993"/>
                </a:cubicBezTo>
                <a:close/>
                <a:moveTo>
                  <a:pt x="988607" y="0"/>
                </a:moveTo>
                <a:lnTo>
                  <a:pt x="988617" y="1"/>
                </a:lnTo>
                <a:lnTo>
                  <a:pt x="989198" y="1"/>
                </a:lnTo>
                <a:lnTo>
                  <a:pt x="1018562" y="1"/>
                </a:lnTo>
                <a:lnTo>
                  <a:pt x="1064868" y="1"/>
                </a:lnTo>
                <a:lnTo>
                  <a:pt x="1064878" y="0"/>
                </a:lnTo>
                <a:lnTo>
                  <a:pt x="1064887" y="1"/>
                </a:lnTo>
                <a:lnTo>
                  <a:pt x="1065468" y="1"/>
                </a:lnTo>
                <a:lnTo>
                  <a:pt x="1638703" y="1"/>
                </a:lnTo>
                <a:lnTo>
                  <a:pt x="1685008" y="1"/>
                </a:lnTo>
                <a:lnTo>
                  <a:pt x="1685018" y="0"/>
                </a:lnTo>
                <a:lnTo>
                  <a:pt x="1685028" y="1"/>
                </a:lnTo>
                <a:lnTo>
                  <a:pt x="1685609" y="1"/>
                </a:lnTo>
                <a:lnTo>
                  <a:pt x="1714972" y="1"/>
                </a:lnTo>
                <a:lnTo>
                  <a:pt x="1761279" y="1"/>
                </a:lnTo>
                <a:lnTo>
                  <a:pt x="1761288" y="0"/>
                </a:lnTo>
                <a:lnTo>
                  <a:pt x="1761297" y="1"/>
                </a:lnTo>
                <a:lnTo>
                  <a:pt x="1761879" y="1"/>
                </a:lnTo>
                <a:lnTo>
                  <a:pt x="1974481" y="1"/>
                </a:lnTo>
                <a:lnTo>
                  <a:pt x="2050751" y="1"/>
                </a:lnTo>
                <a:lnTo>
                  <a:pt x="2670892" y="1"/>
                </a:lnTo>
                <a:lnTo>
                  <a:pt x="2747162" y="1"/>
                </a:lnTo>
                <a:lnTo>
                  <a:pt x="2747162" y="849474"/>
                </a:lnTo>
                <a:lnTo>
                  <a:pt x="2745606" y="849474"/>
                </a:lnTo>
                <a:lnTo>
                  <a:pt x="2745606" y="1065915"/>
                </a:lnTo>
                <a:lnTo>
                  <a:pt x="2746772" y="1065915"/>
                </a:lnTo>
                <a:lnTo>
                  <a:pt x="2746772" y="1136245"/>
                </a:lnTo>
                <a:lnTo>
                  <a:pt x="2746772" y="1390429"/>
                </a:lnTo>
                <a:lnTo>
                  <a:pt x="2746772" y="1922616"/>
                </a:lnTo>
                <a:lnTo>
                  <a:pt x="2746772" y="1946508"/>
                </a:lnTo>
                <a:lnTo>
                  <a:pt x="2746772" y="2121884"/>
                </a:lnTo>
                <a:lnTo>
                  <a:pt x="2745595" y="2121884"/>
                </a:lnTo>
                <a:lnTo>
                  <a:pt x="2745595" y="2122187"/>
                </a:lnTo>
                <a:lnTo>
                  <a:pt x="2745595" y="2135156"/>
                </a:lnTo>
                <a:lnTo>
                  <a:pt x="2745595" y="2175445"/>
                </a:lnTo>
                <a:lnTo>
                  <a:pt x="2743134" y="2175445"/>
                </a:lnTo>
                <a:lnTo>
                  <a:pt x="2741116" y="2219143"/>
                </a:lnTo>
                <a:lnTo>
                  <a:pt x="2740603" y="2222901"/>
                </a:lnTo>
                <a:lnTo>
                  <a:pt x="2740500" y="2224976"/>
                </a:lnTo>
                <a:lnTo>
                  <a:pt x="2737627" y="2244685"/>
                </a:lnTo>
                <a:lnTo>
                  <a:pt x="2735536" y="2259998"/>
                </a:lnTo>
                <a:lnTo>
                  <a:pt x="2735536" y="2291981"/>
                </a:lnTo>
                <a:lnTo>
                  <a:pt x="2733075" y="2291981"/>
                </a:lnTo>
                <a:lnTo>
                  <a:pt x="2731057" y="2336433"/>
                </a:lnTo>
                <a:lnTo>
                  <a:pt x="2730544" y="2340255"/>
                </a:lnTo>
                <a:lnTo>
                  <a:pt x="2730441" y="2342367"/>
                </a:lnTo>
                <a:lnTo>
                  <a:pt x="2727568" y="2362415"/>
                </a:lnTo>
                <a:lnTo>
                  <a:pt x="2718964" y="2426508"/>
                </a:lnTo>
                <a:lnTo>
                  <a:pt x="2717329" y="2433880"/>
                </a:lnTo>
                <a:lnTo>
                  <a:pt x="2716706" y="2438222"/>
                </a:lnTo>
                <a:lnTo>
                  <a:pt x="2711395" y="2460635"/>
                </a:lnTo>
                <a:lnTo>
                  <a:pt x="2699576" y="2513912"/>
                </a:lnTo>
                <a:lnTo>
                  <a:pt x="2696210" y="2524690"/>
                </a:lnTo>
                <a:lnTo>
                  <a:pt x="2694719" y="2530980"/>
                </a:lnTo>
                <a:lnTo>
                  <a:pt x="2687551" y="2552423"/>
                </a:lnTo>
                <a:lnTo>
                  <a:pt x="2673227" y="2598293"/>
                </a:lnTo>
                <a:lnTo>
                  <a:pt x="2667561" y="2612213"/>
                </a:lnTo>
                <a:lnTo>
                  <a:pt x="2664886" y="2620217"/>
                </a:lnTo>
                <a:lnTo>
                  <a:pt x="2656402" y="2639632"/>
                </a:lnTo>
                <a:lnTo>
                  <a:pt x="2640256" y="2679301"/>
                </a:lnTo>
                <a:lnTo>
                  <a:pt x="2631748" y="2696048"/>
                </a:lnTo>
                <a:lnTo>
                  <a:pt x="2627616" y="2705505"/>
                </a:lnTo>
                <a:lnTo>
                  <a:pt x="2618309" y="2722504"/>
                </a:lnTo>
                <a:lnTo>
                  <a:pt x="2600997" y="2756585"/>
                </a:lnTo>
                <a:lnTo>
                  <a:pt x="2589134" y="2775797"/>
                </a:lnTo>
                <a:lnTo>
                  <a:pt x="2583319" y="2786419"/>
                </a:lnTo>
                <a:lnTo>
                  <a:pt x="2573641" y="2800885"/>
                </a:lnTo>
                <a:lnTo>
                  <a:pt x="2555790" y="2829795"/>
                </a:lnTo>
                <a:lnTo>
                  <a:pt x="2540073" y="2851064"/>
                </a:lnTo>
                <a:lnTo>
                  <a:pt x="2532404" y="2862531"/>
                </a:lnTo>
                <a:lnTo>
                  <a:pt x="2522765" y="2874490"/>
                </a:lnTo>
                <a:lnTo>
                  <a:pt x="2504967" y="2898578"/>
                </a:lnTo>
                <a:lnTo>
                  <a:pt x="2484913" y="2921459"/>
                </a:lnTo>
                <a:lnTo>
                  <a:pt x="2475277" y="2933417"/>
                </a:lnTo>
                <a:lnTo>
                  <a:pt x="2466050" y="2942981"/>
                </a:lnTo>
                <a:lnTo>
                  <a:pt x="2448868" y="2962585"/>
                </a:lnTo>
                <a:lnTo>
                  <a:pt x="2423976" y="2986596"/>
                </a:lnTo>
                <a:lnTo>
                  <a:pt x="2412348" y="2998650"/>
                </a:lnTo>
                <a:lnTo>
                  <a:pt x="2403870" y="3005990"/>
                </a:lnTo>
                <a:lnTo>
                  <a:pt x="2387828" y="3021464"/>
                </a:lnTo>
                <a:lnTo>
                  <a:pt x="2357540" y="3046103"/>
                </a:lnTo>
                <a:lnTo>
                  <a:pt x="2344025" y="3057805"/>
                </a:lnTo>
                <a:lnTo>
                  <a:pt x="2336603" y="3063135"/>
                </a:lnTo>
                <a:lnTo>
                  <a:pt x="2322182" y="3074865"/>
                </a:lnTo>
                <a:lnTo>
                  <a:pt x="2285787" y="3099631"/>
                </a:lnTo>
                <a:lnTo>
                  <a:pt x="2270718" y="3110454"/>
                </a:lnTo>
                <a:lnTo>
                  <a:pt x="2264629" y="3114027"/>
                </a:lnTo>
                <a:lnTo>
                  <a:pt x="2252269" y="3122437"/>
                </a:lnTo>
                <a:lnTo>
                  <a:pt x="2208660" y="3146882"/>
                </a:lnTo>
                <a:lnTo>
                  <a:pt x="2192835" y="3156172"/>
                </a:lnTo>
                <a:lnTo>
                  <a:pt x="2188328" y="3158279"/>
                </a:lnTo>
                <a:lnTo>
                  <a:pt x="2178425" y="3163830"/>
                </a:lnTo>
                <a:lnTo>
                  <a:pt x="2125368" y="3187714"/>
                </a:lnTo>
                <a:lnTo>
                  <a:pt x="2110783" y="3194534"/>
                </a:lnTo>
                <a:lnTo>
                  <a:pt x="2108085" y="3195495"/>
                </a:lnTo>
                <a:lnTo>
                  <a:pt x="2100986" y="3198691"/>
                </a:lnTo>
                <a:lnTo>
                  <a:pt x="2031826" y="3222668"/>
                </a:lnTo>
                <a:lnTo>
                  <a:pt x="2024972" y="3225111"/>
                </a:lnTo>
                <a:lnTo>
                  <a:pt x="2024283" y="3225284"/>
                </a:lnTo>
                <a:lnTo>
                  <a:pt x="2020288" y="3226670"/>
                </a:lnTo>
                <a:cubicBezTo>
                  <a:pt x="1965477" y="3242950"/>
                  <a:pt x="1908719" y="3254410"/>
                  <a:pt x="1850461" y="3260580"/>
                </a:cubicBezTo>
                <a:lnTo>
                  <a:pt x="1846605" y="3260783"/>
                </a:lnTo>
                <a:lnTo>
                  <a:pt x="1843708" y="3261214"/>
                </a:lnTo>
                <a:lnTo>
                  <a:pt x="1795978" y="3263571"/>
                </a:lnTo>
                <a:lnTo>
                  <a:pt x="1795978" y="3265886"/>
                </a:lnTo>
                <a:lnTo>
                  <a:pt x="1749672" y="3265886"/>
                </a:lnTo>
                <a:lnTo>
                  <a:pt x="1749662" y="3265887"/>
                </a:lnTo>
                <a:lnTo>
                  <a:pt x="1749653" y="3265886"/>
                </a:lnTo>
                <a:lnTo>
                  <a:pt x="1749071" y="3265886"/>
                </a:lnTo>
                <a:lnTo>
                  <a:pt x="1729765" y="3265886"/>
                </a:lnTo>
                <a:lnTo>
                  <a:pt x="1683460" y="3265886"/>
                </a:lnTo>
                <a:lnTo>
                  <a:pt x="1683450" y="3265887"/>
                </a:lnTo>
                <a:lnTo>
                  <a:pt x="1683441" y="3265886"/>
                </a:lnTo>
                <a:lnTo>
                  <a:pt x="1682859" y="3265886"/>
                </a:lnTo>
                <a:lnTo>
                  <a:pt x="1099567" y="3265887"/>
                </a:lnTo>
                <a:lnTo>
                  <a:pt x="1053261" y="3265887"/>
                </a:lnTo>
                <a:lnTo>
                  <a:pt x="1053251" y="3265887"/>
                </a:lnTo>
                <a:lnTo>
                  <a:pt x="1053242" y="3265887"/>
                </a:lnTo>
                <a:lnTo>
                  <a:pt x="1052660" y="3265887"/>
                </a:lnTo>
                <a:lnTo>
                  <a:pt x="1033356" y="3265887"/>
                </a:lnTo>
                <a:lnTo>
                  <a:pt x="987049" y="3265887"/>
                </a:lnTo>
                <a:lnTo>
                  <a:pt x="987040" y="3265887"/>
                </a:lnTo>
                <a:lnTo>
                  <a:pt x="987030" y="3265887"/>
                </a:lnTo>
                <a:lnTo>
                  <a:pt x="986449" y="3265887"/>
                </a:lnTo>
                <a:lnTo>
                  <a:pt x="763788" y="3265887"/>
                </a:lnTo>
                <a:lnTo>
                  <a:pt x="697577" y="3265887"/>
                </a:lnTo>
                <a:lnTo>
                  <a:pt x="67379" y="3265887"/>
                </a:lnTo>
                <a:lnTo>
                  <a:pt x="1166" y="3265887"/>
                </a:lnTo>
                <a:lnTo>
                  <a:pt x="1166" y="3132833"/>
                </a:lnTo>
                <a:lnTo>
                  <a:pt x="1166" y="2291981"/>
                </a:lnTo>
                <a:lnTo>
                  <a:pt x="0" y="2291981"/>
                </a:lnTo>
                <a:lnTo>
                  <a:pt x="0" y="2237497"/>
                </a:lnTo>
                <a:lnTo>
                  <a:pt x="0" y="2175445"/>
                </a:lnTo>
                <a:lnTo>
                  <a:pt x="0" y="2121884"/>
                </a:lnTo>
                <a:lnTo>
                  <a:pt x="0" y="2059094"/>
                </a:lnTo>
                <a:lnTo>
                  <a:pt x="0" y="2034789"/>
                </a:lnTo>
                <a:lnTo>
                  <a:pt x="0" y="1946508"/>
                </a:lnTo>
                <a:lnTo>
                  <a:pt x="0" y="1922616"/>
                </a:lnTo>
                <a:lnTo>
                  <a:pt x="0" y="1493422"/>
                </a:lnTo>
                <a:lnTo>
                  <a:pt x="0" y="1390429"/>
                </a:lnTo>
                <a:lnTo>
                  <a:pt x="0" y="1234853"/>
                </a:lnTo>
                <a:lnTo>
                  <a:pt x="0" y="1136246"/>
                </a:lnTo>
                <a:lnTo>
                  <a:pt x="1178" y="1136246"/>
                </a:lnTo>
                <a:lnTo>
                  <a:pt x="1178" y="1136245"/>
                </a:lnTo>
                <a:lnTo>
                  <a:pt x="1178" y="1135849"/>
                </a:lnTo>
                <a:lnTo>
                  <a:pt x="1178" y="1118819"/>
                </a:lnTo>
                <a:lnTo>
                  <a:pt x="1178" y="1065915"/>
                </a:lnTo>
                <a:lnTo>
                  <a:pt x="3638" y="1065915"/>
                </a:lnTo>
                <a:lnTo>
                  <a:pt x="5656" y="1008533"/>
                </a:lnTo>
                <a:lnTo>
                  <a:pt x="6170" y="1003598"/>
                </a:lnTo>
                <a:lnTo>
                  <a:pt x="6271" y="1000874"/>
                </a:lnTo>
                <a:lnTo>
                  <a:pt x="9144" y="974994"/>
                </a:lnTo>
                <a:lnTo>
                  <a:pt x="17749" y="892259"/>
                </a:lnTo>
                <a:lnTo>
                  <a:pt x="19384" y="882743"/>
                </a:lnTo>
                <a:lnTo>
                  <a:pt x="20006" y="877139"/>
                </a:lnTo>
                <a:lnTo>
                  <a:pt x="25086" y="849474"/>
                </a:lnTo>
                <a:lnTo>
                  <a:pt x="26643" y="849474"/>
                </a:lnTo>
                <a:lnTo>
                  <a:pt x="26876" y="848439"/>
                </a:lnTo>
                <a:lnTo>
                  <a:pt x="38694" y="792304"/>
                </a:lnTo>
                <a:lnTo>
                  <a:pt x="42059" y="780948"/>
                </a:lnTo>
                <a:lnTo>
                  <a:pt x="43550" y="774321"/>
                </a:lnTo>
                <a:lnTo>
                  <a:pt x="50718" y="751729"/>
                </a:lnTo>
                <a:lnTo>
                  <a:pt x="65042" y="703398"/>
                </a:lnTo>
                <a:lnTo>
                  <a:pt x="70707" y="688731"/>
                </a:lnTo>
                <a:lnTo>
                  <a:pt x="73382" y="680300"/>
                </a:lnTo>
                <a:lnTo>
                  <a:pt x="81869" y="659842"/>
                </a:lnTo>
                <a:lnTo>
                  <a:pt x="98014" y="618045"/>
                </a:lnTo>
                <a:lnTo>
                  <a:pt x="106521" y="600402"/>
                </a:lnTo>
                <a:lnTo>
                  <a:pt x="110652" y="590437"/>
                </a:lnTo>
                <a:lnTo>
                  <a:pt x="119961" y="572526"/>
                </a:lnTo>
                <a:lnTo>
                  <a:pt x="137272" y="536617"/>
                </a:lnTo>
                <a:lnTo>
                  <a:pt x="149135" y="516375"/>
                </a:lnTo>
                <a:lnTo>
                  <a:pt x="154950" y="505184"/>
                </a:lnTo>
                <a:lnTo>
                  <a:pt x="164628" y="489942"/>
                </a:lnTo>
                <a:lnTo>
                  <a:pt x="182480" y="459481"/>
                </a:lnTo>
                <a:lnTo>
                  <a:pt x="198196" y="437070"/>
                </a:lnTo>
                <a:lnTo>
                  <a:pt x="205866" y="424989"/>
                </a:lnTo>
                <a:lnTo>
                  <a:pt x="215505" y="412388"/>
                </a:lnTo>
                <a:lnTo>
                  <a:pt x="233302" y="387010"/>
                </a:lnTo>
                <a:lnTo>
                  <a:pt x="253356" y="362902"/>
                </a:lnTo>
                <a:lnTo>
                  <a:pt x="262993" y="350303"/>
                </a:lnTo>
                <a:lnTo>
                  <a:pt x="272219" y="340225"/>
                </a:lnTo>
                <a:lnTo>
                  <a:pt x="289401" y="319569"/>
                </a:lnTo>
                <a:lnTo>
                  <a:pt x="314295" y="294271"/>
                </a:lnTo>
                <a:lnTo>
                  <a:pt x="325922" y="281570"/>
                </a:lnTo>
                <a:lnTo>
                  <a:pt x="334399" y="273838"/>
                </a:lnTo>
                <a:lnTo>
                  <a:pt x="350443" y="257532"/>
                </a:lnTo>
                <a:lnTo>
                  <a:pt x="380729" y="231573"/>
                </a:lnTo>
                <a:lnTo>
                  <a:pt x="394244" y="219244"/>
                </a:lnTo>
                <a:lnTo>
                  <a:pt x="401667" y="213629"/>
                </a:lnTo>
                <a:lnTo>
                  <a:pt x="416087" y="201267"/>
                </a:lnTo>
                <a:lnTo>
                  <a:pt x="452481" y="175174"/>
                </a:lnTo>
                <a:lnTo>
                  <a:pt x="467551" y="163770"/>
                </a:lnTo>
                <a:lnTo>
                  <a:pt x="473642" y="160005"/>
                </a:lnTo>
                <a:lnTo>
                  <a:pt x="485999" y="151145"/>
                </a:lnTo>
                <a:lnTo>
                  <a:pt x="529610" y="125388"/>
                </a:lnTo>
                <a:lnTo>
                  <a:pt x="545435" y="115600"/>
                </a:lnTo>
                <a:lnTo>
                  <a:pt x="549942" y="113381"/>
                </a:lnTo>
                <a:lnTo>
                  <a:pt x="559845" y="107533"/>
                </a:lnTo>
                <a:lnTo>
                  <a:pt x="612902" y="82367"/>
                </a:lnTo>
                <a:lnTo>
                  <a:pt x="627487" y="75182"/>
                </a:lnTo>
                <a:lnTo>
                  <a:pt x="630185" y="74169"/>
                </a:lnTo>
                <a:lnTo>
                  <a:pt x="637283" y="70802"/>
                </a:lnTo>
                <a:lnTo>
                  <a:pt x="706443" y="45538"/>
                </a:lnTo>
                <a:lnTo>
                  <a:pt x="713297" y="42964"/>
                </a:lnTo>
                <a:lnTo>
                  <a:pt x="713985" y="42781"/>
                </a:lnTo>
                <a:lnTo>
                  <a:pt x="717981" y="41323"/>
                </a:lnTo>
                <a:cubicBezTo>
                  <a:pt x="772791" y="24167"/>
                  <a:pt x="829549" y="12094"/>
                  <a:pt x="887808" y="5593"/>
                </a:cubicBezTo>
                <a:lnTo>
                  <a:pt x="891667" y="5380"/>
                </a:lnTo>
                <a:lnTo>
                  <a:pt x="894562" y="4925"/>
                </a:lnTo>
                <a:lnTo>
                  <a:pt x="942291" y="2441"/>
                </a:lnTo>
                <a:lnTo>
                  <a:pt x="942291" y="1"/>
                </a:lnTo>
                <a:lnTo>
                  <a:pt x="988599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05045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704B89-BF70-48A5-B93C-F14B283CD7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73F7AD-6743-4333-8B0C-73BE14D4D7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840E8B-25A5-443B-B26C-3FE7234D04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311990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2570C7-1586-415F-8742-BB73F728D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14E1F-935D-4A4C-A3E3-9F66C82D0D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70BE1B9-3E32-425C-B4EF-BDAA4A14FB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0468042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C05A99-AD77-486B-A8A8-87537634D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C98ECD-C4F5-4570-9891-0D8243BCBD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7981142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AE279-79B0-4FDB-AA81-DAB8B77079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5481418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EFA43A9-1515-43E3-9040-ACE0DD553C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66700" y="3607994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593DE47-F666-42DA-B91B-BBB963FB96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48125" y="925513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F9A6711B-CC92-4052-A8A9-22AB908094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28868" y="3607994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3408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CB63D-7643-1E4F-8DDC-24CE2AA169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534E22-6D1B-F043-B658-F19DD188C4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23D9DCC-9361-BC4E-AC06-33A154757611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553E14CC-125E-7B45-8B2C-CF6FB4BB13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AE459396-4EBC-C548-918B-331A5244FFE1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2D86BC-2EAC-6E4A-B45C-D006089EC28C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5650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2">
            <a:extLst>
              <a:ext uri="{FF2B5EF4-FFF2-40B4-BE49-F238E27FC236}">
                <a16:creationId xmlns:a16="http://schemas.microsoft.com/office/drawing/2014/main" id="{F807600B-B6CF-4A17-895F-00592339451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888045" y="3109019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6" name="Picture Placeholder 32">
            <a:extLst>
              <a:ext uri="{FF2B5EF4-FFF2-40B4-BE49-F238E27FC236}">
                <a16:creationId xmlns:a16="http://schemas.microsoft.com/office/drawing/2014/main" id="{A6F9CD3E-4C01-47E9-8E53-8FE1715DECE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09379" y="3109019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5" name="Picture Placeholder 32">
            <a:extLst>
              <a:ext uri="{FF2B5EF4-FFF2-40B4-BE49-F238E27FC236}">
                <a16:creationId xmlns:a16="http://schemas.microsoft.com/office/drawing/2014/main" id="{2D71831C-D257-4741-9FE5-6C91A558E80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30713" y="3109019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4" name="Picture Placeholder 32">
            <a:extLst>
              <a:ext uri="{FF2B5EF4-FFF2-40B4-BE49-F238E27FC236}">
                <a16:creationId xmlns:a16="http://schemas.microsoft.com/office/drawing/2014/main" id="{55AE3507-758E-476B-B0C7-A455CB87838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53030" y="3109019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32965218-7EAA-4C50-A1FC-CAFF1CC55C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0538" y="1203325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F4630D-11DC-4102-8766-0D88420E4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5838A5-7A4E-46FE-94C8-C4A48478EF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A2D4F-8D23-4CF7-AB45-4647EB802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ADFC39-5F39-47A0-8C0E-9C8E50DD6859}"/>
              </a:ext>
            </a:extLst>
          </p:cNvPr>
          <p:cNvSpPr/>
          <p:nvPr/>
        </p:nvSpPr>
        <p:spPr>
          <a:xfrm>
            <a:off x="5653617" y="1130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306F4D3-C292-4A71-8595-05D32A26310E}"/>
              </a:ext>
            </a:extLst>
          </p:cNvPr>
          <p:cNvSpPr/>
          <p:nvPr/>
        </p:nvSpPr>
        <p:spPr>
          <a:xfrm>
            <a:off x="1335617" y="3035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7D30FF0-21D1-4CE5-89D0-DA444B2CF14D}"/>
              </a:ext>
            </a:extLst>
          </p:cNvPr>
          <p:cNvSpPr/>
          <p:nvPr/>
        </p:nvSpPr>
        <p:spPr>
          <a:xfrm>
            <a:off x="4214283" y="3035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9D0C822-0C5C-4C1D-AF89-4ECF70E5BC11}"/>
              </a:ext>
            </a:extLst>
          </p:cNvPr>
          <p:cNvSpPr/>
          <p:nvPr/>
        </p:nvSpPr>
        <p:spPr>
          <a:xfrm>
            <a:off x="7092949" y="3035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0CE8130-7EFD-48ED-B344-55BA0DF32E6E}"/>
              </a:ext>
            </a:extLst>
          </p:cNvPr>
          <p:cNvSpPr/>
          <p:nvPr/>
        </p:nvSpPr>
        <p:spPr>
          <a:xfrm>
            <a:off x="9971615" y="3035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30437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B13FD7-2C09-9348-9D0E-06F46875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FB297E-04E5-6E43-843B-5DFB995B6C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189CEE-F432-BE43-8A56-190B8E05B7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FC17D3D-568A-BA4C-86E4-71E30355089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9779BB0-3F62-D84F-ABFD-B43CBE234B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45A01B-68E3-864C-A6DA-8F5C6ED8B88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28748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F53B9-D8CC-CA47-825A-BAB455123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B894B2-5C5B-6445-9C2B-F916E997F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F41D90-22FA-6B44-AD9C-8BD5673675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89503038-7BAC-334A-8964-F6A3D9542FBE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B5E48212-1C36-2F44-98CF-4F936F6B10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81F05B0-E452-DA4C-842D-639C35F13DE7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920848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FB4A-B1C2-134C-BD06-EC4DF921D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A020E3-0C95-8146-8C53-AD951A09A4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F6684-1A3B-5442-AE47-D8B182343C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6F2A46-631D-0C4D-B4EB-B3A9F1C2302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FFB4D8C-2F5B-AA42-A596-966DF2E0128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5DEA8492-083D-E441-93E5-E85D88E0141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5CC8759-3FFF-F34C-9AC5-F04182A0C084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90390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8D4063-0260-324B-8BE9-419900C3E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74C7C3-D5AD-F54F-9AA8-369FE1206C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1B679A-806F-2843-AAFB-7A3D778D2E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03E9C4-01C0-6146-A854-046AC276D7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A12ACC-AC8B-AE45-B434-6CB627D506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12BD6AC-4010-0B41-99E6-92C3FC4484F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8152FCD5-638C-7841-AEA6-5CFE55CDABB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B36C77E1-E1FC-CC44-A38F-38080121C29F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908700-1DD2-184E-8A88-1B0E24BC71ED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66497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A7F1A-9513-7247-A856-31C213C22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D05DFB7-A793-0E4F-9F13-0233E5AC096B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88BA89A-67E4-8F47-B701-91877925BB3A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842A90DC-0F43-A64B-9122-59D37D59B6F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AD1F8A-0F22-8D4D-BDD1-EFBA923C2ABB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766AB1-BECD-E446-B7B8-F966EE9CD310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2B4E1A3-FDED-B54A-A4B2-560DFB748E6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0023B8F-C9D4-EB4C-A3EE-4E825969E1D6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89448EE-955F-C34B-B990-21F42FB2B842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038985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346012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E4E2B-78FA-AF43-8B4E-7A0205C52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246695-62C6-3443-8CB8-695A7B1EE4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D9539A-BA0B-EA49-AB9E-F449F299BA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88F9980-FEFA-8446-B9EA-1997F22CEA56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E07480B-6E4D-AC45-877A-31402BFDD81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E809110A-4D9A-7647-A1A1-98DE54E084C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F3E5FB-B705-D74E-B23A-B3DF73E05DA9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67203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18437E-5AF1-DE41-A5AB-37D3EFAAF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2D56A2-847F-554A-8B61-D9118C3F9A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393E83-FA87-0843-BD32-999355DA9E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EE85BE-7784-9440-9F2B-034B24DB9B35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6391A9B-2E45-4C48-A811-AF74F1F7F9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C705FA1B-EF01-BF45-B9E5-1B731B98D60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8458D7-AB91-5F4A-A76E-9993295EC2C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068270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74640-6AF9-564C-B2B6-F05D1AB6C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B7BB5C-051F-F54E-94F3-0DE8E1489B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AAABEEA-4B73-4E46-81C2-D4E8ABC7E5F4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00236A3-088D-A748-8891-C57C719D1B7F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CE86EA0-BADD-254D-AB83-89CFA74710F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8D8C54-4E0D-944A-9AFB-6E357C722210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2194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F562D1-7000-4934-BA08-EB573283B1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268B6C-8D0A-46F1-8118-2D6E0089D0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02E6F-C199-4AEC-A8EB-73083CF03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01775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31C43F-2755-7644-923B-C0AE04A360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652C5E-4724-0E44-9D74-E948798F24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E0F476-3A44-084E-A847-06838EE77B3F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D37708C-0DD8-2140-814E-E8876FE832F5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992A40C4-022A-6843-BE98-56062B52D98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62E71D-BD5D-F643-82E3-34FCC431EE15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44153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06DD4E-27C3-4172-A5EA-06A4687DE2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0BBF47-3956-48BE-85E0-38281F50D8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9A47F-C029-426F-BBB9-96835C664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85C33E-01C1-4C4C-A27C-76F8A1BFF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18F9C-22E6-4486-9013-3CC0AA32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16962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9D353B-ABC3-44AD-99B2-1F71C10687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38F164-5992-4860-85C0-F3EFE68D64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284E8-7FB5-4841-98C6-1A8F83F53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96E8AB-4F18-46F8-8033-59F187ADC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DAAA37-F541-43E2-8349-1A03A752A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03732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043FA-9A9D-42D8-AB2F-CCBBD3FC1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75512A-3345-4408-9463-F0D07CA559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AB60A9-D8BC-4CC7-9C38-39C0331F4C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F167BD-120D-4114-8F01-7BA8205BB7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169E4D-44EE-4E0A-AA9C-6DCD99DB8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85866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4C7C0-7B0E-4D5B-937E-65760FCF9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D8E08B-C867-464B-B460-8C777A71AC9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E1AD5A-FCAB-4374-AAC8-6CBD67FE2F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F2AEDC-9E86-4C90-AAB4-E76AB572A5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53F756-F107-4DCC-808C-49761084C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AFA7FF-E024-48FC-8A04-ABAEA477C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84175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8B3DC-A1A2-4178-BC9C-18D28A5CA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DF5056-601E-48C9-8177-A4DDD8BE01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4C52C1-85F8-4074-B0F2-2412533EAF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EC94D1-8771-4A8C-B032-A9D0D623B3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065715-8350-4A91-84C1-9D43CEFF15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9404AC-C928-4B49-8FE2-6236075715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AD8F014-6D2F-43FC-904F-C2B5DFDD6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814FBA-D065-4FA3-B2A4-B3A14F9E3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022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2">
            <a:extLst>
              <a:ext uri="{FF2B5EF4-FFF2-40B4-BE49-F238E27FC236}">
                <a16:creationId xmlns:a16="http://schemas.microsoft.com/office/drawing/2014/main" id="{F807600B-B6CF-4A17-895F-00592339451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888045" y="3109019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6" name="Picture Placeholder 32">
            <a:extLst>
              <a:ext uri="{FF2B5EF4-FFF2-40B4-BE49-F238E27FC236}">
                <a16:creationId xmlns:a16="http://schemas.microsoft.com/office/drawing/2014/main" id="{A6F9CD3E-4C01-47E9-8E53-8FE1715DECE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09379" y="3109019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5" name="Picture Placeholder 32">
            <a:extLst>
              <a:ext uri="{FF2B5EF4-FFF2-40B4-BE49-F238E27FC236}">
                <a16:creationId xmlns:a16="http://schemas.microsoft.com/office/drawing/2014/main" id="{2D71831C-D257-4741-9FE5-6C91A558E80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30713" y="3109019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4" name="Picture Placeholder 32">
            <a:extLst>
              <a:ext uri="{FF2B5EF4-FFF2-40B4-BE49-F238E27FC236}">
                <a16:creationId xmlns:a16="http://schemas.microsoft.com/office/drawing/2014/main" id="{55AE3507-758E-476B-B0C7-A455CB87838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53030" y="3109019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32965218-7EAA-4C50-A1FC-CAFF1CC55C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0538" y="1203325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F4630D-11DC-4102-8766-0D88420E4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5838A5-7A4E-46FE-94C8-C4A48478EF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A2D4F-8D23-4CF7-AB45-4647EB802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ADFC39-5F39-47A0-8C0E-9C8E50DD6859}"/>
              </a:ext>
            </a:extLst>
          </p:cNvPr>
          <p:cNvSpPr/>
          <p:nvPr/>
        </p:nvSpPr>
        <p:spPr>
          <a:xfrm>
            <a:off x="5653617" y="1130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306F4D3-C292-4A71-8595-05D32A26310E}"/>
              </a:ext>
            </a:extLst>
          </p:cNvPr>
          <p:cNvSpPr/>
          <p:nvPr/>
        </p:nvSpPr>
        <p:spPr>
          <a:xfrm>
            <a:off x="1335617" y="3035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7D30FF0-21D1-4CE5-89D0-DA444B2CF14D}"/>
              </a:ext>
            </a:extLst>
          </p:cNvPr>
          <p:cNvSpPr/>
          <p:nvPr/>
        </p:nvSpPr>
        <p:spPr>
          <a:xfrm>
            <a:off x="4214283" y="3035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9D0C822-0C5C-4C1D-AF89-4ECF70E5BC11}"/>
              </a:ext>
            </a:extLst>
          </p:cNvPr>
          <p:cNvSpPr/>
          <p:nvPr/>
        </p:nvSpPr>
        <p:spPr>
          <a:xfrm>
            <a:off x="7092949" y="3035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0CE8130-7EFD-48ED-B344-55BA0DF32E6E}"/>
              </a:ext>
            </a:extLst>
          </p:cNvPr>
          <p:cNvSpPr/>
          <p:nvPr/>
        </p:nvSpPr>
        <p:spPr>
          <a:xfrm>
            <a:off x="9971615" y="3035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32272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F562D1-7000-4934-BA08-EB573283B1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268B6C-8D0A-46F1-8118-2D6E0089D0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02E6F-C199-4AEC-A8EB-73083CF03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08337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EFA43A9-1515-43E3-9040-ACE0DD553C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66700" y="3607994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593DE47-F666-42DA-B91B-BBB963FB96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48125" y="925513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F9A6711B-CC92-4052-A8A9-22AB908094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28868" y="3607994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75450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90BF43A-ADF4-474C-A6C7-D13F30B47ED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003300"/>
            <a:ext cx="3952764" cy="5537200"/>
          </a:xfrm>
          <a:custGeom>
            <a:avLst/>
            <a:gdLst>
              <a:gd name="connsiteX0" fmla="*/ 1184164 w 3952764"/>
              <a:gd name="connsiteY0" fmla="*/ 0 h 5537200"/>
              <a:gd name="connsiteX1" fmla="*/ 3952764 w 3952764"/>
              <a:gd name="connsiteY1" fmla="*/ 2768600 h 5537200"/>
              <a:gd name="connsiteX2" fmla="*/ 1184164 w 3952764"/>
              <a:gd name="connsiteY2" fmla="*/ 5537200 h 5537200"/>
              <a:gd name="connsiteX3" fmla="*/ 106500 w 3952764"/>
              <a:gd name="connsiteY3" fmla="*/ 5319630 h 5537200"/>
              <a:gd name="connsiteX4" fmla="*/ 0 w 3952764"/>
              <a:gd name="connsiteY4" fmla="*/ 5268326 h 5537200"/>
              <a:gd name="connsiteX5" fmla="*/ 0 w 3952764"/>
              <a:gd name="connsiteY5" fmla="*/ 268874 h 5537200"/>
              <a:gd name="connsiteX6" fmla="*/ 106500 w 3952764"/>
              <a:gd name="connsiteY6" fmla="*/ 217570 h 5537200"/>
              <a:gd name="connsiteX7" fmla="*/ 1184164 w 3952764"/>
              <a:gd name="connsiteY7" fmla="*/ 0 h 553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52764" h="5537200">
                <a:moveTo>
                  <a:pt x="1184164" y="0"/>
                </a:moveTo>
                <a:cubicBezTo>
                  <a:pt x="2713220" y="0"/>
                  <a:pt x="3952764" y="1239544"/>
                  <a:pt x="3952764" y="2768600"/>
                </a:cubicBezTo>
                <a:cubicBezTo>
                  <a:pt x="3952764" y="4297656"/>
                  <a:pt x="2713220" y="5537200"/>
                  <a:pt x="1184164" y="5537200"/>
                </a:cubicBezTo>
                <a:cubicBezTo>
                  <a:pt x="801900" y="5537200"/>
                  <a:pt x="437731" y="5459729"/>
                  <a:pt x="106500" y="5319630"/>
                </a:cubicBezTo>
                <a:lnTo>
                  <a:pt x="0" y="5268326"/>
                </a:lnTo>
                <a:lnTo>
                  <a:pt x="0" y="268874"/>
                </a:lnTo>
                <a:lnTo>
                  <a:pt x="106500" y="217570"/>
                </a:lnTo>
                <a:cubicBezTo>
                  <a:pt x="437731" y="77472"/>
                  <a:pt x="801900" y="0"/>
                  <a:pt x="1184164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1162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EFA43A9-1515-43E3-9040-ACE0DD553C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66700" y="3607994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593DE47-F666-42DA-B91B-BBB963FB96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48125" y="925513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F9A6711B-CC92-4052-A8A9-22AB908094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28868" y="3607994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22165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94A58E8-F52F-4A44-B1EF-1CCF06E4E2C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429000" y="0"/>
            <a:ext cx="5130800" cy="6858000"/>
          </a:xfrm>
          <a:custGeom>
            <a:avLst/>
            <a:gdLst>
              <a:gd name="connsiteX0" fmla="*/ 0 w 5130800"/>
              <a:gd name="connsiteY0" fmla="*/ 0 h 6858000"/>
              <a:gd name="connsiteX1" fmla="*/ 2110503 w 5130800"/>
              <a:gd name="connsiteY1" fmla="*/ 0 h 6858000"/>
              <a:gd name="connsiteX2" fmla="*/ 5130800 w 5130800"/>
              <a:gd name="connsiteY2" fmla="*/ 6858000 h 6858000"/>
              <a:gd name="connsiteX3" fmla="*/ 3020297 w 5130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30800" h="6858000">
                <a:moveTo>
                  <a:pt x="0" y="0"/>
                </a:moveTo>
                <a:lnTo>
                  <a:pt x="2110503" y="0"/>
                </a:lnTo>
                <a:lnTo>
                  <a:pt x="5130800" y="6858000"/>
                </a:lnTo>
                <a:lnTo>
                  <a:pt x="3020297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69A26C0-BA85-43FA-9548-0A0F7A8D94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219200" y="0"/>
            <a:ext cx="5130800" cy="6858000"/>
          </a:xfrm>
          <a:custGeom>
            <a:avLst/>
            <a:gdLst>
              <a:gd name="connsiteX0" fmla="*/ 0 w 5130800"/>
              <a:gd name="connsiteY0" fmla="*/ 0 h 6858000"/>
              <a:gd name="connsiteX1" fmla="*/ 2110503 w 5130800"/>
              <a:gd name="connsiteY1" fmla="*/ 0 h 6858000"/>
              <a:gd name="connsiteX2" fmla="*/ 5130800 w 5130800"/>
              <a:gd name="connsiteY2" fmla="*/ 6858000 h 6858000"/>
              <a:gd name="connsiteX3" fmla="*/ 3020297 w 5130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30800" h="6858000">
                <a:moveTo>
                  <a:pt x="0" y="0"/>
                </a:moveTo>
                <a:lnTo>
                  <a:pt x="2110503" y="0"/>
                </a:lnTo>
                <a:lnTo>
                  <a:pt x="5130800" y="6858000"/>
                </a:lnTo>
                <a:lnTo>
                  <a:pt x="3020297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D6440D9-CD52-44B2-A4EA-17B834508E6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990600" y="0"/>
            <a:ext cx="5130800" cy="6858000"/>
          </a:xfrm>
          <a:custGeom>
            <a:avLst/>
            <a:gdLst>
              <a:gd name="connsiteX0" fmla="*/ 0 w 5130800"/>
              <a:gd name="connsiteY0" fmla="*/ 0 h 6858000"/>
              <a:gd name="connsiteX1" fmla="*/ 2110503 w 5130800"/>
              <a:gd name="connsiteY1" fmla="*/ 0 h 6858000"/>
              <a:gd name="connsiteX2" fmla="*/ 5130800 w 5130800"/>
              <a:gd name="connsiteY2" fmla="*/ 6858000 h 6858000"/>
              <a:gd name="connsiteX3" fmla="*/ 3020297 w 5130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30800" h="6858000">
                <a:moveTo>
                  <a:pt x="0" y="0"/>
                </a:moveTo>
                <a:lnTo>
                  <a:pt x="2110503" y="0"/>
                </a:lnTo>
                <a:lnTo>
                  <a:pt x="5130800" y="6858000"/>
                </a:lnTo>
                <a:lnTo>
                  <a:pt x="3020297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80778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F540B0D-4795-4BC7-87C5-70C1142C563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391401" y="4470974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77385D8-4260-4CD4-8EDB-C56E34A3286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45358" y="4470974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C53C9E8-AC21-4D16-BB7D-EDD25725256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572625" y="3142045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900CEAA-39BA-434B-8E0D-4C5FFF31F7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18379" y="3142045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CB1BD77-7453-40ED-A9B1-6A70B0FBBF9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845648" y="1813117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6A50284-9143-4611-AC0B-E85174E0D0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18475" y="484188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69838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Blank">
  <p:cSld name="15_Blank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64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rotWithShape="1">
            <a:blip r:embed="rId2">
              <a:alphaModFix/>
            </a:blip>
            <a:tile tx="0" ty="0" sx="100000" sy="100000" flip="none" algn="tl"/>
          </a:blipFill>
          <a:ln>
            <a:noFill/>
          </a:ln>
        </p:spPr>
        <p:txBody>
          <a:bodyPr spcFirstLastPara="1" wrap="square" lIns="91425" tIns="45700" rIns="91425" bIns="45700" anchor="ctr" anchorCtr="1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•"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Google Shape;48;p64"/>
          <p:cNvSpPr txBox="1">
            <a:spLocks noGrp="1"/>
          </p:cNvSpPr>
          <p:nvPr>
            <p:ph type="body" idx="1"/>
          </p:nvPr>
        </p:nvSpPr>
        <p:spPr>
          <a:xfrm>
            <a:off x="5799137" y="1306517"/>
            <a:ext cx="3956051" cy="317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000"/>
              <a:buNone/>
              <a:defRPr sz="3000" b="1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0340596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9F89DD-CA58-45CD-90F9-4278575A1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382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9F89DD-CA58-45CD-90F9-4278575A1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A4E1EA-D881-409B-8C04-1257A8D74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0A0191-1FAF-4367-B442-46F8272CC223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2D4470-69BB-4864-BBB8-F96270AE99D6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 Privacy</a:t>
            </a:r>
          </a:p>
        </p:txBody>
      </p:sp>
    </p:spTree>
    <p:extLst>
      <p:ext uri="{BB962C8B-B14F-4D97-AF65-F5344CB8AC3E}">
        <p14:creationId xmlns:p14="http://schemas.microsoft.com/office/powerpoint/2010/main" val="8629974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C450B92-4B37-4F18-BB97-A5E278988E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64566" y="543887"/>
            <a:ext cx="4936834" cy="4844056"/>
          </a:xfrm>
          <a:custGeom>
            <a:avLst/>
            <a:gdLst>
              <a:gd name="connsiteX0" fmla="*/ 1925955 w 3851910"/>
              <a:gd name="connsiteY0" fmla="*/ 0 h 3779520"/>
              <a:gd name="connsiteX1" fmla="*/ 3851910 w 3851910"/>
              <a:gd name="connsiteY1" fmla="*/ 1889760 h 3779520"/>
              <a:gd name="connsiteX2" fmla="*/ 1925955 w 3851910"/>
              <a:gd name="connsiteY2" fmla="*/ 3779520 h 3779520"/>
              <a:gd name="connsiteX3" fmla="*/ 0 w 3851910"/>
              <a:gd name="connsiteY3" fmla="*/ 1889760 h 3779520"/>
              <a:gd name="connsiteX4" fmla="*/ 1925955 w 3851910"/>
              <a:gd name="connsiteY4" fmla="*/ 0 h 3779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910" h="3779520">
                <a:moveTo>
                  <a:pt x="1925955" y="0"/>
                </a:moveTo>
                <a:cubicBezTo>
                  <a:pt x="2989631" y="0"/>
                  <a:pt x="3851910" y="846074"/>
                  <a:pt x="3851910" y="1889760"/>
                </a:cubicBezTo>
                <a:cubicBezTo>
                  <a:pt x="3851910" y="2933446"/>
                  <a:pt x="2989631" y="3779520"/>
                  <a:pt x="1925955" y="3779520"/>
                </a:cubicBezTo>
                <a:cubicBezTo>
                  <a:pt x="862279" y="3779520"/>
                  <a:pt x="0" y="2933446"/>
                  <a:pt x="0" y="1889760"/>
                </a:cubicBezTo>
                <a:cubicBezTo>
                  <a:pt x="0" y="846074"/>
                  <a:pt x="862279" y="0"/>
                  <a:pt x="192595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83506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968766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605542-4BA6-49E2-9186-328C7257F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3AE337-4659-4614-A3B2-9A3295D4F3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377AB3-EA0F-4564-BA11-CE86CEC2B74E}" type="datetimeFigureOut">
              <a:rPr lang="en-US" smtClean="0"/>
              <a:t>7/16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D358D3-5A6A-496C-A8B2-A7B60581D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A4B1E0-2B52-4B39-B6EF-22A5CCB74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D112-55D8-4CF9-923F-275B1C8B9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96666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8465CD8-01F2-4B39-9718-EB9ED29A67B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843703" y="1034119"/>
            <a:ext cx="3450614" cy="4862287"/>
          </a:xfrm>
          <a:custGeom>
            <a:avLst/>
            <a:gdLst>
              <a:gd name="connsiteX0" fmla="*/ 1725317 w 3450614"/>
              <a:gd name="connsiteY0" fmla="*/ 0 h 4862287"/>
              <a:gd name="connsiteX1" fmla="*/ 1725334 w 3450614"/>
              <a:gd name="connsiteY1" fmla="*/ 1 h 4862287"/>
              <a:gd name="connsiteX2" fmla="*/ 1726349 w 3450614"/>
              <a:gd name="connsiteY2" fmla="*/ 1 h 4862287"/>
              <a:gd name="connsiteX3" fmla="*/ 3448576 w 3450614"/>
              <a:gd name="connsiteY3" fmla="*/ 1 h 4862287"/>
              <a:gd name="connsiteX4" fmla="*/ 3448576 w 3450614"/>
              <a:gd name="connsiteY4" fmla="*/ 1654075 h 4862287"/>
              <a:gd name="connsiteX5" fmla="*/ 3450614 w 3450614"/>
              <a:gd name="connsiteY5" fmla="*/ 1654075 h 4862287"/>
              <a:gd name="connsiteX6" fmla="*/ 3450614 w 3450614"/>
              <a:gd name="connsiteY6" fmla="*/ 1746610 h 4862287"/>
              <a:gd name="connsiteX7" fmla="*/ 3450614 w 3450614"/>
              <a:gd name="connsiteY7" fmla="*/ 2081042 h 4862287"/>
              <a:gd name="connsiteX8" fmla="*/ 3450614 w 3450614"/>
              <a:gd name="connsiteY8" fmla="*/ 2781245 h 4862287"/>
              <a:gd name="connsiteX9" fmla="*/ 3450614 w 3450614"/>
              <a:gd name="connsiteY9" fmla="*/ 3115676 h 4862287"/>
              <a:gd name="connsiteX10" fmla="*/ 3448555 w 3450614"/>
              <a:gd name="connsiteY10" fmla="*/ 3115676 h 4862287"/>
              <a:gd name="connsiteX11" fmla="*/ 3448555 w 3450614"/>
              <a:gd name="connsiteY11" fmla="*/ 3115677 h 4862287"/>
              <a:gd name="connsiteX12" fmla="*/ 3448555 w 3450614"/>
              <a:gd name="connsiteY12" fmla="*/ 3116199 h 4862287"/>
              <a:gd name="connsiteX13" fmla="*/ 3448555 w 3450614"/>
              <a:gd name="connsiteY13" fmla="*/ 3138605 h 4862287"/>
              <a:gd name="connsiteX14" fmla="*/ 3448555 w 3450614"/>
              <a:gd name="connsiteY14" fmla="*/ 3208212 h 4862287"/>
              <a:gd name="connsiteX15" fmla="*/ 3444255 w 3450614"/>
              <a:gd name="connsiteY15" fmla="*/ 3208212 h 4862287"/>
              <a:gd name="connsiteX16" fmla="*/ 3440728 w 3450614"/>
              <a:gd name="connsiteY16" fmla="*/ 3283711 h 4862287"/>
              <a:gd name="connsiteX17" fmla="*/ 3439830 w 3450614"/>
              <a:gd name="connsiteY17" fmla="*/ 3290202 h 4862287"/>
              <a:gd name="connsiteX18" fmla="*/ 3439651 w 3450614"/>
              <a:gd name="connsiteY18" fmla="*/ 3293788 h 4862287"/>
              <a:gd name="connsiteX19" fmla="*/ 3434630 w 3450614"/>
              <a:gd name="connsiteY19" fmla="*/ 3327838 h 4862287"/>
              <a:gd name="connsiteX20" fmla="*/ 3419589 w 3450614"/>
              <a:gd name="connsiteY20" fmla="*/ 3436693 h 4862287"/>
              <a:gd name="connsiteX21" fmla="*/ 3416731 w 3450614"/>
              <a:gd name="connsiteY21" fmla="*/ 3449212 h 4862287"/>
              <a:gd name="connsiteX22" fmla="*/ 3415644 w 3450614"/>
              <a:gd name="connsiteY22" fmla="*/ 3456587 h 4862287"/>
              <a:gd name="connsiteX23" fmla="*/ 3406357 w 3450614"/>
              <a:gd name="connsiteY23" fmla="*/ 3494653 h 4862287"/>
              <a:gd name="connsiteX24" fmla="*/ 3385699 w 3450614"/>
              <a:gd name="connsiteY24" fmla="*/ 3585139 h 4862287"/>
              <a:gd name="connsiteX25" fmla="*/ 3379816 w 3450614"/>
              <a:gd name="connsiteY25" fmla="*/ 3603445 h 4862287"/>
              <a:gd name="connsiteX26" fmla="*/ 3377210 w 3450614"/>
              <a:gd name="connsiteY26" fmla="*/ 3614128 h 4862287"/>
              <a:gd name="connsiteX27" fmla="*/ 3364680 w 3450614"/>
              <a:gd name="connsiteY27" fmla="*/ 3650544 h 4862287"/>
              <a:gd name="connsiteX28" fmla="*/ 3339643 w 3450614"/>
              <a:gd name="connsiteY28" fmla="*/ 3728452 h 4862287"/>
              <a:gd name="connsiteX29" fmla="*/ 3329740 w 3450614"/>
              <a:gd name="connsiteY29" fmla="*/ 3752093 h 4862287"/>
              <a:gd name="connsiteX30" fmla="*/ 3325063 w 3450614"/>
              <a:gd name="connsiteY30" fmla="*/ 3765685 h 4862287"/>
              <a:gd name="connsiteX31" fmla="*/ 3310233 w 3450614"/>
              <a:gd name="connsiteY31" fmla="*/ 3798661 h 4862287"/>
              <a:gd name="connsiteX32" fmla="*/ 3282010 w 3450614"/>
              <a:gd name="connsiteY32" fmla="*/ 3866035 h 4862287"/>
              <a:gd name="connsiteX33" fmla="*/ 3267141 w 3450614"/>
              <a:gd name="connsiteY33" fmla="*/ 3894476 h 4862287"/>
              <a:gd name="connsiteX34" fmla="*/ 3259917 w 3450614"/>
              <a:gd name="connsiteY34" fmla="*/ 3910538 h 4862287"/>
              <a:gd name="connsiteX35" fmla="*/ 3243649 w 3450614"/>
              <a:gd name="connsiteY35" fmla="*/ 3939410 h 4862287"/>
              <a:gd name="connsiteX36" fmla="*/ 3213389 w 3450614"/>
              <a:gd name="connsiteY36" fmla="*/ 3997293 h 4862287"/>
              <a:gd name="connsiteX37" fmla="*/ 3192653 w 3450614"/>
              <a:gd name="connsiteY37" fmla="*/ 4029922 h 4862287"/>
              <a:gd name="connsiteX38" fmla="*/ 3182489 w 3450614"/>
              <a:gd name="connsiteY38" fmla="*/ 4047960 h 4862287"/>
              <a:gd name="connsiteX39" fmla="*/ 3165573 w 3450614"/>
              <a:gd name="connsiteY39" fmla="*/ 4072530 h 4862287"/>
              <a:gd name="connsiteX40" fmla="*/ 3134368 w 3450614"/>
              <a:gd name="connsiteY40" fmla="*/ 4121631 h 4862287"/>
              <a:gd name="connsiteX41" fmla="*/ 3106897 w 3450614"/>
              <a:gd name="connsiteY41" fmla="*/ 4157755 h 4862287"/>
              <a:gd name="connsiteX42" fmla="*/ 3093490 w 3450614"/>
              <a:gd name="connsiteY42" fmla="*/ 4177230 h 4862287"/>
              <a:gd name="connsiteX43" fmla="*/ 3076642 w 3450614"/>
              <a:gd name="connsiteY43" fmla="*/ 4197541 h 4862287"/>
              <a:gd name="connsiteX44" fmla="*/ 3045532 w 3450614"/>
              <a:gd name="connsiteY44" fmla="*/ 4238452 h 4862287"/>
              <a:gd name="connsiteX45" fmla="*/ 3010479 w 3450614"/>
              <a:gd name="connsiteY45" fmla="*/ 4277313 h 4862287"/>
              <a:gd name="connsiteX46" fmla="*/ 2993635 w 3450614"/>
              <a:gd name="connsiteY46" fmla="*/ 4297621 h 4862287"/>
              <a:gd name="connsiteX47" fmla="*/ 2977507 w 3450614"/>
              <a:gd name="connsiteY47" fmla="*/ 4313865 h 4862287"/>
              <a:gd name="connsiteX48" fmla="*/ 2947474 w 3450614"/>
              <a:gd name="connsiteY48" fmla="*/ 4347160 h 4862287"/>
              <a:gd name="connsiteX49" fmla="*/ 2903963 w 3450614"/>
              <a:gd name="connsiteY49" fmla="*/ 4387941 h 4862287"/>
              <a:gd name="connsiteX50" fmla="*/ 2883638 w 3450614"/>
              <a:gd name="connsiteY50" fmla="*/ 4408412 h 4862287"/>
              <a:gd name="connsiteX51" fmla="*/ 2868821 w 3450614"/>
              <a:gd name="connsiteY51" fmla="*/ 4420877 h 4862287"/>
              <a:gd name="connsiteX52" fmla="*/ 2840778 w 3450614"/>
              <a:gd name="connsiteY52" fmla="*/ 4447160 h 4862287"/>
              <a:gd name="connsiteX53" fmla="*/ 2787837 w 3450614"/>
              <a:gd name="connsiteY53" fmla="*/ 4489006 h 4862287"/>
              <a:gd name="connsiteX54" fmla="*/ 2764214 w 3450614"/>
              <a:gd name="connsiteY54" fmla="*/ 4508880 h 4862287"/>
              <a:gd name="connsiteX55" fmla="*/ 2751241 w 3450614"/>
              <a:gd name="connsiteY55" fmla="*/ 4517932 h 4862287"/>
              <a:gd name="connsiteX56" fmla="*/ 2726034 w 3450614"/>
              <a:gd name="connsiteY56" fmla="*/ 4537856 h 4862287"/>
              <a:gd name="connsiteX57" fmla="*/ 2662417 w 3450614"/>
              <a:gd name="connsiteY57" fmla="*/ 4579917 h 4862287"/>
              <a:gd name="connsiteX58" fmla="*/ 2636077 w 3450614"/>
              <a:gd name="connsiteY58" fmla="*/ 4598299 h 4862287"/>
              <a:gd name="connsiteX59" fmla="*/ 2625433 w 3450614"/>
              <a:gd name="connsiteY59" fmla="*/ 4604369 h 4862287"/>
              <a:gd name="connsiteX60" fmla="*/ 2603830 w 3450614"/>
              <a:gd name="connsiteY60" fmla="*/ 4618652 h 4862287"/>
              <a:gd name="connsiteX61" fmla="*/ 2527603 w 3450614"/>
              <a:gd name="connsiteY61" fmla="*/ 4660169 h 4862287"/>
              <a:gd name="connsiteX62" fmla="*/ 2499940 w 3450614"/>
              <a:gd name="connsiteY62" fmla="*/ 4675947 h 4862287"/>
              <a:gd name="connsiteX63" fmla="*/ 2492063 w 3450614"/>
              <a:gd name="connsiteY63" fmla="*/ 4679525 h 4862287"/>
              <a:gd name="connsiteX64" fmla="*/ 2474754 w 3450614"/>
              <a:gd name="connsiteY64" fmla="*/ 4688952 h 4862287"/>
              <a:gd name="connsiteX65" fmla="*/ 2382012 w 3450614"/>
              <a:gd name="connsiteY65" fmla="*/ 4729518 h 4862287"/>
              <a:gd name="connsiteX66" fmla="*/ 2356518 w 3450614"/>
              <a:gd name="connsiteY66" fmla="*/ 4741099 h 4862287"/>
              <a:gd name="connsiteX67" fmla="*/ 2351802 w 3450614"/>
              <a:gd name="connsiteY67" fmla="*/ 4742732 h 4862287"/>
              <a:gd name="connsiteX68" fmla="*/ 2339394 w 3450614"/>
              <a:gd name="connsiteY68" fmla="*/ 4748160 h 4862287"/>
              <a:gd name="connsiteX69" fmla="*/ 2218506 w 3450614"/>
              <a:gd name="connsiteY69" fmla="*/ 4788884 h 4862287"/>
              <a:gd name="connsiteX70" fmla="*/ 2206525 w 3450614"/>
              <a:gd name="connsiteY70" fmla="*/ 4793033 h 4862287"/>
              <a:gd name="connsiteX71" fmla="*/ 2205321 w 3450614"/>
              <a:gd name="connsiteY71" fmla="*/ 4793327 h 4862287"/>
              <a:gd name="connsiteX72" fmla="*/ 2198337 w 3450614"/>
              <a:gd name="connsiteY72" fmla="*/ 4795679 h 4862287"/>
              <a:gd name="connsiteX73" fmla="*/ 1901489 w 3450614"/>
              <a:gd name="connsiteY73" fmla="*/ 4853272 h 4862287"/>
              <a:gd name="connsiteX74" fmla="*/ 1894746 w 3450614"/>
              <a:gd name="connsiteY74" fmla="*/ 4853617 h 4862287"/>
              <a:gd name="connsiteX75" fmla="*/ 1889684 w 3450614"/>
              <a:gd name="connsiteY75" fmla="*/ 4854350 h 4862287"/>
              <a:gd name="connsiteX76" fmla="*/ 1806254 w 3450614"/>
              <a:gd name="connsiteY76" fmla="*/ 4858353 h 4862287"/>
              <a:gd name="connsiteX77" fmla="*/ 1806254 w 3450614"/>
              <a:gd name="connsiteY77" fmla="*/ 4862286 h 4862287"/>
              <a:gd name="connsiteX78" fmla="*/ 1725313 w 3450614"/>
              <a:gd name="connsiteY78" fmla="*/ 4862286 h 4862287"/>
              <a:gd name="connsiteX79" fmla="*/ 1725296 w 3450614"/>
              <a:gd name="connsiteY79" fmla="*/ 4862287 h 4862287"/>
              <a:gd name="connsiteX80" fmla="*/ 1725280 w 3450614"/>
              <a:gd name="connsiteY80" fmla="*/ 4862286 h 4862287"/>
              <a:gd name="connsiteX81" fmla="*/ 1724265 w 3450614"/>
              <a:gd name="connsiteY81" fmla="*/ 4862286 h 4862287"/>
              <a:gd name="connsiteX82" fmla="*/ 2039 w 3450614"/>
              <a:gd name="connsiteY82" fmla="*/ 4862286 h 4862287"/>
              <a:gd name="connsiteX83" fmla="*/ 2039 w 3450614"/>
              <a:gd name="connsiteY83" fmla="*/ 3208212 h 4862287"/>
              <a:gd name="connsiteX84" fmla="*/ 0 w 3450614"/>
              <a:gd name="connsiteY84" fmla="*/ 3208212 h 4862287"/>
              <a:gd name="connsiteX85" fmla="*/ 0 w 3450614"/>
              <a:gd name="connsiteY85" fmla="*/ 3115677 h 4862287"/>
              <a:gd name="connsiteX86" fmla="*/ 0 w 3450614"/>
              <a:gd name="connsiteY86" fmla="*/ 2781245 h 4862287"/>
              <a:gd name="connsiteX87" fmla="*/ 0 w 3450614"/>
              <a:gd name="connsiteY87" fmla="*/ 2081042 h 4862287"/>
              <a:gd name="connsiteX88" fmla="*/ 0 w 3450614"/>
              <a:gd name="connsiteY88" fmla="*/ 1746611 h 4862287"/>
              <a:gd name="connsiteX89" fmla="*/ 2059 w 3450614"/>
              <a:gd name="connsiteY89" fmla="*/ 1746611 h 4862287"/>
              <a:gd name="connsiteX90" fmla="*/ 2059 w 3450614"/>
              <a:gd name="connsiteY90" fmla="*/ 1746610 h 4862287"/>
              <a:gd name="connsiteX91" fmla="*/ 2059 w 3450614"/>
              <a:gd name="connsiteY91" fmla="*/ 1746088 h 4862287"/>
              <a:gd name="connsiteX92" fmla="*/ 2059 w 3450614"/>
              <a:gd name="connsiteY92" fmla="*/ 1723682 h 4862287"/>
              <a:gd name="connsiteX93" fmla="*/ 2059 w 3450614"/>
              <a:gd name="connsiteY93" fmla="*/ 1654075 h 4862287"/>
              <a:gd name="connsiteX94" fmla="*/ 6359 w 3450614"/>
              <a:gd name="connsiteY94" fmla="*/ 1654075 h 4862287"/>
              <a:gd name="connsiteX95" fmla="*/ 9887 w 3450614"/>
              <a:gd name="connsiteY95" fmla="*/ 1578577 h 4862287"/>
              <a:gd name="connsiteX96" fmla="*/ 10784 w 3450614"/>
              <a:gd name="connsiteY96" fmla="*/ 1572084 h 4862287"/>
              <a:gd name="connsiteX97" fmla="*/ 10963 w 3450614"/>
              <a:gd name="connsiteY97" fmla="*/ 1568500 h 4862287"/>
              <a:gd name="connsiteX98" fmla="*/ 15984 w 3450614"/>
              <a:gd name="connsiteY98" fmla="*/ 1534449 h 4862287"/>
              <a:gd name="connsiteX99" fmla="*/ 31025 w 3450614"/>
              <a:gd name="connsiteY99" fmla="*/ 1425594 h 4862287"/>
              <a:gd name="connsiteX100" fmla="*/ 33883 w 3450614"/>
              <a:gd name="connsiteY100" fmla="*/ 1413074 h 4862287"/>
              <a:gd name="connsiteX101" fmla="*/ 34970 w 3450614"/>
              <a:gd name="connsiteY101" fmla="*/ 1405701 h 4862287"/>
              <a:gd name="connsiteX102" fmla="*/ 44257 w 3450614"/>
              <a:gd name="connsiteY102" fmla="*/ 1367635 h 4862287"/>
              <a:gd name="connsiteX103" fmla="*/ 64915 w 3450614"/>
              <a:gd name="connsiteY103" fmla="*/ 1277148 h 4862287"/>
              <a:gd name="connsiteX104" fmla="*/ 70798 w 3450614"/>
              <a:gd name="connsiteY104" fmla="*/ 1258842 h 4862287"/>
              <a:gd name="connsiteX105" fmla="*/ 73404 w 3450614"/>
              <a:gd name="connsiteY105" fmla="*/ 1248160 h 4862287"/>
              <a:gd name="connsiteX106" fmla="*/ 85934 w 3450614"/>
              <a:gd name="connsiteY106" fmla="*/ 1211743 h 4862287"/>
              <a:gd name="connsiteX107" fmla="*/ 110971 w 3450614"/>
              <a:gd name="connsiteY107" fmla="*/ 1133836 h 4862287"/>
              <a:gd name="connsiteX108" fmla="*/ 120874 w 3450614"/>
              <a:gd name="connsiteY108" fmla="*/ 1110194 h 4862287"/>
              <a:gd name="connsiteX109" fmla="*/ 125551 w 3450614"/>
              <a:gd name="connsiteY109" fmla="*/ 1096602 h 4862287"/>
              <a:gd name="connsiteX110" fmla="*/ 140381 w 3450614"/>
              <a:gd name="connsiteY110" fmla="*/ 1063627 h 4862287"/>
              <a:gd name="connsiteX111" fmla="*/ 168604 w 3450614"/>
              <a:gd name="connsiteY111" fmla="*/ 996252 h 4862287"/>
              <a:gd name="connsiteX112" fmla="*/ 183473 w 3450614"/>
              <a:gd name="connsiteY112" fmla="*/ 967811 h 4862287"/>
              <a:gd name="connsiteX113" fmla="*/ 190697 w 3450614"/>
              <a:gd name="connsiteY113" fmla="*/ 951749 h 4862287"/>
              <a:gd name="connsiteX114" fmla="*/ 206965 w 3450614"/>
              <a:gd name="connsiteY114" fmla="*/ 922877 h 4862287"/>
              <a:gd name="connsiteX115" fmla="*/ 237225 w 3450614"/>
              <a:gd name="connsiteY115" fmla="*/ 864994 h 4862287"/>
              <a:gd name="connsiteX116" fmla="*/ 257961 w 3450614"/>
              <a:gd name="connsiteY116" fmla="*/ 832366 h 4862287"/>
              <a:gd name="connsiteX117" fmla="*/ 268126 w 3450614"/>
              <a:gd name="connsiteY117" fmla="*/ 814326 h 4862287"/>
              <a:gd name="connsiteX118" fmla="*/ 285041 w 3450614"/>
              <a:gd name="connsiteY118" fmla="*/ 789757 h 4862287"/>
              <a:gd name="connsiteX119" fmla="*/ 316247 w 3450614"/>
              <a:gd name="connsiteY119" fmla="*/ 740656 h 4862287"/>
              <a:gd name="connsiteX120" fmla="*/ 343717 w 3450614"/>
              <a:gd name="connsiteY120" fmla="*/ 704532 h 4862287"/>
              <a:gd name="connsiteX121" fmla="*/ 357124 w 3450614"/>
              <a:gd name="connsiteY121" fmla="*/ 685058 h 4862287"/>
              <a:gd name="connsiteX122" fmla="*/ 373972 w 3450614"/>
              <a:gd name="connsiteY122" fmla="*/ 664746 h 4862287"/>
              <a:gd name="connsiteX123" fmla="*/ 405082 w 3450614"/>
              <a:gd name="connsiteY123" fmla="*/ 623835 h 4862287"/>
              <a:gd name="connsiteX124" fmla="*/ 440135 w 3450614"/>
              <a:gd name="connsiteY124" fmla="*/ 584975 h 4862287"/>
              <a:gd name="connsiteX125" fmla="*/ 456979 w 3450614"/>
              <a:gd name="connsiteY125" fmla="*/ 564666 h 4862287"/>
              <a:gd name="connsiteX126" fmla="*/ 473107 w 3450614"/>
              <a:gd name="connsiteY126" fmla="*/ 548422 h 4862287"/>
              <a:gd name="connsiteX127" fmla="*/ 503141 w 3450614"/>
              <a:gd name="connsiteY127" fmla="*/ 515126 h 4862287"/>
              <a:gd name="connsiteX128" fmla="*/ 546651 w 3450614"/>
              <a:gd name="connsiteY128" fmla="*/ 474346 h 4862287"/>
              <a:gd name="connsiteX129" fmla="*/ 566976 w 3450614"/>
              <a:gd name="connsiteY129" fmla="*/ 453875 h 4862287"/>
              <a:gd name="connsiteX130" fmla="*/ 581793 w 3450614"/>
              <a:gd name="connsiteY130" fmla="*/ 441410 h 4862287"/>
              <a:gd name="connsiteX131" fmla="*/ 609835 w 3450614"/>
              <a:gd name="connsiteY131" fmla="*/ 415127 h 4862287"/>
              <a:gd name="connsiteX132" fmla="*/ 662777 w 3450614"/>
              <a:gd name="connsiteY132" fmla="*/ 373281 h 4862287"/>
              <a:gd name="connsiteX133" fmla="*/ 686400 w 3450614"/>
              <a:gd name="connsiteY133" fmla="*/ 353407 h 4862287"/>
              <a:gd name="connsiteX134" fmla="*/ 699372 w 3450614"/>
              <a:gd name="connsiteY134" fmla="*/ 344355 h 4862287"/>
              <a:gd name="connsiteX135" fmla="*/ 724580 w 3450614"/>
              <a:gd name="connsiteY135" fmla="*/ 324431 h 4862287"/>
              <a:gd name="connsiteX136" fmla="*/ 788197 w 3450614"/>
              <a:gd name="connsiteY136" fmla="*/ 282370 h 4862287"/>
              <a:gd name="connsiteX137" fmla="*/ 814537 w 3450614"/>
              <a:gd name="connsiteY137" fmla="*/ 263988 h 4862287"/>
              <a:gd name="connsiteX138" fmla="*/ 825181 w 3450614"/>
              <a:gd name="connsiteY138" fmla="*/ 257919 h 4862287"/>
              <a:gd name="connsiteX139" fmla="*/ 846784 w 3450614"/>
              <a:gd name="connsiteY139" fmla="*/ 243635 h 4862287"/>
              <a:gd name="connsiteX140" fmla="*/ 923012 w 3450614"/>
              <a:gd name="connsiteY140" fmla="*/ 202119 h 4862287"/>
              <a:gd name="connsiteX141" fmla="*/ 950674 w 3450614"/>
              <a:gd name="connsiteY141" fmla="*/ 186341 h 4862287"/>
              <a:gd name="connsiteX142" fmla="*/ 958551 w 3450614"/>
              <a:gd name="connsiteY142" fmla="*/ 182762 h 4862287"/>
              <a:gd name="connsiteX143" fmla="*/ 975861 w 3450614"/>
              <a:gd name="connsiteY143" fmla="*/ 173335 h 4862287"/>
              <a:gd name="connsiteX144" fmla="*/ 1068602 w 3450614"/>
              <a:gd name="connsiteY144" fmla="*/ 132770 h 4862287"/>
              <a:gd name="connsiteX145" fmla="*/ 1094096 w 3450614"/>
              <a:gd name="connsiteY145" fmla="*/ 121188 h 4862287"/>
              <a:gd name="connsiteX146" fmla="*/ 1098812 w 3450614"/>
              <a:gd name="connsiteY146" fmla="*/ 119555 h 4862287"/>
              <a:gd name="connsiteX147" fmla="*/ 1111220 w 3450614"/>
              <a:gd name="connsiteY147" fmla="*/ 114128 h 4862287"/>
              <a:gd name="connsiteX148" fmla="*/ 1232108 w 3450614"/>
              <a:gd name="connsiteY148" fmla="*/ 73404 h 4862287"/>
              <a:gd name="connsiteX149" fmla="*/ 1244089 w 3450614"/>
              <a:gd name="connsiteY149" fmla="*/ 69254 h 4862287"/>
              <a:gd name="connsiteX150" fmla="*/ 1245293 w 3450614"/>
              <a:gd name="connsiteY150" fmla="*/ 68960 h 4862287"/>
              <a:gd name="connsiteX151" fmla="*/ 1252276 w 3450614"/>
              <a:gd name="connsiteY151" fmla="*/ 66608 h 4862287"/>
              <a:gd name="connsiteX152" fmla="*/ 1549124 w 3450614"/>
              <a:gd name="connsiteY152" fmla="*/ 9015 h 4862287"/>
              <a:gd name="connsiteX153" fmla="*/ 1555869 w 3450614"/>
              <a:gd name="connsiteY153" fmla="*/ 8671 h 4862287"/>
              <a:gd name="connsiteX154" fmla="*/ 1560930 w 3450614"/>
              <a:gd name="connsiteY154" fmla="*/ 7937 h 4862287"/>
              <a:gd name="connsiteX155" fmla="*/ 1644360 w 3450614"/>
              <a:gd name="connsiteY155" fmla="*/ 3934 h 4862287"/>
              <a:gd name="connsiteX156" fmla="*/ 1644360 w 3450614"/>
              <a:gd name="connsiteY156" fmla="*/ 1 h 4862287"/>
              <a:gd name="connsiteX157" fmla="*/ 1725301 w 3450614"/>
              <a:gd name="connsiteY157" fmla="*/ 1 h 4862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3450614" h="4862287">
                <a:moveTo>
                  <a:pt x="1725317" y="0"/>
                </a:moveTo>
                <a:lnTo>
                  <a:pt x="1725334" y="1"/>
                </a:lnTo>
                <a:lnTo>
                  <a:pt x="1726349" y="1"/>
                </a:lnTo>
                <a:lnTo>
                  <a:pt x="3448576" y="1"/>
                </a:lnTo>
                <a:lnTo>
                  <a:pt x="3448576" y="1654075"/>
                </a:lnTo>
                <a:lnTo>
                  <a:pt x="3450614" y="1654075"/>
                </a:lnTo>
                <a:lnTo>
                  <a:pt x="3450614" y="1746610"/>
                </a:lnTo>
                <a:lnTo>
                  <a:pt x="3450614" y="2081042"/>
                </a:lnTo>
                <a:lnTo>
                  <a:pt x="3450614" y="2781245"/>
                </a:lnTo>
                <a:lnTo>
                  <a:pt x="3450614" y="3115676"/>
                </a:lnTo>
                <a:lnTo>
                  <a:pt x="3448555" y="3115676"/>
                </a:lnTo>
                <a:lnTo>
                  <a:pt x="3448555" y="3115677"/>
                </a:lnTo>
                <a:lnTo>
                  <a:pt x="3448555" y="3116199"/>
                </a:lnTo>
                <a:lnTo>
                  <a:pt x="3448555" y="3138605"/>
                </a:lnTo>
                <a:lnTo>
                  <a:pt x="3448555" y="3208212"/>
                </a:lnTo>
                <a:lnTo>
                  <a:pt x="3444255" y="3208212"/>
                </a:lnTo>
                <a:lnTo>
                  <a:pt x="3440728" y="3283711"/>
                </a:lnTo>
                <a:lnTo>
                  <a:pt x="3439830" y="3290202"/>
                </a:lnTo>
                <a:lnTo>
                  <a:pt x="3439651" y="3293788"/>
                </a:lnTo>
                <a:lnTo>
                  <a:pt x="3434630" y="3327838"/>
                </a:lnTo>
                <a:lnTo>
                  <a:pt x="3419589" y="3436693"/>
                </a:lnTo>
                <a:lnTo>
                  <a:pt x="3416731" y="3449212"/>
                </a:lnTo>
                <a:lnTo>
                  <a:pt x="3415644" y="3456587"/>
                </a:lnTo>
                <a:lnTo>
                  <a:pt x="3406357" y="3494653"/>
                </a:lnTo>
                <a:lnTo>
                  <a:pt x="3385699" y="3585139"/>
                </a:lnTo>
                <a:lnTo>
                  <a:pt x="3379816" y="3603445"/>
                </a:lnTo>
                <a:lnTo>
                  <a:pt x="3377210" y="3614128"/>
                </a:lnTo>
                <a:lnTo>
                  <a:pt x="3364680" y="3650544"/>
                </a:lnTo>
                <a:lnTo>
                  <a:pt x="3339643" y="3728452"/>
                </a:lnTo>
                <a:lnTo>
                  <a:pt x="3329740" y="3752093"/>
                </a:lnTo>
                <a:lnTo>
                  <a:pt x="3325063" y="3765685"/>
                </a:lnTo>
                <a:lnTo>
                  <a:pt x="3310233" y="3798661"/>
                </a:lnTo>
                <a:lnTo>
                  <a:pt x="3282010" y="3866035"/>
                </a:lnTo>
                <a:lnTo>
                  <a:pt x="3267141" y="3894476"/>
                </a:lnTo>
                <a:lnTo>
                  <a:pt x="3259917" y="3910538"/>
                </a:lnTo>
                <a:lnTo>
                  <a:pt x="3243649" y="3939410"/>
                </a:lnTo>
                <a:lnTo>
                  <a:pt x="3213389" y="3997293"/>
                </a:lnTo>
                <a:lnTo>
                  <a:pt x="3192653" y="4029922"/>
                </a:lnTo>
                <a:lnTo>
                  <a:pt x="3182489" y="4047960"/>
                </a:lnTo>
                <a:lnTo>
                  <a:pt x="3165573" y="4072530"/>
                </a:lnTo>
                <a:lnTo>
                  <a:pt x="3134368" y="4121631"/>
                </a:lnTo>
                <a:lnTo>
                  <a:pt x="3106897" y="4157755"/>
                </a:lnTo>
                <a:lnTo>
                  <a:pt x="3093490" y="4177230"/>
                </a:lnTo>
                <a:lnTo>
                  <a:pt x="3076642" y="4197541"/>
                </a:lnTo>
                <a:lnTo>
                  <a:pt x="3045532" y="4238452"/>
                </a:lnTo>
                <a:lnTo>
                  <a:pt x="3010479" y="4277313"/>
                </a:lnTo>
                <a:lnTo>
                  <a:pt x="2993635" y="4297621"/>
                </a:lnTo>
                <a:lnTo>
                  <a:pt x="2977507" y="4313865"/>
                </a:lnTo>
                <a:lnTo>
                  <a:pt x="2947474" y="4347160"/>
                </a:lnTo>
                <a:lnTo>
                  <a:pt x="2903963" y="4387941"/>
                </a:lnTo>
                <a:lnTo>
                  <a:pt x="2883638" y="4408412"/>
                </a:lnTo>
                <a:lnTo>
                  <a:pt x="2868821" y="4420877"/>
                </a:lnTo>
                <a:lnTo>
                  <a:pt x="2840778" y="4447160"/>
                </a:lnTo>
                <a:lnTo>
                  <a:pt x="2787837" y="4489006"/>
                </a:lnTo>
                <a:lnTo>
                  <a:pt x="2764214" y="4508880"/>
                </a:lnTo>
                <a:lnTo>
                  <a:pt x="2751241" y="4517932"/>
                </a:lnTo>
                <a:lnTo>
                  <a:pt x="2726034" y="4537856"/>
                </a:lnTo>
                <a:lnTo>
                  <a:pt x="2662417" y="4579917"/>
                </a:lnTo>
                <a:lnTo>
                  <a:pt x="2636077" y="4598299"/>
                </a:lnTo>
                <a:lnTo>
                  <a:pt x="2625433" y="4604369"/>
                </a:lnTo>
                <a:lnTo>
                  <a:pt x="2603830" y="4618652"/>
                </a:lnTo>
                <a:lnTo>
                  <a:pt x="2527603" y="4660169"/>
                </a:lnTo>
                <a:lnTo>
                  <a:pt x="2499940" y="4675947"/>
                </a:lnTo>
                <a:lnTo>
                  <a:pt x="2492063" y="4679525"/>
                </a:lnTo>
                <a:lnTo>
                  <a:pt x="2474754" y="4688952"/>
                </a:lnTo>
                <a:lnTo>
                  <a:pt x="2382012" y="4729518"/>
                </a:lnTo>
                <a:lnTo>
                  <a:pt x="2356518" y="4741099"/>
                </a:lnTo>
                <a:lnTo>
                  <a:pt x="2351802" y="4742732"/>
                </a:lnTo>
                <a:lnTo>
                  <a:pt x="2339394" y="4748160"/>
                </a:lnTo>
                <a:lnTo>
                  <a:pt x="2218506" y="4788884"/>
                </a:lnTo>
                <a:lnTo>
                  <a:pt x="2206525" y="4793033"/>
                </a:lnTo>
                <a:lnTo>
                  <a:pt x="2205321" y="4793327"/>
                </a:lnTo>
                <a:lnTo>
                  <a:pt x="2198337" y="4795679"/>
                </a:lnTo>
                <a:cubicBezTo>
                  <a:pt x="2102531" y="4823331"/>
                  <a:pt x="2003321" y="4842793"/>
                  <a:pt x="1901489" y="4853272"/>
                </a:cubicBezTo>
                <a:lnTo>
                  <a:pt x="1894746" y="4853617"/>
                </a:lnTo>
                <a:lnTo>
                  <a:pt x="1889684" y="4854350"/>
                </a:lnTo>
                <a:lnTo>
                  <a:pt x="1806254" y="4858353"/>
                </a:lnTo>
                <a:lnTo>
                  <a:pt x="1806254" y="4862286"/>
                </a:lnTo>
                <a:lnTo>
                  <a:pt x="1725313" y="4862286"/>
                </a:lnTo>
                <a:lnTo>
                  <a:pt x="1725296" y="4862287"/>
                </a:lnTo>
                <a:lnTo>
                  <a:pt x="1725280" y="4862286"/>
                </a:lnTo>
                <a:lnTo>
                  <a:pt x="1724265" y="4862286"/>
                </a:lnTo>
                <a:lnTo>
                  <a:pt x="2039" y="4862286"/>
                </a:lnTo>
                <a:lnTo>
                  <a:pt x="2039" y="3208212"/>
                </a:lnTo>
                <a:lnTo>
                  <a:pt x="0" y="3208212"/>
                </a:lnTo>
                <a:lnTo>
                  <a:pt x="0" y="3115677"/>
                </a:lnTo>
                <a:lnTo>
                  <a:pt x="0" y="2781245"/>
                </a:lnTo>
                <a:lnTo>
                  <a:pt x="0" y="2081042"/>
                </a:lnTo>
                <a:lnTo>
                  <a:pt x="0" y="1746611"/>
                </a:lnTo>
                <a:lnTo>
                  <a:pt x="2059" y="1746611"/>
                </a:lnTo>
                <a:lnTo>
                  <a:pt x="2059" y="1746610"/>
                </a:lnTo>
                <a:lnTo>
                  <a:pt x="2059" y="1746088"/>
                </a:lnTo>
                <a:lnTo>
                  <a:pt x="2059" y="1723682"/>
                </a:lnTo>
                <a:lnTo>
                  <a:pt x="2059" y="1654075"/>
                </a:lnTo>
                <a:lnTo>
                  <a:pt x="6359" y="1654075"/>
                </a:lnTo>
                <a:lnTo>
                  <a:pt x="9887" y="1578577"/>
                </a:lnTo>
                <a:lnTo>
                  <a:pt x="10784" y="1572084"/>
                </a:lnTo>
                <a:lnTo>
                  <a:pt x="10963" y="1568500"/>
                </a:lnTo>
                <a:lnTo>
                  <a:pt x="15984" y="1534449"/>
                </a:lnTo>
                <a:lnTo>
                  <a:pt x="31025" y="1425594"/>
                </a:lnTo>
                <a:lnTo>
                  <a:pt x="33883" y="1413074"/>
                </a:lnTo>
                <a:lnTo>
                  <a:pt x="34970" y="1405701"/>
                </a:lnTo>
                <a:lnTo>
                  <a:pt x="44257" y="1367635"/>
                </a:lnTo>
                <a:lnTo>
                  <a:pt x="64915" y="1277148"/>
                </a:lnTo>
                <a:lnTo>
                  <a:pt x="70798" y="1258842"/>
                </a:lnTo>
                <a:lnTo>
                  <a:pt x="73404" y="1248160"/>
                </a:lnTo>
                <a:lnTo>
                  <a:pt x="85934" y="1211743"/>
                </a:lnTo>
                <a:lnTo>
                  <a:pt x="110971" y="1133836"/>
                </a:lnTo>
                <a:lnTo>
                  <a:pt x="120874" y="1110194"/>
                </a:lnTo>
                <a:lnTo>
                  <a:pt x="125551" y="1096602"/>
                </a:lnTo>
                <a:lnTo>
                  <a:pt x="140381" y="1063627"/>
                </a:lnTo>
                <a:lnTo>
                  <a:pt x="168604" y="996252"/>
                </a:lnTo>
                <a:lnTo>
                  <a:pt x="183473" y="967811"/>
                </a:lnTo>
                <a:lnTo>
                  <a:pt x="190697" y="951749"/>
                </a:lnTo>
                <a:lnTo>
                  <a:pt x="206965" y="922877"/>
                </a:lnTo>
                <a:lnTo>
                  <a:pt x="237225" y="864994"/>
                </a:lnTo>
                <a:lnTo>
                  <a:pt x="257961" y="832366"/>
                </a:lnTo>
                <a:lnTo>
                  <a:pt x="268126" y="814326"/>
                </a:lnTo>
                <a:lnTo>
                  <a:pt x="285041" y="789757"/>
                </a:lnTo>
                <a:lnTo>
                  <a:pt x="316247" y="740656"/>
                </a:lnTo>
                <a:lnTo>
                  <a:pt x="343717" y="704532"/>
                </a:lnTo>
                <a:lnTo>
                  <a:pt x="357124" y="685058"/>
                </a:lnTo>
                <a:lnTo>
                  <a:pt x="373972" y="664746"/>
                </a:lnTo>
                <a:lnTo>
                  <a:pt x="405082" y="623835"/>
                </a:lnTo>
                <a:lnTo>
                  <a:pt x="440135" y="584975"/>
                </a:lnTo>
                <a:lnTo>
                  <a:pt x="456979" y="564666"/>
                </a:lnTo>
                <a:lnTo>
                  <a:pt x="473107" y="548422"/>
                </a:lnTo>
                <a:lnTo>
                  <a:pt x="503141" y="515126"/>
                </a:lnTo>
                <a:lnTo>
                  <a:pt x="546651" y="474346"/>
                </a:lnTo>
                <a:lnTo>
                  <a:pt x="566976" y="453875"/>
                </a:lnTo>
                <a:lnTo>
                  <a:pt x="581793" y="441410"/>
                </a:lnTo>
                <a:lnTo>
                  <a:pt x="609835" y="415127"/>
                </a:lnTo>
                <a:lnTo>
                  <a:pt x="662777" y="373281"/>
                </a:lnTo>
                <a:lnTo>
                  <a:pt x="686400" y="353407"/>
                </a:lnTo>
                <a:lnTo>
                  <a:pt x="699372" y="344355"/>
                </a:lnTo>
                <a:lnTo>
                  <a:pt x="724580" y="324431"/>
                </a:lnTo>
                <a:lnTo>
                  <a:pt x="788197" y="282370"/>
                </a:lnTo>
                <a:lnTo>
                  <a:pt x="814537" y="263988"/>
                </a:lnTo>
                <a:lnTo>
                  <a:pt x="825181" y="257919"/>
                </a:lnTo>
                <a:lnTo>
                  <a:pt x="846784" y="243635"/>
                </a:lnTo>
                <a:lnTo>
                  <a:pt x="923012" y="202119"/>
                </a:lnTo>
                <a:lnTo>
                  <a:pt x="950674" y="186341"/>
                </a:lnTo>
                <a:lnTo>
                  <a:pt x="958551" y="182762"/>
                </a:lnTo>
                <a:lnTo>
                  <a:pt x="975861" y="173335"/>
                </a:lnTo>
                <a:lnTo>
                  <a:pt x="1068602" y="132770"/>
                </a:lnTo>
                <a:lnTo>
                  <a:pt x="1094096" y="121188"/>
                </a:lnTo>
                <a:lnTo>
                  <a:pt x="1098812" y="119555"/>
                </a:lnTo>
                <a:lnTo>
                  <a:pt x="1111220" y="114128"/>
                </a:lnTo>
                <a:lnTo>
                  <a:pt x="1232108" y="73404"/>
                </a:lnTo>
                <a:lnTo>
                  <a:pt x="1244089" y="69254"/>
                </a:lnTo>
                <a:lnTo>
                  <a:pt x="1245293" y="68960"/>
                </a:lnTo>
                <a:lnTo>
                  <a:pt x="1252276" y="66608"/>
                </a:lnTo>
                <a:cubicBezTo>
                  <a:pt x="1348082" y="38957"/>
                  <a:pt x="1447293" y="19494"/>
                  <a:pt x="1549124" y="9015"/>
                </a:cubicBezTo>
                <a:lnTo>
                  <a:pt x="1555869" y="8671"/>
                </a:lnTo>
                <a:lnTo>
                  <a:pt x="1560930" y="7937"/>
                </a:lnTo>
                <a:lnTo>
                  <a:pt x="1644360" y="3934"/>
                </a:lnTo>
                <a:lnTo>
                  <a:pt x="1644360" y="1"/>
                </a:lnTo>
                <a:lnTo>
                  <a:pt x="1725301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11123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62DBD5-2427-428E-AFD9-72E8C9DADF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-1"/>
            <a:ext cx="4914899" cy="6835074"/>
          </a:xfrm>
          <a:custGeom>
            <a:avLst/>
            <a:gdLst>
              <a:gd name="connsiteX0" fmla="*/ 2225960 w 4451945"/>
              <a:gd name="connsiteY0" fmla="*/ 0 h 6191251"/>
              <a:gd name="connsiteX1" fmla="*/ 2225981 w 4451945"/>
              <a:gd name="connsiteY1" fmla="*/ 1 h 6191251"/>
              <a:gd name="connsiteX2" fmla="*/ 2330410 w 4451945"/>
              <a:gd name="connsiteY2" fmla="*/ 1 h 6191251"/>
              <a:gd name="connsiteX3" fmla="*/ 2330410 w 4451945"/>
              <a:gd name="connsiteY3" fmla="*/ 5009 h 6191251"/>
              <a:gd name="connsiteX4" fmla="*/ 2438050 w 4451945"/>
              <a:gd name="connsiteY4" fmla="*/ 10106 h 6191251"/>
              <a:gd name="connsiteX5" fmla="*/ 2444580 w 4451945"/>
              <a:gd name="connsiteY5" fmla="*/ 11041 h 6191251"/>
              <a:gd name="connsiteX6" fmla="*/ 2453282 w 4451945"/>
              <a:gd name="connsiteY6" fmla="*/ 11479 h 6191251"/>
              <a:gd name="connsiteX7" fmla="*/ 2836272 w 4451945"/>
              <a:gd name="connsiteY7" fmla="*/ 84814 h 6191251"/>
              <a:gd name="connsiteX8" fmla="*/ 2845282 w 4451945"/>
              <a:gd name="connsiteY8" fmla="*/ 87808 h 6191251"/>
              <a:gd name="connsiteX9" fmla="*/ 2846835 w 4451945"/>
              <a:gd name="connsiteY9" fmla="*/ 88183 h 6191251"/>
              <a:gd name="connsiteX10" fmla="*/ 2862293 w 4451945"/>
              <a:gd name="connsiteY10" fmla="*/ 93466 h 6191251"/>
              <a:gd name="connsiteX11" fmla="*/ 3018261 w 4451945"/>
              <a:gd name="connsiteY11" fmla="*/ 145321 h 6191251"/>
              <a:gd name="connsiteX12" fmla="*/ 3034270 w 4451945"/>
              <a:gd name="connsiteY12" fmla="*/ 152232 h 6191251"/>
              <a:gd name="connsiteX13" fmla="*/ 3040354 w 4451945"/>
              <a:gd name="connsiteY13" fmla="*/ 154311 h 6191251"/>
              <a:gd name="connsiteX14" fmla="*/ 3073246 w 4451945"/>
              <a:gd name="connsiteY14" fmla="*/ 169059 h 6191251"/>
              <a:gd name="connsiteX15" fmla="*/ 3192900 w 4451945"/>
              <a:gd name="connsiteY15" fmla="*/ 220711 h 6191251"/>
              <a:gd name="connsiteX16" fmla="*/ 3215233 w 4451945"/>
              <a:gd name="connsiteY16" fmla="*/ 232715 h 6191251"/>
              <a:gd name="connsiteX17" fmla="*/ 3225396 w 4451945"/>
              <a:gd name="connsiteY17" fmla="*/ 237271 h 6191251"/>
              <a:gd name="connsiteX18" fmla="*/ 3261085 w 4451945"/>
              <a:gd name="connsiteY18" fmla="*/ 257362 h 6191251"/>
              <a:gd name="connsiteX19" fmla="*/ 3359433 w 4451945"/>
              <a:gd name="connsiteY19" fmla="*/ 310226 h 6191251"/>
              <a:gd name="connsiteX20" fmla="*/ 3387305 w 4451945"/>
              <a:gd name="connsiteY20" fmla="*/ 328413 h 6191251"/>
              <a:gd name="connsiteX21" fmla="*/ 3401038 w 4451945"/>
              <a:gd name="connsiteY21" fmla="*/ 336142 h 6191251"/>
              <a:gd name="connsiteX22" fmla="*/ 3435022 w 4451945"/>
              <a:gd name="connsiteY22" fmla="*/ 359548 h 6191251"/>
              <a:gd name="connsiteX23" fmla="*/ 3517099 w 4451945"/>
              <a:gd name="connsiteY23" fmla="*/ 413105 h 6191251"/>
              <a:gd name="connsiteX24" fmla="*/ 3549622 w 4451945"/>
              <a:gd name="connsiteY24" fmla="*/ 438475 h 6191251"/>
              <a:gd name="connsiteX25" fmla="*/ 3566359 w 4451945"/>
              <a:gd name="connsiteY25" fmla="*/ 450001 h 6191251"/>
              <a:gd name="connsiteX26" fmla="*/ 3596837 w 4451945"/>
              <a:gd name="connsiteY26" fmla="*/ 475307 h 6191251"/>
              <a:gd name="connsiteX27" fmla="*/ 3665142 w 4451945"/>
              <a:gd name="connsiteY27" fmla="*/ 528589 h 6191251"/>
              <a:gd name="connsiteX28" fmla="*/ 3701322 w 4451945"/>
              <a:gd name="connsiteY28" fmla="*/ 562056 h 6191251"/>
              <a:gd name="connsiteX29" fmla="*/ 3720439 w 4451945"/>
              <a:gd name="connsiteY29" fmla="*/ 577928 h 6191251"/>
              <a:gd name="connsiteX30" fmla="*/ 3746661 w 4451945"/>
              <a:gd name="connsiteY30" fmla="*/ 603995 h 6191251"/>
              <a:gd name="connsiteX31" fmla="*/ 3802799 w 4451945"/>
              <a:gd name="connsiteY31" fmla="*/ 655921 h 6191251"/>
              <a:gd name="connsiteX32" fmla="*/ 3841548 w 4451945"/>
              <a:gd name="connsiteY32" fmla="*/ 698318 h 6191251"/>
              <a:gd name="connsiteX33" fmla="*/ 3862356 w 4451945"/>
              <a:gd name="connsiteY33" fmla="*/ 719001 h 6191251"/>
              <a:gd name="connsiteX34" fmla="*/ 3884088 w 4451945"/>
              <a:gd name="connsiteY34" fmla="*/ 744860 h 6191251"/>
              <a:gd name="connsiteX35" fmla="*/ 3929313 w 4451945"/>
              <a:gd name="connsiteY35" fmla="*/ 794342 h 6191251"/>
              <a:gd name="connsiteX36" fmla="*/ 3969450 w 4451945"/>
              <a:gd name="connsiteY36" fmla="*/ 846435 h 6191251"/>
              <a:gd name="connsiteX37" fmla="*/ 3991188 w 4451945"/>
              <a:gd name="connsiteY37" fmla="*/ 872298 h 6191251"/>
              <a:gd name="connsiteX38" fmla="*/ 4008485 w 4451945"/>
              <a:gd name="connsiteY38" fmla="*/ 897096 h 6191251"/>
              <a:gd name="connsiteX39" fmla="*/ 4043928 w 4451945"/>
              <a:gd name="connsiteY39" fmla="*/ 943093 h 6191251"/>
              <a:gd name="connsiteX40" fmla="*/ 4084188 w 4451945"/>
              <a:gd name="connsiteY40" fmla="*/ 1005614 h 6191251"/>
              <a:gd name="connsiteX41" fmla="*/ 4106012 w 4451945"/>
              <a:gd name="connsiteY41" fmla="*/ 1036899 h 6191251"/>
              <a:gd name="connsiteX42" fmla="*/ 4119126 w 4451945"/>
              <a:gd name="connsiteY42" fmla="*/ 1059869 h 6191251"/>
              <a:gd name="connsiteX43" fmla="*/ 4145880 w 4451945"/>
              <a:gd name="connsiteY43" fmla="*/ 1101415 h 6191251"/>
              <a:gd name="connsiteX44" fmla="*/ 4184921 w 4451945"/>
              <a:gd name="connsiteY44" fmla="*/ 1175119 h 6191251"/>
              <a:gd name="connsiteX45" fmla="*/ 4205911 w 4451945"/>
              <a:gd name="connsiteY45" fmla="*/ 1211882 h 6191251"/>
              <a:gd name="connsiteX46" fmla="*/ 4215230 w 4451945"/>
              <a:gd name="connsiteY46" fmla="*/ 1232334 h 6191251"/>
              <a:gd name="connsiteX47" fmla="*/ 4234415 w 4451945"/>
              <a:gd name="connsiteY47" fmla="*/ 1268548 h 6191251"/>
              <a:gd name="connsiteX48" fmla="*/ 4270827 w 4451945"/>
              <a:gd name="connsiteY48" fmla="*/ 1354338 h 6191251"/>
              <a:gd name="connsiteX49" fmla="*/ 4289961 w 4451945"/>
              <a:gd name="connsiteY49" fmla="*/ 1396326 h 6191251"/>
              <a:gd name="connsiteX50" fmla="*/ 4295995 w 4451945"/>
              <a:gd name="connsiteY50" fmla="*/ 1413634 h 6191251"/>
              <a:gd name="connsiteX51" fmla="*/ 4308772 w 4451945"/>
              <a:gd name="connsiteY51" fmla="*/ 1443737 h 6191251"/>
              <a:gd name="connsiteX52" fmla="*/ 4341074 w 4451945"/>
              <a:gd name="connsiteY52" fmla="*/ 1542938 h 6191251"/>
              <a:gd name="connsiteX53" fmla="*/ 4357240 w 4451945"/>
              <a:gd name="connsiteY53" fmla="*/ 1589308 h 6191251"/>
              <a:gd name="connsiteX54" fmla="*/ 4360602 w 4451945"/>
              <a:gd name="connsiteY54" fmla="*/ 1602910 h 6191251"/>
              <a:gd name="connsiteX55" fmla="*/ 4368193 w 4451945"/>
              <a:gd name="connsiteY55" fmla="*/ 1626219 h 6191251"/>
              <a:gd name="connsiteX56" fmla="*/ 4394846 w 4451945"/>
              <a:gd name="connsiteY56" fmla="*/ 1741438 h 6191251"/>
              <a:gd name="connsiteX57" fmla="*/ 4406827 w 4451945"/>
              <a:gd name="connsiteY57" fmla="*/ 1789908 h 6191251"/>
              <a:gd name="connsiteX58" fmla="*/ 4408230 w 4451945"/>
              <a:gd name="connsiteY58" fmla="*/ 1799297 h 6191251"/>
              <a:gd name="connsiteX59" fmla="*/ 4411918 w 4451945"/>
              <a:gd name="connsiteY59" fmla="*/ 1815238 h 6191251"/>
              <a:gd name="connsiteX60" fmla="*/ 4431323 w 4451945"/>
              <a:gd name="connsiteY60" fmla="*/ 1953846 h 6191251"/>
              <a:gd name="connsiteX61" fmla="*/ 4437802 w 4451945"/>
              <a:gd name="connsiteY61" fmla="*/ 1997203 h 6191251"/>
              <a:gd name="connsiteX62" fmla="*/ 4438032 w 4451945"/>
              <a:gd name="connsiteY62" fmla="*/ 2001767 h 6191251"/>
              <a:gd name="connsiteX63" fmla="*/ 4439190 w 4451945"/>
              <a:gd name="connsiteY63" fmla="*/ 2010034 h 6191251"/>
              <a:gd name="connsiteX64" fmla="*/ 4443741 w 4451945"/>
              <a:gd name="connsiteY64" fmla="*/ 2106169 h 6191251"/>
              <a:gd name="connsiteX65" fmla="*/ 4449289 w 4451945"/>
              <a:gd name="connsiteY65" fmla="*/ 2106169 h 6191251"/>
              <a:gd name="connsiteX66" fmla="*/ 4449289 w 4451945"/>
              <a:gd name="connsiteY66" fmla="*/ 2194799 h 6191251"/>
              <a:gd name="connsiteX67" fmla="*/ 4449289 w 4451945"/>
              <a:gd name="connsiteY67" fmla="*/ 2223329 h 6191251"/>
              <a:gd name="connsiteX68" fmla="*/ 4449289 w 4451945"/>
              <a:gd name="connsiteY68" fmla="*/ 2223995 h 6191251"/>
              <a:gd name="connsiteX69" fmla="*/ 4449289 w 4451945"/>
              <a:gd name="connsiteY69" fmla="*/ 2223996 h 6191251"/>
              <a:gd name="connsiteX70" fmla="*/ 4451945 w 4451945"/>
              <a:gd name="connsiteY70" fmla="*/ 2223996 h 6191251"/>
              <a:gd name="connsiteX71" fmla="*/ 4451945 w 4451945"/>
              <a:gd name="connsiteY71" fmla="*/ 2649834 h 6191251"/>
              <a:gd name="connsiteX72" fmla="*/ 4451945 w 4451945"/>
              <a:gd name="connsiteY72" fmla="*/ 3541417 h 6191251"/>
              <a:gd name="connsiteX73" fmla="*/ 4451945 w 4451945"/>
              <a:gd name="connsiteY73" fmla="*/ 3967256 h 6191251"/>
              <a:gd name="connsiteX74" fmla="*/ 4451945 w 4451945"/>
              <a:gd name="connsiteY74" fmla="*/ 4085083 h 6191251"/>
              <a:gd name="connsiteX75" fmla="*/ 4449314 w 4451945"/>
              <a:gd name="connsiteY75" fmla="*/ 4085083 h 6191251"/>
              <a:gd name="connsiteX76" fmla="*/ 4449314 w 4451945"/>
              <a:gd name="connsiteY76" fmla="*/ 6191250 h 6191251"/>
              <a:gd name="connsiteX77" fmla="*/ 2227318 w 4451945"/>
              <a:gd name="connsiteY77" fmla="*/ 6191250 h 6191251"/>
              <a:gd name="connsiteX78" fmla="*/ 2226007 w 4451945"/>
              <a:gd name="connsiteY78" fmla="*/ 6191250 h 6191251"/>
              <a:gd name="connsiteX79" fmla="*/ 2225986 w 4451945"/>
              <a:gd name="connsiteY79" fmla="*/ 6191251 h 6191251"/>
              <a:gd name="connsiteX80" fmla="*/ 2225965 w 4451945"/>
              <a:gd name="connsiteY80" fmla="*/ 6191250 h 6191251"/>
              <a:gd name="connsiteX81" fmla="*/ 2121536 w 4451945"/>
              <a:gd name="connsiteY81" fmla="*/ 6191250 h 6191251"/>
              <a:gd name="connsiteX82" fmla="*/ 2121536 w 4451945"/>
              <a:gd name="connsiteY82" fmla="*/ 6186242 h 6191251"/>
              <a:gd name="connsiteX83" fmla="*/ 2013895 w 4451945"/>
              <a:gd name="connsiteY83" fmla="*/ 6181144 h 6191251"/>
              <a:gd name="connsiteX84" fmla="*/ 2007364 w 4451945"/>
              <a:gd name="connsiteY84" fmla="*/ 6180211 h 6191251"/>
              <a:gd name="connsiteX85" fmla="*/ 1998664 w 4451945"/>
              <a:gd name="connsiteY85" fmla="*/ 6179772 h 6191251"/>
              <a:gd name="connsiteX86" fmla="*/ 1615674 w 4451945"/>
              <a:gd name="connsiteY86" fmla="*/ 6106438 h 6191251"/>
              <a:gd name="connsiteX87" fmla="*/ 1606663 w 4451945"/>
              <a:gd name="connsiteY87" fmla="*/ 6103442 h 6191251"/>
              <a:gd name="connsiteX88" fmla="*/ 1605110 w 4451945"/>
              <a:gd name="connsiteY88" fmla="*/ 6103069 h 6191251"/>
              <a:gd name="connsiteX89" fmla="*/ 1589652 w 4451945"/>
              <a:gd name="connsiteY89" fmla="*/ 6097785 h 6191251"/>
              <a:gd name="connsiteX90" fmla="*/ 1433684 w 4451945"/>
              <a:gd name="connsiteY90" fmla="*/ 6045931 h 6191251"/>
              <a:gd name="connsiteX91" fmla="*/ 1417676 w 4451945"/>
              <a:gd name="connsiteY91" fmla="*/ 6039019 h 6191251"/>
              <a:gd name="connsiteX92" fmla="*/ 1411591 w 4451945"/>
              <a:gd name="connsiteY92" fmla="*/ 6036940 h 6191251"/>
              <a:gd name="connsiteX93" fmla="*/ 1378699 w 4451945"/>
              <a:gd name="connsiteY93" fmla="*/ 6022193 h 6191251"/>
              <a:gd name="connsiteX94" fmla="*/ 1259044 w 4451945"/>
              <a:gd name="connsiteY94" fmla="*/ 5970541 h 6191251"/>
              <a:gd name="connsiteX95" fmla="*/ 1236712 w 4451945"/>
              <a:gd name="connsiteY95" fmla="*/ 5958537 h 6191251"/>
              <a:gd name="connsiteX96" fmla="*/ 1226549 w 4451945"/>
              <a:gd name="connsiteY96" fmla="*/ 5953980 h 6191251"/>
              <a:gd name="connsiteX97" fmla="*/ 1190860 w 4451945"/>
              <a:gd name="connsiteY97" fmla="*/ 5933890 h 6191251"/>
              <a:gd name="connsiteX98" fmla="*/ 1092512 w 4451945"/>
              <a:gd name="connsiteY98" fmla="*/ 5881025 h 6191251"/>
              <a:gd name="connsiteX99" fmla="*/ 1064640 w 4451945"/>
              <a:gd name="connsiteY99" fmla="*/ 5862838 h 6191251"/>
              <a:gd name="connsiteX100" fmla="*/ 1050907 w 4451945"/>
              <a:gd name="connsiteY100" fmla="*/ 5855110 h 6191251"/>
              <a:gd name="connsiteX101" fmla="*/ 1016923 w 4451945"/>
              <a:gd name="connsiteY101" fmla="*/ 5831703 h 6191251"/>
              <a:gd name="connsiteX102" fmla="*/ 934846 w 4451945"/>
              <a:gd name="connsiteY102" fmla="*/ 5778147 h 6191251"/>
              <a:gd name="connsiteX103" fmla="*/ 902324 w 4451945"/>
              <a:gd name="connsiteY103" fmla="*/ 5752777 h 6191251"/>
              <a:gd name="connsiteX104" fmla="*/ 885586 w 4451945"/>
              <a:gd name="connsiteY104" fmla="*/ 5741251 h 6191251"/>
              <a:gd name="connsiteX105" fmla="*/ 855108 w 4451945"/>
              <a:gd name="connsiteY105" fmla="*/ 5715945 h 6191251"/>
              <a:gd name="connsiteX106" fmla="*/ 786804 w 4451945"/>
              <a:gd name="connsiteY106" fmla="*/ 5662661 h 6191251"/>
              <a:gd name="connsiteX107" fmla="*/ 750624 w 4451945"/>
              <a:gd name="connsiteY107" fmla="*/ 5629195 h 6191251"/>
              <a:gd name="connsiteX108" fmla="*/ 731506 w 4451945"/>
              <a:gd name="connsiteY108" fmla="*/ 5613323 h 6191251"/>
              <a:gd name="connsiteX109" fmla="*/ 705284 w 4451945"/>
              <a:gd name="connsiteY109" fmla="*/ 5587257 h 6191251"/>
              <a:gd name="connsiteX110" fmla="*/ 649146 w 4451945"/>
              <a:gd name="connsiteY110" fmla="*/ 5535330 h 6191251"/>
              <a:gd name="connsiteX111" fmla="*/ 610397 w 4451945"/>
              <a:gd name="connsiteY111" fmla="*/ 5492934 h 6191251"/>
              <a:gd name="connsiteX112" fmla="*/ 589589 w 4451945"/>
              <a:gd name="connsiteY112" fmla="*/ 5472250 h 6191251"/>
              <a:gd name="connsiteX113" fmla="*/ 567858 w 4451945"/>
              <a:gd name="connsiteY113" fmla="*/ 5446391 h 6191251"/>
              <a:gd name="connsiteX114" fmla="*/ 522632 w 4451945"/>
              <a:gd name="connsiteY114" fmla="*/ 5396909 h 6191251"/>
              <a:gd name="connsiteX115" fmla="*/ 482495 w 4451945"/>
              <a:gd name="connsiteY115" fmla="*/ 5344816 h 6191251"/>
              <a:gd name="connsiteX116" fmla="*/ 460758 w 4451945"/>
              <a:gd name="connsiteY116" fmla="*/ 5318953 h 6191251"/>
              <a:gd name="connsiteX117" fmla="*/ 443460 w 4451945"/>
              <a:gd name="connsiteY117" fmla="*/ 5294156 h 6191251"/>
              <a:gd name="connsiteX118" fmla="*/ 408018 w 4451945"/>
              <a:gd name="connsiteY118" fmla="*/ 5248158 h 6191251"/>
              <a:gd name="connsiteX119" fmla="*/ 367757 w 4451945"/>
              <a:gd name="connsiteY119" fmla="*/ 5185637 h 6191251"/>
              <a:gd name="connsiteX120" fmla="*/ 345932 w 4451945"/>
              <a:gd name="connsiteY120" fmla="*/ 5154352 h 6191251"/>
              <a:gd name="connsiteX121" fmla="*/ 332819 w 4451945"/>
              <a:gd name="connsiteY121" fmla="*/ 5131383 h 6191251"/>
              <a:gd name="connsiteX122" fmla="*/ 306065 w 4451945"/>
              <a:gd name="connsiteY122" fmla="*/ 5089836 h 6191251"/>
              <a:gd name="connsiteX123" fmla="*/ 267024 w 4451945"/>
              <a:gd name="connsiteY123" fmla="*/ 5016132 h 6191251"/>
              <a:gd name="connsiteX124" fmla="*/ 246035 w 4451945"/>
              <a:gd name="connsiteY124" fmla="*/ 4979369 h 6191251"/>
              <a:gd name="connsiteX125" fmla="*/ 236715 w 4451945"/>
              <a:gd name="connsiteY125" fmla="*/ 4958917 h 6191251"/>
              <a:gd name="connsiteX126" fmla="*/ 217531 w 4451945"/>
              <a:gd name="connsiteY126" fmla="*/ 4922702 h 6191251"/>
              <a:gd name="connsiteX127" fmla="*/ 181118 w 4451945"/>
              <a:gd name="connsiteY127" fmla="*/ 4836913 h 6191251"/>
              <a:gd name="connsiteX128" fmla="*/ 161984 w 4451945"/>
              <a:gd name="connsiteY128" fmla="*/ 4794925 h 6191251"/>
              <a:gd name="connsiteX129" fmla="*/ 155951 w 4451945"/>
              <a:gd name="connsiteY129" fmla="*/ 4777618 h 6191251"/>
              <a:gd name="connsiteX130" fmla="*/ 143173 w 4451945"/>
              <a:gd name="connsiteY130" fmla="*/ 4747515 h 6191251"/>
              <a:gd name="connsiteX131" fmla="*/ 110871 w 4451945"/>
              <a:gd name="connsiteY131" fmla="*/ 4648314 h 6191251"/>
              <a:gd name="connsiteX132" fmla="*/ 94705 w 4451945"/>
              <a:gd name="connsiteY132" fmla="*/ 4601944 h 6191251"/>
              <a:gd name="connsiteX133" fmla="*/ 91343 w 4451945"/>
              <a:gd name="connsiteY133" fmla="*/ 4588341 h 6191251"/>
              <a:gd name="connsiteX134" fmla="*/ 83753 w 4451945"/>
              <a:gd name="connsiteY134" fmla="*/ 4565031 h 6191251"/>
              <a:gd name="connsiteX135" fmla="*/ 57100 w 4451945"/>
              <a:gd name="connsiteY135" fmla="*/ 4449814 h 6191251"/>
              <a:gd name="connsiteX136" fmla="*/ 45118 w 4451945"/>
              <a:gd name="connsiteY136" fmla="*/ 4401343 h 6191251"/>
              <a:gd name="connsiteX137" fmla="*/ 43715 w 4451945"/>
              <a:gd name="connsiteY137" fmla="*/ 4391954 h 6191251"/>
              <a:gd name="connsiteX138" fmla="*/ 40028 w 4451945"/>
              <a:gd name="connsiteY138" fmla="*/ 4376013 h 6191251"/>
              <a:gd name="connsiteX139" fmla="*/ 20623 w 4451945"/>
              <a:gd name="connsiteY139" fmla="*/ 4237405 h 6191251"/>
              <a:gd name="connsiteX140" fmla="*/ 14144 w 4451945"/>
              <a:gd name="connsiteY140" fmla="*/ 4194048 h 6191251"/>
              <a:gd name="connsiteX141" fmla="*/ 13913 w 4451945"/>
              <a:gd name="connsiteY141" fmla="*/ 4189483 h 6191251"/>
              <a:gd name="connsiteX142" fmla="*/ 12755 w 4451945"/>
              <a:gd name="connsiteY142" fmla="*/ 4181217 h 6191251"/>
              <a:gd name="connsiteX143" fmla="*/ 8205 w 4451945"/>
              <a:gd name="connsiteY143" fmla="*/ 4085083 h 6191251"/>
              <a:gd name="connsiteX144" fmla="*/ 2656 w 4451945"/>
              <a:gd name="connsiteY144" fmla="*/ 4085083 h 6191251"/>
              <a:gd name="connsiteX145" fmla="*/ 2656 w 4451945"/>
              <a:gd name="connsiteY145" fmla="*/ 3996451 h 6191251"/>
              <a:gd name="connsiteX146" fmla="*/ 2656 w 4451945"/>
              <a:gd name="connsiteY146" fmla="*/ 3967921 h 6191251"/>
              <a:gd name="connsiteX147" fmla="*/ 2656 w 4451945"/>
              <a:gd name="connsiteY147" fmla="*/ 3967256 h 6191251"/>
              <a:gd name="connsiteX148" fmla="*/ 2656 w 4451945"/>
              <a:gd name="connsiteY148" fmla="*/ 3967255 h 6191251"/>
              <a:gd name="connsiteX149" fmla="*/ 0 w 4451945"/>
              <a:gd name="connsiteY149" fmla="*/ 3967255 h 6191251"/>
              <a:gd name="connsiteX150" fmla="*/ 0 w 4451945"/>
              <a:gd name="connsiteY150" fmla="*/ 3541417 h 6191251"/>
              <a:gd name="connsiteX151" fmla="*/ 0 w 4451945"/>
              <a:gd name="connsiteY151" fmla="*/ 2649834 h 6191251"/>
              <a:gd name="connsiteX152" fmla="*/ 0 w 4451945"/>
              <a:gd name="connsiteY152" fmla="*/ 2223995 h 6191251"/>
              <a:gd name="connsiteX153" fmla="*/ 0 w 4451945"/>
              <a:gd name="connsiteY153" fmla="*/ 2106169 h 6191251"/>
              <a:gd name="connsiteX154" fmla="*/ 2630 w 4451945"/>
              <a:gd name="connsiteY154" fmla="*/ 2106169 h 6191251"/>
              <a:gd name="connsiteX155" fmla="*/ 2630 w 4451945"/>
              <a:gd name="connsiteY155" fmla="*/ 1 h 6191251"/>
              <a:gd name="connsiteX156" fmla="*/ 2224628 w 4451945"/>
              <a:gd name="connsiteY156" fmla="*/ 1 h 6191251"/>
              <a:gd name="connsiteX157" fmla="*/ 2225938 w 4451945"/>
              <a:gd name="connsiteY157" fmla="*/ 1 h 619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4451945" h="6191251">
                <a:moveTo>
                  <a:pt x="2225960" y="0"/>
                </a:moveTo>
                <a:lnTo>
                  <a:pt x="2225981" y="1"/>
                </a:lnTo>
                <a:lnTo>
                  <a:pt x="2330410" y="1"/>
                </a:lnTo>
                <a:lnTo>
                  <a:pt x="2330410" y="5009"/>
                </a:lnTo>
                <a:lnTo>
                  <a:pt x="2438050" y="10106"/>
                </a:lnTo>
                <a:lnTo>
                  <a:pt x="2444580" y="11041"/>
                </a:lnTo>
                <a:lnTo>
                  <a:pt x="2453282" y="11479"/>
                </a:lnTo>
                <a:cubicBezTo>
                  <a:pt x="2584664" y="24822"/>
                  <a:pt x="2712664" y="49604"/>
                  <a:pt x="2836272" y="84814"/>
                </a:cubicBezTo>
                <a:lnTo>
                  <a:pt x="2845282" y="87808"/>
                </a:lnTo>
                <a:lnTo>
                  <a:pt x="2846835" y="88183"/>
                </a:lnTo>
                <a:lnTo>
                  <a:pt x="2862293" y="93466"/>
                </a:lnTo>
                <a:lnTo>
                  <a:pt x="3018261" y="145321"/>
                </a:lnTo>
                <a:lnTo>
                  <a:pt x="3034270" y="152232"/>
                </a:lnTo>
                <a:lnTo>
                  <a:pt x="3040354" y="154311"/>
                </a:lnTo>
                <a:lnTo>
                  <a:pt x="3073246" y="169059"/>
                </a:lnTo>
                <a:lnTo>
                  <a:pt x="3192900" y="220711"/>
                </a:lnTo>
                <a:lnTo>
                  <a:pt x="3215233" y="232715"/>
                </a:lnTo>
                <a:lnTo>
                  <a:pt x="3225396" y="237271"/>
                </a:lnTo>
                <a:lnTo>
                  <a:pt x="3261085" y="257362"/>
                </a:lnTo>
                <a:lnTo>
                  <a:pt x="3359433" y="310226"/>
                </a:lnTo>
                <a:lnTo>
                  <a:pt x="3387305" y="328413"/>
                </a:lnTo>
                <a:lnTo>
                  <a:pt x="3401038" y="336142"/>
                </a:lnTo>
                <a:lnTo>
                  <a:pt x="3435022" y="359548"/>
                </a:lnTo>
                <a:lnTo>
                  <a:pt x="3517099" y="413105"/>
                </a:lnTo>
                <a:lnTo>
                  <a:pt x="3549622" y="438475"/>
                </a:lnTo>
                <a:lnTo>
                  <a:pt x="3566359" y="450001"/>
                </a:lnTo>
                <a:lnTo>
                  <a:pt x="3596837" y="475307"/>
                </a:lnTo>
                <a:lnTo>
                  <a:pt x="3665142" y="528589"/>
                </a:lnTo>
                <a:lnTo>
                  <a:pt x="3701322" y="562056"/>
                </a:lnTo>
                <a:lnTo>
                  <a:pt x="3720439" y="577928"/>
                </a:lnTo>
                <a:lnTo>
                  <a:pt x="3746661" y="603995"/>
                </a:lnTo>
                <a:lnTo>
                  <a:pt x="3802799" y="655921"/>
                </a:lnTo>
                <a:lnTo>
                  <a:pt x="3841548" y="698318"/>
                </a:lnTo>
                <a:lnTo>
                  <a:pt x="3862356" y="719001"/>
                </a:lnTo>
                <a:lnTo>
                  <a:pt x="3884088" y="744860"/>
                </a:lnTo>
                <a:lnTo>
                  <a:pt x="3929313" y="794342"/>
                </a:lnTo>
                <a:lnTo>
                  <a:pt x="3969450" y="846435"/>
                </a:lnTo>
                <a:lnTo>
                  <a:pt x="3991188" y="872298"/>
                </a:lnTo>
                <a:lnTo>
                  <a:pt x="4008485" y="897096"/>
                </a:lnTo>
                <a:lnTo>
                  <a:pt x="4043928" y="943093"/>
                </a:lnTo>
                <a:lnTo>
                  <a:pt x="4084188" y="1005614"/>
                </a:lnTo>
                <a:lnTo>
                  <a:pt x="4106012" y="1036899"/>
                </a:lnTo>
                <a:lnTo>
                  <a:pt x="4119126" y="1059869"/>
                </a:lnTo>
                <a:lnTo>
                  <a:pt x="4145880" y="1101415"/>
                </a:lnTo>
                <a:lnTo>
                  <a:pt x="4184921" y="1175119"/>
                </a:lnTo>
                <a:lnTo>
                  <a:pt x="4205911" y="1211882"/>
                </a:lnTo>
                <a:lnTo>
                  <a:pt x="4215230" y="1232334"/>
                </a:lnTo>
                <a:lnTo>
                  <a:pt x="4234415" y="1268548"/>
                </a:lnTo>
                <a:lnTo>
                  <a:pt x="4270827" y="1354338"/>
                </a:lnTo>
                <a:lnTo>
                  <a:pt x="4289961" y="1396326"/>
                </a:lnTo>
                <a:lnTo>
                  <a:pt x="4295995" y="1413634"/>
                </a:lnTo>
                <a:lnTo>
                  <a:pt x="4308772" y="1443737"/>
                </a:lnTo>
                <a:lnTo>
                  <a:pt x="4341074" y="1542938"/>
                </a:lnTo>
                <a:lnTo>
                  <a:pt x="4357240" y="1589308"/>
                </a:lnTo>
                <a:lnTo>
                  <a:pt x="4360602" y="1602910"/>
                </a:lnTo>
                <a:lnTo>
                  <a:pt x="4368193" y="1626219"/>
                </a:lnTo>
                <a:lnTo>
                  <a:pt x="4394846" y="1741438"/>
                </a:lnTo>
                <a:lnTo>
                  <a:pt x="4406827" y="1789908"/>
                </a:lnTo>
                <a:lnTo>
                  <a:pt x="4408230" y="1799297"/>
                </a:lnTo>
                <a:lnTo>
                  <a:pt x="4411918" y="1815238"/>
                </a:lnTo>
                <a:lnTo>
                  <a:pt x="4431323" y="1953846"/>
                </a:lnTo>
                <a:lnTo>
                  <a:pt x="4437802" y="1997203"/>
                </a:lnTo>
                <a:lnTo>
                  <a:pt x="4438032" y="2001767"/>
                </a:lnTo>
                <a:lnTo>
                  <a:pt x="4439190" y="2010034"/>
                </a:lnTo>
                <a:lnTo>
                  <a:pt x="4443741" y="2106169"/>
                </a:lnTo>
                <a:lnTo>
                  <a:pt x="4449289" y="2106169"/>
                </a:lnTo>
                <a:lnTo>
                  <a:pt x="4449289" y="2194799"/>
                </a:lnTo>
                <a:lnTo>
                  <a:pt x="4449289" y="2223329"/>
                </a:lnTo>
                <a:lnTo>
                  <a:pt x="4449289" y="2223995"/>
                </a:lnTo>
                <a:lnTo>
                  <a:pt x="4449289" y="2223996"/>
                </a:lnTo>
                <a:lnTo>
                  <a:pt x="4451945" y="2223996"/>
                </a:lnTo>
                <a:lnTo>
                  <a:pt x="4451945" y="2649834"/>
                </a:lnTo>
                <a:lnTo>
                  <a:pt x="4451945" y="3541417"/>
                </a:lnTo>
                <a:lnTo>
                  <a:pt x="4451945" y="3967256"/>
                </a:lnTo>
                <a:lnTo>
                  <a:pt x="4451945" y="4085083"/>
                </a:lnTo>
                <a:lnTo>
                  <a:pt x="4449314" y="4085083"/>
                </a:lnTo>
                <a:lnTo>
                  <a:pt x="4449314" y="6191250"/>
                </a:lnTo>
                <a:lnTo>
                  <a:pt x="2227318" y="6191250"/>
                </a:lnTo>
                <a:lnTo>
                  <a:pt x="2226007" y="6191250"/>
                </a:lnTo>
                <a:lnTo>
                  <a:pt x="2225986" y="6191251"/>
                </a:lnTo>
                <a:lnTo>
                  <a:pt x="2225965" y="6191250"/>
                </a:lnTo>
                <a:lnTo>
                  <a:pt x="2121536" y="6191250"/>
                </a:lnTo>
                <a:lnTo>
                  <a:pt x="2121536" y="6186242"/>
                </a:lnTo>
                <a:lnTo>
                  <a:pt x="2013895" y="6181144"/>
                </a:lnTo>
                <a:lnTo>
                  <a:pt x="2007364" y="6180211"/>
                </a:lnTo>
                <a:lnTo>
                  <a:pt x="1998664" y="6179772"/>
                </a:lnTo>
                <a:cubicBezTo>
                  <a:pt x="1867282" y="6166428"/>
                  <a:pt x="1739282" y="6141647"/>
                  <a:pt x="1615674" y="6106438"/>
                </a:cubicBezTo>
                <a:lnTo>
                  <a:pt x="1606663" y="6103442"/>
                </a:lnTo>
                <a:lnTo>
                  <a:pt x="1605110" y="6103069"/>
                </a:lnTo>
                <a:lnTo>
                  <a:pt x="1589652" y="6097785"/>
                </a:lnTo>
                <a:lnTo>
                  <a:pt x="1433684" y="6045931"/>
                </a:lnTo>
                <a:lnTo>
                  <a:pt x="1417676" y="6039019"/>
                </a:lnTo>
                <a:lnTo>
                  <a:pt x="1411591" y="6036940"/>
                </a:lnTo>
                <a:lnTo>
                  <a:pt x="1378699" y="6022193"/>
                </a:lnTo>
                <a:lnTo>
                  <a:pt x="1259044" y="5970541"/>
                </a:lnTo>
                <a:lnTo>
                  <a:pt x="1236712" y="5958537"/>
                </a:lnTo>
                <a:lnTo>
                  <a:pt x="1226549" y="5953980"/>
                </a:lnTo>
                <a:lnTo>
                  <a:pt x="1190860" y="5933890"/>
                </a:lnTo>
                <a:lnTo>
                  <a:pt x="1092512" y="5881025"/>
                </a:lnTo>
                <a:lnTo>
                  <a:pt x="1064640" y="5862838"/>
                </a:lnTo>
                <a:lnTo>
                  <a:pt x="1050907" y="5855110"/>
                </a:lnTo>
                <a:lnTo>
                  <a:pt x="1016923" y="5831703"/>
                </a:lnTo>
                <a:lnTo>
                  <a:pt x="934846" y="5778147"/>
                </a:lnTo>
                <a:lnTo>
                  <a:pt x="902324" y="5752777"/>
                </a:lnTo>
                <a:lnTo>
                  <a:pt x="885586" y="5741251"/>
                </a:lnTo>
                <a:lnTo>
                  <a:pt x="855108" y="5715945"/>
                </a:lnTo>
                <a:lnTo>
                  <a:pt x="786804" y="5662661"/>
                </a:lnTo>
                <a:lnTo>
                  <a:pt x="750624" y="5629195"/>
                </a:lnTo>
                <a:lnTo>
                  <a:pt x="731506" y="5613323"/>
                </a:lnTo>
                <a:lnTo>
                  <a:pt x="705284" y="5587257"/>
                </a:lnTo>
                <a:lnTo>
                  <a:pt x="649146" y="5535330"/>
                </a:lnTo>
                <a:lnTo>
                  <a:pt x="610397" y="5492934"/>
                </a:lnTo>
                <a:lnTo>
                  <a:pt x="589589" y="5472250"/>
                </a:lnTo>
                <a:lnTo>
                  <a:pt x="567858" y="5446391"/>
                </a:lnTo>
                <a:lnTo>
                  <a:pt x="522632" y="5396909"/>
                </a:lnTo>
                <a:lnTo>
                  <a:pt x="482495" y="5344816"/>
                </a:lnTo>
                <a:lnTo>
                  <a:pt x="460758" y="5318953"/>
                </a:lnTo>
                <a:lnTo>
                  <a:pt x="443460" y="5294156"/>
                </a:lnTo>
                <a:lnTo>
                  <a:pt x="408018" y="5248158"/>
                </a:lnTo>
                <a:lnTo>
                  <a:pt x="367757" y="5185637"/>
                </a:lnTo>
                <a:lnTo>
                  <a:pt x="345932" y="5154352"/>
                </a:lnTo>
                <a:lnTo>
                  <a:pt x="332819" y="5131383"/>
                </a:lnTo>
                <a:lnTo>
                  <a:pt x="306065" y="5089836"/>
                </a:lnTo>
                <a:lnTo>
                  <a:pt x="267024" y="5016132"/>
                </a:lnTo>
                <a:lnTo>
                  <a:pt x="246035" y="4979369"/>
                </a:lnTo>
                <a:lnTo>
                  <a:pt x="236715" y="4958917"/>
                </a:lnTo>
                <a:lnTo>
                  <a:pt x="217531" y="4922702"/>
                </a:lnTo>
                <a:lnTo>
                  <a:pt x="181118" y="4836913"/>
                </a:lnTo>
                <a:lnTo>
                  <a:pt x="161984" y="4794925"/>
                </a:lnTo>
                <a:lnTo>
                  <a:pt x="155951" y="4777618"/>
                </a:lnTo>
                <a:lnTo>
                  <a:pt x="143173" y="4747515"/>
                </a:lnTo>
                <a:lnTo>
                  <a:pt x="110871" y="4648314"/>
                </a:lnTo>
                <a:lnTo>
                  <a:pt x="94705" y="4601944"/>
                </a:lnTo>
                <a:lnTo>
                  <a:pt x="91343" y="4588341"/>
                </a:lnTo>
                <a:lnTo>
                  <a:pt x="83753" y="4565031"/>
                </a:lnTo>
                <a:lnTo>
                  <a:pt x="57100" y="4449814"/>
                </a:lnTo>
                <a:lnTo>
                  <a:pt x="45118" y="4401343"/>
                </a:lnTo>
                <a:lnTo>
                  <a:pt x="43715" y="4391954"/>
                </a:lnTo>
                <a:lnTo>
                  <a:pt x="40028" y="4376013"/>
                </a:lnTo>
                <a:lnTo>
                  <a:pt x="20623" y="4237405"/>
                </a:lnTo>
                <a:lnTo>
                  <a:pt x="14144" y="4194048"/>
                </a:lnTo>
                <a:lnTo>
                  <a:pt x="13913" y="4189483"/>
                </a:lnTo>
                <a:lnTo>
                  <a:pt x="12755" y="4181217"/>
                </a:lnTo>
                <a:lnTo>
                  <a:pt x="8205" y="4085083"/>
                </a:lnTo>
                <a:lnTo>
                  <a:pt x="2656" y="4085083"/>
                </a:lnTo>
                <a:lnTo>
                  <a:pt x="2656" y="3996451"/>
                </a:lnTo>
                <a:lnTo>
                  <a:pt x="2656" y="3967921"/>
                </a:lnTo>
                <a:lnTo>
                  <a:pt x="2656" y="3967256"/>
                </a:lnTo>
                <a:lnTo>
                  <a:pt x="2656" y="3967255"/>
                </a:lnTo>
                <a:lnTo>
                  <a:pt x="0" y="3967255"/>
                </a:lnTo>
                <a:lnTo>
                  <a:pt x="0" y="3541417"/>
                </a:lnTo>
                <a:lnTo>
                  <a:pt x="0" y="2649834"/>
                </a:lnTo>
                <a:lnTo>
                  <a:pt x="0" y="2223995"/>
                </a:lnTo>
                <a:lnTo>
                  <a:pt x="0" y="2106169"/>
                </a:lnTo>
                <a:lnTo>
                  <a:pt x="2630" y="2106169"/>
                </a:lnTo>
                <a:lnTo>
                  <a:pt x="2630" y="1"/>
                </a:lnTo>
                <a:lnTo>
                  <a:pt x="2224628" y="1"/>
                </a:lnTo>
                <a:lnTo>
                  <a:pt x="2225938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00447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0D88FC9-71F7-4AC8-AAC5-506B7E20D11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1950" y="1706346"/>
            <a:ext cx="2978926" cy="3445307"/>
          </a:xfrm>
          <a:custGeom>
            <a:avLst/>
            <a:gdLst>
              <a:gd name="connsiteX0" fmla="*/ 1717881 w 3435742"/>
              <a:gd name="connsiteY0" fmla="*/ 0 h 3973642"/>
              <a:gd name="connsiteX1" fmla="*/ 1717898 w 3435742"/>
              <a:gd name="connsiteY1" fmla="*/ 1 h 3973642"/>
              <a:gd name="connsiteX2" fmla="*/ 1718909 w 3435742"/>
              <a:gd name="connsiteY2" fmla="*/ 1 h 3973642"/>
              <a:gd name="connsiteX3" fmla="*/ 3433713 w 3435742"/>
              <a:gd name="connsiteY3" fmla="*/ 1 h 3973642"/>
              <a:gd name="connsiteX4" fmla="*/ 3433713 w 3435742"/>
              <a:gd name="connsiteY4" fmla="*/ 1625413 h 3973642"/>
              <a:gd name="connsiteX5" fmla="*/ 3435742 w 3435742"/>
              <a:gd name="connsiteY5" fmla="*/ 1625413 h 3973642"/>
              <a:gd name="connsiteX6" fmla="*/ 3435742 w 3435742"/>
              <a:gd name="connsiteY6" fmla="*/ 1716345 h 3973642"/>
              <a:gd name="connsiteX7" fmla="*/ 3435742 w 3435742"/>
              <a:gd name="connsiteY7" fmla="*/ 1742298 h 3973642"/>
              <a:gd name="connsiteX8" fmla="*/ 3435742 w 3435742"/>
              <a:gd name="connsiteY8" fmla="*/ 1928661 h 3973642"/>
              <a:gd name="connsiteX9" fmla="*/ 3435742 w 3435742"/>
              <a:gd name="connsiteY9" fmla="*/ 2033495 h 3973642"/>
              <a:gd name="connsiteX10" fmla="*/ 3435742 w 3435742"/>
              <a:gd name="connsiteY10" fmla="*/ 2257297 h 3973642"/>
              <a:gd name="connsiteX11" fmla="*/ 3433692 w 3435742"/>
              <a:gd name="connsiteY11" fmla="*/ 2257297 h 3973642"/>
              <a:gd name="connsiteX12" fmla="*/ 3433692 w 3435742"/>
              <a:gd name="connsiteY12" fmla="*/ 2257298 h 3973642"/>
              <a:gd name="connsiteX13" fmla="*/ 3433692 w 3435742"/>
              <a:gd name="connsiteY13" fmla="*/ 2257811 h 3973642"/>
              <a:gd name="connsiteX14" fmla="*/ 3433692 w 3435742"/>
              <a:gd name="connsiteY14" fmla="*/ 2279828 h 3973642"/>
              <a:gd name="connsiteX15" fmla="*/ 3433692 w 3435742"/>
              <a:gd name="connsiteY15" fmla="*/ 2348229 h 3973642"/>
              <a:gd name="connsiteX16" fmla="*/ 3429411 w 3435742"/>
              <a:gd name="connsiteY16" fmla="*/ 2348229 h 3973642"/>
              <a:gd name="connsiteX17" fmla="*/ 3425898 w 3435742"/>
              <a:gd name="connsiteY17" fmla="*/ 2422420 h 3973642"/>
              <a:gd name="connsiteX18" fmla="*/ 3425005 w 3435742"/>
              <a:gd name="connsiteY18" fmla="*/ 2428799 h 3973642"/>
              <a:gd name="connsiteX19" fmla="*/ 3424827 w 3435742"/>
              <a:gd name="connsiteY19" fmla="*/ 2432322 h 3973642"/>
              <a:gd name="connsiteX20" fmla="*/ 3419827 w 3435742"/>
              <a:gd name="connsiteY20" fmla="*/ 2465782 h 3973642"/>
              <a:gd name="connsiteX21" fmla="*/ 3404851 w 3435742"/>
              <a:gd name="connsiteY21" fmla="*/ 2572751 h 3973642"/>
              <a:gd name="connsiteX22" fmla="*/ 3402005 w 3435742"/>
              <a:gd name="connsiteY22" fmla="*/ 2585054 h 3973642"/>
              <a:gd name="connsiteX23" fmla="*/ 3400923 w 3435742"/>
              <a:gd name="connsiteY23" fmla="*/ 2592300 h 3973642"/>
              <a:gd name="connsiteX24" fmla="*/ 3391676 w 3435742"/>
              <a:gd name="connsiteY24" fmla="*/ 2629706 h 3973642"/>
              <a:gd name="connsiteX25" fmla="*/ 3371107 w 3435742"/>
              <a:gd name="connsiteY25" fmla="*/ 2718624 h 3973642"/>
              <a:gd name="connsiteX26" fmla="*/ 3365249 w 3435742"/>
              <a:gd name="connsiteY26" fmla="*/ 2736614 h 3973642"/>
              <a:gd name="connsiteX27" fmla="*/ 3362654 w 3435742"/>
              <a:gd name="connsiteY27" fmla="*/ 2747111 h 3973642"/>
              <a:gd name="connsiteX28" fmla="*/ 3350179 w 3435742"/>
              <a:gd name="connsiteY28" fmla="*/ 2782897 h 3973642"/>
              <a:gd name="connsiteX29" fmla="*/ 3325250 w 3435742"/>
              <a:gd name="connsiteY29" fmla="*/ 2859454 h 3973642"/>
              <a:gd name="connsiteX30" fmla="*/ 3315389 w 3435742"/>
              <a:gd name="connsiteY30" fmla="*/ 2882686 h 3973642"/>
              <a:gd name="connsiteX31" fmla="*/ 3310733 w 3435742"/>
              <a:gd name="connsiteY31" fmla="*/ 2896042 h 3973642"/>
              <a:gd name="connsiteX32" fmla="*/ 3295966 w 3435742"/>
              <a:gd name="connsiteY32" fmla="*/ 2928446 h 3973642"/>
              <a:gd name="connsiteX33" fmla="*/ 3267865 w 3435742"/>
              <a:gd name="connsiteY33" fmla="*/ 2994653 h 3973642"/>
              <a:gd name="connsiteX34" fmla="*/ 3253060 w 3435742"/>
              <a:gd name="connsiteY34" fmla="*/ 3022602 h 3973642"/>
              <a:gd name="connsiteX35" fmla="*/ 3245868 w 3435742"/>
              <a:gd name="connsiteY35" fmla="*/ 3038385 h 3973642"/>
              <a:gd name="connsiteX36" fmla="*/ 3229669 w 3435742"/>
              <a:gd name="connsiteY36" fmla="*/ 3066757 h 3973642"/>
              <a:gd name="connsiteX37" fmla="*/ 3199540 w 3435742"/>
              <a:gd name="connsiteY37" fmla="*/ 3123637 h 3973642"/>
              <a:gd name="connsiteX38" fmla="*/ 3178893 w 3435742"/>
              <a:gd name="connsiteY38" fmla="*/ 3155700 h 3973642"/>
              <a:gd name="connsiteX39" fmla="*/ 3168773 w 3435742"/>
              <a:gd name="connsiteY39" fmla="*/ 3173426 h 3973642"/>
              <a:gd name="connsiteX40" fmla="*/ 3151929 w 3435742"/>
              <a:gd name="connsiteY40" fmla="*/ 3197570 h 3973642"/>
              <a:gd name="connsiteX41" fmla="*/ 3120859 w 3435742"/>
              <a:gd name="connsiteY41" fmla="*/ 3245820 h 3973642"/>
              <a:gd name="connsiteX42" fmla="*/ 3093506 w 3435742"/>
              <a:gd name="connsiteY42" fmla="*/ 3281318 h 3973642"/>
              <a:gd name="connsiteX43" fmla="*/ 3080157 w 3435742"/>
              <a:gd name="connsiteY43" fmla="*/ 3300456 h 3973642"/>
              <a:gd name="connsiteX44" fmla="*/ 3063382 w 3435742"/>
              <a:gd name="connsiteY44" fmla="*/ 3320415 h 3973642"/>
              <a:gd name="connsiteX45" fmla="*/ 3032406 w 3435742"/>
              <a:gd name="connsiteY45" fmla="*/ 3360617 h 3973642"/>
              <a:gd name="connsiteX46" fmla="*/ 2997504 w 3435742"/>
              <a:gd name="connsiteY46" fmla="*/ 3398805 h 3973642"/>
              <a:gd name="connsiteX47" fmla="*/ 2980733 w 3435742"/>
              <a:gd name="connsiteY47" fmla="*/ 3418761 h 3973642"/>
              <a:gd name="connsiteX48" fmla="*/ 2964674 w 3435742"/>
              <a:gd name="connsiteY48" fmla="*/ 3434723 h 3973642"/>
              <a:gd name="connsiteX49" fmla="*/ 2934770 w 3435742"/>
              <a:gd name="connsiteY49" fmla="*/ 3467442 h 3973642"/>
              <a:gd name="connsiteX50" fmla="*/ 2891447 w 3435742"/>
              <a:gd name="connsiteY50" fmla="*/ 3507516 h 3973642"/>
              <a:gd name="connsiteX51" fmla="*/ 2871210 w 3435742"/>
              <a:gd name="connsiteY51" fmla="*/ 3527632 h 3973642"/>
              <a:gd name="connsiteX52" fmla="*/ 2856456 w 3435742"/>
              <a:gd name="connsiteY52" fmla="*/ 3539881 h 3973642"/>
              <a:gd name="connsiteX53" fmla="*/ 2828534 w 3435742"/>
              <a:gd name="connsiteY53" fmla="*/ 3565708 h 3973642"/>
              <a:gd name="connsiteX54" fmla="*/ 2775821 w 3435742"/>
              <a:gd name="connsiteY54" fmla="*/ 3606830 h 3973642"/>
              <a:gd name="connsiteX55" fmla="*/ 2752301 w 3435742"/>
              <a:gd name="connsiteY55" fmla="*/ 3626359 h 3973642"/>
              <a:gd name="connsiteX56" fmla="*/ 2739383 w 3435742"/>
              <a:gd name="connsiteY56" fmla="*/ 3635254 h 3973642"/>
              <a:gd name="connsiteX57" fmla="*/ 2714285 w 3435742"/>
              <a:gd name="connsiteY57" fmla="*/ 3654833 h 3973642"/>
              <a:gd name="connsiteX58" fmla="*/ 2650942 w 3435742"/>
              <a:gd name="connsiteY58" fmla="*/ 3696165 h 3973642"/>
              <a:gd name="connsiteX59" fmla="*/ 2624716 w 3435742"/>
              <a:gd name="connsiteY59" fmla="*/ 3714229 h 3973642"/>
              <a:gd name="connsiteX60" fmla="*/ 2614117 w 3435742"/>
              <a:gd name="connsiteY60" fmla="*/ 3720193 h 3973642"/>
              <a:gd name="connsiteX61" fmla="*/ 2592607 w 3435742"/>
              <a:gd name="connsiteY61" fmla="*/ 3734229 h 3973642"/>
              <a:gd name="connsiteX62" fmla="*/ 2516709 w 3435742"/>
              <a:gd name="connsiteY62" fmla="*/ 3775026 h 3973642"/>
              <a:gd name="connsiteX63" fmla="*/ 2489165 w 3435742"/>
              <a:gd name="connsiteY63" fmla="*/ 3790531 h 3973642"/>
              <a:gd name="connsiteX64" fmla="*/ 2481322 w 3435742"/>
              <a:gd name="connsiteY64" fmla="*/ 3794047 h 3973642"/>
              <a:gd name="connsiteX65" fmla="*/ 2464088 w 3435742"/>
              <a:gd name="connsiteY65" fmla="*/ 3803311 h 3973642"/>
              <a:gd name="connsiteX66" fmla="*/ 2371745 w 3435742"/>
              <a:gd name="connsiteY66" fmla="*/ 3843173 h 3973642"/>
              <a:gd name="connsiteX67" fmla="*/ 2346361 w 3435742"/>
              <a:gd name="connsiteY67" fmla="*/ 3854554 h 3973642"/>
              <a:gd name="connsiteX68" fmla="*/ 2341666 w 3435742"/>
              <a:gd name="connsiteY68" fmla="*/ 3856159 h 3973642"/>
              <a:gd name="connsiteX69" fmla="*/ 2329311 w 3435742"/>
              <a:gd name="connsiteY69" fmla="*/ 3861493 h 3973642"/>
              <a:gd name="connsiteX70" fmla="*/ 2208945 w 3435742"/>
              <a:gd name="connsiteY70" fmla="*/ 3901511 h 3973642"/>
              <a:gd name="connsiteX71" fmla="*/ 2197015 w 3435742"/>
              <a:gd name="connsiteY71" fmla="*/ 3905588 h 3973642"/>
              <a:gd name="connsiteX72" fmla="*/ 2195817 w 3435742"/>
              <a:gd name="connsiteY72" fmla="*/ 3905877 h 3973642"/>
              <a:gd name="connsiteX73" fmla="*/ 2188863 w 3435742"/>
              <a:gd name="connsiteY73" fmla="*/ 3908188 h 3973642"/>
              <a:gd name="connsiteX74" fmla="*/ 1893294 w 3435742"/>
              <a:gd name="connsiteY74" fmla="*/ 3964784 h 3973642"/>
              <a:gd name="connsiteX75" fmla="*/ 1886580 w 3435742"/>
              <a:gd name="connsiteY75" fmla="*/ 3965122 h 3973642"/>
              <a:gd name="connsiteX76" fmla="*/ 1881540 w 3435742"/>
              <a:gd name="connsiteY76" fmla="*/ 3965842 h 3973642"/>
              <a:gd name="connsiteX77" fmla="*/ 1798469 w 3435742"/>
              <a:gd name="connsiteY77" fmla="*/ 3969777 h 3973642"/>
              <a:gd name="connsiteX78" fmla="*/ 1798469 w 3435742"/>
              <a:gd name="connsiteY78" fmla="*/ 3973641 h 3973642"/>
              <a:gd name="connsiteX79" fmla="*/ 1717877 w 3435742"/>
              <a:gd name="connsiteY79" fmla="*/ 3973641 h 3973642"/>
              <a:gd name="connsiteX80" fmla="*/ 1717860 w 3435742"/>
              <a:gd name="connsiteY80" fmla="*/ 3973642 h 3973642"/>
              <a:gd name="connsiteX81" fmla="*/ 1717844 w 3435742"/>
              <a:gd name="connsiteY81" fmla="*/ 3973641 h 3973642"/>
              <a:gd name="connsiteX82" fmla="*/ 1716833 w 3435742"/>
              <a:gd name="connsiteY82" fmla="*/ 3973641 h 3973642"/>
              <a:gd name="connsiteX83" fmla="*/ 2030 w 3435742"/>
              <a:gd name="connsiteY83" fmla="*/ 3973641 h 3973642"/>
              <a:gd name="connsiteX84" fmla="*/ 2030 w 3435742"/>
              <a:gd name="connsiteY84" fmla="*/ 2348229 h 3973642"/>
              <a:gd name="connsiteX85" fmla="*/ 0 w 3435742"/>
              <a:gd name="connsiteY85" fmla="*/ 2348229 h 3973642"/>
              <a:gd name="connsiteX86" fmla="*/ 0 w 3435742"/>
              <a:gd name="connsiteY86" fmla="*/ 2257298 h 3973642"/>
              <a:gd name="connsiteX87" fmla="*/ 0 w 3435742"/>
              <a:gd name="connsiteY87" fmla="*/ 2033495 h 3973642"/>
              <a:gd name="connsiteX88" fmla="*/ 0 w 3435742"/>
              <a:gd name="connsiteY88" fmla="*/ 1928661 h 3973642"/>
              <a:gd name="connsiteX89" fmla="*/ 0 w 3435742"/>
              <a:gd name="connsiteY89" fmla="*/ 1742298 h 3973642"/>
              <a:gd name="connsiteX90" fmla="*/ 0 w 3435742"/>
              <a:gd name="connsiteY90" fmla="*/ 1716345 h 3973642"/>
              <a:gd name="connsiteX91" fmla="*/ 2050 w 3435742"/>
              <a:gd name="connsiteY91" fmla="*/ 1716345 h 3973642"/>
              <a:gd name="connsiteX92" fmla="*/ 2050 w 3435742"/>
              <a:gd name="connsiteY92" fmla="*/ 1715831 h 3973642"/>
              <a:gd name="connsiteX93" fmla="*/ 2050 w 3435742"/>
              <a:gd name="connsiteY93" fmla="*/ 1693813 h 3973642"/>
              <a:gd name="connsiteX94" fmla="*/ 2050 w 3435742"/>
              <a:gd name="connsiteY94" fmla="*/ 1625413 h 3973642"/>
              <a:gd name="connsiteX95" fmla="*/ 6332 w 3435742"/>
              <a:gd name="connsiteY95" fmla="*/ 1625413 h 3973642"/>
              <a:gd name="connsiteX96" fmla="*/ 9844 w 3435742"/>
              <a:gd name="connsiteY96" fmla="*/ 1551223 h 3973642"/>
              <a:gd name="connsiteX97" fmla="*/ 10737 w 3435742"/>
              <a:gd name="connsiteY97" fmla="*/ 1544843 h 3973642"/>
              <a:gd name="connsiteX98" fmla="*/ 10915 w 3435742"/>
              <a:gd name="connsiteY98" fmla="*/ 1541320 h 3973642"/>
              <a:gd name="connsiteX99" fmla="*/ 15915 w 3435742"/>
              <a:gd name="connsiteY99" fmla="*/ 1507860 h 3973642"/>
              <a:gd name="connsiteX100" fmla="*/ 30891 w 3435742"/>
              <a:gd name="connsiteY100" fmla="*/ 1400891 h 3973642"/>
              <a:gd name="connsiteX101" fmla="*/ 33737 w 3435742"/>
              <a:gd name="connsiteY101" fmla="*/ 1388588 h 3973642"/>
              <a:gd name="connsiteX102" fmla="*/ 34819 w 3435742"/>
              <a:gd name="connsiteY102" fmla="*/ 1381342 h 3973642"/>
              <a:gd name="connsiteX103" fmla="*/ 44066 w 3435742"/>
              <a:gd name="connsiteY103" fmla="*/ 1343936 h 3973642"/>
              <a:gd name="connsiteX104" fmla="*/ 64635 w 3435742"/>
              <a:gd name="connsiteY104" fmla="*/ 1255017 h 3973642"/>
              <a:gd name="connsiteX105" fmla="*/ 70493 w 3435742"/>
              <a:gd name="connsiteY105" fmla="*/ 1237029 h 3973642"/>
              <a:gd name="connsiteX106" fmla="*/ 73088 w 3435742"/>
              <a:gd name="connsiteY106" fmla="*/ 1226531 h 3973642"/>
              <a:gd name="connsiteX107" fmla="*/ 85564 w 3435742"/>
              <a:gd name="connsiteY107" fmla="*/ 1190746 h 3973642"/>
              <a:gd name="connsiteX108" fmla="*/ 110492 w 3435742"/>
              <a:gd name="connsiteY108" fmla="*/ 1114188 h 3973642"/>
              <a:gd name="connsiteX109" fmla="*/ 120353 w 3435742"/>
              <a:gd name="connsiteY109" fmla="*/ 1090957 h 3973642"/>
              <a:gd name="connsiteX110" fmla="*/ 125010 w 3435742"/>
              <a:gd name="connsiteY110" fmla="*/ 1077600 h 3973642"/>
              <a:gd name="connsiteX111" fmla="*/ 139776 w 3435742"/>
              <a:gd name="connsiteY111" fmla="*/ 1045196 h 3973642"/>
              <a:gd name="connsiteX112" fmla="*/ 167877 w 3435742"/>
              <a:gd name="connsiteY112" fmla="*/ 978988 h 3973642"/>
              <a:gd name="connsiteX113" fmla="*/ 182682 w 3435742"/>
              <a:gd name="connsiteY113" fmla="*/ 951041 h 3973642"/>
              <a:gd name="connsiteX114" fmla="*/ 189874 w 3435742"/>
              <a:gd name="connsiteY114" fmla="*/ 935257 h 3973642"/>
              <a:gd name="connsiteX115" fmla="*/ 206073 w 3435742"/>
              <a:gd name="connsiteY115" fmla="*/ 906886 h 3973642"/>
              <a:gd name="connsiteX116" fmla="*/ 236202 w 3435742"/>
              <a:gd name="connsiteY116" fmla="*/ 850005 h 3973642"/>
              <a:gd name="connsiteX117" fmla="*/ 256849 w 3435742"/>
              <a:gd name="connsiteY117" fmla="*/ 817942 h 3973642"/>
              <a:gd name="connsiteX118" fmla="*/ 266970 w 3435742"/>
              <a:gd name="connsiteY118" fmla="*/ 800216 h 3973642"/>
              <a:gd name="connsiteX119" fmla="*/ 283813 w 3435742"/>
              <a:gd name="connsiteY119" fmla="*/ 776072 h 3973642"/>
              <a:gd name="connsiteX120" fmla="*/ 314883 w 3435742"/>
              <a:gd name="connsiteY120" fmla="*/ 727822 h 3973642"/>
              <a:gd name="connsiteX121" fmla="*/ 342236 w 3435742"/>
              <a:gd name="connsiteY121" fmla="*/ 692324 h 3973642"/>
              <a:gd name="connsiteX122" fmla="*/ 355585 w 3435742"/>
              <a:gd name="connsiteY122" fmla="*/ 673187 h 3973642"/>
              <a:gd name="connsiteX123" fmla="*/ 372360 w 3435742"/>
              <a:gd name="connsiteY123" fmla="*/ 653227 h 3973642"/>
              <a:gd name="connsiteX124" fmla="*/ 403336 w 3435742"/>
              <a:gd name="connsiteY124" fmla="*/ 613025 h 3973642"/>
              <a:gd name="connsiteX125" fmla="*/ 438238 w 3435742"/>
              <a:gd name="connsiteY125" fmla="*/ 574838 h 3973642"/>
              <a:gd name="connsiteX126" fmla="*/ 455009 w 3435742"/>
              <a:gd name="connsiteY126" fmla="*/ 554882 h 3973642"/>
              <a:gd name="connsiteX127" fmla="*/ 471068 w 3435742"/>
              <a:gd name="connsiteY127" fmla="*/ 538919 h 3973642"/>
              <a:gd name="connsiteX128" fmla="*/ 500972 w 3435742"/>
              <a:gd name="connsiteY128" fmla="*/ 506200 h 3973642"/>
              <a:gd name="connsiteX129" fmla="*/ 544295 w 3435742"/>
              <a:gd name="connsiteY129" fmla="*/ 466127 h 3973642"/>
              <a:gd name="connsiteX130" fmla="*/ 564532 w 3435742"/>
              <a:gd name="connsiteY130" fmla="*/ 446010 h 3973642"/>
              <a:gd name="connsiteX131" fmla="*/ 579286 w 3435742"/>
              <a:gd name="connsiteY131" fmla="*/ 433761 h 3973642"/>
              <a:gd name="connsiteX132" fmla="*/ 607207 w 3435742"/>
              <a:gd name="connsiteY132" fmla="*/ 407933 h 3973642"/>
              <a:gd name="connsiteX133" fmla="*/ 659921 w 3435742"/>
              <a:gd name="connsiteY133" fmla="*/ 366813 h 3973642"/>
              <a:gd name="connsiteX134" fmla="*/ 683442 w 3435742"/>
              <a:gd name="connsiteY134" fmla="*/ 347283 h 3973642"/>
              <a:gd name="connsiteX135" fmla="*/ 696358 w 3435742"/>
              <a:gd name="connsiteY135" fmla="*/ 338388 h 3973642"/>
              <a:gd name="connsiteX136" fmla="*/ 721457 w 3435742"/>
              <a:gd name="connsiteY136" fmla="*/ 318809 h 3973642"/>
              <a:gd name="connsiteX137" fmla="*/ 784800 w 3435742"/>
              <a:gd name="connsiteY137" fmla="*/ 277477 h 3973642"/>
              <a:gd name="connsiteX138" fmla="*/ 811027 w 3435742"/>
              <a:gd name="connsiteY138" fmla="*/ 259414 h 3973642"/>
              <a:gd name="connsiteX139" fmla="*/ 821625 w 3435742"/>
              <a:gd name="connsiteY139" fmla="*/ 253449 h 3973642"/>
              <a:gd name="connsiteX140" fmla="*/ 843135 w 3435742"/>
              <a:gd name="connsiteY140" fmla="*/ 239414 h 3973642"/>
              <a:gd name="connsiteX141" fmla="*/ 919033 w 3435742"/>
              <a:gd name="connsiteY141" fmla="*/ 198616 h 3973642"/>
              <a:gd name="connsiteX142" fmla="*/ 946577 w 3435742"/>
              <a:gd name="connsiteY142" fmla="*/ 183112 h 3973642"/>
              <a:gd name="connsiteX143" fmla="*/ 954420 w 3435742"/>
              <a:gd name="connsiteY143" fmla="*/ 179595 h 3973642"/>
              <a:gd name="connsiteX144" fmla="*/ 971655 w 3435742"/>
              <a:gd name="connsiteY144" fmla="*/ 170331 h 3973642"/>
              <a:gd name="connsiteX145" fmla="*/ 1063997 w 3435742"/>
              <a:gd name="connsiteY145" fmla="*/ 130469 h 3973642"/>
              <a:gd name="connsiteX146" fmla="*/ 1089381 w 3435742"/>
              <a:gd name="connsiteY146" fmla="*/ 119088 h 3973642"/>
              <a:gd name="connsiteX147" fmla="*/ 1094076 w 3435742"/>
              <a:gd name="connsiteY147" fmla="*/ 117484 h 3973642"/>
              <a:gd name="connsiteX148" fmla="*/ 1106431 w 3435742"/>
              <a:gd name="connsiteY148" fmla="*/ 112150 h 3973642"/>
              <a:gd name="connsiteX149" fmla="*/ 1226798 w 3435742"/>
              <a:gd name="connsiteY149" fmla="*/ 72132 h 3973642"/>
              <a:gd name="connsiteX150" fmla="*/ 1238727 w 3435742"/>
              <a:gd name="connsiteY150" fmla="*/ 68054 h 3973642"/>
              <a:gd name="connsiteX151" fmla="*/ 1239925 w 3435742"/>
              <a:gd name="connsiteY151" fmla="*/ 67765 h 3973642"/>
              <a:gd name="connsiteX152" fmla="*/ 1246879 w 3435742"/>
              <a:gd name="connsiteY152" fmla="*/ 65454 h 3973642"/>
              <a:gd name="connsiteX153" fmla="*/ 1542447 w 3435742"/>
              <a:gd name="connsiteY153" fmla="*/ 8859 h 3973642"/>
              <a:gd name="connsiteX154" fmla="*/ 1549163 w 3435742"/>
              <a:gd name="connsiteY154" fmla="*/ 8521 h 3973642"/>
              <a:gd name="connsiteX155" fmla="*/ 1554203 w 3435742"/>
              <a:gd name="connsiteY155" fmla="*/ 7799 h 3973642"/>
              <a:gd name="connsiteX156" fmla="*/ 1637273 w 3435742"/>
              <a:gd name="connsiteY156" fmla="*/ 3866 h 3973642"/>
              <a:gd name="connsiteX157" fmla="*/ 1637273 w 3435742"/>
              <a:gd name="connsiteY157" fmla="*/ 1 h 3973642"/>
              <a:gd name="connsiteX158" fmla="*/ 1717865 w 3435742"/>
              <a:gd name="connsiteY158" fmla="*/ 1 h 3973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3435742" h="3973642">
                <a:moveTo>
                  <a:pt x="1717881" y="0"/>
                </a:moveTo>
                <a:lnTo>
                  <a:pt x="1717898" y="1"/>
                </a:lnTo>
                <a:lnTo>
                  <a:pt x="1718909" y="1"/>
                </a:lnTo>
                <a:lnTo>
                  <a:pt x="3433713" y="1"/>
                </a:lnTo>
                <a:lnTo>
                  <a:pt x="3433713" y="1625413"/>
                </a:lnTo>
                <a:lnTo>
                  <a:pt x="3435742" y="1625413"/>
                </a:lnTo>
                <a:lnTo>
                  <a:pt x="3435742" y="1716345"/>
                </a:lnTo>
                <a:lnTo>
                  <a:pt x="3435742" y="1742298"/>
                </a:lnTo>
                <a:lnTo>
                  <a:pt x="3435742" y="1928661"/>
                </a:lnTo>
                <a:lnTo>
                  <a:pt x="3435742" y="2033495"/>
                </a:lnTo>
                <a:lnTo>
                  <a:pt x="3435742" y="2257297"/>
                </a:lnTo>
                <a:lnTo>
                  <a:pt x="3433692" y="2257297"/>
                </a:lnTo>
                <a:lnTo>
                  <a:pt x="3433692" y="2257298"/>
                </a:lnTo>
                <a:lnTo>
                  <a:pt x="3433692" y="2257811"/>
                </a:lnTo>
                <a:lnTo>
                  <a:pt x="3433692" y="2279828"/>
                </a:lnTo>
                <a:lnTo>
                  <a:pt x="3433692" y="2348229"/>
                </a:lnTo>
                <a:lnTo>
                  <a:pt x="3429411" y="2348229"/>
                </a:lnTo>
                <a:lnTo>
                  <a:pt x="3425898" y="2422420"/>
                </a:lnTo>
                <a:lnTo>
                  <a:pt x="3425005" y="2428799"/>
                </a:lnTo>
                <a:lnTo>
                  <a:pt x="3424827" y="2432322"/>
                </a:lnTo>
                <a:lnTo>
                  <a:pt x="3419827" y="2465782"/>
                </a:lnTo>
                <a:lnTo>
                  <a:pt x="3404851" y="2572751"/>
                </a:lnTo>
                <a:lnTo>
                  <a:pt x="3402005" y="2585054"/>
                </a:lnTo>
                <a:lnTo>
                  <a:pt x="3400923" y="2592300"/>
                </a:lnTo>
                <a:lnTo>
                  <a:pt x="3391676" y="2629706"/>
                </a:lnTo>
                <a:lnTo>
                  <a:pt x="3371107" y="2718624"/>
                </a:lnTo>
                <a:lnTo>
                  <a:pt x="3365249" y="2736614"/>
                </a:lnTo>
                <a:lnTo>
                  <a:pt x="3362654" y="2747111"/>
                </a:lnTo>
                <a:lnTo>
                  <a:pt x="3350179" y="2782897"/>
                </a:lnTo>
                <a:lnTo>
                  <a:pt x="3325250" y="2859454"/>
                </a:lnTo>
                <a:lnTo>
                  <a:pt x="3315389" y="2882686"/>
                </a:lnTo>
                <a:lnTo>
                  <a:pt x="3310733" y="2896042"/>
                </a:lnTo>
                <a:lnTo>
                  <a:pt x="3295966" y="2928446"/>
                </a:lnTo>
                <a:lnTo>
                  <a:pt x="3267865" y="2994653"/>
                </a:lnTo>
                <a:lnTo>
                  <a:pt x="3253060" y="3022602"/>
                </a:lnTo>
                <a:lnTo>
                  <a:pt x="3245868" y="3038385"/>
                </a:lnTo>
                <a:lnTo>
                  <a:pt x="3229669" y="3066757"/>
                </a:lnTo>
                <a:lnTo>
                  <a:pt x="3199540" y="3123637"/>
                </a:lnTo>
                <a:lnTo>
                  <a:pt x="3178893" y="3155700"/>
                </a:lnTo>
                <a:lnTo>
                  <a:pt x="3168773" y="3173426"/>
                </a:lnTo>
                <a:lnTo>
                  <a:pt x="3151929" y="3197570"/>
                </a:lnTo>
                <a:lnTo>
                  <a:pt x="3120859" y="3245820"/>
                </a:lnTo>
                <a:lnTo>
                  <a:pt x="3093506" y="3281318"/>
                </a:lnTo>
                <a:lnTo>
                  <a:pt x="3080157" y="3300456"/>
                </a:lnTo>
                <a:lnTo>
                  <a:pt x="3063382" y="3320415"/>
                </a:lnTo>
                <a:lnTo>
                  <a:pt x="3032406" y="3360617"/>
                </a:lnTo>
                <a:lnTo>
                  <a:pt x="2997504" y="3398805"/>
                </a:lnTo>
                <a:lnTo>
                  <a:pt x="2980733" y="3418761"/>
                </a:lnTo>
                <a:lnTo>
                  <a:pt x="2964674" y="3434723"/>
                </a:lnTo>
                <a:lnTo>
                  <a:pt x="2934770" y="3467442"/>
                </a:lnTo>
                <a:lnTo>
                  <a:pt x="2891447" y="3507516"/>
                </a:lnTo>
                <a:lnTo>
                  <a:pt x="2871210" y="3527632"/>
                </a:lnTo>
                <a:lnTo>
                  <a:pt x="2856456" y="3539881"/>
                </a:lnTo>
                <a:lnTo>
                  <a:pt x="2828534" y="3565708"/>
                </a:lnTo>
                <a:lnTo>
                  <a:pt x="2775821" y="3606830"/>
                </a:lnTo>
                <a:lnTo>
                  <a:pt x="2752301" y="3626359"/>
                </a:lnTo>
                <a:lnTo>
                  <a:pt x="2739383" y="3635254"/>
                </a:lnTo>
                <a:lnTo>
                  <a:pt x="2714285" y="3654833"/>
                </a:lnTo>
                <a:lnTo>
                  <a:pt x="2650942" y="3696165"/>
                </a:lnTo>
                <a:lnTo>
                  <a:pt x="2624716" y="3714229"/>
                </a:lnTo>
                <a:lnTo>
                  <a:pt x="2614117" y="3720193"/>
                </a:lnTo>
                <a:lnTo>
                  <a:pt x="2592607" y="3734229"/>
                </a:lnTo>
                <a:lnTo>
                  <a:pt x="2516709" y="3775026"/>
                </a:lnTo>
                <a:lnTo>
                  <a:pt x="2489165" y="3790531"/>
                </a:lnTo>
                <a:lnTo>
                  <a:pt x="2481322" y="3794047"/>
                </a:lnTo>
                <a:lnTo>
                  <a:pt x="2464088" y="3803311"/>
                </a:lnTo>
                <a:lnTo>
                  <a:pt x="2371745" y="3843173"/>
                </a:lnTo>
                <a:lnTo>
                  <a:pt x="2346361" y="3854554"/>
                </a:lnTo>
                <a:lnTo>
                  <a:pt x="2341666" y="3856159"/>
                </a:lnTo>
                <a:lnTo>
                  <a:pt x="2329311" y="3861493"/>
                </a:lnTo>
                <a:lnTo>
                  <a:pt x="2208945" y="3901511"/>
                </a:lnTo>
                <a:lnTo>
                  <a:pt x="2197015" y="3905588"/>
                </a:lnTo>
                <a:lnTo>
                  <a:pt x="2195817" y="3905877"/>
                </a:lnTo>
                <a:lnTo>
                  <a:pt x="2188863" y="3908188"/>
                </a:lnTo>
                <a:cubicBezTo>
                  <a:pt x="2093469" y="3935361"/>
                  <a:pt x="1994687" y="3954486"/>
                  <a:pt x="1893294" y="3964784"/>
                </a:cubicBezTo>
                <a:lnTo>
                  <a:pt x="1886580" y="3965122"/>
                </a:lnTo>
                <a:lnTo>
                  <a:pt x="1881540" y="3965842"/>
                </a:lnTo>
                <a:lnTo>
                  <a:pt x="1798469" y="3969777"/>
                </a:lnTo>
                <a:lnTo>
                  <a:pt x="1798469" y="3973641"/>
                </a:lnTo>
                <a:lnTo>
                  <a:pt x="1717877" y="3973641"/>
                </a:lnTo>
                <a:lnTo>
                  <a:pt x="1717860" y="3973642"/>
                </a:lnTo>
                <a:lnTo>
                  <a:pt x="1717844" y="3973641"/>
                </a:lnTo>
                <a:lnTo>
                  <a:pt x="1716833" y="3973641"/>
                </a:lnTo>
                <a:lnTo>
                  <a:pt x="2030" y="3973641"/>
                </a:lnTo>
                <a:lnTo>
                  <a:pt x="2030" y="2348229"/>
                </a:lnTo>
                <a:lnTo>
                  <a:pt x="0" y="2348229"/>
                </a:lnTo>
                <a:lnTo>
                  <a:pt x="0" y="2257298"/>
                </a:lnTo>
                <a:lnTo>
                  <a:pt x="0" y="2033495"/>
                </a:lnTo>
                <a:lnTo>
                  <a:pt x="0" y="1928661"/>
                </a:lnTo>
                <a:lnTo>
                  <a:pt x="0" y="1742298"/>
                </a:lnTo>
                <a:lnTo>
                  <a:pt x="0" y="1716345"/>
                </a:lnTo>
                <a:lnTo>
                  <a:pt x="2050" y="1716345"/>
                </a:lnTo>
                <a:lnTo>
                  <a:pt x="2050" y="1715831"/>
                </a:lnTo>
                <a:lnTo>
                  <a:pt x="2050" y="1693813"/>
                </a:lnTo>
                <a:lnTo>
                  <a:pt x="2050" y="1625413"/>
                </a:lnTo>
                <a:lnTo>
                  <a:pt x="6332" y="1625413"/>
                </a:lnTo>
                <a:lnTo>
                  <a:pt x="9844" y="1551223"/>
                </a:lnTo>
                <a:lnTo>
                  <a:pt x="10737" y="1544843"/>
                </a:lnTo>
                <a:lnTo>
                  <a:pt x="10915" y="1541320"/>
                </a:lnTo>
                <a:lnTo>
                  <a:pt x="15915" y="1507860"/>
                </a:lnTo>
                <a:lnTo>
                  <a:pt x="30891" y="1400891"/>
                </a:lnTo>
                <a:lnTo>
                  <a:pt x="33737" y="1388588"/>
                </a:lnTo>
                <a:lnTo>
                  <a:pt x="34819" y="1381342"/>
                </a:lnTo>
                <a:lnTo>
                  <a:pt x="44066" y="1343936"/>
                </a:lnTo>
                <a:lnTo>
                  <a:pt x="64635" y="1255017"/>
                </a:lnTo>
                <a:lnTo>
                  <a:pt x="70493" y="1237029"/>
                </a:lnTo>
                <a:lnTo>
                  <a:pt x="73088" y="1226531"/>
                </a:lnTo>
                <a:lnTo>
                  <a:pt x="85564" y="1190746"/>
                </a:lnTo>
                <a:lnTo>
                  <a:pt x="110492" y="1114188"/>
                </a:lnTo>
                <a:lnTo>
                  <a:pt x="120353" y="1090957"/>
                </a:lnTo>
                <a:lnTo>
                  <a:pt x="125010" y="1077600"/>
                </a:lnTo>
                <a:lnTo>
                  <a:pt x="139776" y="1045196"/>
                </a:lnTo>
                <a:lnTo>
                  <a:pt x="167877" y="978988"/>
                </a:lnTo>
                <a:lnTo>
                  <a:pt x="182682" y="951041"/>
                </a:lnTo>
                <a:lnTo>
                  <a:pt x="189874" y="935257"/>
                </a:lnTo>
                <a:lnTo>
                  <a:pt x="206073" y="906886"/>
                </a:lnTo>
                <a:lnTo>
                  <a:pt x="236202" y="850005"/>
                </a:lnTo>
                <a:lnTo>
                  <a:pt x="256849" y="817942"/>
                </a:lnTo>
                <a:lnTo>
                  <a:pt x="266970" y="800216"/>
                </a:lnTo>
                <a:lnTo>
                  <a:pt x="283813" y="776072"/>
                </a:lnTo>
                <a:lnTo>
                  <a:pt x="314883" y="727822"/>
                </a:lnTo>
                <a:lnTo>
                  <a:pt x="342236" y="692324"/>
                </a:lnTo>
                <a:lnTo>
                  <a:pt x="355585" y="673187"/>
                </a:lnTo>
                <a:lnTo>
                  <a:pt x="372360" y="653227"/>
                </a:lnTo>
                <a:lnTo>
                  <a:pt x="403336" y="613025"/>
                </a:lnTo>
                <a:lnTo>
                  <a:pt x="438238" y="574838"/>
                </a:lnTo>
                <a:lnTo>
                  <a:pt x="455009" y="554882"/>
                </a:lnTo>
                <a:lnTo>
                  <a:pt x="471068" y="538919"/>
                </a:lnTo>
                <a:lnTo>
                  <a:pt x="500972" y="506200"/>
                </a:lnTo>
                <a:lnTo>
                  <a:pt x="544295" y="466127"/>
                </a:lnTo>
                <a:lnTo>
                  <a:pt x="564532" y="446010"/>
                </a:lnTo>
                <a:lnTo>
                  <a:pt x="579286" y="433761"/>
                </a:lnTo>
                <a:lnTo>
                  <a:pt x="607207" y="407933"/>
                </a:lnTo>
                <a:lnTo>
                  <a:pt x="659921" y="366813"/>
                </a:lnTo>
                <a:lnTo>
                  <a:pt x="683442" y="347283"/>
                </a:lnTo>
                <a:lnTo>
                  <a:pt x="696358" y="338388"/>
                </a:lnTo>
                <a:lnTo>
                  <a:pt x="721457" y="318809"/>
                </a:lnTo>
                <a:lnTo>
                  <a:pt x="784800" y="277477"/>
                </a:lnTo>
                <a:lnTo>
                  <a:pt x="811027" y="259414"/>
                </a:lnTo>
                <a:lnTo>
                  <a:pt x="821625" y="253449"/>
                </a:lnTo>
                <a:lnTo>
                  <a:pt x="843135" y="239414"/>
                </a:lnTo>
                <a:lnTo>
                  <a:pt x="919033" y="198616"/>
                </a:lnTo>
                <a:lnTo>
                  <a:pt x="946577" y="183112"/>
                </a:lnTo>
                <a:lnTo>
                  <a:pt x="954420" y="179595"/>
                </a:lnTo>
                <a:lnTo>
                  <a:pt x="971655" y="170331"/>
                </a:lnTo>
                <a:lnTo>
                  <a:pt x="1063997" y="130469"/>
                </a:lnTo>
                <a:lnTo>
                  <a:pt x="1089381" y="119088"/>
                </a:lnTo>
                <a:lnTo>
                  <a:pt x="1094076" y="117484"/>
                </a:lnTo>
                <a:lnTo>
                  <a:pt x="1106431" y="112150"/>
                </a:lnTo>
                <a:lnTo>
                  <a:pt x="1226798" y="72132"/>
                </a:lnTo>
                <a:lnTo>
                  <a:pt x="1238727" y="68054"/>
                </a:lnTo>
                <a:lnTo>
                  <a:pt x="1239925" y="67765"/>
                </a:lnTo>
                <a:lnTo>
                  <a:pt x="1246879" y="65454"/>
                </a:lnTo>
                <a:cubicBezTo>
                  <a:pt x="1342272" y="38282"/>
                  <a:pt x="1441055" y="19156"/>
                  <a:pt x="1542447" y="8859"/>
                </a:cubicBezTo>
                <a:lnTo>
                  <a:pt x="1549163" y="8521"/>
                </a:lnTo>
                <a:lnTo>
                  <a:pt x="1554203" y="7799"/>
                </a:lnTo>
                <a:lnTo>
                  <a:pt x="1637273" y="3866"/>
                </a:lnTo>
                <a:lnTo>
                  <a:pt x="1637273" y="1"/>
                </a:lnTo>
                <a:lnTo>
                  <a:pt x="1717865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947E5EA-7CD1-4AB9-8BF8-88EC6942AE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24250" y="264796"/>
            <a:ext cx="3203851" cy="6328408"/>
          </a:xfrm>
          <a:custGeom>
            <a:avLst/>
            <a:gdLst>
              <a:gd name="connsiteX0" fmla="*/ 1601915 w 3203851"/>
              <a:gd name="connsiteY0" fmla="*/ 0 h 6328408"/>
              <a:gd name="connsiteX1" fmla="*/ 1601931 w 3203851"/>
              <a:gd name="connsiteY1" fmla="*/ 1 h 6328408"/>
              <a:gd name="connsiteX2" fmla="*/ 1677083 w 3203851"/>
              <a:gd name="connsiteY2" fmla="*/ 1 h 6328408"/>
              <a:gd name="connsiteX3" fmla="*/ 1677083 w 3203851"/>
              <a:gd name="connsiteY3" fmla="*/ 3604 h 6328408"/>
              <a:gd name="connsiteX4" fmla="*/ 1754548 w 3203851"/>
              <a:gd name="connsiteY4" fmla="*/ 7273 h 6328408"/>
              <a:gd name="connsiteX5" fmla="*/ 1759248 w 3203851"/>
              <a:gd name="connsiteY5" fmla="*/ 7945 h 6328408"/>
              <a:gd name="connsiteX6" fmla="*/ 1765508 w 3203851"/>
              <a:gd name="connsiteY6" fmla="*/ 8260 h 6328408"/>
              <a:gd name="connsiteX7" fmla="*/ 2041128 w 3203851"/>
              <a:gd name="connsiteY7" fmla="*/ 61036 h 6328408"/>
              <a:gd name="connsiteX8" fmla="*/ 2047613 w 3203851"/>
              <a:gd name="connsiteY8" fmla="*/ 63191 h 6328408"/>
              <a:gd name="connsiteX9" fmla="*/ 2048730 w 3203851"/>
              <a:gd name="connsiteY9" fmla="*/ 63461 h 6328408"/>
              <a:gd name="connsiteX10" fmla="*/ 2059855 w 3203851"/>
              <a:gd name="connsiteY10" fmla="*/ 67262 h 6328408"/>
              <a:gd name="connsiteX11" fmla="*/ 2172097 w 3203851"/>
              <a:gd name="connsiteY11" fmla="*/ 104580 h 6328408"/>
              <a:gd name="connsiteX12" fmla="*/ 2183618 w 3203851"/>
              <a:gd name="connsiteY12" fmla="*/ 109554 h 6328408"/>
              <a:gd name="connsiteX13" fmla="*/ 2187996 w 3203851"/>
              <a:gd name="connsiteY13" fmla="*/ 111050 h 6328408"/>
              <a:gd name="connsiteX14" fmla="*/ 2211667 w 3203851"/>
              <a:gd name="connsiteY14" fmla="*/ 121663 h 6328408"/>
              <a:gd name="connsiteX15" fmla="*/ 2297777 w 3203851"/>
              <a:gd name="connsiteY15" fmla="*/ 158835 h 6328408"/>
              <a:gd name="connsiteX16" fmla="*/ 2313848 w 3203851"/>
              <a:gd name="connsiteY16" fmla="*/ 167473 h 6328408"/>
              <a:gd name="connsiteX17" fmla="*/ 2321162 w 3203851"/>
              <a:gd name="connsiteY17" fmla="*/ 170752 h 6328408"/>
              <a:gd name="connsiteX18" fmla="*/ 2346847 w 3203851"/>
              <a:gd name="connsiteY18" fmla="*/ 185211 h 6328408"/>
              <a:gd name="connsiteX19" fmla="*/ 2417622 w 3203851"/>
              <a:gd name="connsiteY19" fmla="*/ 223254 h 6328408"/>
              <a:gd name="connsiteX20" fmla="*/ 2437680 w 3203851"/>
              <a:gd name="connsiteY20" fmla="*/ 236343 h 6328408"/>
              <a:gd name="connsiteX21" fmla="*/ 2447564 w 3203851"/>
              <a:gd name="connsiteY21" fmla="*/ 241904 h 6328408"/>
              <a:gd name="connsiteX22" fmla="*/ 2472020 w 3203851"/>
              <a:gd name="connsiteY22" fmla="*/ 258749 h 6328408"/>
              <a:gd name="connsiteX23" fmla="*/ 2531088 w 3203851"/>
              <a:gd name="connsiteY23" fmla="*/ 297291 h 6328408"/>
              <a:gd name="connsiteX24" fmla="*/ 2554492 w 3203851"/>
              <a:gd name="connsiteY24" fmla="*/ 315549 h 6328408"/>
              <a:gd name="connsiteX25" fmla="*/ 2566538 w 3203851"/>
              <a:gd name="connsiteY25" fmla="*/ 323843 h 6328408"/>
              <a:gd name="connsiteX26" fmla="*/ 2588470 w 3203851"/>
              <a:gd name="connsiteY26" fmla="*/ 342054 h 6328408"/>
              <a:gd name="connsiteX27" fmla="*/ 2637626 w 3203851"/>
              <a:gd name="connsiteY27" fmla="*/ 380401 h 6328408"/>
              <a:gd name="connsiteX28" fmla="*/ 2663663 w 3203851"/>
              <a:gd name="connsiteY28" fmla="*/ 404485 h 6328408"/>
              <a:gd name="connsiteX29" fmla="*/ 2677421 w 3203851"/>
              <a:gd name="connsiteY29" fmla="*/ 415907 h 6328408"/>
              <a:gd name="connsiteX30" fmla="*/ 2696292 w 3203851"/>
              <a:gd name="connsiteY30" fmla="*/ 434665 h 6328408"/>
              <a:gd name="connsiteX31" fmla="*/ 2736691 w 3203851"/>
              <a:gd name="connsiteY31" fmla="*/ 472035 h 6328408"/>
              <a:gd name="connsiteX32" fmla="*/ 2764577 w 3203851"/>
              <a:gd name="connsiteY32" fmla="*/ 502545 h 6328408"/>
              <a:gd name="connsiteX33" fmla="*/ 2779552 w 3203851"/>
              <a:gd name="connsiteY33" fmla="*/ 517430 h 6328408"/>
              <a:gd name="connsiteX34" fmla="*/ 2795191 w 3203851"/>
              <a:gd name="connsiteY34" fmla="*/ 536039 h 6328408"/>
              <a:gd name="connsiteX35" fmla="*/ 2827738 w 3203851"/>
              <a:gd name="connsiteY35" fmla="*/ 571650 h 6328408"/>
              <a:gd name="connsiteX36" fmla="*/ 2856623 w 3203851"/>
              <a:gd name="connsiteY36" fmla="*/ 609138 h 6328408"/>
              <a:gd name="connsiteX37" fmla="*/ 2872266 w 3203851"/>
              <a:gd name="connsiteY37" fmla="*/ 627750 h 6328408"/>
              <a:gd name="connsiteX38" fmla="*/ 2884714 w 3203851"/>
              <a:gd name="connsiteY38" fmla="*/ 645596 h 6328408"/>
              <a:gd name="connsiteX39" fmla="*/ 2910220 w 3203851"/>
              <a:gd name="connsiteY39" fmla="*/ 678698 h 6328408"/>
              <a:gd name="connsiteX40" fmla="*/ 2939193 w 3203851"/>
              <a:gd name="connsiteY40" fmla="*/ 723692 h 6328408"/>
              <a:gd name="connsiteX41" fmla="*/ 2954901 w 3203851"/>
              <a:gd name="connsiteY41" fmla="*/ 746206 h 6328408"/>
              <a:gd name="connsiteX42" fmla="*/ 2964338 w 3203851"/>
              <a:gd name="connsiteY42" fmla="*/ 762736 h 6328408"/>
              <a:gd name="connsiteX43" fmla="*/ 2983591 w 3203851"/>
              <a:gd name="connsiteY43" fmla="*/ 792635 h 6328408"/>
              <a:gd name="connsiteX44" fmla="*/ 3011687 w 3203851"/>
              <a:gd name="connsiteY44" fmla="*/ 845676 h 6328408"/>
              <a:gd name="connsiteX45" fmla="*/ 3026792 w 3203851"/>
              <a:gd name="connsiteY45" fmla="*/ 872133 h 6328408"/>
              <a:gd name="connsiteX46" fmla="*/ 3033499 w 3203851"/>
              <a:gd name="connsiteY46" fmla="*/ 886851 h 6328408"/>
              <a:gd name="connsiteX47" fmla="*/ 3047305 w 3203851"/>
              <a:gd name="connsiteY47" fmla="*/ 912913 h 6328408"/>
              <a:gd name="connsiteX48" fmla="*/ 3073509 w 3203851"/>
              <a:gd name="connsiteY48" fmla="*/ 974652 h 6328408"/>
              <a:gd name="connsiteX49" fmla="*/ 3087279 w 3203851"/>
              <a:gd name="connsiteY49" fmla="*/ 1004869 h 6328408"/>
              <a:gd name="connsiteX50" fmla="*/ 3091621 w 3203851"/>
              <a:gd name="connsiteY50" fmla="*/ 1017323 h 6328408"/>
              <a:gd name="connsiteX51" fmla="*/ 3100816 w 3203851"/>
              <a:gd name="connsiteY51" fmla="*/ 1038987 h 6328408"/>
              <a:gd name="connsiteX52" fmla="*/ 3124063 w 3203851"/>
              <a:gd name="connsiteY52" fmla="*/ 1110377 h 6328408"/>
              <a:gd name="connsiteX53" fmla="*/ 3135696 w 3203851"/>
              <a:gd name="connsiteY53" fmla="*/ 1143748 h 6328408"/>
              <a:gd name="connsiteX54" fmla="*/ 3138116 w 3203851"/>
              <a:gd name="connsiteY54" fmla="*/ 1153536 h 6328408"/>
              <a:gd name="connsiteX55" fmla="*/ 3143578 w 3203851"/>
              <a:gd name="connsiteY55" fmla="*/ 1170312 h 6328408"/>
              <a:gd name="connsiteX56" fmla="*/ 3162759 w 3203851"/>
              <a:gd name="connsiteY56" fmla="*/ 1253229 h 6328408"/>
              <a:gd name="connsiteX57" fmla="*/ 3171382 w 3203851"/>
              <a:gd name="connsiteY57" fmla="*/ 1288110 h 6328408"/>
              <a:gd name="connsiteX58" fmla="*/ 3172391 w 3203851"/>
              <a:gd name="connsiteY58" fmla="*/ 1294867 h 6328408"/>
              <a:gd name="connsiteX59" fmla="*/ 3175045 w 3203851"/>
              <a:gd name="connsiteY59" fmla="*/ 1306339 h 6328408"/>
              <a:gd name="connsiteX60" fmla="*/ 3189010 w 3203851"/>
              <a:gd name="connsiteY60" fmla="*/ 1406089 h 6328408"/>
              <a:gd name="connsiteX61" fmla="*/ 3193673 w 3203851"/>
              <a:gd name="connsiteY61" fmla="*/ 1437290 h 6328408"/>
              <a:gd name="connsiteX62" fmla="*/ 3193839 w 3203851"/>
              <a:gd name="connsiteY62" fmla="*/ 1440576 h 6328408"/>
              <a:gd name="connsiteX63" fmla="*/ 3194671 w 3203851"/>
              <a:gd name="connsiteY63" fmla="*/ 1446524 h 6328408"/>
              <a:gd name="connsiteX64" fmla="*/ 3197947 w 3203851"/>
              <a:gd name="connsiteY64" fmla="*/ 1515708 h 6328408"/>
              <a:gd name="connsiteX65" fmla="*/ 3201939 w 3203851"/>
              <a:gd name="connsiteY65" fmla="*/ 1515708 h 6328408"/>
              <a:gd name="connsiteX66" fmla="*/ 3201939 w 3203851"/>
              <a:gd name="connsiteY66" fmla="*/ 1579492 h 6328408"/>
              <a:gd name="connsiteX67" fmla="*/ 3201939 w 3203851"/>
              <a:gd name="connsiteY67" fmla="*/ 1600023 h 6328408"/>
              <a:gd name="connsiteX68" fmla="*/ 3201939 w 3203851"/>
              <a:gd name="connsiteY68" fmla="*/ 1600501 h 6328408"/>
              <a:gd name="connsiteX69" fmla="*/ 3201939 w 3203851"/>
              <a:gd name="connsiteY69" fmla="*/ 1600502 h 6328408"/>
              <a:gd name="connsiteX70" fmla="*/ 3203851 w 3203851"/>
              <a:gd name="connsiteY70" fmla="*/ 1600502 h 6328408"/>
              <a:gd name="connsiteX71" fmla="*/ 3203851 w 3203851"/>
              <a:gd name="connsiteY71" fmla="*/ 1809199 h 6328408"/>
              <a:gd name="connsiteX72" fmla="*/ 3203851 w 3203851"/>
              <a:gd name="connsiteY72" fmla="*/ 1906957 h 6328408"/>
              <a:gd name="connsiteX73" fmla="*/ 3203851 w 3203851"/>
              <a:gd name="connsiteY73" fmla="*/ 2080742 h 6328408"/>
              <a:gd name="connsiteX74" fmla="*/ 3203851 w 3203851"/>
              <a:gd name="connsiteY74" fmla="*/ 2104943 h 6328408"/>
              <a:gd name="connsiteX75" fmla="*/ 3203851 w 3203851"/>
              <a:gd name="connsiteY75" fmla="*/ 2189738 h 6328408"/>
              <a:gd name="connsiteX76" fmla="*/ 3201959 w 3203851"/>
              <a:gd name="connsiteY76" fmla="*/ 2189738 h 6328408"/>
              <a:gd name="connsiteX77" fmla="*/ 3201959 w 3203851"/>
              <a:gd name="connsiteY77" fmla="*/ 2222055 h 6328408"/>
              <a:gd name="connsiteX78" fmla="*/ 1784816 w 3203851"/>
              <a:gd name="connsiteY78" fmla="*/ 2222055 h 6328408"/>
              <a:gd name="connsiteX79" fmla="*/ 2041128 w 3203851"/>
              <a:gd name="connsiteY79" fmla="*/ 2271133 h 6328408"/>
              <a:gd name="connsiteX80" fmla="*/ 2047613 w 3203851"/>
              <a:gd name="connsiteY80" fmla="*/ 2273288 h 6328408"/>
              <a:gd name="connsiteX81" fmla="*/ 2048730 w 3203851"/>
              <a:gd name="connsiteY81" fmla="*/ 2273558 h 6328408"/>
              <a:gd name="connsiteX82" fmla="*/ 2059854 w 3203851"/>
              <a:gd name="connsiteY82" fmla="*/ 2277361 h 6328408"/>
              <a:gd name="connsiteX83" fmla="*/ 2172097 w 3203851"/>
              <a:gd name="connsiteY83" fmla="*/ 2314678 h 6328408"/>
              <a:gd name="connsiteX84" fmla="*/ 2183618 w 3203851"/>
              <a:gd name="connsiteY84" fmla="*/ 2319652 h 6328408"/>
              <a:gd name="connsiteX85" fmla="*/ 2187996 w 3203851"/>
              <a:gd name="connsiteY85" fmla="*/ 2321147 h 6328408"/>
              <a:gd name="connsiteX86" fmla="*/ 2211667 w 3203851"/>
              <a:gd name="connsiteY86" fmla="*/ 2331760 h 6328408"/>
              <a:gd name="connsiteX87" fmla="*/ 2297776 w 3203851"/>
              <a:gd name="connsiteY87" fmla="*/ 2368932 h 6328408"/>
              <a:gd name="connsiteX88" fmla="*/ 2313848 w 3203851"/>
              <a:gd name="connsiteY88" fmla="*/ 2377571 h 6328408"/>
              <a:gd name="connsiteX89" fmla="*/ 2321162 w 3203851"/>
              <a:gd name="connsiteY89" fmla="*/ 2380850 h 6328408"/>
              <a:gd name="connsiteX90" fmla="*/ 2346847 w 3203851"/>
              <a:gd name="connsiteY90" fmla="*/ 2395308 h 6328408"/>
              <a:gd name="connsiteX91" fmla="*/ 2417622 w 3203851"/>
              <a:gd name="connsiteY91" fmla="*/ 2433352 h 6328408"/>
              <a:gd name="connsiteX92" fmla="*/ 2437680 w 3203851"/>
              <a:gd name="connsiteY92" fmla="*/ 2446440 h 6328408"/>
              <a:gd name="connsiteX93" fmla="*/ 2447563 w 3203851"/>
              <a:gd name="connsiteY93" fmla="*/ 2452002 h 6328408"/>
              <a:gd name="connsiteX94" fmla="*/ 2472020 w 3203851"/>
              <a:gd name="connsiteY94" fmla="*/ 2468846 h 6328408"/>
              <a:gd name="connsiteX95" fmla="*/ 2531088 w 3203851"/>
              <a:gd name="connsiteY95" fmla="*/ 2507389 h 6328408"/>
              <a:gd name="connsiteX96" fmla="*/ 2554493 w 3203851"/>
              <a:gd name="connsiteY96" fmla="*/ 2525646 h 6328408"/>
              <a:gd name="connsiteX97" fmla="*/ 2566537 w 3203851"/>
              <a:gd name="connsiteY97" fmla="*/ 2533941 h 6328408"/>
              <a:gd name="connsiteX98" fmla="*/ 2588470 w 3203851"/>
              <a:gd name="connsiteY98" fmla="*/ 2552153 h 6328408"/>
              <a:gd name="connsiteX99" fmla="*/ 2637626 w 3203851"/>
              <a:gd name="connsiteY99" fmla="*/ 2590497 h 6328408"/>
              <a:gd name="connsiteX100" fmla="*/ 2663663 w 3203851"/>
              <a:gd name="connsiteY100" fmla="*/ 2614582 h 6328408"/>
              <a:gd name="connsiteX101" fmla="*/ 2677421 w 3203851"/>
              <a:gd name="connsiteY101" fmla="*/ 2626004 h 6328408"/>
              <a:gd name="connsiteX102" fmla="*/ 2696292 w 3203851"/>
              <a:gd name="connsiteY102" fmla="*/ 2644763 h 6328408"/>
              <a:gd name="connsiteX103" fmla="*/ 2736691 w 3203851"/>
              <a:gd name="connsiteY103" fmla="*/ 2682132 h 6328408"/>
              <a:gd name="connsiteX104" fmla="*/ 2764577 w 3203851"/>
              <a:gd name="connsiteY104" fmla="*/ 2712642 h 6328408"/>
              <a:gd name="connsiteX105" fmla="*/ 2779552 w 3203851"/>
              <a:gd name="connsiteY105" fmla="*/ 2727528 h 6328408"/>
              <a:gd name="connsiteX106" fmla="*/ 2795191 w 3203851"/>
              <a:gd name="connsiteY106" fmla="*/ 2746137 h 6328408"/>
              <a:gd name="connsiteX107" fmla="*/ 2827737 w 3203851"/>
              <a:gd name="connsiteY107" fmla="*/ 2781747 h 6328408"/>
              <a:gd name="connsiteX108" fmla="*/ 2856623 w 3203851"/>
              <a:gd name="connsiteY108" fmla="*/ 2819235 h 6328408"/>
              <a:gd name="connsiteX109" fmla="*/ 2872266 w 3203851"/>
              <a:gd name="connsiteY109" fmla="*/ 2837848 h 6328408"/>
              <a:gd name="connsiteX110" fmla="*/ 2884714 w 3203851"/>
              <a:gd name="connsiteY110" fmla="*/ 2855694 h 6328408"/>
              <a:gd name="connsiteX111" fmla="*/ 2910220 w 3203851"/>
              <a:gd name="connsiteY111" fmla="*/ 2888796 h 6328408"/>
              <a:gd name="connsiteX112" fmla="*/ 2939193 w 3203851"/>
              <a:gd name="connsiteY112" fmla="*/ 2933789 h 6328408"/>
              <a:gd name="connsiteX113" fmla="*/ 2954900 w 3203851"/>
              <a:gd name="connsiteY113" fmla="*/ 2956304 h 6328408"/>
              <a:gd name="connsiteX114" fmla="*/ 2964337 w 3203851"/>
              <a:gd name="connsiteY114" fmla="*/ 2972833 h 6328408"/>
              <a:gd name="connsiteX115" fmla="*/ 2983591 w 3203851"/>
              <a:gd name="connsiteY115" fmla="*/ 3002732 h 6328408"/>
              <a:gd name="connsiteX116" fmla="*/ 3011686 w 3203851"/>
              <a:gd name="connsiteY116" fmla="*/ 3055774 h 6328408"/>
              <a:gd name="connsiteX117" fmla="*/ 3026792 w 3203851"/>
              <a:gd name="connsiteY117" fmla="*/ 3082230 h 6328408"/>
              <a:gd name="connsiteX118" fmla="*/ 3033499 w 3203851"/>
              <a:gd name="connsiteY118" fmla="*/ 3096949 h 6328408"/>
              <a:gd name="connsiteX119" fmla="*/ 3047304 w 3203851"/>
              <a:gd name="connsiteY119" fmla="*/ 3123010 h 6328408"/>
              <a:gd name="connsiteX120" fmla="*/ 3073509 w 3203851"/>
              <a:gd name="connsiteY120" fmla="*/ 3184749 h 6328408"/>
              <a:gd name="connsiteX121" fmla="*/ 3087278 w 3203851"/>
              <a:gd name="connsiteY121" fmla="*/ 3214966 h 6328408"/>
              <a:gd name="connsiteX122" fmla="*/ 3091621 w 3203851"/>
              <a:gd name="connsiteY122" fmla="*/ 3227421 h 6328408"/>
              <a:gd name="connsiteX123" fmla="*/ 3100816 w 3203851"/>
              <a:gd name="connsiteY123" fmla="*/ 3249084 h 6328408"/>
              <a:gd name="connsiteX124" fmla="*/ 3124062 w 3203851"/>
              <a:gd name="connsiteY124" fmla="*/ 3320475 h 6328408"/>
              <a:gd name="connsiteX125" fmla="*/ 3135696 w 3203851"/>
              <a:gd name="connsiteY125" fmla="*/ 3353845 h 6328408"/>
              <a:gd name="connsiteX126" fmla="*/ 3138116 w 3203851"/>
              <a:gd name="connsiteY126" fmla="*/ 3363634 h 6328408"/>
              <a:gd name="connsiteX127" fmla="*/ 3143578 w 3203851"/>
              <a:gd name="connsiteY127" fmla="*/ 3380408 h 6328408"/>
              <a:gd name="connsiteX128" fmla="*/ 3162759 w 3203851"/>
              <a:gd name="connsiteY128" fmla="*/ 3463326 h 6328408"/>
              <a:gd name="connsiteX129" fmla="*/ 3171382 w 3203851"/>
              <a:gd name="connsiteY129" fmla="*/ 3498207 h 6328408"/>
              <a:gd name="connsiteX130" fmla="*/ 3172391 w 3203851"/>
              <a:gd name="connsiteY130" fmla="*/ 3504964 h 6328408"/>
              <a:gd name="connsiteX131" fmla="*/ 3175045 w 3203851"/>
              <a:gd name="connsiteY131" fmla="*/ 3516437 h 6328408"/>
              <a:gd name="connsiteX132" fmla="*/ 3189010 w 3203851"/>
              <a:gd name="connsiteY132" fmla="*/ 3616186 h 6328408"/>
              <a:gd name="connsiteX133" fmla="*/ 3193672 w 3203851"/>
              <a:gd name="connsiteY133" fmla="*/ 3647388 h 6328408"/>
              <a:gd name="connsiteX134" fmla="*/ 3193838 w 3203851"/>
              <a:gd name="connsiteY134" fmla="*/ 3650673 h 6328408"/>
              <a:gd name="connsiteX135" fmla="*/ 3194671 w 3203851"/>
              <a:gd name="connsiteY135" fmla="*/ 3656622 h 6328408"/>
              <a:gd name="connsiteX136" fmla="*/ 3197946 w 3203851"/>
              <a:gd name="connsiteY136" fmla="*/ 3725805 h 6328408"/>
              <a:gd name="connsiteX137" fmla="*/ 3201939 w 3203851"/>
              <a:gd name="connsiteY137" fmla="*/ 3725805 h 6328408"/>
              <a:gd name="connsiteX138" fmla="*/ 3201939 w 3203851"/>
              <a:gd name="connsiteY138" fmla="*/ 3789588 h 6328408"/>
              <a:gd name="connsiteX139" fmla="*/ 3201939 w 3203851"/>
              <a:gd name="connsiteY139" fmla="*/ 3810120 h 6328408"/>
              <a:gd name="connsiteX140" fmla="*/ 3201939 w 3203851"/>
              <a:gd name="connsiteY140" fmla="*/ 3810600 h 6328408"/>
              <a:gd name="connsiteX141" fmla="*/ 3203851 w 3203851"/>
              <a:gd name="connsiteY141" fmla="*/ 3810600 h 6328408"/>
              <a:gd name="connsiteX142" fmla="*/ 3203851 w 3203851"/>
              <a:gd name="connsiteY142" fmla="*/ 3834801 h 6328408"/>
              <a:gd name="connsiteX143" fmla="*/ 3203851 w 3203851"/>
              <a:gd name="connsiteY143" fmla="*/ 4008586 h 6328408"/>
              <a:gd name="connsiteX144" fmla="*/ 3203851 w 3203851"/>
              <a:gd name="connsiteY144" fmla="*/ 4106344 h 6328408"/>
              <a:gd name="connsiteX145" fmla="*/ 3203851 w 3203851"/>
              <a:gd name="connsiteY145" fmla="*/ 4223465 h 6328408"/>
              <a:gd name="connsiteX146" fmla="*/ 3203851 w 3203851"/>
              <a:gd name="connsiteY146" fmla="*/ 4247666 h 6328408"/>
              <a:gd name="connsiteX147" fmla="*/ 3203851 w 3203851"/>
              <a:gd name="connsiteY147" fmla="*/ 4315042 h 6328408"/>
              <a:gd name="connsiteX148" fmla="*/ 3203851 w 3203851"/>
              <a:gd name="connsiteY148" fmla="*/ 4399835 h 6328408"/>
              <a:gd name="connsiteX149" fmla="*/ 3203851 w 3203851"/>
              <a:gd name="connsiteY149" fmla="*/ 4421451 h 6328408"/>
              <a:gd name="connsiteX150" fmla="*/ 3203851 w 3203851"/>
              <a:gd name="connsiteY150" fmla="*/ 4519209 h 6328408"/>
              <a:gd name="connsiteX151" fmla="*/ 3203851 w 3203851"/>
              <a:gd name="connsiteY151" fmla="*/ 4727907 h 6328408"/>
              <a:gd name="connsiteX152" fmla="*/ 3203851 w 3203851"/>
              <a:gd name="connsiteY152" fmla="*/ 4812700 h 6328408"/>
              <a:gd name="connsiteX153" fmla="*/ 3201958 w 3203851"/>
              <a:gd name="connsiteY153" fmla="*/ 4812700 h 6328408"/>
              <a:gd name="connsiteX154" fmla="*/ 3201958 w 3203851"/>
              <a:gd name="connsiteY154" fmla="*/ 5915542 h 6328408"/>
              <a:gd name="connsiteX155" fmla="*/ 3201958 w 3203851"/>
              <a:gd name="connsiteY155" fmla="*/ 6328407 h 6328408"/>
              <a:gd name="connsiteX156" fmla="*/ 1602893 w 3203851"/>
              <a:gd name="connsiteY156" fmla="*/ 6328407 h 6328408"/>
              <a:gd name="connsiteX157" fmla="*/ 1601950 w 3203851"/>
              <a:gd name="connsiteY157" fmla="*/ 6328407 h 6328408"/>
              <a:gd name="connsiteX158" fmla="*/ 1601936 w 3203851"/>
              <a:gd name="connsiteY158" fmla="*/ 6328408 h 6328408"/>
              <a:gd name="connsiteX159" fmla="*/ 1601920 w 3203851"/>
              <a:gd name="connsiteY159" fmla="*/ 6328407 h 6328408"/>
              <a:gd name="connsiteX160" fmla="*/ 1526767 w 3203851"/>
              <a:gd name="connsiteY160" fmla="*/ 6328407 h 6328408"/>
              <a:gd name="connsiteX161" fmla="*/ 1526767 w 3203851"/>
              <a:gd name="connsiteY161" fmla="*/ 6324804 h 6328408"/>
              <a:gd name="connsiteX162" fmla="*/ 1449303 w 3203851"/>
              <a:gd name="connsiteY162" fmla="*/ 6321135 h 6328408"/>
              <a:gd name="connsiteX163" fmla="*/ 1444603 w 3203851"/>
              <a:gd name="connsiteY163" fmla="*/ 6320463 h 6328408"/>
              <a:gd name="connsiteX164" fmla="*/ 1438342 w 3203851"/>
              <a:gd name="connsiteY164" fmla="*/ 6320148 h 6328408"/>
              <a:gd name="connsiteX165" fmla="*/ 1162722 w 3203851"/>
              <a:gd name="connsiteY165" fmla="*/ 6267372 h 6328408"/>
              <a:gd name="connsiteX166" fmla="*/ 1156238 w 3203851"/>
              <a:gd name="connsiteY166" fmla="*/ 6265217 h 6328408"/>
              <a:gd name="connsiteX167" fmla="*/ 1155121 w 3203851"/>
              <a:gd name="connsiteY167" fmla="*/ 6264947 h 6328408"/>
              <a:gd name="connsiteX168" fmla="*/ 1143996 w 3203851"/>
              <a:gd name="connsiteY168" fmla="*/ 6261146 h 6328408"/>
              <a:gd name="connsiteX169" fmla="*/ 1031754 w 3203851"/>
              <a:gd name="connsiteY169" fmla="*/ 6223828 h 6328408"/>
              <a:gd name="connsiteX170" fmla="*/ 1020233 w 3203851"/>
              <a:gd name="connsiteY170" fmla="*/ 6218854 h 6328408"/>
              <a:gd name="connsiteX171" fmla="*/ 1015855 w 3203851"/>
              <a:gd name="connsiteY171" fmla="*/ 6217358 h 6328408"/>
              <a:gd name="connsiteX172" fmla="*/ 992184 w 3203851"/>
              <a:gd name="connsiteY172" fmla="*/ 6206745 h 6328408"/>
              <a:gd name="connsiteX173" fmla="*/ 906073 w 3203851"/>
              <a:gd name="connsiteY173" fmla="*/ 6169573 h 6328408"/>
              <a:gd name="connsiteX174" fmla="*/ 890003 w 3203851"/>
              <a:gd name="connsiteY174" fmla="*/ 6160935 h 6328408"/>
              <a:gd name="connsiteX175" fmla="*/ 882689 w 3203851"/>
              <a:gd name="connsiteY175" fmla="*/ 6157656 h 6328408"/>
              <a:gd name="connsiteX176" fmla="*/ 857004 w 3203851"/>
              <a:gd name="connsiteY176" fmla="*/ 6143197 h 6328408"/>
              <a:gd name="connsiteX177" fmla="*/ 786229 w 3203851"/>
              <a:gd name="connsiteY177" fmla="*/ 6105154 h 6328408"/>
              <a:gd name="connsiteX178" fmla="*/ 766170 w 3203851"/>
              <a:gd name="connsiteY178" fmla="*/ 6092065 h 6328408"/>
              <a:gd name="connsiteX179" fmla="*/ 756287 w 3203851"/>
              <a:gd name="connsiteY179" fmla="*/ 6086504 h 6328408"/>
              <a:gd name="connsiteX180" fmla="*/ 731831 w 3203851"/>
              <a:gd name="connsiteY180" fmla="*/ 6069659 h 6328408"/>
              <a:gd name="connsiteX181" fmla="*/ 672763 w 3203851"/>
              <a:gd name="connsiteY181" fmla="*/ 6031117 h 6328408"/>
              <a:gd name="connsiteX182" fmla="*/ 649359 w 3203851"/>
              <a:gd name="connsiteY182" fmla="*/ 6012859 h 6328408"/>
              <a:gd name="connsiteX183" fmla="*/ 637313 w 3203851"/>
              <a:gd name="connsiteY183" fmla="*/ 6004565 h 6328408"/>
              <a:gd name="connsiteX184" fmla="*/ 615380 w 3203851"/>
              <a:gd name="connsiteY184" fmla="*/ 5986354 h 6328408"/>
              <a:gd name="connsiteX185" fmla="*/ 566225 w 3203851"/>
              <a:gd name="connsiteY185" fmla="*/ 5948007 h 6328408"/>
              <a:gd name="connsiteX186" fmla="*/ 540188 w 3203851"/>
              <a:gd name="connsiteY186" fmla="*/ 5923923 h 6328408"/>
              <a:gd name="connsiteX187" fmla="*/ 526430 w 3203851"/>
              <a:gd name="connsiteY187" fmla="*/ 5912501 h 6328408"/>
              <a:gd name="connsiteX188" fmla="*/ 507558 w 3203851"/>
              <a:gd name="connsiteY188" fmla="*/ 5893743 h 6328408"/>
              <a:gd name="connsiteX189" fmla="*/ 467159 w 3203851"/>
              <a:gd name="connsiteY189" fmla="*/ 5856373 h 6328408"/>
              <a:gd name="connsiteX190" fmla="*/ 439274 w 3203851"/>
              <a:gd name="connsiteY190" fmla="*/ 5825863 h 6328408"/>
              <a:gd name="connsiteX191" fmla="*/ 424299 w 3203851"/>
              <a:gd name="connsiteY191" fmla="*/ 5810978 h 6328408"/>
              <a:gd name="connsiteX192" fmla="*/ 408660 w 3203851"/>
              <a:gd name="connsiteY192" fmla="*/ 5792369 h 6328408"/>
              <a:gd name="connsiteX193" fmla="*/ 376113 w 3203851"/>
              <a:gd name="connsiteY193" fmla="*/ 5756758 h 6328408"/>
              <a:gd name="connsiteX194" fmla="*/ 347228 w 3203851"/>
              <a:gd name="connsiteY194" fmla="*/ 5719270 h 6328408"/>
              <a:gd name="connsiteX195" fmla="*/ 331585 w 3203851"/>
              <a:gd name="connsiteY195" fmla="*/ 5700658 h 6328408"/>
              <a:gd name="connsiteX196" fmla="*/ 319137 w 3203851"/>
              <a:gd name="connsiteY196" fmla="*/ 5682812 h 6328408"/>
              <a:gd name="connsiteX197" fmla="*/ 293630 w 3203851"/>
              <a:gd name="connsiteY197" fmla="*/ 5649710 h 6328408"/>
              <a:gd name="connsiteX198" fmla="*/ 264657 w 3203851"/>
              <a:gd name="connsiteY198" fmla="*/ 5604716 h 6328408"/>
              <a:gd name="connsiteX199" fmla="*/ 248950 w 3203851"/>
              <a:gd name="connsiteY199" fmla="*/ 5582202 h 6328408"/>
              <a:gd name="connsiteX200" fmla="*/ 239513 w 3203851"/>
              <a:gd name="connsiteY200" fmla="*/ 5565672 h 6328408"/>
              <a:gd name="connsiteX201" fmla="*/ 220260 w 3203851"/>
              <a:gd name="connsiteY201" fmla="*/ 5535773 h 6328408"/>
              <a:gd name="connsiteX202" fmla="*/ 192164 w 3203851"/>
              <a:gd name="connsiteY202" fmla="*/ 5482732 h 6328408"/>
              <a:gd name="connsiteX203" fmla="*/ 177059 w 3203851"/>
              <a:gd name="connsiteY203" fmla="*/ 5456275 h 6328408"/>
              <a:gd name="connsiteX204" fmla="*/ 170352 w 3203851"/>
              <a:gd name="connsiteY204" fmla="*/ 5441557 h 6328408"/>
              <a:gd name="connsiteX205" fmla="*/ 156546 w 3203851"/>
              <a:gd name="connsiteY205" fmla="*/ 5415495 h 6328408"/>
              <a:gd name="connsiteX206" fmla="*/ 130342 w 3203851"/>
              <a:gd name="connsiteY206" fmla="*/ 5353756 h 6328408"/>
              <a:gd name="connsiteX207" fmla="*/ 116572 w 3203851"/>
              <a:gd name="connsiteY207" fmla="*/ 5323539 h 6328408"/>
              <a:gd name="connsiteX208" fmla="*/ 112230 w 3203851"/>
              <a:gd name="connsiteY208" fmla="*/ 5311085 h 6328408"/>
              <a:gd name="connsiteX209" fmla="*/ 103034 w 3203851"/>
              <a:gd name="connsiteY209" fmla="*/ 5289421 h 6328408"/>
              <a:gd name="connsiteX210" fmla="*/ 79788 w 3203851"/>
              <a:gd name="connsiteY210" fmla="*/ 5218031 h 6328408"/>
              <a:gd name="connsiteX211" fmla="*/ 68155 w 3203851"/>
              <a:gd name="connsiteY211" fmla="*/ 5184660 h 6328408"/>
              <a:gd name="connsiteX212" fmla="*/ 65735 w 3203851"/>
              <a:gd name="connsiteY212" fmla="*/ 5174872 h 6328408"/>
              <a:gd name="connsiteX213" fmla="*/ 60272 w 3203851"/>
              <a:gd name="connsiteY213" fmla="*/ 5158096 h 6328408"/>
              <a:gd name="connsiteX214" fmla="*/ 41092 w 3203851"/>
              <a:gd name="connsiteY214" fmla="*/ 5075179 h 6328408"/>
              <a:gd name="connsiteX215" fmla="*/ 32469 w 3203851"/>
              <a:gd name="connsiteY215" fmla="*/ 5040298 h 6328408"/>
              <a:gd name="connsiteX216" fmla="*/ 31460 w 3203851"/>
              <a:gd name="connsiteY216" fmla="*/ 5033541 h 6328408"/>
              <a:gd name="connsiteX217" fmla="*/ 28806 w 3203851"/>
              <a:gd name="connsiteY217" fmla="*/ 5022069 h 6328408"/>
              <a:gd name="connsiteX218" fmla="*/ 14841 w 3203851"/>
              <a:gd name="connsiteY218" fmla="*/ 4922319 h 6328408"/>
              <a:gd name="connsiteX219" fmla="*/ 10178 w 3203851"/>
              <a:gd name="connsiteY219" fmla="*/ 4891118 h 6328408"/>
              <a:gd name="connsiteX220" fmla="*/ 10012 w 3203851"/>
              <a:gd name="connsiteY220" fmla="*/ 4887832 h 6328408"/>
              <a:gd name="connsiteX221" fmla="*/ 9179 w 3203851"/>
              <a:gd name="connsiteY221" fmla="*/ 4881884 h 6328408"/>
              <a:gd name="connsiteX222" fmla="*/ 5904 w 3203851"/>
              <a:gd name="connsiteY222" fmla="*/ 4812700 h 6328408"/>
              <a:gd name="connsiteX223" fmla="*/ 1912 w 3203851"/>
              <a:gd name="connsiteY223" fmla="*/ 4812700 h 6328408"/>
              <a:gd name="connsiteX224" fmla="*/ 1912 w 3203851"/>
              <a:gd name="connsiteY224" fmla="*/ 4748916 h 6328408"/>
              <a:gd name="connsiteX225" fmla="*/ 1912 w 3203851"/>
              <a:gd name="connsiteY225" fmla="*/ 4728385 h 6328408"/>
              <a:gd name="connsiteX226" fmla="*/ 1912 w 3203851"/>
              <a:gd name="connsiteY226" fmla="*/ 4727907 h 6328408"/>
              <a:gd name="connsiteX227" fmla="*/ 1912 w 3203851"/>
              <a:gd name="connsiteY227" fmla="*/ 4727906 h 6328408"/>
              <a:gd name="connsiteX228" fmla="*/ 0 w 3203851"/>
              <a:gd name="connsiteY228" fmla="*/ 4727906 h 6328408"/>
              <a:gd name="connsiteX229" fmla="*/ 0 w 3203851"/>
              <a:gd name="connsiteY229" fmla="*/ 4519209 h 6328408"/>
              <a:gd name="connsiteX230" fmla="*/ 0 w 3203851"/>
              <a:gd name="connsiteY230" fmla="*/ 4421451 h 6328408"/>
              <a:gd name="connsiteX231" fmla="*/ 0 w 3203851"/>
              <a:gd name="connsiteY231" fmla="*/ 4315041 h 6328408"/>
              <a:gd name="connsiteX232" fmla="*/ 0 w 3203851"/>
              <a:gd name="connsiteY232" fmla="*/ 4247666 h 6328408"/>
              <a:gd name="connsiteX233" fmla="*/ 0 w 3203851"/>
              <a:gd name="connsiteY233" fmla="*/ 4223465 h 6328408"/>
              <a:gd name="connsiteX234" fmla="*/ 0 w 3203851"/>
              <a:gd name="connsiteY234" fmla="*/ 4138670 h 6328408"/>
              <a:gd name="connsiteX235" fmla="*/ 0 w 3203851"/>
              <a:gd name="connsiteY235" fmla="*/ 4106344 h 6328408"/>
              <a:gd name="connsiteX236" fmla="*/ 0 w 3203851"/>
              <a:gd name="connsiteY236" fmla="*/ 4008586 h 6328408"/>
              <a:gd name="connsiteX237" fmla="*/ 0 w 3203851"/>
              <a:gd name="connsiteY237" fmla="*/ 3834801 h 6328408"/>
              <a:gd name="connsiteX238" fmla="*/ 0 w 3203851"/>
              <a:gd name="connsiteY238" fmla="*/ 3810600 h 6328408"/>
              <a:gd name="connsiteX239" fmla="*/ 0 w 3203851"/>
              <a:gd name="connsiteY239" fmla="*/ 3725805 h 6328408"/>
              <a:gd name="connsiteX240" fmla="*/ 1892 w 3203851"/>
              <a:gd name="connsiteY240" fmla="*/ 3725805 h 6328408"/>
              <a:gd name="connsiteX241" fmla="*/ 1892 w 3203851"/>
              <a:gd name="connsiteY241" fmla="*/ 2622963 h 6328408"/>
              <a:gd name="connsiteX242" fmla="*/ 1892 w 3203851"/>
              <a:gd name="connsiteY242" fmla="*/ 2210098 h 6328408"/>
              <a:gd name="connsiteX243" fmla="*/ 6868 w 3203851"/>
              <a:gd name="connsiteY243" fmla="*/ 2210098 h 6328408"/>
              <a:gd name="connsiteX244" fmla="*/ 5904 w 3203851"/>
              <a:gd name="connsiteY244" fmla="*/ 2189738 h 6328408"/>
              <a:gd name="connsiteX245" fmla="*/ 1911 w 3203851"/>
              <a:gd name="connsiteY245" fmla="*/ 2189738 h 6328408"/>
              <a:gd name="connsiteX246" fmla="*/ 1911 w 3203851"/>
              <a:gd name="connsiteY246" fmla="*/ 2125955 h 6328408"/>
              <a:gd name="connsiteX247" fmla="*/ 1911 w 3203851"/>
              <a:gd name="connsiteY247" fmla="*/ 2105423 h 6328408"/>
              <a:gd name="connsiteX248" fmla="*/ 1911 w 3203851"/>
              <a:gd name="connsiteY248" fmla="*/ 2104943 h 6328408"/>
              <a:gd name="connsiteX249" fmla="*/ 0 w 3203851"/>
              <a:gd name="connsiteY249" fmla="*/ 2104943 h 6328408"/>
              <a:gd name="connsiteX250" fmla="*/ 0 w 3203851"/>
              <a:gd name="connsiteY250" fmla="*/ 2080742 h 6328408"/>
              <a:gd name="connsiteX251" fmla="*/ 0 w 3203851"/>
              <a:gd name="connsiteY251" fmla="*/ 1906957 h 6328408"/>
              <a:gd name="connsiteX252" fmla="*/ 0 w 3203851"/>
              <a:gd name="connsiteY252" fmla="*/ 1809199 h 6328408"/>
              <a:gd name="connsiteX253" fmla="*/ 0 w 3203851"/>
              <a:gd name="connsiteY253" fmla="*/ 1600501 h 6328408"/>
              <a:gd name="connsiteX254" fmla="*/ 0 w 3203851"/>
              <a:gd name="connsiteY254" fmla="*/ 1515708 h 6328408"/>
              <a:gd name="connsiteX255" fmla="*/ 1893 w 3203851"/>
              <a:gd name="connsiteY255" fmla="*/ 1515708 h 6328408"/>
              <a:gd name="connsiteX256" fmla="*/ 1893 w 3203851"/>
              <a:gd name="connsiteY256" fmla="*/ 1 h 6328408"/>
              <a:gd name="connsiteX257" fmla="*/ 1600957 w 3203851"/>
              <a:gd name="connsiteY257" fmla="*/ 1 h 6328408"/>
              <a:gd name="connsiteX258" fmla="*/ 1601900 w 3203851"/>
              <a:gd name="connsiteY258" fmla="*/ 1 h 6328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</a:cxnLst>
            <a:rect l="l" t="t" r="r" b="b"/>
            <a:pathLst>
              <a:path w="3203851" h="6328408">
                <a:moveTo>
                  <a:pt x="1601915" y="0"/>
                </a:moveTo>
                <a:lnTo>
                  <a:pt x="1601931" y="1"/>
                </a:lnTo>
                <a:lnTo>
                  <a:pt x="1677083" y="1"/>
                </a:lnTo>
                <a:lnTo>
                  <a:pt x="1677083" y="3604"/>
                </a:lnTo>
                <a:lnTo>
                  <a:pt x="1754548" y="7273"/>
                </a:lnTo>
                <a:lnTo>
                  <a:pt x="1759248" y="7945"/>
                </a:lnTo>
                <a:lnTo>
                  <a:pt x="1765508" y="8260"/>
                </a:lnTo>
                <a:cubicBezTo>
                  <a:pt x="1860058" y="17863"/>
                  <a:pt x="1952173" y="35697"/>
                  <a:pt x="2041128" y="61036"/>
                </a:cubicBezTo>
                <a:lnTo>
                  <a:pt x="2047613" y="63191"/>
                </a:lnTo>
                <a:lnTo>
                  <a:pt x="2048730" y="63461"/>
                </a:lnTo>
                <a:lnTo>
                  <a:pt x="2059855" y="67262"/>
                </a:lnTo>
                <a:lnTo>
                  <a:pt x="2172097" y="104580"/>
                </a:lnTo>
                <a:lnTo>
                  <a:pt x="2183618" y="109554"/>
                </a:lnTo>
                <a:lnTo>
                  <a:pt x="2187996" y="111050"/>
                </a:lnTo>
                <a:lnTo>
                  <a:pt x="2211667" y="121663"/>
                </a:lnTo>
                <a:lnTo>
                  <a:pt x="2297777" y="158835"/>
                </a:lnTo>
                <a:lnTo>
                  <a:pt x="2313848" y="167473"/>
                </a:lnTo>
                <a:lnTo>
                  <a:pt x="2321162" y="170752"/>
                </a:lnTo>
                <a:lnTo>
                  <a:pt x="2346847" y="185211"/>
                </a:lnTo>
                <a:lnTo>
                  <a:pt x="2417622" y="223254"/>
                </a:lnTo>
                <a:lnTo>
                  <a:pt x="2437680" y="236343"/>
                </a:lnTo>
                <a:lnTo>
                  <a:pt x="2447564" y="241904"/>
                </a:lnTo>
                <a:lnTo>
                  <a:pt x="2472020" y="258749"/>
                </a:lnTo>
                <a:lnTo>
                  <a:pt x="2531088" y="297291"/>
                </a:lnTo>
                <a:lnTo>
                  <a:pt x="2554492" y="315549"/>
                </a:lnTo>
                <a:lnTo>
                  <a:pt x="2566538" y="323843"/>
                </a:lnTo>
                <a:lnTo>
                  <a:pt x="2588470" y="342054"/>
                </a:lnTo>
                <a:lnTo>
                  <a:pt x="2637626" y="380401"/>
                </a:lnTo>
                <a:lnTo>
                  <a:pt x="2663663" y="404485"/>
                </a:lnTo>
                <a:lnTo>
                  <a:pt x="2677421" y="415907"/>
                </a:lnTo>
                <a:lnTo>
                  <a:pt x="2696292" y="434665"/>
                </a:lnTo>
                <a:lnTo>
                  <a:pt x="2736691" y="472035"/>
                </a:lnTo>
                <a:lnTo>
                  <a:pt x="2764577" y="502545"/>
                </a:lnTo>
                <a:lnTo>
                  <a:pt x="2779552" y="517430"/>
                </a:lnTo>
                <a:lnTo>
                  <a:pt x="2795191" y="536039"/>
                </a:lnTo>
                <a:lnTo>
                  <a:pt x="2827738" y="571650"/>
                </a:lnTo>
                <a:lnTo>
                  <a:pt x="2856623" y="609138"/>
                </a:lnTo>
                <a:lnTo>
                  <a:pt x="2872266" y="627750"/>
                </a:lnTo>
                <a:lnTo>
                  <a:pt x="2884714" y="645596"/>
                </a:lnTo>
                <a:lnTo>
                  <a:pt x="2910220" y="678698"/>
                </a:lnTo>
                <a:lnTo>
                  <a:pt x="2939193" y="723692"/>
                </a:lnTo>
                <a:lnTo>
                  <a:pt x="2954901" y="746206"/>
                </a:lnTo>
                <a:lnTo>
                  <a:pt x="2964338" y="762736"/>
                </a:lnTo>
                <a:lnTo>
                  <a:pt x="2983591" y="792635"/>
                </a:lnTo>
                <a:lnTo>
                  <a:pt x="3011687" y="845676"/>
                </a:lnTo>
                <a:lnTo>
                  <a:pt x="3026792" y="872133"/>
                </a:lnTo>
                <a:lnTo>
                  <a:pt x="3033499" y="886851"/>
                </a:lnTo>
                <a:lnTo>
                  <a:pt x="3047305" y="912913"/>
                </a:lnTo>
                <a:lnTo>
                  <a:pt x="3073509" y="974652"/>
                </a:lnTo>
                <a:lnTo>
                  <a:pt x="3087279" y="1004869"/>
                </a:lnTo>
                <a:lnTo>
                  <a:pt x="3091621" y="1017323"/>
                </a:lnTo>
                <a:lnTo>
                  <a:pt x="3100816" y="1038987"/>
                </a:lnTo>
                <a:lnTo>
                  <a:pt x="3124063" y="1110377"/>
                </a:lnTo>
                <a:lnTo>
                  <a:pt x="3135696" y="1143748"/>
                </a:lnTo>
                <a:lnTo>
                  <a:pt x="3138116" y="1153536"/>
                </a:lnTo>
                <a:lnTo>
                  <a:pt x="3143578" y="1170312"/>
                </a:lnTo>
                <a:lnTo>
                  <a:pt x="3162759" y="1253229"/>
                </a:lnTo>
                <a:lnTo>
                  <a:pt x="3171382" y="1288110"/>
                </a:lnTo>
                <a:lnTo>
                  <a:pt x="3172391" y="1294867"/>
                </a:lnTo>
                <a:lnTo>
                  <a:pt x="3175045" y="1306339"/>
                </a:lnTo>
                <a:lnTo>
                  <a:pt x="3189010" y="1406089"/>
                </a:lnTo>
                <a:lnTo>
                  <a:pt x="3193673" y="1437290"/>
                </a:lnTo>
                <a:lnTo>
                  <a:pt x="3193839" y="1440576"/>
                </a:lnTo>
                <a:lnTo>
                  <a:pt x="3194671" y="1446524"/>
                </a:lnTo>
                <a:lnTo>
                  <a:pt x="3197947" y="1515708"/>
                </a:lnTo>
                <a:lnTo>
                  <a:pt x="3201939" y="1515708"/>
                </a:lnTo>
                <a:lnTo>
                  <a:pt x="3201939" y="1579492"/>
                </a:lnTo>
                <a:lnTo>
                  <a:pt x="3201939" y="1600023"/>
                </a:lnTo>
                <a:lnTo>
                  <a:pt x="3201939" y="1600501"/>
                </a:lnTo>
                <a:lnTo>
                  <a:pt x="3201939" y="1600502"/>
                </a:lnTo>
                <a:lnTo>
                  <a:pt x="3203851" y="1600502"/>
                </a:lnTo>
                <a:lnTo>
                  <a:pt x="3203851" y="1809199"/>
                </a:lnTo>
                <a:lnTo>
                  <a:pt x="3203851" y="1906957"/>
                </a:lnTo>
                <a:lnTo>
                  <a:pt x="3203851" y="2080742"/>
                </a:lnTo>
                <a:lnTo>
                  <a:pt x="3203851" y="2104943"/>
                </a:lnTo>
                <a:lnTo>
                  <a:pt x="3203851" y="2189738"/>
                </a:lnTo>
                <a:lnTo>
                  <a:pt x="3201959" y="2189738"/>
                </a:lnTo>
                <a:lnTo>
                  <a:pt x="3201959" y="2222055"/>
                </a:lnTo>
                <a:lnTo>
                  <a:pt x="1784816" y="2222055"/>
                </a:lnTo>
                <a:lnTo>
                  <a:pt x="2041128" y="2271133"/>
                </a:lnTo>
                <a:lnTo>
                  <a:pt x="2047613" y="2273288"/>
                </a:lnTo>
                <a:lnTo>
                  <a:pt x="2048730" y="2273558"/>
                </a:lnTo>
                <a:lnTo>
                  <a:pt x="2059854" y="2277361"/>
                </a:lnTo>
                <a:lnTo>
                  <a:pt x="2172097" y="2314678"/>
                </a:lnTo>
                <a:lnTo>
                  <a:pt x="2183618" y="2319652"/>
                </a:lnTo>
                <a:lnTo>
                  <a:pt x="2187996" y="2321147"/>
                </a:lnTo>
                <a:lnTo>
                  <a:pt x="2211667" y="2331760"/>
                </a:lnTo>
                <a:lnTo>
                  <a:pt x="2297776" y="2368932"/>
                </a:lnTo>
                <a:lnTo>
                  <a:pt x="2313848" y="2377571"/>
                </a:lnTo>
                <a:lnTo>
                  <a:pt x="2321162" y="2380850"/>
                </a:lnTo>
                <a:lnTo>
                  <a:pt x="2346847" y="2395308"/>
                </a:lnTo>
                <a:lnTo>
                  <a:pt x="2417622" y="2433352"/>
                </a:lnTo>
                <a:lnTo>
                  <a:pt x="2437680" y="2446440"/>
                </a:lnTo>
                <a:lnTo>
                  <a:pt x="2447563" y="2452002"/>
                </a:lnTo>
                <a:lnTo>
                  <a:pt x="2472020" y="2468846"/>
                </a:lnTo>
                <a:lnTo>
                  <a:pt x="2531088" y="2507389"/>
                </a:lnTo>
                <a:lnTo>
                  <a:pt x="2554493" y="2525646"/>
                </a:lnTo>
                <a:lnTo>
                  <a:pt x="2566537" y="2533941"/>
                </a:lnTo>
                <a:lnTo>
                  <a:pt x="2588470" y="2552153"/>
                </a:lnTo>
                <a:lnTo>
                  <a:pt x="2637626" y="2590497"/>
                </a:lnTo>
                <a:lnTo>
                  <a:pt x="2663663" y="2614582"/>
                </a:lnTo>
                <a:lnTo>
                  <a:pt x="2677421" y="2626004"/>
                </a:lnTo>
                <a:lnTo>
                  <a:pt x="2696292" y="2644763"/>
                </a:lnTo>
                <a:lnTo>
                  <a:pt x="2736691" y="2682132"/>
                </a:lnTo>
                <a:lnTo>
                  <a:pt x="2764577" y="2712642"/>
                </a:lnTo>
                <a:lnTo>
                  <a:pt x="2779552" y="2727528"/>
                </a:lnTo>
                <a:lnTo>
                  <a:pt x="2795191" y="2746137"/>
                </a:lnTo>
                <a:lnTo>
                  <a:pt x="2827737" y="2781747"/>
                </a:lnTo>
                <a:lnTo>
                  <a:pt x="2856623" y="2819235"/>
                </a:lnTo>
                <a:lnTo>
                  <a:pt x="2872266" y="2837848"/>
                </a:lnTo>
                <a:lnTo>
                  <a:pt x="2884714" y="2855694"/>
                </a:lnTo>
                <a:lnTo>
                  <a:pt x="2910220" y="2888796"/>
                </a:lnTo>
                <a:lnTo>
                  <a:pt x="2939193" y="2933789"/>
                </a:lnTo>
                <a:lnTo>
                  <a:pt x="2954900" y="2956304"/>
                </a:lnTo>
                <a:lnTo>
                  <a:pt x="2964337" y="2972833"/>
                </a:lnTo>
                <a:lnTo>
                  <a:pt x="2983591" y="3002732"/>
                </a:lnTo>
                <a:lnTo>
                  <a:pt x="3011686" y="3055774"/>
                </a:lnTo>
                <a:lnTo>
                  <a:pt x="3026792" y="3082230"/>
                </a:lnTo>
                <a:lnTo>
                  <a:pt x="3033499" y="3096949"/>
                </a:lnTo>
                <a:lnTo>
                  <a:pt x="3047304" y="3123010"/>
                </a:lnTo>
                <a:lnTo>
                  <a:pt x="3073509" y="3184749"/>
                </a:lnTo>
                <a:lnTo>
                  <a:pt x="3087278" y="3214966"/>
                </a:lnTo>
                <a:lnTo>
                  <a:pt x="3091621" y="3227421"/>
                </a:lnTo>
                <a:lnTo>
                  <a:pt x="3100816" y="3249084"/>
                </a:lnTo>
                <a:lnTo>
                  <a:pt x="3124062" y="3320475"/>
                </a:lnTo>
                <a:lnTo>
                  <a:pt x="3135696" y="3353845"/>
                </a:lnTo>
                <a:lnTo>
                  <a:pt x="3138116" y="3363634"/>
                </a:lnTo>
                <a:lnTo>
                  <a:pt x="3143578" y="3380408"/>
                </a:lnTo>
                <a:lnTo>
                  <a:pt x="3162759" y="3463326"/>
                </a:lnTo>
                <a:lnTo>
                  <a:pt x="3171382" y="3498207"/>
                </a:lnTo>
                <a:lnTo>
                  <a:pt x="3172391" y="3504964"/>
                </a:lnTo>
                <a:lnTo>
                  <a:pt x="3175045" y="3516437"/>
                </a:lnTo>
                <a:lnTo>
                  <a:pt x="3189010" y="3616186"/>
                </a:lnTo>
                <a:lnTo>
                  <a:pt x="3193672" y="3647388"/>
                </a:lnTo>
                <a:lnTo>
                  <a:pt x="3193838" y="3650673"/>
                </a:lnTo>
                <a:lnTo>
                  <a:pt x="3194671" y="3656622"/>
                </a:lnTo>
                <a:lnTo>
                  <a:pt x="3197946" y="3725805"/>
                </a:lnTo>
                <a:lnTo>
                  <a:pt x="3201939" y="3725805"/>
                </a:lnTo>
                <a:lnTo>
                  <a:pt x="3201939" y="3789588"/>
                </a:lnTo>
                <a:lnTo>
                  <a:pt x="3201939" y="3810120"/>
                </a:lnTo>
                <a:lnTo>
                  <a:pt x="3201939" y="3810600"/>
                </a:lnTo>
                <a:lnTo>
                  <a:pt x="3203851" y="3810600"/>
                </a:lnTo>
                <a:lnTo>
                  <a:pt x="3203851" y="3834801"/>
                </a:lnTo>
                <a:lnTo>
                  <a:pt x="3203851" y="4008586"/>
                </a:lnTo>
                <a:lnTo>
                  <a:pt x="3203851" y="4106344"/>
                </a:lnTo>
                <a:lnTo>
                  <a:pt x="3203851" y="4223465"/>
                </a:lnTo>
                <a:lnTo>
                  <a:pt x="3203851" y="4247666"/>
                </a:lnTo>
                <a:lnTo>
                  <a:pt x="3203851" y="4315042"/>
                </a:lnTo>
                <a:lnTo>
                  <a:pt x="3203851" y="4399835"/>
                </a:lnTo>
                <a:lnTo>
                  <a:pt x="3203851" y="4421451"/>
                </a:lnTo>
                <a:lnTo>
                  <a:pt x="3203851" y="4519209"/>
                </a:lnTo>
                <a:lnTo>
                  <a:pt x="3203851" y="4727907"/>
                </a:lnTo>
                <a:lnTo>
                  <a:pt x="3203851" y="4812700"/>
                </a:lnTo>
                <a:lnTo>
                  <a:pt x="3201958" y="4812700"/>
                </a:lnTo>
                <a:lnTo>
                  <a:pt x="3201958" y="5915542"/>
                </a:lnTo>
                <a:lnTo>
                  <a:pt x="3201958" y="6328407"/>
                </a:lnTo>
                <a:lnTo>
                  <a:pt x="1602893" y="6328407"/>
                </a:lnTo>
                <a:lnTo>
                  <a:pt x="1601950" y="6328407"/>
                </a:lnTo>
                <a:lnTo>
                  <a:pt x="1601936" y="6328408"/>
                </a:lnTo>
                <a:lnTo>
                  <a:pt x="1601920" y="6328407"/>
                </a:lnTo>
                <a:lnTo>
                  <a:pt x="1526767" y="6328407"/>
                </a:lnTo>
                <a:lnTo>
                  <a:pt x="1526767" y="6324804"/>
                </a:lnTo>
                <a:lnTo>
                  <a:pt x="1449303" y="6321135"/>
                </a:lnTo>
                <a:lnTo>
                  <a:pt x="1444603" y="6320463"/>
                </a:lnTo>
                <a:lnTo>
                  <a:pt x="1438342" y="6320148"/>
                </a:lnTo>
                <a:cubicBezTo>
                  <a:pt x="1343793" y="6310545"/>
                  <a:pt x="1251678" y="6292711"/>
                  <a:pt x="1162722" y="6267372"/>
                </a:cubicBezTo>
                <a:lnTo>
                  <a:pt x="1156238" y="6265217"/>
                </a:lnTo>
                <a:lnTo>
                  <a:pt x="1155121" y="6264947"/>
                </a:lnTo>
                <a:lnTo>
                  <a:pt x="1143996" y="6261146"/>
                </a:lnTo>
                <a:lnTo>
                  <a:pt x="1031754" y="6223828"/>
                </a:lnTo>
                <a:lnTo>
                  <a:pt x="1020233" y="6218854"/>
                </a:lnTo>
                <a:lnTo>
                  <a:pt x="1015855" y="6217358"/>
                </a:lnTo>
                <a:lnTo>
                  <a:pt x="992184" y="6206745"/>
                </a:lnTo>
                <a:lnTo>
                  <a:pt x="906073" y="6169573"/>
                </a:lnTo>
                <a:lnTo>
                  <a:pt x="890003" y="6160935"/>
                </a:lnTo>
                <a:lnTo>
                  <a:pt x="882689" y="6157656"/>
                </a:lnTo>
                <a:lnTo>
                  <a:pt x="857004" y="6143197"/>
                </a:lnTo>
                <a:lnTo>
                  <a:pt x="786229" y="6105154"/>
                </a:lnTo>
                <a:lnTo>
                  <a:pt x="766170" y="6092065"/>
                </a:lnTo>
                <a:lnTo>
                  <a:pt x="756287" y="6086504"/>
                </a:lnTo>
                <a:lnTo>
                  <a:pt x="731831" y="6069659"/>
                </a:lnTo>
                <a:lnTo>
                  <a:pt x="672763" y="6031117"/>
                </a:lnTo>
                <a:lnTo>
                  <a:pt x="649359" y="6012859"/>
                </a:lnTo>
                <a:lnTo>
                  <a:pt x="637313" y="6004565"/>
                </a:lnTo>
                <a:lnTo>
                  <a:pt x="615380" y="5986354"/>
                </a:lnTo>
                <a:lnTo>
                  <a:pt x="566225" y="5948007"/>
                </a:lnTo>
                <a:lnTo>
                  <a:pt x="540188" y="5923923"/>
                </a:lnTo>
                <a:lnTo>
                  <a:pt x="526430" y="5912501"/>
                </a:lnTo>
                <a:lnTo>
                  <a:pt x="507558" y="5893743"/>
                </a:lnTo>
                <a:lnTo>
                  <a:pt x="467159" y="5856373"/>
                </a:lnTo>
                <a:lnTo>
                  <a:pt x="439274" y="5825863"/>
                </a:lnTo>
                <a:lnTo>
                  <a:pt x="424299" y="5810978"/>
                </a:lnTo>
                <a:lnTo>
                  <a:pt x="408660" y="5792369"/>
                </a:lnTo>
                <a:lnTo>
                  <a:pt x="376113" y="5756758"/>
                </a:lnTo>
                <a:lnTo>
                  <a:pt x="347228" y="5719270"/>
                </a:lnTo>
                <a:lnTo>
                  <a:pt x="331585" y="5700658"/>
                </a:lnTo>
                <a:lnTo>
                  <a:pt x="319137" y="5682812"/>
                </a:lnTo>
                <a:lnTo>
                  <a:pt x="293630" y="5649710"/>
                </a:lnTo>
                <a:lnTo>
                  <a:pt x="264657" y="5604716"/>
                </a:lnTo>
                <a:lnTo>
                  <a:pt x="248950" y="5582202"/>
                </a:lnTo>
                <a:lnTo>
                  <a:pt x="239513" y="5565672"/>
                </a:lnTo>
                <a:lnTo>
                  <a:pt x="220260" y="5535773"/>
                </a:lnTo>
                <a:lnTo>
                  <a:pt x="192164" y="5482732"/>
                </a:lnTo>
                <a:lnTo>
                  <a:pt x="177059" y="5456275"/>
                </a:lnTo>
                <a:lnTo>
                  <a:pt x="170352" y="5441557"/>
                </a:lnTo>
                <a:lnTo>
                  <a:pt x="156546" y="5415495"/>
                </a:lnTo>
                <a:lnTo>
                  <a:pt x="130342" y="5353756"/>
                </a:lnTo>
                <a:lnTo>
                  <a:pt x="116572" y="5323539"/>
                </a:lnTo>
                <a:lnTo>
                  <a:pt x="112230" y="5311085"/>
                </a:lnTo>
                <a:lnTo>
                  <a:pt x="103034" y="5289421"/>
                </a:lnTo>
                <a:lnTo>
                  <a:pt x="79788" y="5218031"/>
                </a:lnTo>
                <a:lnTo>
                  <a:pt x="68155" y="5184660"/>
                </a:lnTo>
                <a:lnTo>
                  <a:pt x="65735" y="5174872"/>
                </a:lnTo>
                <a:lnTo>
                  <a:pt x="60272" y="5158096"/>
                </a:lnTo>
                <a:lnTo>
                  <a:pt x="41092" y="5075179"/>
                </a:lnTo>
                <a:lnTo>
                  <a:pt x="32469" y="5040298"/>
                </a:lnTo>
                <a:lnTo>
                  <a:pt x="31460" y="5033541"/>
                </a:lnTo>
                <a:lnTo>
                  <a:pt x="28806" y="5022069"/>
                </a:lnTo>
                <a:lnTo>
                  <a:pt x="14841" y="4922319"/>
                </a:lnTo>
                <a:lnTo>
                  <a:pt x="10178" y="4891118"/>
                </a:lnTo>
                <a:lnTo>
                  <a:pt x="10012" y="4887832"/>
                </a:lnTo>
                <a:lnTo>
                  <a:pt x="9179" y="4881884"/>
                </a:lnTo>
                <a:lnTo>
                  <a:pt x="5904" y="4812700"/>
                </a:lnTo>
                <a:lnTo>
                  <a:pt x="1912" y="4812700"/>
                </a:lnTo>
                <a:lnTo>
                  <a:pt x="1912" y="4748916"/>
                </a:lnTo>
                <a:lnTo>
                  <a:pt x="1912" y="4728385"/>
                </a:lnTo>
                <a:lnTo>
                  <a:pt x="1912" y="4727907"/>
                </a:lnTo>
                <a:lnTo>
                  <a:pt x="1912" y="4727906"/>
                </a:lnTo>
                <a:lnTo>
                  <a:pt x="0" y="4727906"/>
                </a:lnTo>
                <a:lnTo>
                  <a:pt x="0" y="4519209"/>
                </a:lnTo>
                <a:lnTo>
                  <a:pt x="0" y="4421451"/>
                </a:lnTo>
                <a:lnTo>
                  <a:pt x="0" y="4315041"/>
                </a:lnTo>
                <a:lnTo>
                  <a:pt x="0" y="4247666"/>
                </a:lnTo>
                <a:lnTo>
                  <a:pt x="0" y="4223465"/>
                </a:lnTo>
                <a:lnTo>
                  <a:pt x="0" y="4138670"/>
                </a:lnTo>
                <a:lnTo>
                  <a:pt x="0" y="4106344"/>
                </a:lnTo>
                <a:lnTo>
                  <a:pt x="0" y="4008586"/>
                </a:lnTo>
                <a:lnTo>
                  <a:pt x="0" y="3834801"/>
                </a:lnTo>
                <a:lnTo>
                  <a:pt x="0" y="3810600"/>
                </a:lnTo>
                <a:lnTo>
                  <a:pt x="0" y="3725805"/>
                </a:lnTo>
                <a:lnTo>
                  <a:pt x="1892" y="3725805"/>
                </a:lnTo>
                <a:lnTo>
                  <a:pt x="1892" y="2622963"/>
                </a:lnTo>
                <a:lnTo>
                  <a:pt x="1892" y="2210098"/>
                </a:lnTo>
                <a:lnTo>
                  <a:pt x="6868" y="2210098"/>
                </a:lnTo>
                <a:lnTo>
                  <a:pt x="5904" y="2189738"/>
                </a:lnTo>
                <a:lnTo>
                  <a:pt x="1911" y="2189738"/>
                </a:lnTo>
                <a:lnTo>
                  <a:pt x="1911" y="2125955"/>
                </a:lnTo>
                <a:lnTo>
                  <a:pt x="1911" y="2105423"/>
                </a:lnTo>
                <a:lnTo>
                  <a:pt x="1911" y="2104943"/>
                </a:lnTo>
                <a:lnTo>
                  <a:pt x="0" y="2104943"/>
                </a:lnTo>
                <a:lnTo>
                  <a:pt x="0" y="2080742"/>
                </a:lnTo>
                <a:lnTo>
                  <a:pt x="0" y="1906957"/>
                </a:lnTo>
                <a:lnTo>
                  <a:pt x="0" y="1809199"/>
                </a:lnTo>
                <a:lnTo>
                  <a:pt x="0" y="1600501"/>
                </a:lnTo>
                <a:lnTo>
                  <a:pt x="0" y="1515708"/>
                </a:lnTo>
                <a:lnTo>
                  <a:pt x="1893" y="1515708"/>
                </a:lnTo>
                <a:lnTo>
                  <a:pt x="1893" y="1"/>
                </a:lnTo>
                <a:lnTo>
                  <a:pt x="1600957" y="1"/>
                </a:lnTo>
                <a:lnTo>
                  <a:pt x="1601900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3489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90BF43A-ADF4-474C-A6C7-D13F30B47ED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003300"/>
            <a:ext cx="3952764" cy="5537200"/>
          </a:xfrm>
          <a:custGeom>
            <a:avLst/>
            <a:gdLst>
              <a:gd name="connsiteX0" fmla="*/ 1184164 w 3952764"/>
              <a:gd name="connsiteY0" fmla="*/ 0 h 5537200"/>
              <a:gd name="connsiteX1" fmla="*/ 3952764 w 3952764"/>
              <a:gd name="connsiteY1" fmla="*/ 2768600 h 5537200"/>
              <a:gd name="connsiteX2" fmla="*/ 1184164 w 3952764"/>
              <a:gd name="connsiteY2" fmla="*/ 5537200 h 5537200"/>
              <a:gd name="connsiteX3" fmla="*/ 106500 w 3952764"/>
              <a:gd name="connsiteY3" fmla="*/ 5319630 h 5537200"/>
              <a:gd name="connsiteX4" fmla="*/ 0 w 3952764"/>
              <a:gd name="connsiteY4" fmla="*/ 5268326 h 5537200"/>
              <a:gd name="connsiteX5" fmla="*/ 0 w 3952764"/>
              <a:gd name="connsiteY5" fmla="*/ 268874 h 5537200"/>
              <a:gd name="connsiteX6" fmla="*/ 106500 w 3952764"/>
              <a:gd name="connsiteY6" fmla="*/ 217570 h 5537200"/>
              <a:gd name="connsiteX7" fmla="*/ 1184164 w 3952764"/>
              <a:gd name="connsiteY7" fmla="*/ 0 h 553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52764" h="5537200">
                <a:moveTo>
                  <a:pt x="1184164" y="0"/>
                </a:moveTo>
                <a:cubicBezTo>
                  <a:pt x="2713220" y="0"/>
                  <a:pt x="3952764" y="1239544"/>
                  <a:pt x="3952764" y="2768600"/>
                </a:cubicBezTo>
                <a:cubicBezTo>
                  <a:pt x="3952764" y="4297656"/>
                  <a:pt x="2713220" y="5537200"/>
                  <a:pt x="1184164" y="5537200"/>
                </a:cubicBezTo>
                <a:cubicBezTo>
                  <a:pt x="801900" y="5537200"/>
                  <a:pt x="437731" y="5459729"/>
                  <a:pt x="106500" y="5319630"/>
                </a:cubicBezTo>
                <a:lnTo>
                  <a:pt x="0" y="5268326"/>
                </a:lnTo>
                <a:lnTo>
                  <a:pt x="0" y="268874"/>
                </a:lnTo>
                <a:lnTo>
                  <a:pt x="106500" y="217570"/>
                </a:lnTo>
                <a:cubicBezTo>
                  <a:pt x="437731" y="77472"/>
                  <a:pt x="801900" y="0"/>
                  <a:pt x="1184164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75724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F148A77-634B-4BCB-AB09-F77C7AE22C7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764009" y="3697260"/>
            <a:ext cx="6064842" cy="2824212"/>
          </a:xfrm>
          <a:custGeom>
            <a:avLst/>
            <a:gdLst>
              <a:gd name="connsiteX0" fmla="*/ 0 w 6064842"/>
              <a:gd name="connsiteY0" fmla="*/ 0 h 2824212"/>
              <a:gd name="connsiteX1" fmla="*/ 670946 w 6064842"/>
              <a:gd name="connsiteY1" fmla="*/ 0 h 2824212"/>
              <a:gd name="connsiteX2" fmla="*/ 708481 w 6064842"/>
              <a:gd name="connsiteY2" fmla="*/ 0 h 2824212"/>
              <a:gd name="connsiteX3" fmla="*/ 1747470 w 6064842"/>
              <a:gd name="connsiteY3" fmla="*/ 0 h 2824212"/>
              <a:gd name="connsiteX4" fmla="*/ 1885136 w 6064842"/>
              <a:gd name="connsiteY4" fmla="*/ 0 h 2824212"/>
              <a:gd name="connsiteX5" fmla="*/ 2189625 w 6064842"/>
              <a:gd name="connsiteY5" fmla="*/ 0 h 2824212"/>
              <a:gd name="connsiteX6" fmla="*/ 2418416 w 6064842"/>
              <a:gd name="connsiteY6" fmla="*/ 0 h 2824212"/>
              <a:gd name="connsiteX7" fmla="*/ 2455951 w 6064842"/>
              <a:gd name="connsiteY7" fmla="*/ 0 h 2824212"/>
              <a:gd name="connsiteX8" fmla="*/ 3304400 w 6064842"/>
              <a:gd name="connsiteY8" fmla="*/ 0 h 2824212"/>
              <a:gd name="connsiteX9" fmla="*/ 3608890 w 6064842"/>
              <a:gd name="connsiteY9" fmla="*/ 0 h 2824212"/>
              <a:gd name="connsiteX10" fmla="*/ 3632605 w 6064842"/>
              <a:gd name="connsiteY10" fmla="*/ 0 h 2824212"/>
              <a:gd name="connsiteX11" fmla="*/ 3937095 w 6064842"/>
              <a:gd name="connsiteY11" fmla="*/ 0 h 2824212"/>
              <a:gd name="connsiteX12" fmla="*/ 5051870 w 6064842"/>
              <a:gd name="connsiteY12" fmla="*/ 0 h 2824212"/>
              <a:gd name="connsiteX13" fmla="*/ 5356360 w 6064842"/>
              <a:gd name="connsiteY13" fmla="*/ 0 h 2824212"/>
              <a:gd name="connsiteX14" fmla="*/ 5356360 w 6064842"/>
              <a:gd name="connsiteY14" fmla="*/ 930 h 2824212"/>
              <a:gd name="connsiteX15" fmla="*/ 5356361 w 6064842"/>
              <a:gd name="connsiteY15" fmla="*/ 930 h 2824212"/>
              <a:gd name="connsiteX16" fmla="*/ 5356573 w 6064842"/>
              <a:gd name="connsiteY16" fmla="*/ 930 h 2824212"/>
              <a:gd name="connsiteX17" fmla="*/ 5365661 w 6064842"/>
              <a:gd name="connsiteY17" fmla="*/ 930 h 2824212"/>
              <a:gd name="connsiteX18" fmla="*/ 5393896 w 6064842"/>
              <a:gd name="connsiteY18" fmla="*/ 930 h 2824212"/>
              <a:gd name="connsiteX19" fmla="*/ 5393896 w 6064842"/>
              <a:gd name="connsiteY19" fmla="*/ 2870 h 2824212"/>
              <a:gd name="connsiteX20" fmla="*/ 5424521 w 6064842"/>
              <a:gd name="connsiteY20" fmla="*/ 4461 h 2824212"/>
              <a:gd name="connsiteX21" fmla="*/ 5427155 w 6064842"/>
              <a:gd name="connsiteY21" fmla="*/ 4866 h 2824212"/>
              <a:gd name="connsiteX22" fmla="*/ 5428608 w 6064842"/>
              <a:gd name="connsiteY22" fmla="*/ 4946 h 2824212"/>
              <a:gd name="connsiteX23" fmla="*/ 5442420 w 6064842"/>
              <a:gd name="connsiteY23" fmla="*/ 7212 h 2824212"/>
              <a:gd name="connsiteX24" fmla="*/ 5486575 w 6064842"/>
              <a:gd name="connsiteY24" fmla="*/ 13997 h 2824212"/>
              <a:gd name="connsiteX25" fmla="*/ 5491653 w 6064842"/>
              <a:gd name="connsiteY25" fmla="*/ 15287 h 2824212"/>
              <a:gd name="connsiteX26" fmla="*/ 5494644 w 6064842"/>
              <a:gd name="connsiteY26" fmla="*/ 15777 h 2824212"/>
              <a:gd name="connsiteX27" fmla="*/ 5510085 w 6064842"/>
              <a:gd name="connsiteY27" fmla="*/ 19968 h 2824212"/>
              <a:gd name="connsiteX28" fmla="*/ 5546790 w 6064842"/>
              <a:gd name="connsiteY28" fmla="*/ 29287 h 2824212"/>
              <a:gd name="connsiteX29" fmla="*/ 5554216 w 6064842"/>
              <a:gd name="connsiteY29" fmla="*/ 31942 h 2824212"/>
              <a:gd name="connsiteX30" fmla="*/ 5558548 w 6064842"/>
              <a:gd name="connsiteY30" fmla="*/ 33117 h 2824212"/>
              <a:gd name="connsiteX31" fmla="*/ 5573320 w 6064842"/>
              <a:gd name="connsiteY31" fmla="*/ 38769 h 2824212"/>
              <a:gd name="connsiteX32" fmla="*/ 5604922 w 6064842"/>
              <a:gd name="connsiteY32" fmla="*/ 50066 h 2824212"/>
              <a:gd name="connsiteX33" fmla="*/ 5614512 w 6064842"/>
              <a:gd name="connsiteY33" fmla="*/ 54533 h 2824212"/>
              <a:gd name="connsiteX34" fmla="*/ 5620025 w 6064842"/>
              <a:gd name="connsiteY34" fmla="*/ 56644 h 2824212"/>
              <a:gd name="connsiteX35" fmla="*/ 5633401 w 6064842"/>
              <a:gd name="connsiteY35" fmla="*/ 63334 h 2824212"/>
              <a:gd name="connsiteX36" fmla="*/ 5660731 w 6064842"/>
              <a:gd name="connsiteY36" fmla="*/ 76066 h 2824212"/>
              <a:gd name="connsiteX37" fmla="*/ 5672267 w 6064842"/>
              <a:gd name="connsiteY37" fmla="*/ 82775 h 2824212"/>
              <a:gd name="connsiteX38" fmla="*/ 5678782 w 6064842"/>
              <a:gd name="connsiteY38" fmla="*/ 86034 h 2824212"/>
              <a:gd name="connsiteX39" fmla="*/ 5690493 w 6064842"/>
              <a:gd name="connsiteY39" fmla="*/ 93373 h 2824212"/>
              <a:gd name="connsiteX40" fmla="*/ 5713973 w 6064842"/>
              <a:gd name="connsiteY40" fmla="*/ 107025 h 2824212"/>
              <a:gd name="connsiteX41" fmla="*/ 5727208 w 6064842"/>
              <a:gd name="connsiteY41" fmla="*/ 116381 h 2824212"/>
              <a:gd name="connsiteX42" fmla="*/ 5734525 w 6064842"/>
              <a:gd name="connsiteY42" fmla="*/ 120966 h 2824212"/>
              <a:gd name="connsiteX43" fmla="*/ 5744491 w 6064842"/>
              <a:gd name="connsiteY43" fmla="*/ 128598 h 2824212"/>
              <a:gd name="connsiteX44" fmla="*/ 5764408 w 6064842"/>
              <a:gd name="connsiteY44" fmla="*/ 142676 h 2824212"/>
              <a:gd name="connsiteX45" fmla="*/ 5779061 w 6064842"/>
              <a:gd name="connsiteY45" fmla="*/ 155070 h 2824212"/>
              <a:gd name="connsiteX46" fmla="*/ 5786961 w 6064842"/>
              <a:gd name="connsiteY46" fmla="*/ 161118 h 2824212"/>
              <a:gd name="connsiteX47" fmla="*/ 5795200 w 6064842"/>
              <a:gd name="connsiteY47" fmla="*/ 168719 h 2824212"/>
              <a:gd name="connsiteX48" fmla="*/ 5811795 w 6064842"/>
              <a:gd name="connsiteY48" fmla="*/ 182754 h 2824212"/>
              <a:gd name="connsiteX49" fmla="*/ 5827557 w 6064842"/>
              <a:gd name="connsiteY49" fmla="*/ 198569 h 2824212"/>
              <a:gd name="connsiteX50" fmla="*/ 5835795 w 6064842"/>
              <a:gd name="connsiteY50" fmla="*/ 206168 h 2824212"/>
              <a:gd name="connsiteX51" fmla="*/ 5842384 w 6064842"/>
              <a:gd name="connsiteY51" fmla="*/ 213444 h 2824212"/>
              <a:gd name="connsiteX52" fmla="*/ 5855890 w 6064842"/>
              <a:gd name="connsiteY52" fmla="*/ 226994 h 2824212"/>
              <a:gd name="connsiteX53" fmla="*/ 5872433 w 6064842"/>
              <a:gd name="connsiteY53" fmla="*/ 246624 h 2824212"/>
              <a:gd name="connsiteX54" fmla="*/ 5880736 w 6064842"/>
              <a:gd name="connsiteY54" fmla="*/ 255793 h 2824212"/>
              <a:gd name="connsiteX55" fmla="*/ 5885792 w 6064842"/>
              <a:gd name="connsiteY55" fmla="*/ 262478 h 2824212"/>
              <a:gd name="connsiteX56" fmla="*/ 5896454 w 6064842"/>
              <a:gd name="connsiteY56" fmla="*/ 275129 h 2824212"/>
              <a:gd name="connsiteX57" fmla="*/ 5913427 w 6064842"/>
              <a:gd name="connsiteY57" fmla="*/ 299015 h 2824212"/>
              <a:gd name="connsiteX58" fmla="*/ 5921489 w 6064842"/>
              <a:gd name="connsiteY58" fmla="*/ 309671 h 2824212"/>
              <a:gd name="connsiteX59" fmla="*/ 5925161 w 6064842"/>
              <a:gd name="connsiteY59" fmla="*/ 315524 h 2824212"/>
              <a:gd name="connsiteX60" fmla="*/ 5933243 w 6064842"/>
              <a:gd name="connsiteY60" fmla="*/ 326896 h 2824212"/>
              <a:gd name="connsiteX61" fmla="*/ 5950304 w 6064842"/>
              <a:gd name="connsiteY61" fmla="*/ 355597 h 2824212"/>
              <a:gd name="connsiteX62" fmla="*/ 5957761 w 6064842"/>
              <a:gd name="connsiteY62" fmla="*/ 367482 h 2824212"/>
              <a:gd name="connsiteX63" fmla="*/ 5960223 w 6064842"/>
              <a:gd name="connsiteY63" fmla="*/ 372282 h 2824212"/>
              <a:gd name="connsiteX64" fmla="*/ 5966016 w 6064842"/>
              <a:gd name="connsiteY64" fmla="*/ 382028 h 2824212"/>
              <a:gd name="connsiteX65" fmla="*/ 5982857 w 6064842"/>
              <a:gd name="connsiteY65" fmla="*/ 416419 h 2824212"/>
              <a:gd name="connsiteX66" fmla="*/ 5989257 w 6064842"/>
              <a:gd name="connsiteY66" fmla="*/ 428899 h 2824212"/>
              <a:gd name="connsiteX67" fmla="*/ 5990707 w 6064842"/>
              <a:gd name="connsiteY67" fmla="*/ 432453 h 2824212"/>
              <a:gd name="connsiteX68" fmla="*/ 5994531 w 6064842"/>
              <a:gd name="connsiteY68" fmla="*/ 440261 h 2824212"/>
              <a:gd name="connsiteX69" fmla="*/ 6010987 w 6064842"/>
              <a:gd name="connsiteY69" fmla="*/ 482102 h 2824212"/>
              <a:gd name="connsiteX70" fmla="*/ 6015685 w 6064842"/>
              <a:gd name="connsiteY70" fmla="*/ 493604 h 2824212"/>
              <a:gd name="connsiteX71" fmla="*/ 6016347 w 6064842"/>
              <a:gd name="connsiteY71" fmla="*/ 495732 h 2824212"/>
              <a:gd name="connsiteX72" fmla="*/ 6018549 w 6064842"/>
              <a:gd name="connsiteY72" fmla="*/ 501331 h 2824212"/>
              <a:gd name="connsiteX73" fmla="*/ 6035067 w 6064842"/>
              <a:gd name="connsiteY73" fmla="*/ 555868 h 2824212"/>
              <a:gd name="connsiteX74" fmla="*/ 6036751 w 6064842"/>
              <a:gd name="connsiteY74" fmla="*/ 561273 h 2824212"/>
              <a:gd name="connsiteX75" fmla="*/ 6036869 w 6064842"/>
              <a:gd name="connsiteY75" fmla="*/ 561817 h 2824212"/>
              <a:gd name="connsiteX76" fmla="*/ 6037825 w 6064842"/>
              <a:gd name="connsiteY76" fmla="*/ 564967 h 2824212"/>
              <a:gd name="connsiteX77" fmla="*/ 6061185 w 6064842"/>
              <a:gd name="connsiteY77" fmla="*/ 698891 h 2824212"/>
              <a:gd name="connsiteX78" fmla="*/ 6061325 w 6064842"/>
              <a:gd name="connsiteY78" fmla="*/ 701933 h 2824212"/>
              <a:gd name="connsiteX79" fmla="*/ 6061623 w 6064842"/>
              <a:gd name="connsiteY79" fmla="*/ 704217 h 2824212"/>
              <a:gd name="connsiteX80" fmla="*/ 6063246 w 6064842"/>
              <a:gd name="connsiteY80" fmla="*/ 741856 h 2824212"/>
              <a:gd name="connsiteX81" fmla="*/ 6064842 w 6064842"/>
              <a:gd name="connsiteY81" fmla="*/ 741856 h 2824212"/>
              <a:gd name="connsiteX82" fmla="*/ 6064842 w 6064842"/>
              <a:gd name="connsiteY82" fmla="*/ 778373 h 2824212"/>
              <a:gd name="connsiteX83" fmla="*/ 6064842 w 6064842"/>
              <a:gd name="connsiteY83" fmla="*/ 778380 h 2824212"/>
              <a:gd name="connsiteX84" fmla="*/ 6064842 w 6064842"/>
              <a:gd name="connsiteY84" fmla="*/ 778388 h 2824212"/>
              <a:gd name="connsiteX85" fmla="*/ 6064842 w 6064842"/>
              <a:gd name="connsiteY85" fmla="*/ 778846 h 2824212"/>
              <a:gd name="connsiteX86" fmla="*/ 6064842 w 6064842"/>
              <a:gd name="connsiteY86" fmla="*/ 786226 h 2824212"/>
              <a:gd name="connsiteX87" fmla="*/ 6064842 w 6064842"/>
              <a:gd name="connsiteY87" fmla="*/ 1259616 h 2824212"/>
              <a:gd name="connsiteX88" fmla="*/ 6064842 w 6064842"/>
              <a:gd name="connsiteY88" fmla="*/ 1564605 h 2824212"/>
              <a:gd name="connsiteX89" fmla="*/ 6064842 w 6064842"/>
              <a:gd name="connsiteY89" fmla="*/ 2045841 h 2824212"/>
              <a:gd name="connsiteX90" fmla="*/ 6064842 w 6064842"/>
              <a:gd name="connsiteY90" fmla="*/ 2824212 h 2824212"/>
              <a:gd name="connsiteX91" fmla="*/ 5393896 w 6064842"/>
              <a:gd name="connsiteY91" fmla="*/ 2824212 h 2824212"/>
              <a:gd name="connsiteX92" fmla="*/ 5356361 w 6064842"/>
              <a:gd name="connsiteY92" fmla="*/ 2824212 h 2824212"/>
              <a:gd name="connsiteX93" fmla="*/ 4645577 w 6064842"/>
              <a:gd name="connsiteY93" fmla="*/ 2824212 h 2824212"/>
              <a:gd name="connsiteX94" fmla="*/ 4317372 w 6064842"/>
              <a:gd name="connsiteY94" fmla="*/ 2824212 h 2824212"/>
              <a:gd name="connsiteX95" fmla="*/ 4179707 w 6064842"/>
              <a:gd name="connsiteY95" fmla="*/ 2824212 h 2824212"/>
              <a:gd name="connsiteX96" fmla="*/ 3974631 w 6064842"/>
              <a:gd name="connsiteY96" fmla="*/ 2824212 h 2824212"/>
              <a:gd name="connsiteX97" fmla="*/ 3937096 w 6064842"/>
              <a:gd name="connsiteY97" fmla="*/ 2824212 h 2824212"/>
              <a:gd name="connsiteX98" fmla="*/ 3875217 w 6064842"/>
              <a:gd name="connsiteY98" fmla="*/ 2824212 h 2824212"/>
              <a:gd name="connsiteX99" fmla="*/ 3646426 w 6064842"/>
              <a:gd name="connsiteY99" fmla="*/ 2824212 h 2824212"/>
              <a:gd name="connsiteX100" fmla="*/ 3608891 w 6064842"/>
              <a:gd name="connsiteY100" fmla="*/ 2824212 h 2824212"/>
              <a:gd name="connsiteX101" fmla="*/ 2898107 w 6064842"/>
              <a:gd name="connsiteY101" fmla="*/ 2824212 h 2824212"/>
              <a:gd name="connsiteX102" fmla="*/ 2760442 w 6064842"/>
              <a:gd name="connsiteY102" fmla="*/ 2824212 h 2824212"/>
              <a:gd name="connsiteX103" fmla="*/ 2455952 w 6064842"/>
              <a:gd name="connsiteY103" fmla="*/ 2824212 h 2824212"/>
              <a:gd name="connsiteX104" fmla="*/ 2432237 w 6064842"/>
              <a:gd name="connsiteY104" fmla="*/ 2824212 h 2824212"/>
              <a:gd name="connsiteX105" fmla="*/ 2227161 w 6064842"/>
              <a:gd name="connsiteY105" fmla="*/ 2824212 h 2824212"/>
              <a:gd name="connsiteX106" fmla="*/ 2189626 w 6064842"/>
              <a:gd name="connsiteY106" fmla="*/ 2824212 h 2824212"/>
              <a:gd name="connsiteX107" fmla="*/ 2127747 w 6064842"/>
              <a:gd name="connsiteY107" fmla="*/ 2824212 h 2824212"/>
              <a:gd name="connsiteX108" fmla="*/ 1012971 w 6064842"/>
              <a:gd name="connsiteY108" fmla="*/ 2824212 h 2824212"/>
              <a:gd name="connsiteX109" fmla="*/ 708482 w 6064842"/>
              <a:gd name="connsiteY109" fmla="*/ 2824212 h 2824212"/>
              <a:gd name="connsiteX110" fmla="*/ 708482 w 6064842"/>
              <a:gd name="connsiteY110" fmla="*/ 2823282 h 2824212"/>
              <a:gd name="connsiteX111" fmla="*/ 708481 w 6064842"/>
              <a:gd name="connsiteY111" fmla="*/ 2823282 h 2824212"/>
              <a:gd name="connsiteX112" fmla="*/ 708269 w 6064842"/>
              <a:gd name="connsiteY112" fmla="*/ 2823282 h 2824212"/>
              <a:gd name="connsiteX113" fmla="*/ 699181 w 6064842"/>
              <a:gd name="connsiteY113" fmla="*/ 2823282 h 2824212"/>
              <a:gd name="connsiteX114" fmla="*/ 670946 w 6064842"/>
              <a:gd name="connsiteY114" fmla="*/ 2823282 h 2824212"/>
              <a:gd name="connsiteX115" fmla="*/ 670946 w 6064842"/>
              <a:gd name="connsiteY115" fmla="*/ 2821342 h 2824212"/>
              <a:gd name="connsiteX116" fmla="*/ 640321 w 6064842"/>
              <a:gd name="connsiteY116" fmla="*/ 2819751 h 2824212"/>
              <a:gd name="connsiteX117" fmla="*/ 637688 w 6064842"/>
              <a:gd name="connsiteY117" fmla="*/ 2819346 h 2824212"/>
              <a:gd name="connsiteX118" fmla="*/ 636234 w 6064842"/>
              <a:gd name="connsiteY118" fmla="*/ 2819266 h 2824212"/>
              <a:gd name="connsiteX119" fmla="*/ 622422 w 6064842"/>
              <a:gd name="connsiteY119" fmla="*/ 2817000 h 2824212"/>
              <a:gd name="connsiteX120" fmla="*/ 578267 w 6064842"/>
              <a:gd name="connsiteY120" fmla="*/ 2810215 h 2824212"/>
              <a:gd name="connsiteX121" fmla="*/ 573188 w 6064842"/>
              <a:gd name="connsiteY121" fmla="*/ 2808925 h 2824212"/>
              <a:gd name="connsiteX122" fmla="*/ 570198 w 6064842"/>
              <a:gd name="connsiteY122" fmla="*/ 2808435 h 2824212"/>
              <a:gd name="connsiteX123" fmla="*/ 554757 w 6064842"/>
              <a:gd name="connsiteY123" fmla="*/ 2804244 h 2824212"/>
              <a:gd name="connsiteX124" fmla="*/ 518052 w 6064842"/>
              <a:gd name="connsiteY124" fmla="*/ 2794925 h 2824212"/>
              <a:gd name="connsiteX125" fmla="*/ 510626 w 6064842"/>
              <a:gd name="connsiteY125" fmla="*/ 2792270 h 2824212"/>
              <a:gd name="connsiteX126" fmla="*/ 506294 w 6064842"/>
              <a:gd name="connsiteY126" fmla="*/ 2791095 h 2824212"/>
              <a:gd name="connsiteX127" fmla="*/ 491522 w 6064842"/>
              <a:gd name="connsiteY127" fmla="*/ 2785443 h 2824212"/>
              <a:gd name="connsiteX128" fmla="*/ 459920 w 6064842"/>
              <a:gd name="connsiteY128" fmla="*/ 2774146 h 2824212"/>
              <a:gd name="connsiteX129" fmla="*/ 450331 w 6064842"/>
              <a:gd name="connsiteY129" fmla="*/ 2769679 h 2824212"/>
              <a:gd name="connsiteX130" fmla="*/ 444817 w 6064842"/>
              <a:gd name="connsiteY130" fmla="*/ 2767568 h 2824212"/>
              <a:gd name="connsiteX131" fmla="*/ 431441 w 6064842"/>
              <a:gd name="connsiteY131" fmla="*/ 2760878 h 2824212"/>
              <a:gd name="connsiteX132" fmla="*/ 404112 w 6064842"/>
              <a:gd name="connsiteY132" fmla="*/ 2748146 h 2824212"/>
              <a:gd name="connsiteX133" fmla="*/ 392575 w 6064842"/>
              <a:gd name="connsiteY133" fmla="*/ 2741437 h 2824212"/>
              <a:gd name="connsiteX134" fmla="*/ 386060 w 6064842"/>
              <a:gd name="connsiteY134" fmla="*/ 2738178 h 2824212"/>
              <a:gd name="connsiteX135" fmla="*/ 374349 w 6064842"/>
              <a:gd name="connsiteY135" fmla="*/ 2730839 h 2824212"/>
              <a:gd name="connsiteX136" fmla="*/ 350870 w 6064842"/>
              <a:gd name="connsiteY136" fmla="*/ 2717187 h 2824212"/>
              <a:gd name="connsiteX137" fmla="*/ 337634 w 6064842"/>
              <a:gd name="connsiteY137" fmla="*/ 2707831 h 2824212"/>
              <a:gd name="connsiteX138" fmla="*/ 330317 w 6064842"/>
              <a:gd name="connsiteY138" fmla="*/ 2703246 h 2824212"/>
              <a:gd name="connsiteX139" fmla="*/ 320351 w 6064842"/>
              <a:gd name="connsiteY139" fmla="*/ 2695614 h 2824212"/>
              <a:gd name="connsiteX140" fmla="*/ 300434 w 6064842"/>
              <a:gd name="connsiteY140" fmla="*/ 2681536 h 2824212"/>
              <a:gd name="connsiteX141" fmla="*/ 285780 w 6064842"/>
              <a:gd name="connsiteY141" fmla="*/ 2669142 h 2824212"/>
              <a:gd name="connsiteX142" fmla="*/ 277881 w 6064842"/>
              <a:gd name="connsiteY142" fmla="*/ 2663094 h 2824212"/>
              <a:gd name="connsiteX143" fmla="*/ 269642 w 6064842"/>
              <a:gd name="connsiteY143" fmla="*/ 2655493 h 2824212"/>
              <a:gd name="connsiteX144" fmla="*/ 253047 w 6064842"/>
              <a:gd name="connsiteY144" fmla="*/ 2641458 h 2824212"/>
              <a:gd name="connsiteX145" fmla="*/ 237284 w 6064842"/>
              <a:gd name="connsiteY145" fmla="*/ 2625643 h 2824212"/>
              <a:gd name="connsiteX146" fmla="*/ 229047 w 6064842"/>
              <a:gd name="connsiteY146" fmla="*/ 2618044 h 2824212"/>
              <a:gd name="connsiteX147" fmla="*/ 222457 w 6064842"/>
              <a:gd name="connsiteY147" fmla="*/ 2610768 h 2824212"/>
              <a:gd name="connsiteX148" fmla="*/ 208952 w 6064842"/>
              <a:gd name="connsiteY148" fmla="*/ 2597218 h 2824212"/>
              <a:gd name="connsiteX149" fmla="*/ 192410 w 6064842"/>
              <a:gd name="connsiteY149" fmla="*/ 2577589 h 2824212"/>
              <a:gd name="connsiteX150" fmla="*/ 184106 w 6064842"/>
              <a:gd name="connsiteY150" fmla="*/ 2568419 h 2824212"/>
              <a:gd name="connsiteX151" fmla="*/ 179049 w 6064842"/>
              <a:gd name="connsiteY151" fmla="*/ 2561734 h 2824212"/>
              <a:gd name="connsiteX152" fmla="*/ 168389 w 6064842"/>
              <a:gd name="connsiteY152" fmla="*/ 2549083 h 2824212"/>
              <a:gd name="connsiteX153" fmla="*/ 151415 w 6064842"/>
              <a:gd name="connsiteY153" fmla="*/ 2525197 h 2824212"/>
              <a:gd name="connsiteX154" fmla="*/ 143353 w 6064842"/>
              <a:gd name="connsiteY154" fmla="*/ 2514541 h 2824212"/>
              <a:gd name="connsiteX155" fmla="*/ 139681 w 6064842"/>
              <a:gd name="connsiteY155" fmla="*/ 2508687 h 2824212"/>
              <a:gd name="connsiteX156" fmla="*/ 131599 w 6064842"/>
              <a:gd name="connsiteY156" fmla="*/ 2497316 h 2824212"/>
              <a:gd name="connsiteX157" fmla="*/ 114539 w 6064842"/>
              <a:gd name="connsiteY157" fmla="*/ 2468615 h 2824212"/>
              <a:gd name="connsiteX158" fmla="*/ 107082 w 6064842"/>
              <a:gd name="connsiteY158" fmla="*/ 2456730 h 2824212"/>
              <a:gd name="connsiteX159" fmla="*/ 104620 w 6064842"/>
              <a:gd name="connsiteY159" fmla="*/ 2451929 h 2824212"/>
              <a:gd name="connsiteX160" fmla="*/ 98826 w 6064842"/>
              <a:gd name="connsiteY160" fmla="*/ 2442184 h 2824212"/>
              <a:gd name="connsiteX161" fmla="*/ 81986 w 6064842"/>
              <a:gd name="connsiteY161" fmla="*/ 2407793 h 2824212"/>
              <a:gd name="connsiteX162" fmla="*/ 75586 w 6064842"/>
              <a:gd name="connsiteY162" fmla="*/ 2395313 h 2824212"/>
              <a:gd name="connsiteX163" fmla="*/ 74134 w 6064842"/>
              <a:gd name="connsiteY163" fmla="*/ 2391759 h 2824212"/>
              <a:gd name="connsiteX164" fmla="*/ 70310 w 6064842"/>
              <a:gd name="connsiteY164" fmla="*/ 2383951 h 2824212"/>
              <a:gd name="connsiteX165" fmla="*/ 53855 w 6064842"/>
              <a:gd name="connsiteY165" fmla="*/ 2342110 h 2824212"/>
              <a:gd name="connsiteX166" fmla="*/ 49158 w 6064842"/>
              <a:gd name="connsiteY166" fmla="*/ 2330608 h 2824212"/>
              <a:gd name="connsiteX167" fmla="*/ 48496 w 6064842"/>
              <a:gd name="connsiteY167" fmla="*/ 2328480 h 2824212"/>
              <a:gd name="connsiteX168" fmla="*/ 46294 w 6064842"/>
              <a:gd name="connsiteY168" fmla="*/ 2322881 h 2824212"/>
              <a:gd name="connsiteX169" fmla="*/ 29774 w 6064842"/>
              <a:gd name="connsiteY169" fmla="*/ 2268344 h 2824212"/>
              <a:gd name="connsiteX170" fmla="*/ 28091 w 6064842"/>
              <a:gd name="connsiteY170" fmla="*/ 2262939 h 2824212"/>
              <a:gd name="connsiteX171" fmla="*/ 27973 w 6064842"/>
              <a:gd name="connsiteY171" fmla="*/ 2262395 h 2824212"/>
              <a:gd name="connsiteX172" fmla="*/ 27018 w 6064842"/>
              <a:gd name="connsiteY172" fmla="*/ 2259244 h 2824212"/>
              <a:gd name="connsiteX173" fmla="*/ 3657 w 6064842"/>
              <a:gd name="connsiteY173" fmla="*/ 2125321 h 2824212"/>
              <a:gd name="connsiteX174" fmla="*/ 3517 w 6064842"/>
              <a:gd name="connsiteY174" fmla="*/ 2122278 h 2824212"/>
              <a:gd name="connsiteX175" fmla="*/ 3219 w 6064842"/>
              <a:gd name="connsiteY175" fmla="*/ 2119995 h 2824212"/>
              <a:gd name="connsiteX176" fmla="*/ 1596 w 6064842"/>
              <a:gd name="connsiteY176" fmla="*/ 2082356 h 2824212"/>
              <a:gd name="connsiteX177" fmla="*/ 1 w 6064842"/>
              <a:gd name="connsiteY177" fmla="*/ 2082356 h 2824212"/>
              <a:gd name="connsiteX178" fmla="*/ 1 w 6064842"/>
              <a:gd name="connsiteY178" fmla="*/ 2045838 h 2824212"/>
              <a:gd name="connsiteX179" fmla="*/ 0 w 6064842"/>
              <a:gd name="connsiteY179" fmla="*/ 2045832 h 2824212"/>
              <a:gd name="connsiteX180" fmla="*/ 1 w 6064842"/>
              <a:gd name="connsiteY180" fmla="*/ 2045824 h 2824212"/>
              <a:gd name="connsiteX181" fmla="*/ 1 w 6064842"/>
              <a:gd name="connsiteY181" fmla="*/ 2045366 h 2824212"/>
              <a:gd name="connsiteX182" fmla="*/ 1 w 6064842"/>
              <a:gd name="connsiteY182" fmla="*/ 2037986 h 2824212"/>
              <a:gd name="connsiteX183" fmla="*/ 0 w 6064842"/>
              <a:gd name="connsiteY183" fmla="*/ 2037986 h 2824212"/>
              <a:gd name="connsiteX184" fmla="*/ 0 w 6064842"/>
              <a:gd name="connsiteY184" fmla="*/ 1564597 h 2824212"/>
              <a:gd name="connsiteX185" fmla="*/ 0 w 6064842"/>
              <a:gd name="connsiteY185" fmla="*/ 1564596 h 2824212"/>
              <a:gd name="connsiteX186" fmla="*/ 0 w 6064842"/>
              <a:gd name="connsiteY186" fmla="*/ 1564595 h 2824212"/>
              <a:gd name="connsiteX187" fmla="*/ 0 w 6064842"/>
              <a:gd name="connsiteY187" fmla="*/ 1259607 h 2824212"/>
              <a:gd name="connsiteX188" fmla="*/ 0 w 6064842"/>
              <a:gd name="connsiteY188" fmla="*/ 778372 h 2824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6064842" h="2824212">
                <a:moveTo>
                  <a:pt x="0" y="0"/>
                </a:moveTo>
                <a:lnTo>
                  <a:pt x="670946" y="0"/>
                </a:lnTo>
                <a:lnTo>
                  <a:pt x="708481" y="0"/>
                </a:lnTo>
                <a:lnTo>
                  <a:pt x="1747470" y="0"/>
                </a:lnTo>
                <a:lnTo>
                  <a:pt x="1885136" y="0"/>
                </a:lnTo>
                <a:lnTo>
                  <a:pt x="2189625" y="0"/>
                </a:lnTo>
                <a:lnTo>
                  <a:pt x="2418416" y="0"/>
                </a:lnTo>
                <a:lnTo>
                  <a:pt x="2455951" y="0"/>
                </a:lnTo>
                <a:lnTo>
                  <a:pt x="3304400" y="0"/>
                </a:lnTo>
                <a:lnTo>
                  <a:pt x="3608890" y="0"/>
                </a:lnTo>
                <a:lnTo>
                  <a:pt x="3632605" y="0"/>
                </a:lnTo>
                <a:lnTo>
                  <a:pt x="3937095" y="0"/>
                </a:lnTo>
                <a:lnTo>
                  <a:pt x="5051870" y="0"/>
                </a:lnTo>
                <a:lnTo>
                  <a:pt x="5356360" y="0"/>
                </a:lnTo>
                <a:lnTo>
                  <a:pt x="5356360" y="930"/>
                </a:lnTo>
                <a:lnTo>
                  <a:pt x="5356361" y="930"/>
                </a:lnTo>
                <a:lnTo>
                  <a:pt x="5356573" y="930"/>
                </a:lnTo>
                <a:lnTo>
                  <a:pt x="5365661" y="930"/>
                </a:lnTo>
                <a:lnTo>
                  <a:pt x="5393896" y="930"/>
                </a:lnTo>
                <a:lnTo>
                  <a:pt x="5393896" y="2870"/>
                </a:lnTo>
                <a:lnTo>
                  <a:pt x="5424521" y="4461"/>
                </a:lnTo>
                <a:lnTo>
                  <a:pt x="5427155" y="4866"/>
                </a:lnTo>
                <a:lnTo>
                  <a:pt x="5428608" y="4946"/>
                </a:lnTo>
                <a:lnTo>
                  <a:pt x="5442420" y="7212"/>
                </a:lnTo>
                <a:lnTo>
                  <a:pt x="5486575" y="13997"/>
                </a:lnTo>
                <a:lnTo>
                  <a:pt x="5491653" y="15287"/>
                </a:lnTo>
                <a:lnTo>
                  <a:pt x="5494644" y="15777"/>
                </a:lnTo>
                <a:lnTo>
                  <a:pt x="5510085" y="19968"/>
                </a:lnTo>
                <a:lnTo>
                  <a:pt x="5546790" y="29287"/>
                </a:lnTo>
                <a:lnTo>
                  <a:pt x="5554216" y="31942"/>
                </a:lnTo>
                <a:lnTo>
                  <a:pt x="5558548" y="33117"/>
                </a:lnTo>
                <a:lnTo>
                  <a:pt x="5573320" y="38769"/>
                </a:lnTo>
                <a:lnTo>
                  <a:pt x="5604922" y="50066"/>
                </a:lnTo>
                <a:lnTo>
                  <a:pt x="5614512" y="54533"/>
                </a:lnTo>
                <a:lnTo>
                  <a:pt x="5620025" y="56644"/>
                </a:lnTo>
                <a:lnTo>
                  <a:pt x="5633401" y="63334"/>
                </a:lnTo>
                <a:lnTo>
                  <a:pt x="5660731" y="76066"/>
                </a:lnTo>
                <a:lnTo>
                  <a:pt x="5672267" y="82775"/>
                </a:lnTo>
                <a:lnTo>
                  <a:pt x="5678782" y="86034"/>
                </a:lnTo>
                <a:lnTo>
                  <a:pt x="5690493" y="93373"/>
                </a:lnTo>
                <a:lnTo>
                  <a:pt x="5713973" y="107025"/>
                </a:lnTo>
                <a:lnTo>
                  <a:pt x="5727208" y="116381"/>
                </a:lnTo>
                <a:lnTo>
                  <a:pt x="5734525" y="120966"/>
                </a:lnTo>
                <a:lnTo>
                  <a:pt x="5744491" y="128598"/>
                </a:lnTo>
                <a:lnTo>
                  <a:pt x="5764408" y="142676"/>
                </a:lnTo>
                <a:lnTo>
                  <a:pt x="5779061" y="155070"/>
                </a:lnTo>
                <a:lnTo>
                  <a:pt x="5786961" y="161118"/>
                </a:lnTo>
                <a:lnTo>
                  <a:pt x="5795200" y="168719"/>
                </a:lnTo>
                <a:lnTo>
                  <a:pt x="5811795" y="182754"/>
                </a:lnTo>
                <a:lnTo>
                  <a:pt x="5827557" y="198569"/>
                </a:lnTo>
                <a:lnTo>
                  <a:pt x="5835795" y="206168"/>
                </a:lnTo>
                <a:lnTo>
                  <a:pt x="5842384" y="213444"/>
                </a:lnTo>
                <a:lnTo>
                  <a:pt x="5855890" y="226994"/>
                </a:lnTo>
                <a:lnTo>
                  <a:pt x="5872433" y="246624"/>
                </a:lnTo>
                <a:lnTo>
                  <a:pt x="5880736" y="255793"/>
                </a:lnTo>
                <a:lnTo>
                  <a:pt x="5885792" y="262478"/>
                </a:lnTo>
                <a:lnTo>
                  <a:pt x="5896454" y="275129"/>
                </a:lnTo>
                <a:lnTo>
                  <a:pt x="5913427" y="299015"/>
                </a:lnTo>
                <a:lnTo>
                  <a:pt x="5921489" y="309671"/>
                </a:lnTo>
                <a:lnTo>
                  <a:pt x="5925161" y="315524"/>
                </a:lnTo>
                <a:lnTo>
                  <a:pt x="5933243" y="326896"/>
                </a:lnTo>
                <a:lnTo>
                  <a:pt x="5950304" y="355597"/>
                </a:lnTo>
                <a:lnTo>
                  <a:pt x="5957761" y="367482"/>
                </a:lnTo>
                <a:lnTo>
                  <a:pt x="5960223" y="372282"/>
                </a:lnTo>
                <a:lnTo>
                  <a:pt x="5966016" y="382028"/>
                </a:lnTo>
                <a:lnTo>
                  <a:pt x="5982857" y="416419"/>
                </a:lnTo>
                <a:lnTo>
                  <a:pt x="5989257" y="428899"/>
                </a:lnTo>
                <a:lnTo>
                  <a:pt x="5990707" y="432453"/>
                </a:lnTo>
                <a:lnTo>
                  <a:pt x="5994531" y="440261"/>
                </a:lnTo>
                <a:lnTo>
                  <a:pt x="6010987" y="482102"/>
                </a:lnTo>
                <a:lnTo>
                  <a:pt x="6015685" y="493604"/>
                </a:lnTo>
                <a:lnTo>
                  <a:pt x="6016347" y="495732"/>
                </a:lnTo>
                <a:lnTo>
                  <a:pt x="6018549" y="501331"/>
                </a:lnTo>
                <a:lnTo>
                  <a:pt x="6035067" y="555868"/>
                </a:lnTo>
                <a:lnTo>
                  <a:pt x="6036751" y="561273"/>
                </a:lnTo>
                <a:lnTo>
                  <a:pt x="6036869" y="561817"/>
                </a:lnTo>
                <a:lnTo>
                  <a:pt x="6037825" y="564967"/>
                </a:lnTo>
                <a:cubicBezTo>
                  <a:pt x="6049041" y="608191"/>
                  <a:pt x="6056935" y="652950"/>
                  <a:pt x="6061185" y="698891"/>
                </a:cubicBezTo>
                <a:lnTo>
                  <a:pt x="6061325" y="701933"/>
                </a:lnTo>
                <a:lnTo>
                  <a:pt x="6061623" y="704217"/>
                </a:lnTo>
                <a:lnTo>
                  <a:pt x="6063246" y="741856"/>
                </a:lnTo>
                <a:lnTo>
                  <a:pt x="6064842" y="741856"/>
                </a:lnTo>
                <a:lnTo>
                  <a:pt x="6064842" y="778373"/>
                </a:lnTo>
                <a:lnTo>
                  <a:pt x="6064842" y="778380"/>
                </a:lnTo>
                <a:lnTo>
                  <a:pt x="6064842" y="778388"/>
                </a:lnTo>
                <a:lnTo>
                  <a:pt x="6064842" y="778846"/>
                </a:lnTo>
                <a:lnTo>
                  <a:pt x="6064842" y="786226"/>
                </a:lnTo>
                <a:lnTo>
                  <a:pt x="6064842" y="1259616"/>
                </a:lnTo>
                <a:lnTo>
                  <a:pt x="6064842" y="1564605"/>
                </a:lnTo>
                <a:lnTo>
                  <a:pt x="6064842" y="2045841"/>
                </a:lnTo>
                <a:lnTo>
                  <a:pt x="6064842" y="2824212"/>
                </a:lnTo>
                <a:lnTo>
                  <a:pt x="5393896" y="2824212"/>
                </a:lnTo>
                <a:lnTo>
                  <a:pt x="5356361" y="2824212"/>
                </a:lnTo>
                <a:lnTo>
                  <a:pt x="4645577" y="2824212"/>
                </a:lnTo>
                <a:lnTo>
                  <a:pt x="4317372" y="2824212"/>
                </a:lnTo>
                <a:lnTo>
                  <a:pt x="4179707" y="2824212"/>
                </a:lnTo>
                <a:lnTo>
                  <a:pt x="3974631" y="2824212"/>
                </a:lnTo>
                <a:lnTo>
                  <a:pt x="3937096" y="2824212"/>
                </a:lnTo>
                <a:lnTo>
                  <a:pt x="3875217" y="2824212"/>
                </a:lnTo>
                <a:lnTo>
                  <a:pt x="3646426" y="2824212"/>
                </a:lnTo>
                <a:lnTo>
                  <a:pt x="3608891" y="2824212"/>
                </a:lnTo>
                <a:lnTo>
                  <a:pt x="2898107" y="2824212"/>
                </a:lnTo>
                <a:lnTo>
                  <a:pt x="2760442" y="2824212"/>
                </a:lnTo>
                <a:lnTo>
                  <a:pt x="2455952" y="2824212"/>
                </a:lnTo>
                <a:lnTo>
                  <a:pt x="2432237" y="2824212"/>
                </a:lnTo>
                <a:lnTo>
                  <a:pt x="2227161" y="2824212"/>
                </a:lnTo>
                <a:lnTo>
                  <a:pt x="2189626" y="2824212"/>
                </a:lnTo>
                <a:lnTo>
                  <a:pt x="2127747" y="2824212"/>
                </a:lnTo>
                <a:lnTo>
                  <a:pt x="1012971" y="2824212"/>
                </a:lnTo>
                <a:lnTo>
                  <a:pt x="708482" y="2824212"/>
                </a:lnTo>
                <a:lnTo>
                  <a:pt x="708482" y="2823282"/>
                </a:lnTo>
                <a:lnTo>
                  <a:pt x="708481" y="2823282"/>
                </a:lnTo>
                <a:lnTo>
                  <a:pt x="708269" y="2823282"/>
                </a:lnTo>
                <a:lnTo>
                  <a:pt x="699181" y="2823282"/>
                </a:lnTo>
                <a:lnTo>
                  <a:pt x="670946" y="2823282"/>
                </a:lnTo>
                <a:lnTo>
                  <a:pt x="670946" y="2821342"/>
                </a:lnTo>
                <a:lnTo>
                  <a:pt x="640321" y="2819751"/>
                </a:lnTo>
                <a:lnTo>
                  <a:pt x="637688" y="2819346"/>
                </a:lnTo>
                <a:lnTo>
                  <a:pt x="636234" y="2819266"/>
                </a:lnTo>
                <a:lnTo>
                  <a:pt x="622422" y="2817000"/>
                </a:lnTo>
                <a:lnTo>
                  <a:pt x="578267" y="2810215"/>
                </a:lnTo>
                <a:lnTo>
                  <a:pt x="573188" y="2808925"/>
                </a:lnTo>
                <a:lnTo>
                  <a:pt x="570198" y="2808435"/>
                </a:lnTo>
                <a:lnTo>
                  <a:pt x="554757" y="2804244"/>
                </a:lnTo>
                <a:lnTo>
                  <a:pt x="518052" y="2794925"/>
                </a:lnTo>
                <a:lnTo>
                  <a:pt x="510626" y="2792270"/>
                </a:lnTo>
                <a:lnTo>
                  <a:pt x="506294" y="2791095"/>
                </a:lnTo>
                <a:lnTo>
                  <a:pt x="491522" y="2785443"/>
                </a:lnTo>
                <a:lnTo>
                  <a:pt x="459920" y="2774146"/>
                </a:lnTo>
                <a:lnTo>
                  <a:pt x="450331" y="2769679"/>
                </a:lnTo>
                <a:lnTo>
                  <a:pt x="444817" y="2767568"/>
                </a:lnTo>
                <a:lnTo>
                  <a:pt x="431441" y="2760878"/>
                </a:lnTo>
                <a:lnTo>
                  <a:pt x="404112" y="2748146"/>
                </a:lnTo>
                <a:lnTo>
                  <a:pt x="392575" y="2741437"/>
                </a:lnTo>
                <a:lnTo>
                  <a:pt x="386060" y="2738178"/>
                </a:lnTo>
                <a:lnTo>
                  <a:pt x="374349" y="2730839"/>
                </a:lnTo>
                <a:lnTo>
                  <a:pt x="350870" y="2717187"/>
                </a:lnTo>
                <a:lnTo>
                  <a:pt x="337634" y="2707831"/>
                </a:lnTo>
                <a:lnTo>
                  <a:pt x="330317" y="2703246"/>
                </a:lnTo>
                <a:lnTo>
                  <a:pt x="320351" y="2695614"/>
                </a:lnTo>
                <a:lnTo>
                  <a:pt x="300434" y="2681536"/>
                </a:lnTo>
                <a:lnTo>
                  <a:pt x="285780" y="2669142"/>
                </a:lnTo>
                <a:lnTo>
                  <a:pt x="277881" y="2663094"/>
                </a:lnTo>
                <a:lnTo>
                  <a:pt x="269642" y="2655493"/>
                </a:lnTo>
                <a:lnTo>
                  <a:pt x="253047" y="2641458"/>
                </a:lnTo>
                <a:lnTo>
                  <a:pt x="237284" y="2625643"/>
                </a:lnTo>
                <a:lnTo>
                  <a:pt x="229047" y="2618044"/>
                </a:lnTo>
                <a:lnTo>
                  <a:pt x="222457" y="2610768"/>
                </a:lnTo>
                <a:lnTo>
                  <a:pt x="208952" y="2597218"/>
                </a:lnTo>
                <a:lnTo>
                  <a:pt x="192410" y="2577589"/>
                </a:lnTo>
                <a:lnTo>
                  <a:pt x="184106" y="2568419"/>
                </a:lnTo>
                <a:lnTo>
                  <a:pt x="179049" y="2561734"/>
                </a:lnTo>
                <a:lnTo>
                  <a:pt x="168389" y="2549083"/>
                </a:lnTo>
                <a:lnTo>
                  <a:pt x="151415" y="2525197"/>
                </a:lnTo>
                <a:lnTo>
                  <a:pt x="143353" y="2514541"/>
                </a:lnTo>
                <a:lnTo>
                  <a:pt x="139681" y="2508687"/>
                </a:lnTo>
                <a:lnTo>
                  <a:pt x="131599" y="2497316"/>
                </a:lnTo>
                <a:lnTo>
                  <a:pt x="114539" y="2468615"/>
                </a:lnTo>
                <a:lnTo>
                  <a:pt x="107082" y="2456730"/>
                </a:lnTo>
                <a:lnTo>
                  <a:pt x="104620" y="2451929"/>
                </a:lnTo>
                <a:lnTo>
                  <a:pt x="98826" y="2442184"/>
                </a:lnTo>
                <a:lnTo>
                  <a:pt x="81986" y="2407793"/>
                </a:lnTo>
                <a:lnTo>
                  <a:pt x="75586" y="2395313"/>
                </a:lnTo>
                <a:lnTo>
                  <a:pt x="74134" y="2391759"/>
                </a:lnTo>
                <a:lnTo>
                  <a:pt x="70310" y="2383951"/>
                </a:lnTo>
                <a:lnTo>
                  <a:pt x="53855" y="2342110"/>
                </a:lnTo>
                <a:lnTo>
                  <a:pt x="49158" y="2330608"/>
                </a:lnTo>
                <a:lnTo>
                  <a:pt x="48496" y="2328480"/>
                </a:lnTo>
                <a:lnTo>
                  <a:pt x="46294" y="2322881"/>
                </a:lnTo>
                <a:lnTo>
                  <a:pt x="29774" y="2268344"/>
                </a:lnTo>
                <a:lnTo>
                  <a:pt x="28091" y="2262939"/>
                </a:lnTo>
                <a:lnTo>
                  <a:pt x="27973" y="2262395"/>
                </a:lnTo>
                <a:lnTo>
                  <a:pt x="27018" y="2259244"/>
                </a:lnTo>
                <a:cubicBezTo>
                  <a:pt x="15802" y="2216021"/>
                  <a:pt x="7907" y="2171262"/>
                  <a:pt x="3657" y="2125321"/>
                </a:cubicBezTo>
                <a:lnTo>
                  <a:pt x="3517" y="2122278"/>
                </a:lnTo>
                <a:lnTo>
                  <a:pt x="3219" y="2119995"/>
                </a:lnTo>
                <a:lnTo>
                  <a:pt x="1596" y="2082356"/>
                </a:lnTo>
                <a:lnTo>
                  <a:pt x="1" y="2082356"/>
                </a:lnTo>
                <a:lnTo>
                  <a:pt x="1" y="2045838"/>
                </a:lnTo>
                <a:lnTo>
                  <a:pt x="0" y="2045832"/>
                </a:lnTo>
                <a:lnTo>
                  <a:pt x="1" y="2045824"/>
                </a:lnTo>
                <a:lnTo>
                  <a:pt x="1" y="2045366"/>
                </a:lnTo>
                <a:lnTo>
                  <a:pt x="1" y="2037986"/>
                </a:lnTo>
                <a:lnTo>
                  <a:pt x="0" y="2037986"/>
                </a:lnTo>
                <a:lnTo>
                  <a:pt x="0" y="1564597"/>
                </a:lnTo>
                <a:lnTo>
                  <a:pt x="0" y="1564596"/>
                </a:lnTo>
                <a:lnTo>
                  <a:pt x="0" y="1564595"/>
                </a:lnTo>
                <a:lnTo>
                  <a:pt x="0" y="1259607"/>
                </a:lnTo>
                <a:lnTo>
                  <a:pt x="0" y="77837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A510A09-F8B7-4CA9-87E5-01FC06B89F0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3749" y="351563"/>
            <a:ext cx="5058243" cy="3308853"/>
          </a:xfrm>
          <a:custGeom>
            <a:avLst/>
            <a:gdLst>
              <a:gd name="connsiteX0" fmla="*/ 0 w 5058243"/>
              <a:gd name="connsiteY0" fmla="*/ 0 h 3308853"/>
              <a:gd name="connsiteX1" fmla="*/ 786082 w 5058243"/>
              <a:gd name="connsiteY1" fmla="*/ 0 h 3308853"/>
              <a:gd name="connsiteX2" fmla="*/ 830058 w 5058243"/>
              <a:gd name="connsiteY2" fmla="*/ 0 h 3308853"/>
              <a:gd name="connsiteX3" fmla="*/ 2208629 w 5058243"/>
              <a:gd name="connsiteY3" fmla="*/ 0 h 3308853"/>
              <a:gd name="connsiteX4" fmla="*/ 2565370 w 5058243"/>
              <a:gd name="connsiteY4" fmla="*/ 0 h 3308853"/>
              <a:gd name="connsiteX5" fmla="*/ 3871443 w 5058243"/>
              <a:gd name="connsiteY5" fmla="*/ 0 h 3308853"/>
              <a:gd name="connsiteX6" fmla="*/ 4228184 w 5058243"/>
              <a:gd name="connsiteY6" fmla="*/ 0 h 3308853"/>
              <a:gd name="connsiteX7" fmla="*/ 4228184 w 5058243"/>
              <a:gd name="connsiteY7" fmla="*/ 1089 h 3308853"/>
              <a:gd name="connsiteX8" fmla="*/ 4228185 w 5058243"/>
              <a:gd name="connsiteY8" fmla="*/ 1089 h 3308853"/>
              <a:gd name="connsiteX9" fmla="*/ 4228433 w 5058243"/>
              <a:gd name="connsiteY9" fmla="*/ 1089 h 3308853"/>
              <a:gd name="connsiteX10" fmla="*/ 4239081 w 5058243"/>
              <a:gd name="connsiteY10" fmla="*/ 1089 h 3308853"/>
              <a:gd name="connsiteX11" fmla="*/ 4272161 w 5058243"/>
              <a:gd name="connsiteY11" fmla="*/ 1089 h 3308853"/>
              <a:gd name="connsiteX12" fmla="*/ 4272161 w 5058243"/>
              <a:gd name="connsiteY12" fmla="*/ 3362 h 3308853"/>
              <a:gd name="connsiteX13" fmla="*/ 4308041 w 5058243"/>
              <a:gd name="connsiteY13" fmla="*/ 5226 h 3308853"/>
              <a:gd name="connsiteX14" fmla="*/ 4311127 w 5058243"/>
              <a:gd name="connsiteY14" fmla="*/ 5701 h 3308853"/>
              <a:gd name="connsiteX15" fmla="*/ 4312830 w 5058243"/>
              <a:gd name="connsiteY15" fmla="*/ 5795 h 3308853"/>
              <a:gd name="connsiteX16" fmla="*/ 4329012 w 5058243"/>
              <a:gd name="connsiteY16" fmla="*/ 8449 h 3308853"/>
              <a:gd name="connsiteX17" fmla="*/ 4380744 w 5058243"/>
              <a:gd name="connsiteY17" fmla="*/ 16399 h 3308853"/>
              <a:gd name="connsiteX18" fmla="*/ 4386694 w 5058243"/>
              <a:gd name="connsiteY18" fmla="*/ 17910 h 3308853"/>
              <a:gd name="connsiteX19" fmla="*/ 4390198 w 5058243"/>
              <a:gd name="connsiteY19" fmla="*/ 18484 h 3308853"/>
              <a:gd name="connsiteX20" fmla="*/ 4408289 w 5058243"/>
              <a:gd name="connsiteY20" fmla="*/ 23394 h 3308853"/>
              <a:gd name="connsiteX21" fmla="*/ 4451292 w 5058243"/>
              <a:gd name="connsiteY21" fmla="*/ 34313 h 3308853"/>
              <a:gd name="connsiteX22" fmla="*/ 4459992 w 5058243"/>
              <a:gd name="connsiteY22" fmla="*/ 37423 h 3308853"/>
              <a:gd name="connsiteX23" fmla="*/ 4465068 w 5058243"/>
              <a:gd name="connsiteY23" fmla="*/ 38800 h 3308853"/>
              <a:gd name="connsiteX24" fmla="*/ 4482375 w 5058243"/>
              <a:gd name="connsiteY24" fmla="*/ 45422 h 3308853"/>
              <a:gd name="connsiteX25" fmla="*/ 4519400 w 5058243"/>
              <a:gd name="connsiteY25" fmla="*/ 58657 h 3308853"/>
              <a:gd name="connsiteX26" fmla="*/ 4530635 w 5058243"/>
              <a:gd name="connsiteY26" fmla="*/ 63891 h 3308853"/>
              <a:gd name="connsiteX27" fmla="*/ 4537095 w 5058243"/>
              <a:gd name="connsiteY27" fmla="*/ 66364 h 3308853"/>
              <a:gd name="connsiteX28" fmla="*/ 4552766 w 5058243"/>
              <a:gd name="connsiteY28" fmla="*/ 74202 h 3308853"/>
              <a:gd name="connsiteX29" fmla="*/ 4584785 w 5058243"/>
              <a:gd name="connsiteY29" fmla="*/ 89119 h 3308853"/>
              <a:gd name="connsiteX30" fmla="*/ 4598301 w 5058243"/>
              <a:gd name="connsiteY30" fmla="*/ 96979 h 3308853"/>
              <a:gd name="connsiteX31" fmla="*/ 4605934 w 5058243"/>
              <a:gd name="connsiteY31" fmla="*/ 100797 h 3308853"/>
              <a:gd name="connsiteX32" fmla="*/ 4619655 w 5058243"/>
              <a:gd name="connsiteY32" fmla="*/ 109396 h 3308853"/>
              <a:gd name="connsiteX33" fmla="*/ 4647164 w 5058243"/>
              <a:gd name="connsiteY33" fmla="*/ 125391 h 3308853"/>
              <a:gd name="connsiteX34" fmla="*/ 4662670 w 5058243"/>
              <a:gd name="connsiteY34" fmla="*/ 136352 h 3308853"/>
              <a:gd name="connsiteX35" fmla="*/ 4671243 w 5058243"/>
              <a:gd name="connsiteY35" fmla="*/ 141724 h 3308853"/>
              <a:gd name="connsiteX36" fmla="*/ 4682919 w 5058243"/>
              <a:gd name="connsiteY36" fmla="*/ 150665 h 3308853"/>
              <a:gd name="connsiteX37" fmla="*/ 4706254 w 5058243"/>
              <a:gd name="connsiteY37" fmla="*/ 167159 h 3308853"/>
              <a:gd name="connsiteX38" fmla="*/ 4723422 w 5058243"/>
              <a:gd name="connsiteY38" fmla="*/ 181680 h 3308853"/>
              <a:gd name="connsiteX39" fmla="*/ 4732677 w 5058243"/>
              <a:gd name="connsiteY39" fmla="*/ 188766 h 3308853"/>
              <a:gd name="connsiteX40" fmla="*/ 4742330 w 5058243"/>
              <a:gd name="connsiteY40" fmla="*/ 197671 h 3308853"/>
              <a:gd name="connsiteX41" fmla="*/ 4761772 w 5058243"/>
              <a:gd name="connsiteY41" fmla="*/ 214115 h 3308853"/>
              <a:gd name="connsiteX42" fmla="*/ 4780240 w 5058243"/>
              <a:gd name="connsiteY42" fmla="*/ 232644 h 3308853"/>
              <a:gd name="connsiteX43" fmla="*/ 4789891 w 5058243"/>
              <a:gd name="connsiteY43" fmla="*/ 241547 h 3308853"/>
              <a:gd name="connsiteX44" fmla="*/ 4797611 w 5058243"/>
              <a:gd name="connsiteY44" fmla="*/ 250071 h 3308853"/>
              <a:gd name="connsiteX45" fmla="*/ 4813434 w 5058243"/>
              <a:gd name="connsiteY45" fmla="*/ 265946 h 3308853"/>
              <a:gd name="connsiteX46" fmla="*/ 4832816 w 5058243"/>
              <a:gd name="connsiteY46" fmla="*/ 288945 h 3308853"/>
              <a:gd name="connsiteX47" fmla="*/ 4842544 w 5058243"/>
              <a:gd name="connsiteY47" fmla="*/ 299687 h 3308853"/>
              <a:gd name="connsiteX48" fmla="*/ 4848468 w 5058243"/>
              <a:gd name="connsiteY48" fmla="*/ 307520 h 3308853"/>
              <a:gd name="connsiteX49" fmla="*/ 4860959 w 5058243"/>
              <a:gd name="connsiteY49" fmla="*/ 322342 h 3308853"/>
              <a:gd name="connsiteX50" fmla="*/ 4880845 w 5058243"/>
              <a:gd name="connsiteY50" fmla="*/ 350326 h 3308853"/>
              <a:gd name="connsiteX51" fmla="*/ 4890290 w 5058243"/>
              <a:gd name="connsiteY51" fmla="*/ 362811 h 3308853"/>
              <a:gd name="connsiteX52" fmla="*/ 4894592 w 5058243"/>
              <a:gd name="connsiteY52" fmla="*/ 369669 h 3308853"/>
              <a:gd name="connsiteX53" fmla="*/ 4904061 w 5058243"/>
              <a:gd name="connsiteY53" fmla="*/ 382992 h 3308853"/>
              <a:gd name="connsiteX54" fmla="*/ 4924050 w 5058243"/>
              <a:gd name="connsiteY54" fmla="*/ 416618 h 3308853"/>
              <a:gd name="connsiteX55" fmla="*/ 4932786 w 5058243"/>
              <a:gd name="connsiteY55" fmla="*/ 430542 h 3308853"/>
              <a:gd name="connsiteX56" fmla="*/ 4935671 w 5058243"/>
              <a:gd name="connsiteY56" fmla="*/ 436166 h 3308853"/>
              <a:gd name="connsiteX57" fmla="*/ 4942458 w 5058243"/>
              <a:gd name="connsiteY57" fmla="*/ 447585 h 3308853"/>
              <a:gd name="connsiteX58" fmla="*/ 4962189 w 5058243"/>
              <a:gd name="connsiteY58" fmla="*/ 487877 h 3308853"/>
              <a:gd name="connsiteX59" fmla="*/ 4969687 w 5058243"/>
              <a:gd name="connsiteY59" fmla="*/ 502499 h 3308853"/>
              <a:gd name="connsiteX60" fmla="*/ 4971387 w 5058243"/>
              <a:gd name="connsiteY60" fmla="*/ 506663 h 3308853"/>
              <a:gd name="connsiteX61" fmla="*/ 4975867 w 5058243"/>
              <a:gd name="connsiteY61" fmla="*/ 515811 h 3308853"/>
              <a:gd name="connsiteX62" fmla="*/ 4995146 w 5058243"/>
              <a:gd name="connsiteY62" fmla="*/ 564832 h 3308853"/>
              <a:gd name="connsiteX63" fmla="*/ 5000650 w 5058243"/>
              <a:gd name="connsiteY63" fmla="*/ 578307 h 3308853"/>
              <a:gd name="connsiteX64" fmla="*/ 5001426 w 5058243"/>
              <a:gd name="connsiteY64" fmla="*/ 580801 h 3308853"/>
              <a:gd name="connsiteX65" fmla="*/ 5004006 w 5058243"/>
              <a:gd name="connsiteY65" fmla="*/ 587360 h 3308853"/>
              <a:gd name="connsiteX66" fmla="*/ 5023359 w 5058243"/>
              <a:gd name="connsiteY66" fmla="*/ 651256 h 3308853"/>
              <a:gd name="connsiteX67" fmla="*/ 5025331 w 5058243"/>
              <a:gd name="connsiteY67" fmla="*/ 657589 h 3308853"/>
              <a:gd name="connsiteX68" fmla="*/ 5025470 w 5058243"/>
              <a:gd name="connsiteY68" fmla="*/ 658226 h 3308853"/>
              <a:gd name="connsiteX69" fmla="*/ 5026589 w 5058243"/>
              <a:gd name="connsiteY69" fmla="*/ 661917 h 3308853"/>
              <a:gd name="connsiteX70" fmla="*/ 5053959 w 5058243"/>
              <a:gd name="connsiteY70" fmla="*/ 818822 h 3308853"/>
              <a:gd name="connsiteX71" fmla="*/ 5054122 w 5058243"/>
              <a:gd name="connsiteY71" fmla="*/ 822386 h 3308853"/>
              <a:gd name="connsiteX72" fmla="*/ 5054471 w 5058243"/>
              <a:gd name="connsiteY72" fmla="*/ 825062 h 3308853"/>
              <a:gd name="connsiteX73" fmla="*/ 5056373 w 5058243"/>
              <a:gd name="connsiteY73" fmla="*/ 869160 h 3308853"/>
              <a:gd name="connsiteX74" fmla="*/ 5058243 w 5058243"/>
              <a:gd name="connsiteY74" fmla="*/ 869160 h 3308853"/>
              <a:gd name="connsiteX75" fmla="*/ 5058243 w 5058243"/>
              <a:gd name="connsiteY75" fmla="*/ 911943 h 3308853"/>
              <a:gd name="connsiteX76" fmla="*/ 5058243 w 5058243"/>
              <a:gd name="connsiteY76" fmla="*/ 911952 h 3308853"/>
              <a:gd name="connsiteX77" fmla="*/ 5058243 w 5058243"/>
              <a:gd name="connsiteY77" fmla="*/ 911961 h 3308853"/>
              <a:gd name="connsiteX78" fmla="*/ 5058243 w 5058243"/>
              <a:gd name="connsiteY78" fmla="*/ 912498 h 3308853"/>
              <a:gd name="connsiteX79" fmla="*/ 5058243 w 5058243"/>
              <a:gd name="connsiteY79" fmla="*/ 921144 h 3308853"/>
              <a:gd name="connsiteX80" fmla="*/ 5058243 w 5058243"/>
              <a:gd name="connsiteY80" fmla="*/ 1475769 h 3308853"/>
              <a:gd name="connsiteX81" fmla="*/ 5058243 w 5058243"/>
              <a:gd name="connsiteY81" fmla="*/ 1833094 h 3308853"/>
              <a:gd name="connsiteX82" fmla="*/ 5058243 w 5058243"/>
              <a:gd name="connsiteY82" fmla="*/ 2396911 h 3308853"/>
              <a:gd name="connsiteX83" fmla="*/ 5058243 w 5058243"/>
              <a:gd name="connsiteY83" fmla="*/ 3308853 h 3308853"/>
              <a:gd name="connsiteX84" fmla="*/ 4272161 w 5058243"/>
              <a:gd name="connsiteY84" fmla="*/ 3308853 h 3308853"/>
              <a:gd name="connsiteX85" fmla="*/ 4228185 w 5058243"/>
              <a:gd name="connsiteY85" fmla="*/ 3308853 h 3308853"/>
              <a:gd name="connsiteX86" fmla="*/ 3395429 w 5058243"/>
              <a:gd name="connsiteY86" fmla="*/ 3308853 h 3308853"/>
              <a:gd name="connsiteX87" fmla="*/ 2849614 w 5058243"/>
              <a:gd name="connsiteY87" fmla="*/ 3308853 h 3308853"/>
              <a:gd name="connsiteX88" fmla="*/ 2609347 w 5058243"/>
              <a:gd name="connsiteY88" fmla="*/ 3308853 h 3308853"/>
              <a:gd name="connsiteX89" fmla="*/ 2565371 w 5058243"/>
              <a:gd name="connsiteY89" fmla="*/ 3308853 h 3308853"/>
              <a:gd name="connsiteX90" fmla="*/ 2492873 w 5058243"/>
              <a:gd name="connsiteY90" fmla="*/ 3308853 h 3308853"/>
              <a:gd name="connsiteX91" fmla="*/ 1186800 w 5058243"/>
              <a:gd name="connsiteY91" fmla="*/ 3308853 h 3308853"/>
              <a:gd name="connsiteX92" fmla="*/ 830059 w 5058243"/>
              <a:gd name="connsiteY92" fmla="*/ 3308853 h 3308853"/>
              <a:gd name="connsiteX93" fmla="*/ 830059 w 5058243"/>
              <a:gd name="connsiteY93" fmla="*/ 3307764 h 3308853"/>
              <a:gd name="connsiteX94" fmla="*/ 830058 w 5058243"/>
              <a:gd name="connsiteY94" fmla="*/ 3307764 h 3308853"/>
              <a:gd name="connsiteX95" fmla="*/ 829810 w 5058243"/>
              <a:gd name="connsiteY95" fmla="*/ 3307764 h 3308853"/>
              <a:gd name="connsiteX96" fmla="*/ 819162 w 5058243"/>
              <a:gd name="connsiteY96" fmla="*/ 3307764 h 3308853"/>
              <a:gd name="connsiteX97" fmla="*/ 786082 w 5058243"/>
              <a:gd name="connsiteY97" fmla="*/ 3307764 h 3308853"/>
              <a:gd name="connsiteX98" fmla="*/ 786082 w 5058243"/>
              <a:gd name="connsiteY98" fmla="*/ 3305491 h 3308853"/>
              <a:gd name="connsiteX99" fmla="*/ 750202 w 5058243"/>
              <a:gd name="connsiteY99" fmla="*/ 3303627 h 3308853"/>
              <a:gd name="connsiteX100" fmla="*/ 747117 w 5058243"/>
              <a:gd name="connsiteY100" fmla="*/ 3303152 h 3308853"/>
              <a:gd name="connsiteX101" fmla="*/ 745413 w 5058243"/>
              <a:gd name="connsiteY101" fmla="*/ 3303058 h 3308853"/>
              <a:gd name="connsiteX102" fmla="*/ 729231 w 5058243"/>
              <a:gd name="connsiteY102" fmla="*/ 3300404 h 3308853"/>
              <a:gd name="connsiteX103" fmla="*/ 677499 w 5058243"/>
              <a:gd name="connsiteY103" fmla="*/ 3292454 h 3308853"/>
              <a:gd name="connsiteX104" fmla="*/ 671549 w 5058243"/>
              <a:gd name="connsiteY104" fmla="*/ 3290943 h 3308853"/>
              <a:gd name="connsiteX105" fmla="*/ 668045 w 5058243"/>
              <a:gd name="connsiteY105" fmla="*/ 3290369 h 3308853"/>
              <a:gd name="connsiteX106" fmla="*/ 649955 w 5058243"/>
              <a:gd name="connsiteY106" fmla="*/ 3285459 h 3308853"/>
              <a:gd name="connsiteX107" fmla="*/ 606951 w 5058243"/>
              <a:gd name="connsiteY107" fmla="*/ 3274540 h 3308853"/>
              <a:gd name="connsiteX108" fmla="*/ 598251 w 5058243"/>
              <a:gd name="connsiteY108" fmla="*/ 3271430 h 3308853"/>
              <a:gd name="connsiteX109" fmla="*/ 593175 w 5058243"/>
              <a:gd name="connsiteY109" fmla="*/ 3270053 h 3308853"/>
              <a:gd name="connsiteX110" fmla="*/ 575868 w 5058243"/>
              <a:gd name="connsiteY110" fmla="*/ 3263431 h 3308853"/>
              <a:gd name="connsiteX111" fmla="*/ 538844 w 5058243"/>
              <a:gd name="connsiteY111" fmla="*/ 3250196 h 3308853"/>
              <a:gd name="connsiteX112" fmla="*/ 527609 w 5058243"/>
              <a:gd name="connsiteY112" fmla="*/ 3244962 h 3308853"/>
              <a:gd name="connsiteX113" fmla="*/ 521149 w 5058243"/>
              <a:gd name="connsiteY113" fmla="*/ 3242489 h 3308853"/>
              <a:gd name="connsiteX114" fmla="*/ 505478 w 5058243"/>
              <a:gd name="connsiteY114" fmla="*/ 3234651 h 3308853"/>
              <a:gd name="connsiteX115" fmla="*/ 473459 w 5058243"/>
              <a:gd name="connsiteY115" fmla="*/ 3219734 h 3308853"/>
              <a:gd name="connsiteX116" fmla="*/ 459942 w 5058243"/>
              <a:gd name="connsiteY116" fmla="*/ 3211874 h 3308853"/>
              <a:gd name="connsiteX117" fmla="*/ 452309 w 5058243"/>
              <a:gd name="connsiteY117" fmla="*/ 3208056 h 3308853"/>
              <a:gd name="connsiteX118" fmla="*/ 438588 w 5058243"/>
              <a:gd name="connsiteY118" fmla="*/ 3199457 h 3308853"/>
              <a:gd name="connsiteX119" fmla="*/ 411080 w 5058243"/>
              <a:gd name="connsiteY119" fmla="*/ 3183462 h 3308853"/>
              <a:gd name="connsiteX120" fmla="*/ 395573 w 5058243"/>
              <a:gd name="connsiteY120" fmla="*/ 3172501 h 3308853"/>
              <a:gd name="connsiteX121" fmla="*/ 387001 w 5058243"/>
              <a:gd name="connsiteY121" fmla="*/ 3167129 h 3308853"/>
              <a:gd name="connsiteX122" fmla="*/ 375324 w 5058243"/>
              <a:gd name="connsiteY122" fmla="*/ 3158188 h 3308853"/>
              <a:gd name="connsiteX123" fmla="*/ 351989 w 5058243"/>
              <a:gd name="connsiteY123" fmla="*/ 3141694 h 3308853"/>
              <a:gd name="connsiteX124" fmla="*/ 334821 w 5058243"/>
              <a:gd name="connsiteY124" fmla="*/ 3127173 h 3308853"/>
              <a:gd name="connsiteX125" fmla="*/ 325566 w 5058243"/>
              <a:gd name="connsiteY125" fmla="*/ 3120087 h 3308853"/>
              <a:gd name="connsiteX126" fmla="*/ 315914 w 5058243"/>
              <a:gd name="connsiteY126" fmla="*/ 3111182 h 3308853"/>
              <a:gd name="connsiteX127" fmla="*/ 296471 w 5058243"/>
              <a:gd name="connsiteY127" fmla="*/ 3094738 h 3308853"/>
              <a:gd name="connsiteX128" fmla="*/ 278003 w 5058243"/>
              <a:gd name="connsiteY128" fmla="*/ 3076209 h 3308853"/>
              <a:gd name="connsiteX129" fmla="*/ 268352 w 5058243"/>
              <a:gd name="connsiteY129" fmla="*/ 3067306 h 3308853"/>
              <a:gd name="connsiteX130" fmla="*/ 260632 w 5058243"/>
              <a:gd name="connsiteY130" fmla="*/ 3058782 h 3308853"/>
              <a:gd name="connsiteX131" fmla="*/ 244809 w 5058243"/>
              <a:gd name="connsiteY131" fmla="*/ 3042907 h 3308853"/>
              <a:gd name="connsiteX132" fmla="*/ 225428 w 5058243"/>
              <a:gd name="connsiteY132" fmla="*/ 3019909 h 3308853"/>
              <a:gd name="connsiteX133" fmla="*/ 215699 w 5058243"/>
              <a:gd name="connsiteY133" fmla="*/ 3009166 h 3308853"/>
              <a:gd name="connsiteX134" fmla="*/ 209775 w 5058243"/>
              <a:gd name="connsiteY134" fmla="*/ 3001333 h 3308853"/>
              <a:gd name="connsiteX135" fmla="*/ 197285 w 5058243"/>
              <a:gd name="connsiteY135" fmla="*/ 2986511 h 3308853"/>
              <a:gd name="connsiteX136" fmla="*/ 177398 w 5058243"/>
              <a:gd name="connsiteY136" fmla="*/ 2958527 h 3308853"/>
              <a:gd name="connsiteX137" fmla="*/ 167953 w 5058243"/>
              <a:gd name="connsiteY137" fmla="*/ 2946042 h 3308853"/>
              <a:gd name="connsiteX138" fmla="*/ 163651 w 5058243"/>
              <a:gd name="connsiteY138" fmla="*/ 2939184 h 3308853"/>
              <a:gd name="connsiteX139" fmla="*/ 154182 w 5058243"/>
              <a:gd name="connsiteY139" fmla="*/ 2925861 h 3308853"/>
              <a:gd name="connsiteX140" fmla="*/ 134194 w 5058243"/>
              <a:gd name="connsiteY140" fmla="*/ 2892235 h 3308853"/>
              <a:gd name="connsiteX141" fmla="*/ 125458 w 5058243"/>
              <a:gd name="connsiteY141" fmla="*/ 2878311 h 3308853"/>
              <a:gd name="connsiteX142" fmla="*/ 122573 w 5058243"/>
              <a:gd name="connsiteY142" fmla="*/ 2872686 h 3308853"/>
              <a:gd name="connsiteX143" fmla="*/ 115785 w 5058243"/>
              <a:gd name="connsiteY143" fmla="*/ 2861268 h 3308853"/>
              <a:gd name="connsiteX144" fmla="*/ 96055 w 5058243"/>
              <a:gd name="connsiteY144" fmla="*/ 2820976 h 3308853"/>
              <a:gd name="connsiteX145" fmla="*/ 88557 w 5058243"/>
              <a:gd name="connsiteY145" fmla="*/ 2806354 h 3308853"/>
              <a:gd name="connsiteX146" fmla="*/ 86856 w 5058243"/>
              <a:gd name="connsiteY146" fmla="*/ 2802190 h 3308853"/>
              <a:gd name="connsiteX147" fmla="*/ 82376 w 5058243"/>
              <a:gd name="connsiteY147" fmla="*/ 2793042 h 3308853"/>
              <a:gd name="connsiteX148" fmla="*/ 63097 w 5058243"/>
              <a:gd name="connsiteY148" fmla="*/ 2744021 h 3308853"/>
              <a:gd name="connsiteX149" fmla="*/ 57594 w 5058243"/>
              <a:gd name="connsiteY149" fmla="*/ 2730546 h 3308853"/>
              <a:gd name="connsiteX150" fmla="*/ 56818 w 5058243"/>
              <a:gd name="connsiteY150" fmla="*/ 2728052 h 3308853"/>
              <a:gd name="connsiteX151" fmla="*/ 54238 w 5058243"/>
              <a:gd name="connsiteY151" fmla="*/ 2721493 h 3308853"/>
              <a:gd name="connsiteX152" fmla="*/ 34884 w 5058243"/>
              <a:gd name="connsiteY152" fmla="*/ 2657597 h 3308853"/>
              <a:gd name="connsiteX153" fmla="*/ 32912 w 5058243"/>
              <a:gd name="connsiteY153" fmla="*/ 2651264 h 3308853"/>
              <a:gd name="connsiteX154" fmla="*/ 32773 w 5058243"/>
              <a:gd name="connsiteY154" fmla="*/ 2650627 h 3308853"/>
              <a:gd name="connsiteX155" fmla="*/ 31655 w 5058243"/>
              <a:gd name="connsiteY155" fmla="*/ 2646936 h 3308853"/>
              <a:gd name="connsiteX156" fmla="*/ 4285 w 5058243"/>
              <a:gd name="connsiteY156" fmla="*/ 2490031 h 3308853"/>
              <a:gd name="connsiteX157" fmla="*/ 4121 w 5058243"/>
              <a:gd name="connsiteY157" fmla="*/ 2486466 h 3308853"/>
              <a:gd name="connsiteX158" fmla="*/ 3772 w 5058243"/>
              <a:gd name="connsiteY158" fmla="*/ 2483791 h 3308853"/>
              <a:gd name="connsiteX159" fmla="*/ 1870 w 5058243"/>
              <a:gd name="connsiteY159" fmla="*/ 2439693 h 3308853"/>
              <a:gd name="connsiteX160" fmla="*/ 1 w 5058243"/>
              <a:gd name="connsiteY160" fmla="*/ 2439693 h 3308853"/>
              <a:gd name="connsiteX161" fmla="*/ 1 w 5058243"/>
              <a:gd name="connsiteY161" fmla="*/ 2396909 h 3308853"/>
              <a:gd name="connsiteX162" fmla="*/ 0 w 5058243"/>
              <a:gd name="connsiteY162" fmla="*/ 2396901 h 3308853"/>
              <a:gd name="connsiteX163" fmla="*/ 1 w 5058243"/>
              <a:gd name="connsiteY163" fmla="*/ 2396892 h 3308853"/>
              <a:gd name="connsiteX164" fmla="*/ 1 w 5058243"/>
              <a:gd name="connsiteY164" fmla="*/ 2396355 h 3308853"/>
              <a:gd name="connsiteX165" fmla="*/ 1 w 5058243"/>
              <a:gd name="connsiteY165" fmla="*/ 2387709 h 3308853"/>
              <a:gd name="connsiteX166" fmla="*/ 0 w 5058243"/>
              <a:gd name="connsiteY166" fmla="*/ 2387709 h 3308853"/>
              <a:gd name="connsiteX167" fmla="*/ 0 w 5058243"/>
              <a:gd name="connsiteY167" fmla="*/ 1833085 h 3308853"/>
              <a:gd name="connsiteX168" fmla="*/ 0 w 5058243"/>
              <a:gd name="connsiteY168" fmla="*/ 1833084 h 3308853"/>
              <a:gd name="connsiteX169" fmla="*/ 0 w 5058243"/>
              <a:gd name="connsiteY169" fmla="*/ 1833083 h 3308853"/>
              <a:gd name="connsiteX170" fmla="*/ 0 w 5058243"/>
              <a:gd name="connsiteY170" fmla="*/ 1475758 h 3308853"/>
              <a:gd name="connsiteX171" fmla="*/ 0 w 5058243"/>
              <a:gd name="connsiteY171" fmla="*/ 911942 h 3308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</a:cxnLst>
            <a:rect l="l" t="t" r="r" b="b"/>
            <a:pathLst>
              <a:path w="5058243" h="3308853">
                <a:moveTo>
                  <a:pt x="0" y="0"/>
                </a:moveTo>
                <a:lnTo>
                  <a:pt x="786082" y="0"/>
                </a:lnTo>
                <a:lnTo>
                  <a:pt x="830058" y="0"/>
                </a:lnTo>
                <a:lnTo>
                  <a:pt x="2208629" y="0"/>
                </a:lnTo>
                <a:lnTo>
                  <a:pt x="2565370" y="0"/>
                </a:lnTo>
                <a:lnTo>
                  <a:pt x="3871443" y="0"/>
                </a:lnTo>
                <a:lnTo>
                  <a:pt x="4228184" y="0"/>
                </a:lnTo>
                <a:lnTo>
                  <a:pt x="4228184" y="1089"/>
                </a:lnTo>
                <a:lnTo>
                  <a:pt x="4228185" y="1089"/>
                </a:lnTo>
                <a:lnTo>
                  <a:pt x="4228433" y="1089"/>
                </a:lnTo>
                <a:lnTo>
                  <a:pt x="4239081" y="1089"/>
                </a:lnTo>
                <a:lnTo>
                  <a:pt x="4272161" y="1089"/>
                </a:lnTo>
                <a:lnTo>
                  <a:pt x="4272161" y="3362"/>
                </a:lnTo>
                <a:lnTo>
                  <a:pt x="4308041" y="5226"/>
                </a:lnTo>
                <a:lnTo>
                  <a:pt x="4311127" y="5701"/>
                </a:lnTo>
                <a:lnTo>
                  <a:pt x="4312830" y="5795"/>
                </a:lnTo>
                <a:lnTo>
                  <a:pt x="4329012" y="8449"/>
                </a:lnTo>
                <a:lnTo>
                  <a:pt x="4380744" y="16399"/>
                </a:lnTo>
                <a:lnTo>
                  <a:pt x="4386694" y="17910"/>
                </a:lnTo>
                <a:lnTo>
                  <a:pt x="4390198" y="18484"/>
                </a:lnTo>
                <a:lnTo>
                  <a:pt x="4408289" y="23394"/>
                </a:lnTo>
                <a:lnTo>
                  <a:pt x="4451292" y="34313"/>
                </a:lnTo>
                <a:lnTo>
                  <a:pt x="4459992" y="37423"/>
                </a:lnTo>
                <a:lnTo>
                  <a:pt x="4465068" y="38800"/>
                </a:lnTo>
                <a:lnTo>
                  <a:pt x="4482375" y="45422"/>
                </a:lnTo>
                <a:lnTo>
                  <a:pt x="4519400" y="58657"/>
                </a:lnTo>
                <a:lnTo>
                  <a:pt x="4530635" y="63891"/>
                </a:lnTo>
                <a:lnTo>
                  <a:pt x="4537095" y="66364"/>
                </a:lnTo>
                <a:lnTo>
                  <a:pt x="4552766" y="74202"/>
                </a:lnTo>
                <a:lnTo>
                  <a:pt x="4584785" y="89119"/>
                </a:lnTo>
                <a:lnTo>
                  <a:pt x="4598301" y="96979"/>
                </a:lnTo>
                <a:lnTo>
                  <a:pt x="4605934" y="100797"/>
                </a:lnTo>
                <a:lnTo>
                  <a:pt x="4619655" y="109396"/>
                </a:lnTo>
                <a:lnTo>
                  <a:pt x="4647164" y="125391"/>
                </a:lnTo>
                <a:lnTo>
                  <a:pt x="4662670" y="136352"/>
                </a:lnTo>
                <a:lnTo>
                  <a:pt x="4671243" y="141724"/>
                </a:lnTo>
                <a:lnTo>
                  <a:pt x="4682919" y="150665"/>
                </a:lnTo>
                <a:lnTo>
                  <a:pt x="4706254" y="167159"/>
                </a:lnTo>
                <a:lnTo>
                  <a:pt x="4723422" y="181680"/>
                </a:lnTo>
                <a:lnTo>
                  <a:pt x="4732677" y="188766"/>
                </a:lnTo>
                <a:lnTo>
                  <a:pt x="4742330" y="197671"/>
                </a:lnTo>
                <a:lnTo>
                  <a:pt x="4761772" y="214115"/>
                </a:lnTo>
                <a:lnTo>
                  <a:pt x="4780240" y="232644"/>
                </a:lnTo>
                <a:lnTo>
                  <a:pt x="4789891" y="241547"/>
                </a:lnTo>
                <a:lnTo>
                  <a:pt x="4797611" y="250071"/>
                </a:lnTo>
                <a:lnTo>
                  <a:pt x="4813434" y="265946"/>
                </a:lnTo>
                <a:lnTo>
                  <a:pt x="4832816" y="288945"/>
                </a:lnTo>
                <a:lnTo>
                  <a:pt x="4842544" y="299687"/>
                </a:lnTo>
                <a:lnTo>
                  <a:pt x="4848468" y="307520"/>
                </a:lnTo>
                <a:lnTo>
                  <a:pt x="4860959" y="322342"/>
                </a:lnTo>
                <a:lnTo>
                  <a:pt x="4880845" y="350326"/>
                </a:lnTo>
                <a:lnTo>
                  <a:pt x="4890290" y="362811"/>
                </a:lnTo>
                <a:lnTo>
                  <a:pt x="4894592" y="369669"/>
                </a:lnTo>
                <a:lnTo>
                  <a:pt x="4904061" y="382992"/>
                </a:lnTo>
                <a:lnTo>
                  <a:pt x="4924050" y="416618"/>
                </a:lnTo>
                <a:lnTo>
                  <a:pt x="4932786" y="430542"/>
                </a:lnTo>
                <a:lnTo>
                  <a:pt x="4935671" y="436166"/>
                </a:lnTo>
                <a:lnTo>
                  <a:pt x="4942458" y="447585"/>
                </a:lnTo>
                <a:lnTo>
                  <a:pt x="4962189" y="487877"/>
                </a:lnTo>
                <a:lnTo>
                  <a:pt x="4969687" y="502499"/>
                </a:lnTo>
                <a:lnTo>
                  <a:pt x="4971387" y="506663"/>
                </a:lnTo>
                <a:lnTo>
                  <a:pt x="4975867" y="515811"/>
                </a:lnTo>
                <a:lnTo>
                  <a:pt x="4995146" y="564832"/>
                </a:lnTo>
                <a:lnTo>
                  <a:pt x="5000650" y="578307"/>
                </a:lnTo>
                <a:lnTo>
                  <a:pt x="5001426" y="580801"/>
                </a:lnTo>
                <a:lnTo>
                  <a:pt x="5004006" y="587360"/>
                </a:lnTo>
                <a:lnTo>
                  <a:pt x="5023359" y="651256"/>
                </a:lnTo>
                <a:lnTo>
                  <a:pt x="5025331" y="657589"/>
                </a:lnTo>
                <a:lnTo>
                  <a:pt x="5025470" y="658226"/>
                </a:lnTo>
                <a:lnTo>
                  <a:pt x="5026589" y="661917"/>
                </a:lnTo>
                <a:cubicBezTo>
                  <a:pt x="5039730" y="712558"/>
                  <a:pt x="5048979" y="764997"/>
                  <a:pt x="5053959" y="818822"/>
                </a:cubicBezTo>
                <a:lnTo>
                  <a:pt x="5054122" y="822386"/>
                </a:lnTo>
                <a:lnTo>
                  <a:pt x="5054471" y="825062"/>
                </a:lnTo>
                <a:lnTo>
                  <a:pt x="5056373" y="869160"/>
                </a:lnTo>
                <a:lnTo>
                  <a:pt x="5058243" y="869160"/>
                </a:lnTo>
                <a:lnTo>
                  <a:pt x="5058243" y="911943"/>
                </a:lnTo>
                <a:lnTo>
                  <a:pt x="5058243" y="911952"/>
                </a:lnTo>
                <a:lnTo>
                  <a:pt x="5058243" y="911961"/>
                </a:lnTo>
                <a:lnTo>
                  <a:pt x="5058243" y="912498"/>
                </a:lnTo>
                <a:lnTo>
                  <a:pt x="5058243" y="921144"/>
                </a:lnTo>
                <a:lnTo>
                  <a:pt x="5058243" y="1475769"/>
                </a:lnTo>
                <a:lnTo>
                  <a:pt x="5058243" y="1833094"/>
                </a:lnTo>
                <a:lnTo>
                  <a:pt x="5058243" y="2396911"/>
                </a:lnTo>
                <a:lnTo>
                  <a:pt x="5058243" y="3308853"/>
                </a:lnTo>
                <a:lnTo>
                  <a:pt x="4272161" y="3308853"/>
                </a:lnTo>
                <a:lnTo>
                  <a:pt x="4228185" y="3308853"/>
                </a:lnTo>
                <a:lnTo>
                  <a:pt x="3395429" y="3308853"/>
                </a:lnTo>
                <a:lnTo>
                  <a:pt x="2849614" y="3308853"/>
                </a:lnTo>
                <a:lnTo>
                  <a:pt x="2609347" y="3308853"/>
                </a:lnTo>
                <a:lnTo>
                  <a:pt x="2565371" y="3308853"/>
                </a:lnTo>
                <a:lnTo>
                  <a:pt x="2492873" y="3308853"/>
                </a:lnTo>
                <a:lnTo>
                  <a:pt x="1186800" y="3308853"/>
                </a:lnTo>
                <a:lnTo>
                  <a:pt x="830059" y="3308853"/>
                </a:lnTo>
                <a:lnTo>
                  <a:pt x="830059" y="3307764"/>
                </a:lnTo>
                <a:lnTo>
                  <a:pt x="830058" y="3307764"/>
                </a:lnTo>
                <a:lnTo>
                  <a:pt x="829810" y="3307764"/>
                </a:lnTo>
                <a:lnTo>
                  <a:pt x="819162" y="3307764"/>
                </a:lnTo>
                <a:lnTo>
                  <a:pt x="786082" y="3307764"/>
                </a:lnTo>
                <a:lnTo>
                  <a:pt x="786082" y="3305491"/>
                </a:lnTo>
                <a:lnTo>
                  <a:pt x="750202" y="3303627"/>
                </a:lnTo>
                <a:lnTo>
                  <a:pt x="747117" y="3303152"/>
                </a:lnTo>
                <a:lnTo>
                  <a:pt x="745413" y="3303058"/>
                </a:lnTo>
                <a:lnTo>
                  <a:pt x="729231" y="3300404"/>
                </a:lnTo>
                <a:lnTo>
                  <a:pt x="677499" y="3292454"/>
                </a:lnTo>
                <a:lnTo>
                  <a:pt x="671549" y="3290943"/>
                </a:lnTo>
                <a:lnTo>
                  <a:pt x="668045" y="3290369"/>
                </a:lnTo>
                <a:lnTo>
                  <a:pt x="649955" y="3285459"/>
                </a:lnTo>
                <a:lnTo>
                  <a:pt x="606951" y="3274540"/>
                </a:lnTo>
                <a:lnTo>
                  <a:pt x="598251" y="3271430"/>
                </a:lnTo>
                <a:lnTo>
                  <a:pt x="593175" y="3270053"/>
                </a:lnTo>
                <a:lnTo>
                  <a:pt x="575868" y="3263431"/>
                </a:lnTo>
                <a:lnTo>
                  <a:pt x="538844" y="3250196"/>
                </a:lnTo>
                <a:lnTo>
                  <a:pt x="527609" y="3244962"/>
                </a:lnTo>
                <a:lnTo>
                  <a:pt x="521149" y="3242489"/>
                </a:lnTo>
                <a:lnTo>
                  <a:pt x="505478" y="3234651"/>
                </a:lnTo>
                <a:lnTo>
                  <a:pt x="473459" y="3219734"/>
                </a:lnTo>
                <a:lnTo>
                  <a:pt x="459942" y="3211874"/>
                </a:lnTo>
                <a:lnTo>
                  <a:pt x="452309" y="3208056"/>
                </a:lnTo>
                <a:lnTo>
                  <a:pt x="438588" y="3199457"/>
                </a:lnTo>
                <a:lnTo>
                  <a:pt x="411080" y="3183462"/>
                </a:lnTo>
                <a:lnTo>
                  <a:pt x="395573" y="3172501"/>
                </a:lnTo>
                <a:lnTo>
                  <a:pt x="387001" y="3167129"/>
                </a:lnTo>
                <a:lnTo>
                  <a:pt x="375324" y="3158188"/>
                </a:lnTo>
                <a:lnTo>
                  <a:pt x="351989" y="3141694"/>
                </a:lnTo>
                <a:lnTo>
                  <a:pt x="334821" y="3127173"/>
                </a:lnTo>
                <a:lnTo>
                  <a:pt x="325566" y="3120087"/>
                </a:lnTo>
                <a:lnTo>
                  <a:pt x="315914" y="3111182"/>
                </a:lnTo>
                <a:lnTo>
                  <a:pt x="296471" y="3094738"/>
                </a:lnTo>
                <a:lnTo>
                  <a:pt x="278003" y="3076209"/>
                </a:lnTo>
                <a:lnTo>
                  <a:pt x="268352" y="3067306"/>
                </a:lnTo>
                <a:lnTo>
                  <a:pt x="260632" y="3058782"/>
                </a:lnTo>
                <a:lnTo>
                  <a:pt x="244809" y="3042907"/>
                </a:lnTo>
                <a:lnTo>
                  <a:pt x="225428" y="3019909"/>
                </a:lnTo>
                <a:lnTo>
                  <a:pt x="215699" y="3009166"/>
                </a:lnTo>
                <a:lnTo>
                  <a:pt x="209775" y="3001333"/>
                </a:lnTo>
                <a:lnTo>
                  <a:pt x="197285" y="2986511"/>
                </a:lnTo>
                <a:lnTo>
                  <a:pt x="177398" y="2958527"/>
                </a:lnTo>
                <a:lnTo>
                  <a:pt x="167953" y="2946042"/>
                </a:lnTo>
                <a:lnTo>
                  <a:pt x="163651" y="2939184"/>
                </a:lnTo>
                <a:lnTo>
                  <a:pt x="154182" y="2925861"/>
                </a:lnTo>
                <a:lnTo>
                  <a:pt x="134194" y="2892235"/>
                </a:lnTo>
                <a:lnTo>
                  <a:pt x="125458" y="2878311"/>
                </a:lnTo>
                <a:lnTo>
                  <a:pt x="122573" y="2872686"/>
                </a:lnTo>
                <a:lnTo>
                  <a:pt x="115785" y="2861268"/>
                </a:lnTo>
                <a:lnTo>
                  <a:pt x="96055" y="2820976"/>
                </a:lnTo>
                <a:lnTo>
                  <a:pt x="88557" y="2806354"/>
                </a:lnTo>
                <a:lnTo>
                  <a:pt x="86856" y="2802190"/>
                </a:lnTo>
                <a:lnTo>
                  <a:pt x="82376" y="2793042"/>
                </a:lnTo>
                <a:lnTo>
                  <a:pt x="63097" y="2744021"/>
                </a:lnTo>
                <a:lnTo>
                  <a:pt x="57594" y="2730546"/>
                </a:lnTo>
                <a:lnTo>
                  <a:pt x="56818" y="2728052"/>
                </a:lnTo>
                <a:lnTo>
                  <a:pt x="54238" y="2721493"/>
                </a:lnTo>
                <a:lnTo>
                  <a:pt x="34884" y="2657597"/>
                </a:lnTo>
                <a:lnTo>
                  <a:pt x="32912" y="2651264"/>
                </a:lnTo>
                <a:lnTo>
                  <a:pt x="32773" y="2650627"/>
                </a:lnTo>
                <a:lnTo>
                  <a:pt x="31655" y="2646936"/>
                </a:lnTo>
                <a:cubicBezTo>
                  <a:pt x="18514" y="2596295"/>
                  <a:pt x="9264" y="2543856"/>
                  <a:pt x="4285" y="2490031"/>
                </a:cubicBezTo>
                <a:lnTo>
                  <a:pt x="4121" y="2486466"/>
                </a:lnTo>
                <a:lnTo>
                  <a:pt x="3772" y="2483791"/>
                </a:lnTo>
                <a:lnTo>
                  <a:pt x="1870" y="2439693"/>
                </a:lnTo>
                <a:lnTo>
                  <a:pt x="1" y="2439693"/>
                </a:lnTo>
                <a:lnTo>
                  <a:pt x="1" y="2396909"/>
                </a:lnTo>
                <a:lnTo>
                  <a:pt x="0" y="2396901"/>
                </a:lnTo>
                <a:lnTo>
                  <a:pt x="1" y="2396892"/>
                </a:lnTo>
                <a:lnTo>
                  <a:pt x="1" y="2396355"/>
                </a:lnTo>
                <a:lnTo>
                  <a:pt x="1" y="2387709"/>
                </a:lnTo>
                <a:lnTo>
                  <a:pt x="0" y="2387709"/>
                </a:lnTo>
                <a:lnTo>
                  <a:pt x="0" y="1833085"/>
                </a:lnTo>
                <a:lnTo>
                  <a:pt x="0" y="1833084"/>
                </a:lnTo>
                <a:lnTo>
                  <a:pt x="0" y="1833083"/>
                </a:lnTo>
                <a:lnTo>
                  <a:pt x="0" y="1475758"/>
                </a:lnTo>
                <a:lnTo>
                  <a:pt x="0" y="91194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52879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5D3C7B6-CC75-401E-9787-A9ACE4C59D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77350" y="0"/>
            <a:ext cx="2933700" cy="2463507"/>
          </a:xfrm>
          <a:custGeom>
            <a:avLst/>
            <a:gdLst>
              <a:gd name="connsiteX0" fmla="*/ 677230 w 2933700"/>
              <a:gd name="connsiteY0" fmla="*/ 0 h 2463507"/>
              <a:gd name="connsiteX1" fmla="*/ 910198 w 2933700"/>
              <a:gd name="connsiteY1" fmla="*/ 0 h 2463507"/>
              <a:gd name="connsiteX2" fmla="*/ 938962 w 2933700"/>
              <a:gd name="connsiteY2" fmla="*/ 0 h 2463507"/>
              <a:gd name="connsiteX3" fmla="*/ 956411 w 2933700"/>
              <a:gd name="connsiteY3" fmla="*/ 0 h 2463507"/>
              <a:gd name="connsiteX4" fmla="*/ 1051743 w 2933700"/>
              <a:gd name="connsiteY4" fmla="*/ 0 h 2463507"/>
              <a:gd name="connsiteX5" fmla="*/ 1062768 w 2933700"/>
              <a:gd name="connsiteY5" fmla="*/ 0 h 2463507"/>
              <a:gd name="connsiteX6" fmla="*/ 1204313 w 2933700"/>
              <a:gd name="connsiteY6" fmla="*/ 0 h 2463507"/>
              <a:gd name="connsiteX7" fmla="*/ 1268308 w 2933700"/>
              <a:gd name="connsiteY7" fmla="*/ 0 h 2463507"/>
              <a:gd name="connsiteX8" fmla="*/ 1598724 w 2933700"/>
              <a:gd name="connsiteY8" fmla="*/ 0 h 2463507"/>
              <a:gd name="connsiteX9" fmla="*/ 1616172 w 2933700"/>
              <a:gd name="connsiteY9" fmla="*/ 0 h 2463507"/>
              <a:gd name="connsiteX10" fmla="*/ 1722529 w 2933700"/>
              <a:gd name="connsiteY10" fmla="*/ 0 h 2463507"/>
              <a:gd name="connsiteX11" fmla="*/ 1751294 w 2933700"/>
              <a:gd name="connsiteY11" fmla="*/ 0 h 2463507"/>
              <a:gd name="connsiteX12" fmla="*/ 1768742 w 2933700"/>
              <a:gd name="connsiteY12" fmla="*/ 0 h 2463507"/>
              <a:gd name="connsiteX13" fmla="*/ 1864074 w 2933700"/>
              <a:gd name="connsiteY13" fmla="*/ 0 h 2463507"/>
              <a:gd name="connsiteX14" fmla="*/ 1928069 w 2933700"/>
              <a:gd name="connsiteY14" fmla="*/ 0 h 2463507"/>
              <a:gd name="connsiteX15" fmla="*/ 2080639 w 2933700"/>
              <a:gd name="connsiteY15" fmla="*/ 0 h 2463507"/>
              <a:gd name="connsiteX16" fmla="*/ 2256470 w 2933700"/>
              <a:gd name="connsiteY16" fmla="*/ 0 h 2463507"/>
              <a:gd name="connsiteX17" fmla="*/ 2256470 w 2933700"/>
              <a:gd name="connsiteY17" fmla="*/ 1 h 2463507"/>
              <a:gd name="connsiteX18" fmla="*/ 2323152 w 2933700"/>
              <a:gd name="connsiteY18" fmla="*/ 1 h 2463507"/>
              <a:gd name="connsiteX19" fmla="*/ 2355498 w 2933700"/>
              <a:gd name="connsiteY19" fmla="*/ 1 h 2463507"/>
              <a:gd name="connsiteX20" fmla="*/ 2933700 w 2933700"/>
              <a:gd name="connsiteY20" fmla="*/ 1 h 2463507"/>
              <a:gd name="connsiteX21" fmla="*/ 2933700 w 2933700"/>
              <a:gd name="connsiteY21" fmla="*/ 678959 h 2463507"/>
              <a:gd name="connsiteX22" fmla="*/ 2933700 w 2933700"/>
              <a:gd name="connsiteY22" fmla="*/ 1098732 h 2463507"/>
              <a:gd name="connsiteX23" fmla="*/ 2933700 w 2933700"/>
              <a:gd name="connsiteY23" fmla="*/ 1364768 h 2463507"/>
              <a:gd name="connsiteX24" fmla="*/ 2933700 w 2933700"/>
              <a:gd name="connsiteY24" fmla="*/ 1777698 h 2463507"/>
              <a:gd name="connsiteX25" fmla="*/ 2933700 w 2933700"/>
              <a:gd name="connsiteY25" fmla="*/ 1784134 h 2463507"/>
              <a:gd name="connsiteX26" fmla="*/ 2933700 w 2933700"/>
              <a:gd name="connsiteY26" fmla="*/ 1784534 h 2463507"/>
              <a:gd name="connsiteX27" fmla="*/ 2933700 w 2933700"/>
              <a:gd name="connsiteY27" fmla="*/ 1784541 h 2463507"/>
              <a:gd name="connsiteX28" fmla="*/ 2933700 w 2933700"/>
              <a:gd name="connsiteY28" fmla="*/ 1784547 h 2463507"/>
              <a:gd name="connsiteX29" fmla="*/ 2933700 w 2933700"/>
              <a:gd name="connsiteY29" fmla="*/ 1816401 h 2463507"/>
              <a:gd name="connsiteX30" fmla="*/ 2932325 w 2933700"/>
              <a:gd name="connsiteY30" fmla="*/ 1816401 h 2463507"/>
              <a:gd name="connsiteX31" fmla="*/ 2930926 w 2933700"/>
              <a:gd name="connsiteY31" fmla="*/ 1849232 h 2463507"/>
              <a:gd name="connsiteX32" fmla="*/ 2930669 w 2933700"/>
              <a:gd name="connsiteY32" fmla="*/ 1851224 h 2463507"/>
              <a:gd name="connsiteX33" fmla="*/ 2930549 w 2933700"/>
              <a:gd name="connsiteY33" fmla="*/ 1853877 h 2463507"/>
              <a:gd name="connsiteX34" fmla="*/ 2910418 w 2933700"/>
              <a:gd name="connsiteY34" fmla="*/ 1970697 h 2463507"/>
              <a:gd name="connsiteX35" fmla="*/ 2909594 w 2933700"/>
              <a:gd name="connsiteY35" fmla="*/ 1973444 h 2463507"/>
              <a:gd name="connsiteX36" fmla="*/ 2909492 w 2933700"/>
              <a:gd name="connsiteY36" fmla="*/ 1973919 h 2463507"/>
              <a:gd name="connsiteX37" fmla="*/ 2908041 w 2933700"/>
              <a:gd name="connsiteY37" fmla="*/ 1978634 h 2463507"/>
              <a:gd name="connsiteX38" fmla="*/ 2893806 w 2933700"/>
              <a:gd name="connsiteY38" fmla="*/ 2026206 h 2463507"/>
              <a:gd name="connsiteX39" fmla="*/ 2891908 w 2933700"/>
              <a:gd name="connsiteY39" fmla="*/ 2031089 h 2463507"/>
              <a:gd name="connsiteX40" fmla="*/ 2891338 w 2933700"/>
              <a:gd name="connsiteY40" fmla="*/ 2032946 h 2463507"/>
              <a:gd name="connsiteX41" fmla="*/ 2887290 w 2933700"/>
              <a:gd name="connsiteY41" fmla="*/ 2042979 h 2463507"/>
              <a:gd name="connsiteX42" fmla="*/ 2873108 w 2933700"/>
              <a:gd name="connsiteY42" fmla="*/ 2079476 h 2463507"/>
              <a:gd name="connsiteX43" fmla="*/ 2869812 w 2933700"/>
              <a:gd name="connsiteY43" fmla="*/ 2086287 h 2463507"/>
              <a:gd name="connsiteX44" fmla="*/ 2868564 w 2933700"/>
              <a:gd name="connsiteY44" fmla="*/ 2089386 h 2463507"/>
              <a:gd name="connsiteX45" fmla="*/ 2863048 w 2933700"/>
              <a:gd name="connsiteY45" fmla="*/ 2100273 h 2463507"/>
              <a:gd name="connsiteX46" fmla="*/ 2848535 w 2933700"/>
              <a:gd name="connsiteY46" fmla="*/ 2130271 h 2463507"/>
              <a:gd name="connsiteX47" fmla="*/ 2843543 w 2933700"/>
              <a:gd name="connsiteY47" fmla="*/ 2138772 h 2463507"/>
              <a:gd name="connsiteX48" fmla="*/ 2841421 w 2933700"/>
              <a:gd name="connsiteY48" fmla="*/ 2142959 h 2463507"/>
              <a:gd name="connsiteX49" fmla="*/ 2834995 w 2933700"/>
              <a:gd name="connsiteY49" fmla="*/ 2153326 h 2463507"/>
              <a:gd name="connsiteX50" fmla="*/ 2820292 w 2933700"/>
              <a:gd name="connsiteY50" fmla="*/ 2178362 h 2463507"/>
              <a:gd name="connsiteX51" fmla="*/ 2813327 w 2933700"/>
              <a:gd name="connsiteY51" fmla="*/ 2188281 h 2463507"/>
              <a:gd name="connsiteX52" fmla="*/ 2810163 w 2933700"/>
              <a:gd name="connsiteY52" fmla="*/ 2193387 h 2463507"/>
              <a:gd name="connsiteX53" fmla="*/ 2803216 w 2933700"/>
              <a:gd name="connsiteY53" fmla="*/ 2202682 h 2463507"/>
              <a:gd name="connsiteX54" fmla="*/ 2788588 w 2933700"/>
              <a:gd name="connsiteY54" fmla="*/ 2223518 h 2463507"/>
              <a:gd name="connsiteX55" fmla="*/ 2779400 w 2933700"/>
              <a:gd name="connsiteY55" fmla="*/ 2234553 h 2463507"/>
              <a:gd name="connsiteX56" fmla="*/ 2775043 w 2933700"/>
              <a:gd name="connsiteY56" fmla="*/ 2240384 h 2463507"/>
              <a:gd name="connsiteX57" fmla="*/ 2767888 w 2933700"/>
              <a:gd name="connsiteY57" fmla="*/ 2248382 h 2463507"/>
              <a:gd name="connsiteX58" fmla="*/ 2753631 w 2933700"/>
              <a:gd name="connsiteY58" fmla="*/ 2265505 h 2463507"/>
              <a:gd name="connsiteX59" fmla="*/ 2741992 w 2933700"/>
              <a:gd name="connsiteY59" fmla="*/ 2277323 h 2463507"/>
              <a:gd name="connsiteX60" fmla="*/ 2736314 w 2933700"/>
              <a:gd name="connsiteY60" fmla="*/ 2283671 h 2463507"/>
              <a:gd name="connsiteX61" fmla="*/ 2729216 w 2933700"/>
              <a:gd name="connsiteY61" fmla="*/ 2290299 h 2463507"/>
              <a:gd name="connsiteX62" fmla="*/ 2715632 w 2933700"/>
              <a:gd name="connsiteY62" fmla="*/ 2304095 h 2463507"/>
              <a:gd name="connsiteX63" fmla="*/ 2701330 w 2933700"/>
              <a:gd name="connsiteY63" fmla="*/ 2316337 h 2463507"/>
              <a:gd name="connsiteX64" fmla="*/ 2694230 w 2933700"/>
              <a:gd name="connsiteY64" fmla="*/ 2322966 h 2463507"/>
              <a:gd name="connsiteX65" fmla="*/ 2687423 w 2933700"/>
              <a:gd name="connsiteY65" fmla="*/ 2328243 h 2463507"/>
              <a:gd name="connsiteX66" fmla="*/ 2674795 w 2933700"/>
              <a:gd name="connsiteY66" fmla="*/ 2339053 h 2463507"/>
              <a:gd name="connsiteX67" fmla="*/ 2657631 w 2933700"/>
              <a:gd name="connsiteY67" fmla="*/ 2351333 h 2463507"/>
              <a:gd name="connsiteX68" fmla="*/ 2649042 w 2933700"/>
              <a:gd name="connsiteY68" fmla="*/ 2357991 h 2463507"/>
              <a:gd name="connsiteX69" fmla="*/ 2642737 w 2933700"/>
              <a:gd name="connsiteY69" fmla="*/ 2361990 h 2463507"/>
              <a:gd name="connsiteX70" fmla="*/ 2631332 w 2933700"/>
              <a:gd name="connsiteY70" fmla="*/ 2370151 h 2463507"/>
              <a:gd name="connsiteX71" fmla="*/ 2611097 w 2933700"/>
              <a:gd name="connsiteY71" fmla="*/ 2382059 h 2463507"/>
              <a:gd name="connsiteX72" fmla="*/ 2601006 w 2933700"/>
              <a:gd name="connsiteY72" fmla="*/ 2388462 h 2463507"/>
              <a:gd name="connsiteX73" fmla="*/ 2595390 w 2933700"/>
              <a:gd name="connsiteY73" fmla="*/ 2391304 h 2463507"/>
              <a:gd name="connsiteX74" fmla="*/ 2585449 w 2933700"/>
              <a:gd name="connsiteY74" fmla="*/ 2397156 h 2463507"/>
              <a:gd name="connsiteX75" fmla="*/ 2561897 w 2933700"/>
              <a:gd name="connsiteY75" fmla="*/ 2408262 h 2463507"/>
              <a:gd name="connsiteX76" fmla="*/ 2550370 w 2933700"/>
              <a:gd name="connsiteY76" fmla="*/ 2414098 h 2463507"/>
              <a:gd name="connsiteX77" fmla="*/ 2545618 w 2933700"/>
              <a:gd name="connsiteY77" fmla="*/ 2415939 h 2463507"/>
              <a:gd name="connsiteX78" fmla="*/ 2537355 w 2933700"/>
              <a:gd name="connsiteY78" fmla="*/ 2419835 h 2463507"/>
              <a:gd name="connsiteX79" fmla="*/ 2510121 w 2933700"/>
              <a:gd name="connsiteY79" fmla="*/ 2429690 h 2463507"/>
              <a:gd name="connsiteX80" fmla="*/ 2497390 w 2933700"/>
              <a:gd name="connsiteY80" fmla="*/ 2434620 h 2463507"/>
              <a:gd name="connsiteX81" fmla="*/ 2493658 w 2933700"/>
              <a:gd name="connsiteY81" fmla="*/ 2435645 h 2463507"/>
              <a:gd name="connsiteX82" fmla="*/ 2487258 w 2933700"/>
              <a:gd name="connsiteY82" fmla="*/ 2437960 h 2463507"/>
              <a:gd name="connsiteX83" fmla="*/ 2455627 w 2933700"/>
              <a:gd name="connsiteY83" fmla="*/ 2446089 h 2463507"/>
              <a:gd name="connsiteX84" fmla="*/ 2442320 w 2933700"/>
              <a:gd name="connsiteY84" fmla="*/ 2449745 h 2463507"/>
              <a:gd name="connsiteX85" fmla="*/ 2439743 w 2933700"/>
              <a:gd name="connsiteY85" fmla="*/ 2450173 h 2463507"/>
              <a:gd name="connsiteX86" fmla="*/ 2435367 w 2933700"/>
              <a:gd name="connsiteY86" fmla="*/ 2451298 h 2463507"/>
              <a:gd name="connsiteX87" fmla="*/ 2397316 w 2933700"/>
              <a:gd name="connsiteY87" fmla="*/ 2457216 h 2463507"/>
              <a:gd name="connsiteX88" fmla="*/ 2385413 w 2933700"/>
              <a:gd name="connsiteY88" fmla="*/ 2459193 h 2463507"/>
              <a:gd name="connsiteX89" fmla="*/ 2384160 w 2933700"/>
              <a:gd name="connsiteY89" fmla="*/ 2459263 h 2463507"/>
              <a:gd name="connsiteX90" fmla="*/ 2381890 w 2933700"/>
              <a:gd name="connsiteY90" fmla="*/ 2459615 h 2463507"/>
              <a:gd name="connsiteX91" fmla="*/ 2355498 w 2933700"/>
              <a:gd name="connsiteY91" fmla="*/ 2461003 h 2463507"/>
              <a:gd name="connsiteX92" fmla="*/ 2355498 w 2933700"/>
              <a:gd name="connsiteY92" fmla="*/ 2462696 h 2463507"/>
              <a:gd name="connsiteX93" fmla="*/ 2331166 w 2933700"/>
              <a:gd name="connsiteY93" fmla="*/ 2462696 h 2463507"/>
              <a:gd name="connsiteX94" fmla="*/ 2323335 w 2933700"/>
              <a:gd name="connsiteY94" fmla="*/ 2462696 h 2463507"/>
              <a:gd name="connsiteX95" fmla="*/ 2323152 w 2933700"/>
              <a:gd name="connsiteY95" fmla="*/ 2462696 h 2463507"/>
              <a:gd name="connsiteX96" fmla="*/ 2323151 w 2933700"/>
              <a:gd name="connsiteY96" fmla="*/ 2462696 h 2463507"/>
              <a:gd name="connsiteX97" fmla="*/ 2323151 w 2933700"/>
              <a:gd name="connsiteY97" fmla="*/ 2463507 h 2463507"/>
              <a:gd name="connsiteX98" fmla="*/ 2060750 w 2933700"/>
              <a:gd name="connsiteY98" fmla="*/ 2463507 h 2463507"/>
              <a:gd name="connsiteX99" fmla="*/ 2036578 w 2933700"/>
              <a:gd name="connsiteY99" fmla="*/ 2463507 h 2463507"/>
              <a:gd name="connsiteX100" fmla="*/ 2036578 w 2933700"/>
              <a:gd name="connsiteY100" fmla="*/ 2463506 h 2463507"/>
              <a:gd name="connsiteX101" fmla="*/ 1751294 w 2933700"/>
              <a:gd name="connsiteY101" fmla="*/ 2463506 h 2463507"/>
              <a:gd name="connsiteX102" fmla="*/ 1609747 w 2933700"/>
              <a:gd name="connsiteY102" fmla="*/ 2463506 h 2463507"/>
              <a:gd name="connsiteX103" fmla="*/ 1598723 w 2933700"/>
              <a:gd name="connsiteY103" fmla="*/ 2463506 h 2463507"/>
              <a:gd name="connsiteX104" fmla="*/ 1457178 w 2933700"/>
              <a:gd name="connsiteY104" fmla="*/ 2463506 h 2463507"/>
              <a:gd name="connsiteX105" fmla="*/ 1401748 w 2933700"/>
              <a:gd name="connsiteY105" fmla="*/ 2463506 h 2463507"/>
              <a:gd name="connsiteX106" fmla="*/ 1401748 w 2933700"/>
              <a:gd name="connsiteY106" fmla="*/ 2463507 h 2463507"/>
              <a:gd name="connsiteX107" fmla="*/ 610548 w 2933700"/>
              <a:gd name="connsiteY107" fmla="*/ 2463507 h 2463507"/>
              <a:gd name="connsiteX108" fmla="*/ 578200 w 2933700"/>
              <a:gd name="connsiteY108" fmla="*/ 2463507 h 2463507"/>
              <a:gd name="connsiteX109" fmla="*/ 0 w 2933700"/>
              <a:gd name="connsiteY109" fmla="*/ 2463507 h 2463507"/>
              <a:gd name="connsiteX110" fmla="*/ 0 w 2933700"/>
              <a:gd name="connsiteY110" fmla="*/ 1784548 h 2463507"/>
              <a:gd name="connsiteX111" fmla="*/ 0 w 2933700"/>
              <a:gd name="connsiteY111" fmla="*/ 1364777 h 2463507"/>
              <a:gd name="connsiteX112" fmla="*/ 0 w 2933700"/>
              <a:gd name="connsiteY112" fmla="*/ 1098741 h 2463507"/>
              <a:gd name="connsiteX113" fmla="*/ 0 w 2933700"/>
              <a:gd name="connsiteY113" fmla="*/ 1098740 h 2463507"/>
              <a:gd name="connsiteX114" fmla="*/ 0 w 2933700"/>
              <a:gd name="connsiteY114" fmla="*/ 1098739 h 2463507"/>
              <a:gd name="connsiteX115" fmla="*/ 0 w 2933700"/>
              <a:gd name="connsiteY115" fmla="*/ 685811 h 2463507"/>
              <a:gd name="connsiteX116" fmla="*/ 0 w 2933700"/>
              <a:gd name="connsiteY116" fmla="*/ 679373 h 2463507"/>
              <a:gd name="connsiteX117" fmla="*/ 0 w 2933700"/>
              <a:gd name="connsiteY117" fmla="*/ 678974 h 2463507"/>
              <a:gd name="connsiteX118" fmla="*/ 0 w 2933700"/>
              <a:gd name="connsiteY118" fmla="*/ 678967 h 2463507"/>
              <a:gd name="connsiteX119" fmla="*/ 0 w 2933700"/>
              <a:gd name="connsiteY119" fmla="*/ 678962 h 2463507"/>
              <a:gd name="connsiteX120" fmla="*/ 0 w 2933700"/>
              <a:gd name="connsiteY120" fmla="*/ 647108 h 2463507"/>
              <a:gd name="connsiteX121" fmla="*/ 1375 w 2933700"/>
              <a:gd name="connsiteY121" fmla="*/ 647108 h 2463507"/>
              <a:gd name="connsiteX122" fmla="*/ 2774 w 2933700"/>
              <a:gd name="connsiteY122" fmla="*/ 614276 h 2463507"/>
              <a:gd name="connsiteX123" fmla="*/ 3031 w 2933700"/>
              <a:gd name="connsiteY123" fmla="*/ 612285 h 2463507"/>
              <a:gd name="connsiteX124" fmla="*/ 3151 w 2933700"/>
              <a:gd name="connsiteY124" fmla="*/ 609630 h 2463507"/>
              <a:gd name="connsiteX125" fmla="*/ 23283 w 2933700"/>
              <a:gd name="connsiteY125" fmla="*/ 492812 h 2463507"/>
              <a:gd name="connsiteX126" fmla="*/ 24106 w 2933700"/>
              <a:gd name="connsiteY126" fmla="*/ 490063 h 2463507"/>
              <a:gd name="connsiteX127" fmla="*/ 24208 w 2933700"/>
              <a:gd name="connsiteY127" fmla="*/ 489589 h 2463507"/>
              <a:gd name="connsiteX128" fmla="*/ 25658 w 2933700"/>
              <a:gd name="connsiteY128" fmla="*/ 484874 h 2463507"/>
              <a:gd name="connsiteX129" fmla="*/ 39895 w 2933700"/>
              <a:gd name="connsiteY129" fmla="*/ 437302 h 2463507"/>
              <a:gd name="connsiteX130" fmla="*/ 41793 w 2933700"/>
              <a:gd name="connsiteY130" fmla="*/ 432419 h 2463507"/>
              <a:gd name="connsiteX131" fmla="*/ 42363 w 2933700"/>
              <a:gd name="connsiteY131" fmla="*/ 430563 h 2463507"/>
              <a:gd name="connsiteX132" fmla="*/ 46410 w 2933700"/>
              <a:gd name="connsiteY132" fmla="*/ 420529 h 2463507"/>
              <a:gd name="connsiteX133" fmla="*/ 60591 w 2933700"/>
              <a:gd name="connsiteY133" fmla="*/ 384033 h 2463507"/>
              <a:gd name="connsiteX134" fmla="*/ 63886 w 2933700"/>
              <a:gd name="connsiteY134" fmla="*/ 377222 h 2463507"/>
              <a:gd name="connsiteX135" fmla="*/ 65138 w 2933700"/>
              <a:gd name="connsiteY135" fmla="*/ 374121 h 2463507"/>
              <a:gd name="connsiteX136" fmla="*/ 70652 w 2933700"/>
              <a:gd name="connsiteY136" fmla="*/ 363236 h 2463507"/>
              <a:gd name="connsiteX137" fmla="*/ 85165 w 2933700"/>
              <a:gd name="connsiteY137" fmla="*/ 333237 h 2463507"/>
              <a:gd name="connsiteX138" fmla="*/ 90158 w 2933700"/>
              <a:gd name="connsiteY138" fmla="*/ 324736 h 2463507"/>
              <a:gd name="connsiteX139" fmla="*/ 92280 w 2933700"/>
              <a:gd name="connsiteY139" fmla="*/ 320549 h 2463507"/>
              <a:gd name="connsiteX140" fmla="*/ 98706 w 2933700"/>
              <a:gd name="connsiteY140" fmla="*/ 310181 h 2463507"/>
              <a:gd name="connsiteX141" fmla="*/ 113408 w 2933700"/>
              <a:gd name="connsiteY141" fmla="*/ 285147 h 2463507"/>
              <a:gd name="connsiteX142" fmla="*/ 120373 w 2933700"/>
              <a:gd name="connsiteY142" fmla="*/ 275227 h 2463507"/>
              <a:gd name="connsiteX143" fmla="*/ 123537 w 2933700"/>
              <a:gd name="connsiteY143" fmla="*/ 270121 h 2463507"/>
              <a:gd name="connsiteX144" fmla="*/ 130484 w 2933700"/>
              <a:gd name="connsiteY144" fmla="*/ 260827 h 2463507"/>
              <a:gd name="connsiteX145" fmla="*/ 145113 w 2933700"/>
              <a:gd name="connsiteY145" fmla="*/ 239991 h 2463507"/>
              <a:gd name="connsiteX146" fmla="*/ 154299 w 2933700"/>
              <a:gd name="connsiteY146" fmla="*/ 228956 h 2463507"/>
              <a:gd name="connsiteX147" fmla="*/ 158657 w 2933700"/>
              <a:gd name="connsiteY147" fmla="*/ 223124 h 2463507"/>
              <a:gd name="connsiteX148" fmla="*/ 165813 w 2933700"/>
              <a:gd name="connsiteY148" fmla="*/ 215125 h 2463507"/>
              <a:gd name="connsiteX149" fmla="*/ 180069 w 2933700"/>
              <a:gd name="connsiteY149" fmla="*/ 198003 h 2463507"/>
              <a:gd name="connsiteX150" fmla="*/ 191707 w 2933700"/>
              <a:gd name="connsiteY150" fmla="*/ 186184 h 2463507"/>
              <a:gd name="connsiteX151" fmla="*/ 197386 w 2933700"/>
              <a:gd name="connsiteY151" fmla="*/ 179838 h 2463507"/>
              <a:gd name="connsiteX152" fmla="*/ 204483 w 2933700"/>
              <a:gd name="connsiteY152" fmla="*/ 173209 h 2463507"/>
              <a:gd name="connsiteX153" fmla="*/ 218069 w 2933700"/>
              <a:gd name="connsiteY153" fmla="*/ 159414 h 2463507"/>
              <a:gd name="connsiteX154" fmla="*/ 232369 w 2933700"/>
              <a:gd name="connsiteY154" fmla="*/ 147172 h 2463507"/>
              <a:gd name="connsiteX155" fmla="*/ 239470 w 2933700"/>
              <a:gd name="connsiteY155" fmla="*/ 140541 h 2463507"/>
              <a:gd name="connsiteX156" fmla="*/ 246276 w 2933700"/>
              <a:gd name="connsiteY156" fmla="*/ 135266 h 2463507"/>
              <a:gd name="connsiteX157" fmla="*/ 258905 w 2933700"/>
              <a:gd name="connsiteY157" fmla="*/ 124455 h 2463507"/>
              <a:gd name="connsiteX158" fmla="*/ 276069 w 2933700"/>
              <a:gd name="connsiteY158" fmla="*/ 112174 h 2463507"/>
              <a:gd name="connsiteX159" fmla="*/ 284657 w 2933700"/>
              <a:gd name="connsiteY159" fmla="*/ 105518 h 2463507"/>
              <a:gd name="connsiteX160" fmla="*/ 290963 w 2933700"/>
              <a:gd name="connsiteY160" fmla="*/ 101518 h 2463507"/>
              <a:gd name="connsiteX161" fmla="*/ 302368 w 2933700"/>
              <a:gd name="connsiteY161" fmla="*/ 93357 h 2463507"/>
              <a:gd name="connsiteX162" fmla="*/ 322603 w 2933700"/>
              <a:gd name="connsiteY162" fmla="*/ 81449 h 2463507"/>
              <a:gd name="connsiteX163" fmla="*/ 332694 w 2933700"/>
              <a:gd name="connsiteY163" fmla="*/ 75047 h 2463507"/>
              <a:gd name="connsiteX164" fmla="*/ 338309 w 2933700"/>
              <a:gd name="connsiteY164" fmla="*/ 72205 h 2463507"/>
              <a:gd name="connsiteX165" fmla="*/ 348251 w 2933700"/>
              <a:gd name="connsiteY165" fmla="*/ 66352 h 2463507"/>
              <a:gd name="connsiteX166" fmla="*/ 371803 w 2933700"/>
              <a:gd name="connsiteY166" fmla="*/ 55247 h 2463507"/>
              <a:gd name="connsiteX167" fmla="*/ 383330 w 2933700"/>
              <a:gd name="connsiteY167" fmla="*/ 49411 h 2463507"/>
              <a:gd name="connsiteX168" fmla="*/ 388082 w 2933700"/>
              <a:gd name="connsiteY168" fmla="*/ 47570 h 2463507"/>
              <a:gd name="connsiteX169" fmla="*/ 396345 w 2933700"/>
              <a:gd name="connsiteY169" fmla="*/ 43673 h 2463507"/>
              <a:gd name="connsiteX170" fmla="*/ 423579 w 2933700"/>
              <a:gd name="connsiteY170" fmla="*/ 33819 h 2463507"/>
              <a:gd name="connsiteX171" fmla="*/ 436308 w 2933700"/>
              <a:gd name="connsiteY171" fmla="*/ 28889 h 2463507"/>
              <a:gd name="connsiteX172" fmla="*/ 440042 w 2933700"/>
              <a:gd name="connsiteY172" fmla="*/ 27863 h 2463507"/>
              <a:gd name="connsiteX173" fmla="*/ 446442 w 2933700"/>
              <a:gd name="connsiteY173" fmla="*/ 25548 h 2463507"/>
              <a:gd name="connsiteX174" fmla="*/ 478073 w 2933700"/>
              <a:gd name="connsiteY174" fmla="*/ 17419 h 2463507"/>
              <a:gd name="connsiteX175" fmla="*/ 491380 w 2933700"/>
              <a:gd name="connsiteY175" fmla="*/ 13763 h 2463507"/>
              <a:gd name="connsiteX176" fmla="*/ 493956 w 2933700"/>
              <a:gd name="connsiteY176" fmla="*/ 13335 h 2463507"/>
              <a:gd name="connsiteX177" fmla="*/ 498333 w 2933700"/>
              <a:gd name="connsiteY177" fmla="*/ 12211 h 2463507"/>
              <a:gd name="connsiteX178" fmla="*/ 536385 w 2933700"/>
              <a:gd name="connsiteY178" fmla="*/ 6291 h 2463507"/>
              <a:gd name="connsiteX179" fmla="*/ 548287 w 2933700"/>
              <a:gd name="connsiteY179" fmla="*/ 4316 h 2463507"/>
              <a:gd name="connsiteX180" fmla="*/ 549541 w 2933700"/>
              <a:gd name="connsiteY180" fmla="*/ 4245 h 2463507"/>
              <a:gd name="connsiteX181" fmla="*/ 551810 w 2933700"/>
              <a:gd name="connsiteY181" fmla="*/ 3892 h 2463507"/>
              <a:gd name="connsiteX182" fmla="*/ 578200 w 2933700"/>
              <a:gd name="connsiteY182" fmla="*/ 2505 h 2463507"/>
              <a:gd name="connsiteX183" fmla="*/ 578200 w 2933700"/>
              <a:gd name="connsiteY183" fmla="*/ 812 h 2463507"/>
              <a:gd name="connsiteX184" fmla="*/ 602533 w 2933700"/>
              <a:gd name="connsiteY184" fmla="*/ 812 h 2463507"/>
              <a:gd name="connsiteX185" fmla="*/ 610365 w 2933700"/>
              <a:gd name="connsiteY185" fmla="*/ 812 h 2463507"/>
              <a:gd name="connsiteX186" fmla="*/ 610548 w 2933700"/>
              <a:gd name="connsiteY186" fmla="*/ 812 h 2463507"/>
              <a:gd name="connsiteX187" fmla="*/ 610548 w 2933700"/>
              <a:gd name="connsiteY187" fmla="*/ 1 h 2463507"/>
              <a:gd name="connsiteX188" fmla="*/ 677230 w 2933700"/>
              <a:gd name="connsiteY188" fmla="*/ 1 h 2463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2933700" h="2463507">
                <a:moveTo>
                  <a:pt x="677230" y="0"/>
                </a:moveTo>
                <a:lnTo>
                  <a:pt x="910198" y="0"/>
                </a:lnTo>
                <a:lnTo>
                  <a:pt x="938962" y="0"/>
                </a:lnTo>
                <a:lnTo>
                  <a:pt x="956411" y="0"/>
                </a:lnTo>
                <a:lnTo>
                  <a:pt x="1051743" y="0"/>
                </a:lnTo>
                <a:lnTo>
                  <a:pt x="1062768" y="0"/>
                </a:lnTo>
                <a:lnTo>
                  <a:pt x="1204313" y="0"/>
                </a:lnTo>
                <a:lnTo>
                  <a:pt x="1268308" y="0"/>
                </a:lnTo>
                <a:lnTo>
                  <a:pt x="1598724" y="0"/>
                </a:lnTo>
                <a:lnTo>
                  <a:pt x="1616172" y="0"/>
                </a:lnTo>
                <a:lnTo>
                  <a:pt x="1722529" y="0"/>
                </a:lnTo>
                <a:lnTo>
                  <a:pt x="1751294" y="0"/>
                </a:lnTo>
                <a:lnTo>
                  <a:pt x="1768742" y="0"/>
                </a:lnTo>
                <a:lnTo>
                  <a:pt x="1864074" y="0"/>
                </a:lnTo>
                <a:lnTo>
                  <a:pt x="1928069" y="0"/>
                </a:lnTo>
                <a:lnTo>
                  <a:pt x="2080639" y="0"/>
                </a:lnTo>
                <a:lnTo>
                  <a:pt x="2256470" y="0"/>
                </a:lnTo>
                <a:lnTo>
                  <a:pt x="2256470" y="1"/>
                </a:lnTo>
                <a:lnTo>
                  <a:pt x="2323152" y="1"/>
                </a:lnTo>
                <a:lnTo>
                  <a:pt x="2355498" y="1"/>
                </a:lnTo>
                <a:lnTo>
                  <a:pt x="2933700" y="1"/>
                </a:lnTo>
                <a:lnTo>
                  <a:pt x="2933700" y="678959"/>
                </a:lnTo>
                <a:lnTo>
                  <a:pt x="2933700" y="1098732"/>
                </a:lnTo>
                <a:lnTo>
                  <a:pt x="2933700" y="1364768"/>
                </a:lnTo>
                <a:lnTo>
                  <a:pt x="2933700" y="1777698"/>
                </a:lnTo>
                <a:lnTo>
                  <a:pt x="2933700" y="1784134"/>
                </a:lnTo>
                <a:lnTo>
                  <a:pt x="2933700" y="1784534"/>
                </a:lnTo>
                <a:lnTo>
                  <a:pt x="2933700" y="1784541"/>
                </a:lnTo>
                <a:lnTo>
                  <a:pt x="2933700" y="1784547"/>
                </a:lnTo>
                <a:lnTo>
                  <a:pt x="2933700" y="1816401"/>
                </a:lnTo>
                <a:lnTo>
                  <a:pt x="2932325" y="1816401"/>
                </a:lnTo>
                <a:lnTo>
                  <a:pt x="2930926" y="1849232"/>
                </a:lnTo>
                <a:lnTo>
                  <a:pt x="2930669" y="1851224"/>
                </a:lnTo>
                <a:lnTo>
                  <a:pt x="2930549" y="1853877"/>
                </a:lnTo>
                <a:cubicBezTo>
                  <a:pt x="2926886" y="1893951"/>
                  <a:pt x="2920084" y="1932994"/>
                  <a:pt x="2910418" y="1970697"/>
                </a:cubicBezTo>
                <a:lnTo>
                  <a:pt x="2909594" y="1973444"/>
                </a:lnTo>
                <a:lnTo>
                  <a:pt x="2909492" y="1973919"/>
                </a:lnTo>
                <a:lnTo>
                  <a:pt x="2908041" y="1978634"/>
                </a:lnTo>
                <a:lnTo>
                  <a:pt x="2893806" y="2026206"/>
                </a:lnTo>
                <a:lnTo>
                  <a:pt x="2891908" y="2031089"/>
                </a:lnTo>
                <a:lnTo>
                  <a:pt x="2891338" y="2032946"/>
                </a:lnTo>
                <a:lnTo>
                  <a:pt x="2887290" y="2042979"/>
                </a:lnTo>
                <a:lnTo>
                  <a:pt x="2873108" y="2079476"/>
                </a:lnTo>
                <a:lnTo>
                  <a:pt x="2869812" y="2086287"/>
                </a:lnTo>
                <a:lnTo>
                  <a:pt x="2868564" y="2089386"/>
                </a:lnTo>
                <a:lnTo>
                  <a:pt x="2863048" y="2100273"/>
                </a:lnTo>
                <a:lnTo>
                  <a:pt x="2848535" y="2130271"/>
                </a:lnTo>
                <a:lnTo>
                  <a:pt x="2843543" y="2138772"/>
                </a:lnTo>
                <a:lnTo>
                  <a:pt x="2841421" y="2142959"/>
                </a:lnTo>
                <a:lnTo>
                  <a:pt x="2834995" y="2153326"/>
                </a:lnTo>
                <a:lnTo>
                  <a:pt x="2820292" y="2178362"/>
                </a:lnTo>
                <a:lnTo>
                  <a:pt x="2813327" y="2188281"/>
                </a:lnTo>
                <a:lnTo>
                  <a:pt x="2810163" y="2193387"/>
                </a:lnTo>
                <a:lnTo>
                  <a:pt x="2803216" y="2202682"/>
                </a:lnTo>
                <a:lnTo>
                  <a:pt x="2788588" y="2223518"/>
                </a:lnTo>
                <a:lnTo>
                  <a:pt x="2779400" y="2234553"/>
                </a:lnTo>
                <a:lnTo>
                  <a:pt x="2775043" y="2240384"/>
                </a:lnTo>
                <a:lnTo>
                  <a:pt x="2767888" y="2248382"/>
                </a:lnTo>
                <a:lnTo>
                  <a:pt x="2753631" y="2265505"/>
                </a:lnTo>
                <a:lnTo>
                  <a:pt x="2741992" y="2277323"/>
                </a:lnTo>
                <a:lnTo>
                  <a:pt x="2736314" y="2283671"/>
                </a:lnTo>
                <a:lnTo>
                  <a:pt x="2729216" y="2290299"/>
                </a:lnTo>
                <a:lnTo>
                  <a:pt x="2715632" y="2304095"/>
                </a:lnTo>
                <a:lnTo>
                  <a:pt x="2701330" y="2316337"/>
                </a:lnTo>
                <a:lnTo>
                  <a:pt x="2694230" y="2322966"/>
                </a:lnTo>
                <a:lnTo>
                  <a:pt x="2687423" y="2328243"/>
                </a:lnTo>
                <a:lnTo>
                  <a:pt x="2674795" y="2339053"/>
                </a:lnTo>
                <a:lnTo>
                  <a:pt x="2657631" y="2351333"/>
                </a:lnTo>
                <a:lnTo>
                  <a:pt x="2649042" y="2357991"/>
                </a:lnTo>
                <a:lnTo>
                  <a:pt x="2642737" y="2361990"/>
                </a:lnTo>
                <a:lnTo>
                  <a:pt x="2631332" y="2370151"/>
                </a:lnTo>
                <a:lnTo>
                  <a:pt x="2611097" y="2382059"/>
                </a:lnTo>
                <a:lnTo>
                  <a:pt x="2601006" y="2388462"/>
                </a:lnTo>
                <a:lnTo>
                  <a:pt x="2595390" y="2391304"/>
                </a:lnTo>
                <a:lnTo>
                  <a:pt x="2585449" y="2397156"/>
                </a:lnTo>
                <a:lnTo>
                  <a:pt x="2561897" y="2408262"/>
                </a:lnTo>
                <a:lnTo>
                  <a:pt x="2550370" y="2414098"/>
                </a:lnTo>
                <a:lnTo>
                  <a:pt x="2545618" y="2415939"/>
                </a:lnTo>
                <a:lnTo>
                  <a:pt x="2537355" y="2419835"/>
                </a:lnTo>
                <a:lnTo>
                  <a:pt x="2510121" y="2429690"/>
                </a:lnTo>
                <a:lnTo>
                  <a:pt x="2497390" y="2434620"/>
                </a:lnTo>
                <a:lnTo>
                  <a:pt x="2493658" y="2435645"/>
                </a:lnTo>
                <a:lnTo>
                  <a:pt x="2487258" y="2437960"/>
                </a:lnTo>
                <a:lnTo>
                  <a:pt x="2455627" y="2446089"/>
                </a:lnTo>
                <a:lnTo>
                  <a:pt x="2442320" y="2449745"/>
                </a:lnTo>
                <a:lnTo>
                  <a:pt x="2439743" y="2450173"/>
                </a:lnTo>
                <a:lnTo>
                  <a:pt x="2435367" y="2451298"/>
                </a:lnTo>
                <a:lnTo>
                  <a:pt x="2397316" y="2457216"/>
                </a:lnTo>
                <a:lnTo>
                  <a:pt x="2385413" y="2459193"/>
                </a:lnTo>
                <a:lnTo>
                  <a:pt x="2384160" y="2459263"/>
                </a:lnTo>
                <a:lnTo>
                  <a:pt x="2381890" y="2459615"/>
                </a:lnTo>
                <a:lnTo>
                  <a:pt x="2355498" y="2461003"/>
                </a:lnTo>
                <a:lnTo>
                  <a:pt x="2355498" y="2462696"/>
                </a:lnTo>
                <a:lnTo>
                  <a:pt x="2331166" y="2462696"/>
                </a:lnTo>
                <a:lnTo>
                  <a:pt x="2323335" y="2462696"/>
                </a:lnTo>
                <a:lnTo>
                  <a:pt x="2323152" y="2462696"/>
                </a:lnTo>
                <a:lnTo>
                  <a:pt x="2323151" y="2462696"/>
                </a:lnTo>
                <a:lnTo>
                  <a:pt x="2323151" y="2463507"/>
                </a:lnTo>
                <a:lnTo>
                  <a:pt x="2060750" y="2463507"/>
                </a:lnTo>
                <a:lnTo>
                  <a:pt x="2036578" y="2463507"/>
                </a:lnTo>
                <a:lnTo>
                  <a:pt x="2036578" y="2463506"/>
                </a:lnTo>
                <a:lnTo>
                  <a:pt x="1751294" y="2463506"/>
                </a:lnTo>
                <a:lnTo>
                  <a:pt x="1609747" y="2463506"/>
                </a:lnTo>
                <a:lnTo>
                  <a:pt x="1598723" y="2463506"/>
                </a:lnTo>
                <a:lnTo>
                  <a:pt x="1457178" y="2463506"/>
                </a:lnTo>
                <a:lnTo>
                  <a:pt x="1401748" y="2463506"/>
                </a:lnTo>
                <a:lnTo>
                  <a:pt x="1401748" y="2463507"/>
                </a:lnTo>
                <a:lnTo>
                  <a:pt x="610548" y="2463507"/>
                </a:lnTo>
                <a:lnTo>
                  <a:pt x="578200" y="2463507"/>
                </a:lnTo>
                <a:lnTo>
                  <a:pt x="0" y="2463507"/>
                </a:lnTo>
                <a:lnTo>
                  <a:pt x="0" y="1784548"/>
                </a:lnTo>
                <a:lnTo>
                  <a:pt x="0" y="1364777"/>
                </a:lnTo>
                <a:lnTo>
                  <a:pt x="0" y="1098741"/>
                </a:lnTo>
                <a:lnTo>
                  <a:pt x="0" y="1098740"/>
                </a:lnTo>
                <a:lnTo>
                  <a:pt x="0" y="1098739"/>
                </a:lnTo>
                <a:lnTo>
                  <a:pt x="0" y="685811"/>
                </a:lnTo>
                <a:lnTo>
                  <a:pt x="0" y="679373"/>
                </a:lnTo>
                <a:lnTo>
                  <a:pt x="0" y="678974"/>
                </a:lnTo>
                <a:lnTo>
                  <a:pt x="0" y="678967"/>
                </a:lnTo>
                <a:lnTo>
                  <a:pt x="0" y="678962"/>
                </a:lnTo>
                <a:lnTo>
                  <a:pt x="0" y="647108"/>
                </a:lnTo>
                <a:lnTo>
                  <a:pt x="1375" y="647108"/>
                </a:lnTo>
                <a:lnTo>
                  <a:pt x="2774" y="614276"/>
                </a:lnTo>
                <a:lnTo>
                  <a:pt x="3031" y="612285"/>
                </a:lnTo>
                <a:lnTo>
                  <a:pt x="3151" y="609630"/>
                </a:lnTo>
                <a:cubicBezTo>
                  <a:pt x="6813" y="569557"/>
                  <a:pt x="13618" y="530515"/>
                  <a:pt x="23283" y="492812"/>
                </a:cubicBezTo>
                <a:lnTo>
                  <a:pt x="24106" y="490063"/>
                </a:lnTo>
                <a:lnTo>
                  <a:pt x="24208" y="489589"/>
                </a:lnTo>
                <a:lnTo>
                  <a:pt x="25658" y="484874"/>
                </a:lnTo>
                <a:lnTo>
                  <a:pt x="39895" y="437302"/>
                </a:lnTo>
                <a:lnTo>
                  <a:pt x="41793" y="432419"/>
                </a:lnTo>
                <a:lnTo>
                  <a:pt x="42363" y="430563"/>
                </a:lnTo>
                <a:lnTo>
                  <a:pt x="46410" y="420529"/>
                </a:lnTo>
                <a:lnTo>
                  <a:pt x="60591" y="384033"/>
                </a:lnTo>
                <a:lnTo>
                  <a:pt x="63886" y="377222"/>
                </a:lnTo>
                <a:lnTo>
                  <a:pt x="65138" y="374121"/>
                </a:lnTo>
                <a:lnTo>
                  <a:pt x="70652" y="363236"/>
                </a:lnTo>
                <a:lnTo>
                  <a:pt x="85165" y="333237"/>
                </a:lnTo>
                <a:lnTo>
                  <a:pt x="90158" y="324736"/>
                </a:lnTo>
                <a:lnTo>
                  <a:pt x="92280" y="320549"/>
                </a:lnTo>
                <a:lnTo>
                  <a:pt x="98706" y="310181"/>
                </a:lnTo>
                <a:lnTo>
                  <a:pt x="113408" y="285147"/>
                </a:lnTo>
                <a:lnTo>
                  <a:pt x="120373" y="275227"/>
                </a:lnTo>
                <a:lnTo>
                  <a:pt x="123537" y="270121"/>
                </a:lnTo>
                <a:lnTo>
                  <a:pt x="130484" y="260827"/>
                </a:lnTo>
                <a:lnTo>
                  <a:pt x="145113" y="239991"/>
                </a:lnTo>
                <a:lnTo>
                  <a:pt x="154299" y="228956"/>
                </a:lnTo>
                <a:lnTo>
                  <a:pt x="158657" y="223124"/>
                </a:lnTo>
                <a:lnTo>
                  <a:pt x="165813" y="215125"/>
                </a:lnTo>
                <a:lnTo>
                  <a:pt x="180069" y="198003"/>
                </a:lnTo>
                <a:lnTo>
                  <a:pt x="191707" y="186184"/>
                </a:lnTo>
                <a:lnTo>
                  <a:pt x="197386" y="179838"/>
                </a:lnTo>
                <a:lnTo>
                  <a:pt x="204483" y="173209"/>
                </a:lnTo>
                <a:lnTo>
                  <a:pt x="218069" y="159414"/>
                </a:lnTo>
                <a:lnTo>
                  <a:pt x="232369" y="147172"/>
                </a:lnTo>
                <a:lnTo>
                  <a:pt x="239470" y="140541"/>
                </a:lnTo>
                <a:lnTo>
                  <a:pt x="246276" y="135266"/>
                </a:lnTo>
                <a:lnTo>
                  <a:pt x="258905" y="124455"/>
                </a:lnTo>
                <a:lnTo>
                  <a:pt x="276069" y="112174"/>
                </a:lnTo>
                <a:lnTo>
                  <a:pt x="284657" y="105518"/>
                </a:lnTo>
                <a:lnTo>
                  <a:pt x="290963" y="101518"/>
                </a:lnTo>
                <a:lnTo>
                  <a:pt x="302368" y="93357"/>
                </a:lnTo>
                <a:lnTo>
                  <a:pt x="322603" y="81449"/>
                </a:lnTo>
                <a:lnTo>
                  <a:pt x="332694" y="75047"/>
                </a:lnTo>
                <a:lnTo>
                  <a:pt x="338309" y="72205"/>
                </a:lnTo>
                <a:lnTo>
                  <a:pt x="348251" y="66352"/>
                </a:lnTo>
                <a:lnTo>
                  <a:pt x="371803" y="55247"/>
                </a:lnTo>
                <a:lnTo>
                  <a:pt x="383330" y="49411"/>
                </a:lnTo>
                <a:lnTo>
                  <a:pt x="388082" y="47570"/>
                </a:lnTo>
                <a:lnTo>
                  <a:pt x="396345" y="43673"/>
                </a:lnTo>
                <a:lnTo>
                  <a:pt x="423579" y="33819"/>
                </a:lnTo>
                <a:lnTo>
                  <a:pt x="436308" y="28889"/>
                </a:lnTo>
                <a:lnTo>
                  <a:pt x="440042" y="27863"/>
                </a:lnTo>
                <a:lnTo>
                  <a:pt x="446442" y="25548"/>
                </a:lnTo>
                <a:lnTo>
                  <a:pt x="478073" y="17419"/>
                </a:lnTo>
                <a:lnTo>
                  <a:pt x="491380" y="13763"/>
                </a:lnTo>
                <a:lnTo>
                  <a:pt x="493956" y="13335"/>
                </a:lnTo>
                <a:lnTo>
                  <a:pt x="498333" y="12211"/>
                </a:lnTo>
                <a:lnTo>
                  <a:pt x="536385" y="6291"/>
                </a:lnTo>
                <a:lnTo>
                  <a:pt x="548287" y="4316"/>
                </a:lnTo>
                <a:lnTo>
                  <a:pt x="549541" y="4245"/>
                </a:lnTo>
                <a:lnTo>
                  <a:pt x="551810" y="3892"/>
                </a:lnTo>
                <a:lnTo>
                  <a:pt x="578200" y="2505"/>
                </a:lnTo>
                <a:lnTo>
                  <a:pt x="578200" y="812"/>
                </a:lnTo>
                <a:lnTo>
                  <a:pt x="602533" y="812"/>
                </a:lnTo>
                <a:lnTo>
                  <a:pt x="610365" y="812"/>
                </a:lnTo>
                <a:lnTo>
                  <a:pt x="610548" y="812"/>
                </a:lnTo>
                <a:lnTo>
                  <a:pt x="610548" y="1"/>
                </a:lnTo>
                <a:lnTo>
                  <a:pt x="677230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3D31FDA-CDE4-41E7-8D86-84A0549650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2457" y="353390"/>
            <a:ext cx="4443789" cy="2984238"/>
          </a:xfrm>
          <a:custGeom>
            <a:avLst/>
            <a:gdLst>
              <a:gd name="connsiteX0" fmla="*/ 0 w 4443789"/>
              <a:gd name="connsiteY0" fmla="*/ 0 h 2984238"/>
              <a:gd name="connsiteX1" fmla="*/ 600036 w 4443789"/>
              <a:gd name="connsiteY1" fmla="*/ 0 h 2984238"/>
              <a:gd name="connsiteX2" fmla="*/ 633604 w 4443789"/>
              <a:gd name="connsiteY2" fmla="*/ 0 h 2984238"/>
              <a:gd name="connsiteX3" fmla="*/ 1454682 w 4443789"/>
              <a:gd name="connsiteY3" fmla="*/ 0 h 2984238"/>
              <a:gd name="connsiteX4" fmla="*/ 2203288 w 4443789"/>
              <a:gd name="connsiteY4" fmla="*/ 0 h 2984238"/>
              <a:gd name="connsiteX5" fmla="*/ 2475597 w 4443789"/>
              <a:gd name="connsiteY5" fmla="*/ 0 h 2984238"/>
              <a:gd name="connsiteX6" fmla="*/ 2496805 w 4443789"/>
              <a:gd name="connsiteY6" fmla="*/ 0 h 2984238"/>
              <a:gd name="connsiteX7" fmla="*/ 2769115 w 4443789"/>
              <a:gd name="connsiteY7" fmla="*/ 0 h 2984238"/>
              <a:gd name="connsiteX8" fmla="*/ 3512790 w 4443789"/>
              <a:gd name="connsiteY8" fmla="*/ 0 h 2984238"/>
              <a:gd name="connsiteX9" fmla="*/ 3537876 w 4443789"/>
              <a:gd name="connsiteY9" fmla="*/ 0 h 2984238"/>
              <a:gd name="connsiteX10" fmla="*/ 3740986 w 4443789"/>
              <a:gd name="connsiteY10" fmla="*/ 0 h 2984238"/>
              <a:gd name="connsiteX11" fmla="*/ 3810185 w 4443789"/>
              <a:gd name="connsiteY11" fmla="*/ 0 h 2984238"/>
              <a:gd name="connsiteX12" fmla="*/ 3810185 w 4443789"/>
              <a:gd name="connsiteY12" fmla="*/ 832 h 2984238"/>
              <a:gd name="connsiteX13" fmla="*/ 3810186 w 4443789"/>
              <a:gd name="connsiteY13" fmla="*/ 832 h 2984238"/>
              <a:gd name="connsiteX14" fmla="*/ 3810375 w 4443789"/>
              <a:gd name="connsiteY14" fmla="*/ 832 h 2984238"/>
              <a:gd name="connsiteX15" fmla="*/ 3818503 w 4443789"/>
              <a:gd name="connsiteY15" fmla="*/ 832 h 2984238"/>
              <a:gd name="connsiteX16" fmla="*/ 3843754 w 4443789"/>
              <a:gd name="connsiteY16" fmla="*/ 832 h 2984238"/>
              <a:gd name="connsiteX17" fmla="*/ 3843754 w 4443789"/>
              <a:gd name="connsiteY17" fmla="*/ 2567 h 2984238"/>
              <a:gd name="connsiteX18" fmla="*/ 3871142 w 4443789"/>
              <a:gd name="connsiteY18" fmla="*/ 3990 h 2984238"/>
              <a:gd name="connsiteX19" fmla="*/ 3873498 w 4443789"/>
              <a:gd name="connsiteY19" fmla="*/ 4352 h 2984238"/>
              <a:gd name="connsiteX20" fmla="*/ 3874797 w 4443789"/>
              <a:gd name="connsiteY20" fmla="*/ 4423 h 2984238"/>
              <a:gd name="connsiteX21" fmla="*/ 3887149 w 4443789"/>
              <a:gd name="connsiteY21" fmla="*/ 6450 h 2984238"/>
              <a:gd name="connsiteX22" fmla="*/ 3926638 w 4443789"/>
              <a:gd name="connsiteY22" fmla="*/ 12518 h 2984238"/>
              <a:gd name="connsiteX23" fmla="*/ 3931179 w 4443789"/>
              <a:gd name="connsiteY23" fmla="*/ 13671 h 2984238"/>
              <a:gd name="connsiteX24" fmla="*/ 3933854 w 4443789"/>
              <a:gd name="connsiteY24" fmla="*/ 14110 h 2984238"/>
              <a:gd name="connsiteX25" fmla="*/ 3947663 w 4443789"/>
              <a:gd name="connsiteY25" fmla="*/ 17858 h 2984238"/>
              <a:gd name="connsiteX26" fmla="*/ 3980488 w 4443789"/>
              <a:gd name="connsiteY26" fmla="*/ 26192 h 2984238"/>
              <a:gd name="connsiteX27" fmla="*/ 3987130 w 4443789"/>
              <a:gd name="connsiteY27" fmla="*/ 28566 h 2984238"/>
              <a:gd name="connsiteX28" fmla="*/ 3991004 w 4443789"/>
              <a:gd name="connsiteY28" fmla="*/ 29617 h 2984238"/>
              <a:gd name="connsiteX29" fmla="*/ 4004215 w 4443789"/>
              <a:gd name="connsiteY29" fmla="*/ 34672 h 2984238"/>
              <a:gd name="connsiteX30" fmla="*/ 4032477 w 4443789"/>
              <a:gd name="connsiteY30" fmla="*/ 44775 h 2984238"/>
              <a:gd name="connsiteX31" fmla="*/ 4041053 w 4443789"/>
              <a:gd name="connsiteY31" fmla="*/ 48770 h 2984238"/>
              <a:gd name="connsiteX32" fmla="*/ 4045984 w 4443789"/>
              <a:gd name="connsiteY32" fmla="*/ 50657 h 2984238"/>
              <a:gd name="connsiteX33" fmla="*/ 4057946 w 4443789"/>
              <a:gd name="connsiteY33" fmla="*/ 56640 h 2984238"/>
              <a:gd name="connsiteX34" fmla="*/ 4082388 w 4443789"/>
              <a:gd name="connsiteY34" fmla="*/ 68027 h 2984238"/>
              <a:gd name="connsiteX35" fmla="*/ 4092704 w 4443789"/>
              <a:gd name="connsiteY35" fmla="*/ 74027 h 2984238"/>
              <a:gd name="connsiteX36" fmla="*/ 4098531 w 4443789"/>
              <a:gd name="connsiteY36" fmla="*/ 76941 h 2984238"/>
              <a:gd name="connsiteX37" fmla="*/ 4109004 w 4443789"/>
              <a:gd name="connsiteY37" fmla="*/ 83505 h 2984238"/>
              <a:gd name="connsiteX38" fmla="*/ 4130002 w 4443789"/>
              <a:gd name="connsiteY38" fmla="*/ 95714 h 2984238"/>
              <a:gd name="connsiteX39" fmla="*/ 4141839 w 4443789"/>
              <a:gd name="connsiteY39" fmla="*/ 104081 h 2984238"/>
              <a:gd name="connsiteX40" fmla="*/ 4148382 w 4443789"/>
              <a:gd name="connsiteY40" fmla="*/ 108181 h 2984238"/>
              <a:gd name="connsiteX41" fmla="*/ 4157295 w 4443789"/>
              <a:gd name="connsiteY41" fmla="*/ 115007 h 2984238"/>
              <a:gd name="connsiteX42" fmla="*/ 4175107 w 4443789"/>
              <a:gd name="connsiteY42" fmla="*/ 127597 h 2984238"/>
              <a:gd name="connsiteX43" fmla="*/ 4188212 w 4443789"/>
              <a:gd name="connsiteY43" fmla="*/ 138681 h 2984238"/>
              <a:gd name="connsiteX44" fmla="*/ 4195276 w 4443789"/>
              <a:gd name="connsiteY44" fmla="*/ 144090 h 2984238"/>
              <a:gd name="connsiteX45" fmla="*/ 4202645 w 4443789"/>
              <a:gd name="connsiteY45" fmla="*/ 150888 h 2984238"/>
              <a:gd name="connsiteX46" fmla="*/ 4217486 w 4443789"/>
              <a:gd name="connsiteY46" fmla="*/ 163439 h 2984238"/>
              <a:gd name="connsiteX47" fmla="*/ 4231582 w 4443789"/>
              <a:gd name="connsiteY47" fmla="*/ 177583 h 2984238"/>
              <a:gd name="connsiteX48" fmla="*/ 4238950 w 4443789"/>
              <a:gd name="connsiteY48" fmla="*/ 184379 h 2984238"/>
              <a:gd name="connsiteX49" fmla="*/ 4244842 w 4443789"/>
              <a:gd name="connsiteY49" fmla="*/ 190886 h 2984238"/>
              <a:gd name="connsiteX50" fmla="*/ 4256920 w 4443789"/>
              <a:gd name="connsiteY50" fmla="*/ 203004 h 2984238"/>
              <a:gd name="connsiteX51" fmla="*/ 4271715 w 4443789"/>
              <a:gd name="connsiteY51" fmla="*/ 220559 h 2984238"/>
              <a:gd name="connsiteX52" fmla="*/ 4279140 w 4443789"/>
              <a:gd name="connsiteY52" fmla="*/ 228759 h 2984238"/>
              <a:gd name="connsiteX53" fmla="*/ 4283662 w 4443789"/>
              <a:gd name="connsiteY53" fmla="*/ 234737 h 2984238"/>
              <a:gd name="connsiteX54" fmla="*/ 4293198 w 4443789"/>
              <a:gd name="connsiteY54" fmla="*/ 246051 h 2984238"/>
              <a:gd name="connsiteX55" fmla="*/ 4308376 w 4443789"/>
              <a:gd name="connsiteY55" fmla="*/ 267413 h 2984238"/>
              <a:gd name="connsiteX56" fmla="*/ 4315586 w 4443789"/>
              <a:gd name="connsiteY56" fmla="*/ 276943 h 2984238"/>
              <a:gd name="connsiteX57" fmla="*/ 4318870 w 4443789"/>
              <a:gd name="connsiteY57" fmla="*/ 282177 h 2984238"/>
              <a:gd name="connsiteX58" fmla="*/ 4326098 w 4443789"/>
              <a:gd name="connsiteY58" fmla="*/ 292347 h 2984238"/>
              <a:gd name="connsiteX59" fmla="*/ 4341356 w 4443789"/>
              <a:gd name="connsiteY59" fmla="*/ 318015 h 2984238"/>
              <a:gd name="connsiteX60" fmla="*/ 4348025 w 4443789"/>
              <a:gd name="connsiteY60" fmla="*/ 328644 h 2984238"/>
              <a:gd name="connsiteX61" fmla="*/ 4350227 w 4443789"/>
              <a:gd name="connsiteY61" fmla="*/ 332936 h 2984238"/>
              <a:gd name="connsiteX62" fmla="*/ 4355408 w 4443789"/>
              <a:gd name="connsiteY62" fmla="*/ 341652 h 2984238"/>
              <a:gd name="connsiteX63" fmla="*/ 4370469 w 4443789"/>
              <a:gd name="connsiteY63" fmla="*/ 372409 h 2984238"/>
              <a:gd name="connsiteX64" fmla="*/ 4376192 w 4443789"/>
              <a:gd name="connsiteY64" fmla="*/ 383570 h 2984238"/>
              <a:gd name="connsiteX65" fmla="*/ 4377489 w 4443789"/>
              <a:gd name="connsiteY65" fmla="*/ 386748 h 2984238"/>
              <a:gd name="connsiteX66" fmla="*/ 4380909 w 4443789"/>
              <a:gd name="connsiteY66" fmla="*/ 393731 h 2984238"/>
              <a:gd name="connsiteX67" fmla="*/ 4395626 w 4443789"/>
              <a:gd name="connsiteY67" fmla="*/ 431150 h 2984238"/>
              <a:gd name="connsiteX68" fmla="*/ 4399828 w 4443789"/>
              <a:gd name="connsiteY68" fmla="*/ 441436 h 2984238"/>
              <a:gd name="connsiteX69" fmla="*/ 4400420 w 4443789"/>
              <a:gd name="connsiteY69" fmla="*/ 443339 h 2984238"/>
              <a:gd name="connsiteX70" fmla="*/ 4402388 w 4443789"/>
              <a:gd name="connsiteY70" fmla="*/ 448347 h 2984238"/>
              <a:gd name="connsiteX71" fmla="*/ 4417161 w 4443789"/>
              <a:gd name="connsiteY71" fmla="*/ 497120 h 2984238"/>
              <a:gd name="connsiteX72" fmla="*/ 4418667 w 4443789"/>
              <a:gd name="connsiteY72" fmla="*/ 501954 h 2984238"/>
              <a:gd name="connsiteX73" fmla="*/ 4418772 w 4443789"/>
              <a:gd name="connsiteY73" fmla="*/ 502440 h 2984238"/>
              <a:gd name="connsiteX74" fmla="*/ 4419628 w 4443789"/>
              <a:gd name="connsiteY74" fmla="*/ 505257 h 2984238"/>
              <a:gd name="connsiteX75" fmla="*/ 4440518 w 4443789"/>
              <a:gd name="connsiteY75" fmla="*/ 625027 h 2984238"/>
              <a:gd name="connsiteX76" fmla="*/ 4440644 w 4443789"/>
              <a:gd name="connsiteY76" fmla="*/ 627748 h 2984238"/>
              <a:gd name="connsiteX77" fmla="*/ 4440910 w 4443789"/>
              <a:gd name="connsiteY77" fmla="*/ 629790 h 2984238"/>
              <a:gd name="connsiteX78" fmla="*/ 4442362 w 4443789"/>
              <a:gd name="connsiteY78" fmla="*/ 663451 h 2984238"/>
              <a:gd name="connsiteX79" fmla="*/ 4443789 w 4443789"/>
              <a:gd name="connsiteY79" fmla="*/ 663451 h 2984238"/>
              <a:gd name="connsiteX80" fmla="*/ 4443789 w 4443789"/>
              <a:gd name="connsiteY80" fmla="*/ 696109 h 2984238"/>
              <a:gd name="connsiteX81" fmla="*/ 4443789 w 4443789"/>
              <a:gd name="connsiteY81" fmla="*/ 696115 h 2984238"/>
              <a:gd name="connsiteX82" fmla="*/ 4443789 w 4443789"/>
              <a:gd name="connsiteY82" fmla="*/ 696122 h 2984238"/>
              <a:gd name="connsiteX83" fmla="*/ 4443789 w 4443789"/>
              <a:gd name="connsiteY83" fmla="*/ 696532 h 2984238"/>
              <a:gd name="connsiteX84" fmla="*/ 4443789 w 4443789"/>
              <a:gd name="connsiteY84" fmla="*/ 703132 h 2984238"/>
              <a:gd name="connsiteX85" fmla="*/ 4443789 w 4443789"/>
              <a:gd name="connsiteY85" fmla="*/ 1121961 h 2984238"/>
              <a:gd name="connsiteX86" fmla="*/ 4443789 w 4443789"/>
              <a:gd name="connsiteY86" fmla="*/ 1126490 h 2984238"/>
              <a:gd name="connsiteX87" fmla="*/ 4443789 w 4443789"/>
              <a:gd name="connsiteY87" fmla="*/ 1154619 h 2984238"/>
              <a:gd name="connsiteX88" fmla="*/ 4443789 w 4443789"/>
              <a:gd name="connsiteY88" fmla="*/ 1154625 h 2984238"/>
              <a:gd name="connsiteX89" fmla="*/ 4443789 w 4443789"/>
              <a:gd name="connsiteY89" fmla="*/ 1154632 h 2984238"/>
              <a:gd name="connsiteX90" fmla="*/ 4443789 w 4443789"/>
              <a:gd name="connsiteY90" fmla="*/ 1155042 h 2984238"/>
              <a:gd name="connsiteX91" fmla="*/ 4443789 w 4443789"/>
              <a:gd name="connsiteY91" fmla="*/ 1161642 h 2984238"/>
              <a:gd name="connsiteX92" fmla="*/ 4443789 w 4443789"/>
              <a:gd name="connsiteY92" fmla="*/ 1399246 h 2984238"/>
              <a:gd name="connsiteX93" fmla="*/ 4443789 w 4443789"/>
              <a:gd name="connsiteY93" fmla="*/ 1585000 h 2984238"/>
              <a:gd name="connsiteX94" fmla="*/ 4443789 w 4443789"/>
              <a:gd name="connsiteY94" fmla="*/ 1829621 h 2984238"/>
              <a:gd name="connsiteX95" fmla="*/ 4443789 w 4443789"/>
              <a:gd name="connsiteY95" fmla="*/ 1857756 h 2984238"/>
              <a:gd name="connsiteX96" fmla="*/ 4443789 w 4443789"/>
              <a:gd name="connsiteY96" fmla="*/ 2288131 h 2984238"/>
              <a:gd name="connsiteX97" fmla="*/ 4443789 w 4443789"/>
              <a:gd name="connsiteY97" fmla="*/ 2525728 h 2984238"/>
              <a:gd name="connsiteX98" fmla="*/ 4443789 w 4443789"/>
              <a:gd name="connsiteY98" fmla="*/ 2984238 h 2984238"/>
              <a:gd name="connsiteX99" fmla="*/ 3843754 w 4443789"/>
              <a:gd name="connsiteY99" fmla="*/ 2984238 h 2984238"/>
              <a:gd name="connsiteX100" fmla="*/ 3810186 w 4443789"/>
              <a:gd name="connsiteY100" fmla="*/ 2984238 h 2984238"/>
              <a:gd name="connsiteX101" fmla="*/ 3740986 w 4443789"/>
              <a:gd name="connsiteY101" fmla="*/ 2984238 h 2984238"/>
              <a:gd name="connsiteX102" fmla="*/ 3512790 w 4443789"/>
              <a:gd name="connsiteY102" fmla="*/ 2984238 h 2984238"/>
              <a:gd name="connsiteX103" fmla="*/ 3402719 w 4443789"/>
              <a:gd name="connsiteY103" fmla="*/ 2984238 h 2984238"/>
              <a:gd name="connsiteX104" fmla="*/ 3109201 w 4443789"/>
              <a:gd name="connsiteY104" fmla="*/ 2984238 h 2984238"/>
              <a:gd name="connsiteX105" fmla="*/ 2986086 w 4443789"/>
              <a:gd name="connsiteY105" fmla="*/ 2984238 h 2984238"/>
              <a:gd name="connsiteX106" fmla="*/ 2802684 w 4443789"/>
              <a:gd name="connsiteY106" fmla="*/ 2984238 h 2984238"/>
              <a:gd name="connsiteX107" fmla="*/ 2769116 w 4443789"/>
              <a:gd name="connsiteY107" fmla="*/ 2984238 h 2984238"/>
              <a:gd name="connsiteX108" fmla="*/ 2713776 w 4443789"/>
              <a:gd name="connsiteY108" fmla="*/ 2984238 h 2984238"/>
              <a:gd name="connsiteX109" fmla="*/ 2509166 w 4443789"/>
              <a:gd name="connsiteY109" fmla="*/ 2984238 h 2984238"/>
              <a:gd name="connsiteX110" fmla="*/ 2475598 w 4443789"/>
              <a:gd name="connsiteY110" fmla="*/ 2984238 h 2984238"/>
              <a:gd name="connsiteX111" fmla="*/ 1839935 w 4443789"/>
              <a:gd name="connsiteY111" fmla="*/ 2984238 h 2984238"/>
              <a:gd name="connsiteX112" fmla="*/ 1716819 w 4443789"/>
              <a:gd name="connsiteY112" fmla="*/ 2984238 h 2984238"/>
              <a:gd name="connsiteX113" fmla="*/ 1454682 w 4443789"/>
              <a:gd name="connsiteY113" fmla="*/ 2984238 h 2984238"/>
              <a:gd name="connsiteX114" fmla="*/ 1444510 w 4443789"/>
              <a:gd name="connsiteY114" fmla="*/ 2984238 h 2984238"/>
              <a:gd name="connsiteX115" fmla="*/ 1423301 w 4443789"/>
              <a:gd name="connsiteY115" fmla="*/ 2984238 h 2984238"/>
              <a:gd name="connsiteX116" fmla="*/ 1239899 w 4443789"/>
              <a:gd name="connsiteY116" fmla="*/ 2984238 h 2984238"/>
              <a:gd name="connsiteX117" fmla="*/ 1206331 w 4443789"/>
              <a:gd name="connsiteY117" fmla="*/ 2984238 h 2984238"/>
              <a:gd name="connsiteX118" fmla="*/ 1150992 w 4443789"/>
              <a:gd name="connsiteY118" fmla="*/ 2984238 h 2984238"/>
              <a:gd name="connsiteX119" fmla="*/ 905913 w 4443789"/>
              <a:gd name="connsiteY119" fmla="*/ 2984238 h 2984238"/>
              <a:gd name="connsiteX120" fmla="*/ 702803 w 4443789"/>
              <a:gd name="connsiteY120" fmla="*/ 2984238 h 2984238"/>
              <a:gd name="connsiteX121" fmla="*/ 633605 w 4443789"/>
              <a:gd name="connsiteY121" fmla="*/ 2984238 h 2984238"/>
              <a:gd name="connsiteX122" fmla="*/ 633605 w 4443789"/>
              <a:gd name="connsiteY122" fmla="*/ 2983406 h 2984238"/>
              <a:gd name="connsiteX123" fmla="*/ 633604 w 4443789"/>
              <a:gd name="connsiteY123" fmla="*/ 2983406 h 2984238"/>
              <a:gd name="connsiteX124" fmla="*/ 633414 w 4443789"/>
              <a:gd name="connsiteY124" fmla="*/ 2983406 h 2984238"/>
              <a:gd name="connsiteX125" fmla="*/ 625287 w 4443789"/>
              <a:gd name="connsiteY125" fmla="*/ 2983406 h 2984238"/>
              <a:gd name="connsiteX126" fmla="*/ 600036 w 4443789"/>
              <a:gd name="connsiteY126" fmla="*/ 2983406 h 2984238"/>
              <a:gd name="connsiteX127" fmla="*/ 600036 w 4443789"/>
              <a:gd name="connsiteY127" fmla="*/ 2981671 h 2984238"/>
              <a:gd name="connsiteX128" fmla="*/ 572647 w 4443789"/>
              <a:gd name="connsiteY128" fmla="*/ 2980249 h 2984238"/>
              <a:gd name="connsiteX129" fmla="*/ 570293 w 4443789"/>
              <a:gd name="connsiteY129" fmla="*/ 2979886 h 2984238"/>
              <a:gd name="connsiteX130" fmla="*/ 568992 w 4443789"/>
              <a:gd name="connsiteY130" fmla="*/ 2979815 h 2984238"/>
              <a:gd name="connsiteX131" fmla="*/ 556640 w 4443789"/>
              <a:gd name="connsiteY131" fmla="*/ 2977788 h 2984238"/>
              <a:gd name="connsiteX132" fmla="*/ 517152 w 4443789"/>
              <a:gd name="connsiteY132" fmla="*/ 2971720 h 2984238"/>
              <a:gd name="connsiteX133" fmla="*/ 512609 w 4443789"/>
              <a:gd name="connsiteY133" fmla="*/ 2970567 h 2984238"/>
              <a:gd name="connsiteX134" fmla="*/ 509935 w 4443789"/>
              <a:gd name="connsiteY134" fmla="*/ 2970129 h 2984238"/>
              <a:gd name="connsiteX135" fmla="*/ 496126 w 4443789"/>
              <a:gd name="connsiteY135" fmla="*/ 2966380 h 2984238"/>
              <a:gd name="connsiteX136" fmla="*/ 463301 w 4443789"/>
              <a:gd name="connsiteY136" fmla="*/ 2958046 h 2984238"/>
              <a:gd name="connsiteX137" fmla="*/ 456659 w 4443789"/>
              <a:gd name="connsiteY137" fmla="*/ 2955672 h 2984238"/>
              <a:gd name="connsiteX138" fmla="*/ 452785 w 4443789"/>
              <a:gd name="connsiteY138" fmla="*/ 2954621 h 2984238"/>
              <a:gd name="connsiteX139" fmla="*/ 439575 w 4443789"/>
              <a:gd name="connsiteY139" fmla="*/ 2949567 h 2984238"/>
              <a:gd name="connsiteX140" fmla="*/ 411312 w 4443789"/>
              <a:gd name="connsiteY140" fmla="*/ 2939463 h 2984238"/>
              <a:gd name="connsiteX141" fmla="*/ 402737 w 4443789"/>
              <a:gd name="connsiteY141" fmla="*/ 2935469 h 2984238"/>
              <a:gd name="connsiteX142" fmla="*/ 397806 w 4443789"/>
              <a:gd name="connsiteY142" fmla="*/ 2933581 h 2984238"/>
              <a:gd name="connsiteX143" fmla="*/ 385843 w 4443789"/>
              <a:gd name="connsiteY143" fmla="*/ 2927598 h 2984238"/>
              <a:gd name="connsiteX144" fmla="*/ 361403 w 4443789"/>
              <a:gd name="connsiteY144" fmla="*/ 2916211 h 2984238"/>
              <a:gd name="connsiteX145" fmla="*/ 351085 w 4443789"/>
              <a:gd name="connsiteY145" fmla="*/ 2910211 h 2984238"/>
              <a:gd name="connsiteX146" fmla="*/ 345259 w 4443789"/>
              <a:gd name="connsiteY146" fmla="*/ 2907297 h 2984238"/>
              <a:gd name="connsiteX147" fmla="*/ 334785 w 4443789"/>
              <a:gd name="connsiteY147" fmla="*/ 2900733 h 2984238"/>
              <a:gd name="connsiteX148" fmla="*/ 313788 w 4443789"/>
              <a:gd name="connsiteY148" fmla="*/ 2888524 h 2984238"/>
              <a:gd name="connsiteX149" fmla="*/ 301951 w 4443789"/>
              <a:gd name="connsiteY149" fmla="*/ 2880157 h 2984238"/>
              <a:gd name="connsiteX150" fmla="*/ 295407 w 4443789"/>
              <a:gd name="connsiteY150" fmla="*/ 2876057 h 2984238"/>
              <a:gd name="connsiteX151" fmla="*/ 286494 w 4443789"/>
              <a:gd name="connsiteY151" fmla="*/ 2869231 h 2984238"/>
              <a:gd name="connsiteX152" fmla="*/ 268682 w 4443789"/>
              <a:gd name="connsiteY152" fmla="*/ 2856641 h 2984238"/>
              <a:gd name="connsiteX153" fmla="*/ 255577 w 4443789"/>
              <a:gd name="connsiteY153" fmla="*/ 2845557 h 2984238"/>
              <a:gd name="connsiteX154" fmla="*/ 248513 w 4443789"/>
              <a:gd name="connsiteY154" fmla="*/ 2840148 h 2984238"/>
              <a:gd name="connsiteX155" fmla="*/ 241144 w 4443789"/>
              <a:gd name="connsiteY155" fmla="*/ 2833351 h 2984238"/>
              <a:gd name="connsiteX156" fmla="*/ 226303 w 4443789"/>
              <a:gd name="connsiteY156" fmla="*/ 2820799 h 2984238"/>
              <a:gd name="connsiteX157" fmla="*/ 212206 w 4443789"/>
              <a:gd name="connsiteY157" fmla="*/ 2806655 h 2984238"/>
              <a:gd name="connsiteX158" fmla="*/ 204840 w 4443789"/>
              <a:gd name="connsiteY158" fmla="*/ 2799860 h 2984238"/>
              <a:gd name="connsiteX159" fmla="*/ 198946 w 4443789"/>
              <a:gd name="connsiteY159" fmla="*/ 2793352 h 2984238"/>
              <a:gd name="connsiteX160" fmla="*/ 186869 w 4443789"/>
              <a:gd name="connsiteY160" fmla="*/ 2781235 h 2984238"/>
              <a:gd name="connsiteX161" fmla="*/ 172075 w 4443789"/>
              <a:gd name="connsiteY161" fmla="*/ 2763680 h 2984238"/>
              <a:gd name="connsiteX162" fmla="*/ 164649 w 4443789"/>
              <a:gd name="connsiteY162" fmla="*/ 2755479 h 2984238"/>
              <a:gd name="connsiteX163" fmla="*/ 160126 w 4443789"/>
              <a:gd name="connsiteY163" fmla="*/ 2749501 h 2984238"/>
              <a:gd name="connsiteX164" fmla="*/ 150593 w 4443789"/>
              <a:gd name="connsiteY164" fmla="*/ 2738187 h 2984238"/>
              <a:gd name="connsiteX165" fmla="*/ 135413 w 4443789"/>
              <a:gd name="connsiteY165" fmla="*/ 2716825 h 2984238"/>
              <a:gd name="connsiteX166" fmla="*/ 128203 w 4443789"/>
              <a:gd name="connsiteY166" fmla="*/ 2707295 h 2984238"/>
              <a:gd name="connsiteX167" fmla="*/ 124919 w 4443789"/>
              <a:gd name="connsiteY167" fmla="*/ 2702060 h 2984238"/>
              <a:gd name="connsiteX168" fmla="*/ 117691 w 4443789"/>
              <a:gd name="connsiteY168" fmla="*/ 2691891 h 2984238"/>
              <a:gd name="connsiteX169" fmla="*/ 102434 w 4443789"/>
              <a:gd name="connsiteY169" fmla="*/ 2666223 h 2984238"/>
              <a:gd name="connsiteX170" fmla="*/ 95765 w 4443789"/>
              <a:gd name="connsiteY170" fmla="*/ 2655594 h 2984238"/>
              <a:gd name="connsiteX171" fmla="*/ 93563 w 4443789"/>
              <a:gd name="connsiteY171" fmla="*/ 2651301 h 2984238"/>
              <a:gd name="connsiteX172" fmla="*/ 88382 w 4443789"/>
              <a:gd name="connsiteY172" fmla="*/ 2642586 h 2984238"/>
              <a:gd name="connsiteX173" fmla="*/ 73321 w 4443789"/>
              <a:gd name="connsiteY173" fmla="*/ 2611829 h 2984238"/>
              <a:gd name="connsiteX174" fmla="*/ 67598 w 4443789"/>
              <a:gd name="connsiteY174" fmla="*/ 2600668 h 2984238"/>
              <a:gd name="connsiteX175" fmla="*/ 66299 w 4443789"/>
              <a:gd name="connsiteY175" fmla="*/ 2597490 h 2984238"/>
              <a:gd name="connsiteX176" fmla="*/ 62879 w 4443789"/>
              <a:gd name="connsiteY176" fmla="*/ 2590507 h 2984238"/>
              <a:gd name="connsiteX177" fmla="*/ 48163 w 4443789"/>
              <a:gd name="connsiteY177" fmla="*/ 2553088 h 2984238"/>
              <a:gd name="connsiteX178" fmla="*/ 43963 w 4443789"/>
              <a:gd name="connsiteY178" fmla="*/ 2542802 h 2984238"/>
              <a:gd name="connsiteX179" fmla="*/ 43371 w 4443789"/>
              <a:gd name="connsiteY179" fmla="*/ 2540899 h 2984238"/>
              <a:gd name="connsiteX180" fmla="*/ 41402 w 4443789"/>
              <a:gd name="connsiteY180" fmla="*/ 2535892 h 2984238"/>
              <a:gd name="connsiteX181" fmla="*/ 26628 w 4443789"/>
              <a:gd name="connsiteY181" fmla="*/ 2487119 h 2984238"/>
              <a:gd name="connsiteX182" fmla="*/ 25122 w 4443789"/>
              <a:gd name="connsiteY182" fmla="*/ 2482285 h 2984238"/>
              <a:gd name="connsiteX183" fmla="*/ 25017 w 4443789"/>
              <a:gd name="connsiteY183" fmla="*/ 2481798 h 2984238"/>
              <a:gd name="connsiteX184" fmla="*/ 24163 w 4443789"/>
              <a:gd name="connsiteY184" fmla="*/ 2478980 h 2984238"/>
              <a:gd name="connsiteX185" fmla="*/ 3271 w 4443789"/>
              <a:gd name="connsiteY185" fmla="*/ 2359211 h 2984238"/>
              <a:gd name="connsiteX186" fmla="*/ 3146 w 4443789"/>
              <a:gd name="connsiteY186" fmla="*/ 2356490 h 2984238"/>
              <a:gd name="connsiteX187" fmla="*/ 2879 w 4443789"/>
              <a:gd name="connsiteY187" fmla="*/ 2354448 h 2984238"/>
              <a:gd name="connsiteX188" fmla="*/ 1428 w 4443789"/>
              <a:gd name="connsiteY188" fmla="*/ 2320787 h 2984238"/>
              <a:gd name="connsiteX189" fmla="*/ 1 w 4443789"/>
              <a:gd name="connsiteY189" fmla="*/ 2320787 h 2984238"/>
              <a:gd name="connsiteX190" fmla="*/ 1 w 4443789"/>
              <a:gd name="connsiteY190" fmla="*/ 2288129 h 2984238"/>
              <a:gd name="connsiteX191" fmla="*/ 0 w 4443789"/>
              <a:gd name="connsiteY191" fmla="*/ 2288123 h 2984238"/>
              <a:gd name="connsiteX192" fmla="*/ 1 w 4443789"/>
              <a:gd name="connsiteY192" fmla="*/ 2288116 h 2984238"/>
              <a:gd name="connsiteX193" fmla="*/ 1 w 4443789"/>
              <a:gd name="connsiteY193" fmla="*/ 2287707 h 2984238"/>
              <a:gd name="connsiteX194" fmla="*/ 1 w 4443789"/>
              <a:gd name="connsiteY194" fmla="*/ 2281106 h 2984238"/>
              <a:gd name="connsiteX195" fmla="*/ 0 w 4443789"/>
              <a:gd name="connsiteY195" fmla="*/ 2281106 h 2984238"/>
              <a:gd name="connsiteX196" fmla="*/ 0 w 4443789"/>
              <a:gd name="connsiteY196" fmla="*/ 1857749 h 2984238"/>
              <a:gd name="connsiteX197" fmla="*/ 0 w 4443789"/>
              <a:gd name="connsiteY197" fmla="*/ 1857748 h 2984238"/>
              <a:gd name="connsiteX198" fmla="*/ 0 w 4443789"/>
              <a:gd name="connsiteY198" fmla="*/ 1857747 h 2984238"/>
              <a:gd name="connsiteX199" fmla="*/ 0 w 4443789"/>
              <a:gd name="connsiteY199" fmla="*/ 1829613 h 2984238"/>
              <a:gd name="connsiteX200" fmla="*/ 0 w 4443789"/>
              <a:gd name="connsiteY200" fmla="*/ 1822596 h 2984238"/>
              <a:gd name="connsiteX201" fmla="*/ 0 w 4443789"/>
              <a:gd name="connsiteY201" fmla="*/ 1584992 h 2984238"/>
              <a:gd name="connsiteX202" fmla="*/ 0 w 4443789"/>
              <a:gd name="connsiteY202" fmla="*/ 1399239 h 2984238"/>
              <a:gd name="connsiteX203" fmla="*/ 0 w 4443789"/>
              <a:gd name="connsiteY203" fmla="*/ 1399238 h 2984238"/>
              <a:gd name="connsiteX204" fmla="*/ 0 w 4443789"/>
              <a:gd name="connsiteY204" fmla="*/ 1399237 h 2984238"/>
              <a:gd name="connsiteX205" fmla="*/ 0 w 4443789"/>
              <a:gd name="connsiteY205" fmla="*/ 1154618 h 2984238"/>
              <a:gd name="connsiteX206" fmla="*/ 0 w 4443789"/>
              <a:gd name="connsiteY206" fmla="*/ 1126482 h 2984238"/>
              <a:gd name="connsiteX207" fmla="*/ 0 w 4443789"/>
              <a:gd name="connsiteY207" fmla="*/ 696108 h 2984238"/>
              <a:gd name="connsiteX208" fmla="*/ 0 w 4443789"/>
              <a:gd name="connsiteY208" fmla="*/ 458510 h 2984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</a:cxnLst>
            <a:rect l="l" t="t" r="r" b="b"/>
            <a:pathLst>
              <a:path w="4443789" h="2984238">
                <a:moveTo>
                  <a:pt x="0" y="0"/>
                </a:moveTo>
                <a:lnTo>
                  <a:pt x="600036" y="0"/>
                </a:lnTo>
                <a:lnTo>
                  <a:pt x="633604" y="0"/>
                </a:lnTo>
                <a:lnTo>
                  <a:pt x="1454682" y="0"/>
                </a:lnTo>
                <a:lnTo>
                  <a:pt x="2203288" y="0"/>
                </a:lnTo>
                <a:lnTo>
                  <a:pt x="2475597" y="0"/>
                </a:lnTo>
                <a:lnTo>
                  <a:pt x="2496805" y="0"/>
                </a:lnTo>
                <a:lnTo>
                  <a:pt x="2769115" y="0"/>
                </a:lnTo>
                <a:lnTo>
                  <a:pt x="3512790" y="0"/>
                </a:lnTo>
                <a:lnTo>
                  <a:pt x="3537876" y="0"/>
                </a:lnTo>
                <a:lnTo>
                  <a:pt x="3740986" y="0"/>
                </a:lnTo>
                <a:lnTo>
                  <a:pt x="3810185" y="0"/>
                </a:lnTo>
                <a:lnTo>
                  <a:pt x="3810185" y="832"/>
                </a:lnTo>
                <a:lnTo>
                  <a:pt x="3810186" y="832"/>
                </a:lnTo>
                <a:lnTo>
                  <a:pt x="3810375" y="832"/>
                </a:lnTo>
                <a:lnTo>
                  <a:pt x="3818503" y="832"/>
                </a:lnTo>
                <a:lnTo>
                  <a:pt x="3843754" y="832"/>
                </a:lnTo>
                <a:lnTo>
                  <a:pt x="3843754" y="2567"/>
                </a:lnTo>
                <a:lnTo>
                  <a:pt x="3871142" y="3990"/>
                </a:lnTo>
                <a:lnTo>
                  <a:pt x="3873498" y="4352"/>
                </a:lnTo>
                <a:lnTo>
                  <a:pt x="3874797" y="4423"/>
                </a:lnTo>
                <a:lnTo>
                  <a:pt x="3887149" y="6450"/>
                </a:lnTo>
                <a:lnTo>
                  <a:pt x="3926638" y="12518"/>
                </a:lnTo>
                <a:lnTo>
                  <a:pt x="3931179" y="13671"/>
                </a:lnTo>
                <a:lnTo>
                  <a:pt x="3933854" y="14110"/>
                </a:lnTo>
                <a:lnTo>
                  <a:pt x="3947663" y="17858"/>
                </a:lnTo>
                <a:lnTo>
                  <a:pt x="3980488" y="26192"/>
                </a:lnTo>
                <a:lnTo>
                  <a:pt x="3987130" y="28566"/>
                </a:lnTo>
                <a:lnTo>
                  <a:pt x="3991004" y="29617"/>
                </a:lnTo>
                <a:lnTo>
                  <a:pt x="4004215" y="34672"/>
                </a:lnTo>
                <a:lnTo>
                  <a:pt x="4032477" y="44775"/>
                </a:lnTo>
                <a:lnTo>
                  <a:pt x="4041053" y="48770"/>
                </a:lnTo>
                <a:lnTo>
                  <a:pt x="4045984" y="50657"/>
                </a:lnTo>
                <a:lnTo>
                  <a:pt x="4057946" y="56640"/>
                </a:lnTo>
                <a:lnTo>
                  <a:pt x="4082388" y="68027"/>
                </a:lnTo>
                <a:lnTo>
                  <a:pt x="4092704" y="74027"/>
                </a:lnTo>
                <a:lnTo>
                  <a:pt x="4098531" y="76941"/>
                </a:lnTo>
                <a:lnTo>
                  <a:pt x="4109004" y="83505"/>
                </a:lnTo>
                <a:lnTo>
                  <a:pt x="4130002" y="95714"/>
                </a:lnTo>
                <a:lnTo>
                  <a:pt x="4141839" y="104081"/>
                </a:lnTo>
                <a:lnTo>
                  <a:pt x="4148382" y="108181"/>
                </a:lnTo>
                <a:lnTo>
                  <a:pt x="4157295" y="115007"/>
                </a:lnTo>
                <a:lnTo>
                  <a:pt x="4175107" y="127597"/>
                </a:lnTo>
                <a:lnTo>
                  <a:pt x="4188212" y="138681"/>
                </a:lnTo>
                <a:lnTo>
                  <a:pt x="4195276" y="144090"/>
                </a:lnTo>
                <a:lnTo>
                  <a:pt x="4202645" y="150888"/>
                </a:lnTo>
                <a:lnTo>
                  <a:pt x="4217486" y="163439"/>
                </a:lnTo>
                <a:lnTo>
                  <a:pt x="4231582" y="177583"/>
                </a:lnTo>
                <a:lnTo>
                  <a:pt x="4238950" y="184379"/>
                </a:lnTo>
                <a:lnTo>
                  <a:pt x="4244842" y="190886"/>
                </a:lnTo>
                <a:lnTo>
                  <a:pt x="4256920" y="203004"/>
                </a:lnTo>
                <a:lnTo>
                  <a:pt x="4271715" y="220559"/>
                </a:lnTo>
                <a:lnTo>
                  <a:pt x="4279140" y="228759"/>
                </a:lnTo>
                <a:lnTo>
                  <a:pt x="4283662" y="234737"/>
                </a:lnTo>
                <a:lnTo>
                  <a:pt x="4293198" y="246051"/>
                </a:lnTo>
                <a:lnTo>
                  <a:pt x="4308376" y="267413"/>
                </a:lnTo>
                <a:lnTo>
                  <a:pt x="4315586" y="276943"/>
                </a:lnTo>
                <a:lnTo>
                  <a:pt x="4318870" y="282177"/>
                </a:lnTo>
                <a:lnTo>
                  <a:pt x="4326098" y="292347"/>
                </a:lnTo>
                <a:lnTo>
                  <a:pt x="4341356" y="318015"/>
                </a:lnTo>
                <a:lnTo>
                  <a:pt x="4348025" y="328644"/>
                </a:lnTo>
                <a:lnTo>
                  <a:pt x="4350227" y="332936"/>
                </a:lnTo>
                <a:lnTo>
                  <a:pt x="4355408" y="341652"/>
                </a:lnTo>
                <a:lnTo>
                  <a:pt x="4370469" y="372409"/>
                </a:lnTo>
                <a:lnTo>
                  <a:pt x="4376192" y="383570"/>
                </a:lnTo>
                <a:lnTo>
                  <a:pt x="4377489" y="386748"/>
                </a:lnTo>
                <a:lnTo>
                  <a:pt x="4380909" y="393731"/>
                </a:lnTo>
                <a:lnTo>
                  <a:pt x="4395626" y="431150"/>
                </a:lnTo>
                <a:lnTo>
                  <a:pt x="4399828" y="441436"/>
                </a:lnTo>
                <a:lnTo>
                  <a:pt x="4400420" y="443339"/>
                </a:lnTo>
                <a:lnTo>
                  <a:pt x="4402388" y="448347"/>
                </a:lnTo>
                <a:lnTo>
                  <a:pt x="4417161" y="497120"/>
                </a:lnTo>
                <a:lnTo>
                  <a:pt x="4418667" y="501954"/>
                </a:lnTo>
                <a:lnTo>
                  <a:pt x="4418772" y="502440"/>
                </a:lnTo>
                <a:lnTo>
                  <a:pt x="4419628" y="505257"/>
                </a:lnTo>
                <a:cubicBezTo>
                  <a:pt x="4429658" y="543913"/>
                  <a:pt x="4436718" y="583941"/>
                  <a:pt x="4440518" y="625027"/>
                </a:cubicBezTo>
                <a:lnTo>
                  <a:pt x="4440644" y="627748"/>
                </a:lnTo>
                <a:lnTo>
                  <a:pt x="4440910" y="629790"/>
                </a:lnTo>
                <a:lnTo>
                  <a:pt x="4442362" y="663451"/>
                </a:lnTo>
                <a:lnTo>
                  <a:pt x="4443789" y="663451"/>
                </a:lnTo>
                <a:lnTo>
                  <a:pt x="4443789" y="696109"/>
                </a:lnTo>
                <a:lnTo>
                  <a:pt x="4443789" y="696115"/>
                </a:lnTo>
                <a:lnTo>
                  <a:pt x="4443789" y="696122"/>
                </a:lnTo>
                <a:lnTo>
                  <a:pt x="4443789" y="696532"/>
                </a:lnTo>
                <a:lnTo>
                  <a:pt x="4443789" y="703132"/>
                </a:lnTo>
                <a:lnTo>
                  <a:pt x="4443789" y="1121961"/>
                </a:lnTo>
                <a:lnTo>
                  <a:pt x="4443789" y="1126490"/>
                </a:lnTo>
                <a:lnTo>
                  <a:pt x="4443789" y="1154619"/>
                </a:lnTo>
                <a:lnTo>
                  <a:pt x="4443789" y="1154625"/>
                </a:lnTo>
                <a:lnTo>
                  <a:pt x="4443789" y="1154632"/>
                </a:lnTo>
                <a:lnTo>
                  <a:pt x="4443789" y="1155042"/>
                </a:lnTo>
                <a:lnTo>
                  <a:pt x="4443789" y="1161642"/>
                </a:lnTo>
                <a:lnTo>
                  <a:pt x="4443789" y="1399246"/>
                </a:lnTo>
                <a:lnTo>
                  <a:pt x="4443789" y="1585000"/>
                </a:lnTo>
                <a:lnTo>
                  <a:pt x="4443789" y="1829621"/>
                </a:lnTo>
                <a:lnTo>
                  <a:pt x="4443789" y="1857756"/>
                </a:lnTo>
                <a:lnTo>
                  <a:pt x="4443789" y="2288131"/>
                </a:lnTo>
                <a:lnTo>
                  <a:pt x="4443789" y="2525728"/>
                </a:lnTo>
                <a:lnTo>
                  <a:pt x="4443789" y="2984238"/>
                </a:lnTo>
                <a:lnTo>
                  <a:pt x="3843754" y="2984238"/>
                </a:lnTo>
                <a:lnTo>
                  <a:pt x="3810186" y="2984238"/>
                </a:lnTo>
                <a:lnTo>
                  <a:pt x="3740986" y="2984238"/>
                </a:lnTo>
                <a:lnTo>
                  <a:pt x="3512790" y="2984238"/>
                </a:lnTo>
                <a:lnTo>
                  <a:pt x="3402719" y="2984238"/>
                </a:lnTo>
                <a:lnTo>
                  <a:pt x="3109201" y="2984238"/>
                </a:lnTo>
                <a:lnTo>
                  <a:pt x="2986086" y="2984238"/>
                </a:lnTo>
                <a:lnTo>
                  <a:pt x="2802684" y="2984238"/>
                </a:lnTo>
                <a:lnTo>
                  <a:pt x="2769116" y="2984238"/>
                </a:lnTo>
                <a:lnTo>
                  <a:pt x="2713776" y="2984238"/>
                </a:lnTo>
                <a:lnTo>
                  <a:pt x="2509166" y="2984238"/>
                </a:lnTo>
                <a:lnTo>
                  <a:pt x="2475598" y="2984238"/>
                </a:lnTo>
                <a:lnTo>
                  <a:pt x="1839935" y="2984238"/>
                </a:lnTo>
                <a:lnTo>
                  <a:pt x="1716819" y="2984238"/>
                </a:lnTo>
                <a:lnTo>
                  <a:pt x="1454682" y="2984238"/>
                </a:lnTo>
                <a:lnTo>
                  <a:pt x="1444510" y="2984238"/>
                </a:lnTo>
                <a:lnTo>
                  <a:pt x="1423301" y="2984238"/>
                </a:lnTo>
                <a:lnTo>
                  <a:pt x="1239899" y="2984238"/>
                </a:lnTo>
                <a:lnTo>
                  <a:pt x="1206331" y="2984238"/>
                </a:lnTo>
                <a:lnTo>
                  <a:pt x="1150992" y="2984238"/>
                </a:lnTo>
                <a:lnTo>
                  <a:pt x="905913" y="2984238"/>
                </a:lnTo>
                <a:lnTo>
                  <a:pt x="702803" y="2984238"/>
                </a:lnTo>
                <a:lnTo>
                  <a:pt x="633605" y="2984238"/>
                </a:lnTo>
                <a:lnTo>
                  <a:pt x="633605" y="2983406"/>
                </a:lnTo>
                <a:lnTo>
                  <a:pt x="633604" y="2983406"/>
                </a:lnTo>
                <a:lnTo>
                  <a:pt x="633414" y="2983406"/>
                </a:lnTo>
                <a:lnTo>
                  <a:pt x="625287" y="2983406"/>
                </a:lnTo>
                <a:lnTo>
                  <a:pt x="600036" y="2983406"/>
                </a:lnTo>
                <a:lnTo>
                  <a:pt x="600036" y="2981671"/>
                </a:lnTo>
                <a:lnTo>
                  <a:pt x="572647" y="2980249"/>
                </a:lnTo>
                <a:lnTo>
                  <a:pt x="570293" y="2979886"/>
                </a:lnTo>
                <a:lnTo>
                  <a:pt x="568992" y="2979815"/>
                </a:lnTo>
                <a:lnTo>
                  <a:pt x="556640" y="2977788"/>
                </a:lnTo>
                <a:lnTo>
                  <a:pt x="517152" y="2971720"/>
                </a:lnTo>
                <a:lnTo>
                  <a:pt x="512609" y="2970567"/>
                </a:lnTo>
                <a:lnTo>
                  <a:pt x="509935" y="2970129"/>
                </a:lnTo>
                <a:lnTo>
                  <a:pt x="496126" y="2966380"/>
                </a:lnTo>
                <a:lnTo>
                  <a:pt x="463301" y="2958046"/>
                </a:lnTo>
                <a:lnTo>
                  <a:pt x="456659" y="2955672"/>
                </a:lnTo>
                <a:lnTo>
                  <a:pt x="452785" y="2954621"/>
                </a:lnTo>
                <a:lnTo>
                  <a:pt x="439575" y="2949567"/>
                </a:lnTo>
                <a:lnTo>
                  <a:pt x="411312" y="2939463"/>
                </a:lnTo>
                <a:lnTo>
                  <a:pt x="402737" y="2935469"/>
                </a:lnTo>
                <a:lnTo>
                  <a:pt x="397806" y="2933581"/>
                </a:lnTo>
                <a:lnTo>
                  <a:pt x="385843" y="2927598"/>
                </a:lnTo>
                <a:lnTo>
                  <a:pt x="361403" y="2916211"/>
                </a:lnTo>
                <a:lnTo>
                  <a:pt x="351085" y="2910211"/>
                </a:lnTo>
                <a:lnTo>
                  <a:pt x="345259" y="2907297"/>
                </a:lnTo>
                <a:lnTo>
                  <a:pt x="334785" y="2900733"/>
                </a:lnTo>
                <a:lnTo>
                  <a:pt x="313788" y="2888524"/>
                </a:lnTo>
                <a:lnTo>
                  <a:pt x="301951" y="2880157"/>
                </a:lnTo>
                <a:lnTo>
                  <a:pt x="295407" y="2876057"/>
                </a:lnTo>
                <a:lnTo>
                  <a:pt x="286494" y="2869231"/>
                </a:lnTo>
                <a:lnTo>
                  <a:pt x="268682" y="2856641"/>
                </a:lnTo>
                <a:lnTo>
                  <a:pt x="255577" y="2845557"/>
                </a:lnTo>
                <a:lnTo>
                  <a:pt x="248513" y="2840148"/>
                </a:lnTo>
                <a:lnTo>
                  <a:pt x="241144" y="2833351"/>
                </a:lnTo>
                <a:lnTo>
                  <a:pt x="226303" y="2820799"/>
                </a:lnTo>
                <a:lnTo>
                  <a:pt x="212206" y="2806655"/>
                </a:lnTo>
                <a:lnTo>
                  <a:pt x="204840" y="2799860"/>
                </a:lnTo>
                <a:lnTo>
                  <a:pt x="198946" y="2793352"/>
                </a:lnTo>
                <a:lnTo>
                  <a:pt x="186869" y="2781235"/>
                </a:lnTo>
                <a:lnTo>
                  <a:pt x="172075" y="2763680"/>
                </a:lnTo>
                <a:lnTo>
                  <a:pt x="164649" y="2755479"/>
                </a:lnTo>
                <a:lnTo>
                  <a:pt x="160126" y="2749501"/>
                </a:lnTo>
                <a:lnTo>
                  <a:pt x="150593" y="2738187"/>
                </a:lnTo>
                <a:lnTo>
                  <a:pt x="135413" y="2716825"/>
                </a:lnTo>
                <a:lnTo>
                  <a:pt x="128203" y="2707295"/>
                </a:lnTo>
                <a:lnTo>
                  <a:pt x="124919" y="2702060"/>
                </a:lnTo>
                <a:lnTo>
                  <a:pt x="117691" y="2691891"/>
                </a:lnTo>
                <a:lnTo>
                  <a:pt x="102434" y="2666223"/>
                </a:lnTo>
                <a:lnTo>
                  <a:pt x="95765" y="2655594"/>
                </a:lnTo>
                <a:lnTo>
                  <a:pt x="93563" y="2651301"/>
                </a:lnTo>
                <a:lnTo>
                  <a:pt x="88382" y="2642586"/>
                </a:lnTo>
                <a:lnTo>
                  <a:pt x="73321" y="2611829"/>
                </a:lnTo>
                <a:lnTo>
                  <a:pt x="67598" y="2600668"/>
                </a:lnTo>
                <a:lnTo>
                  <a:pt x="66299" y="2597490"/>
                </a:lnTo>
                <a:lnTo>
                  <a:pt x="62879" y="2590507"/>
                </a:lnTo>
                <a:lnTo>
                  <a:pt x="48163" y="2553088"/>
                </a:lnTo>
                <a:lnTo>
                  <a:pt x="43963" y="2542802"/>
                </a:lnTo>
                <a:lnTo>
                  <a:pt x="43371" y="2540899"/>
                </a:lnTo>
                <a:lnTo>
                  <a:pt x="41402" y="2535892"/>
                </a:lnTo>
                <a:lnTo>
                  <a:pt x="26628" y="2487119"/>
                </a:lnTo>
                <a:lnTo>
                  <a:pt x="25122" y="2482285"/>
                </a:lnTo>
                <a:lnTo>
                  <a:pt x="25017" y="2481798"/>
                </a:lnTo>
                <a:lnTo>
                  <a:pt x="24163" y="2478980"/>
                </a:lnTo>
                <a:cubicBezTo>
                  <a:pt x="14132" y="2440325"/>
                  <a:pt x="7072" y="2400297"/>
                  <a:pt x="3271" y="2359211"/>
                </a:cubicBezTo>
                <a:lnTo>
                  <a:pt x="3146" y="2356490"/>
                </a:lnTo>
                <a:lnTo>
                  <a:pt x="2879" y="2354448"/>
                </a:lnTo>
                <a:lnTo>
                  <a:pt x="1428" y="2320787"/>
                </a:lnTo>
                <a:lnTo>
                  <a:pt x="1" y="2320787"/>
                </a:lnTo>
                <a:lnTo>
                  <a:pt x="1" y="2288129"/>
                </a:lnTo>
                <a:lnTo>
                  <a:pt x="0" y="2288123"/>
                </a:lnTo>
                <a:lnTo>
                  <a:pt x="1" y="2288116"/>
                </a:lnTo>
                <a:lnTo>
                  <a:pt x="1" y="2287707"/>
                </a:lnTo>
                <a:lnTo>
                  <a:pt x="1" y="2281106"/>
                </a:lnTo>
                <a:lnTo>
                  <a:pt x="0" y="2281106"/>
                </a:lnTo>
                <a:lnTo>
                  <a:pt x="0" y="1857749"/>
                </a:lnTo>
                <a:lnTo>
                  <a:pt x="0" y="1857748"/>
                </a:lnTo>
                <a:lnTo>
                  <a:pt x="0" y="1857747"/>
                </a:lnTo>
                <a:lnTo>
                  <a:pt x="0" y="1829613"/>
                </a:lnTo>
                <a:lnTo>
                  <a:pt x="0" y="1822596"/>
                </a:lnTo>
                <a:lnTo>
                  <a:pt x="0" y="1584992"/>
                </a:lnTo>
                <a:lnTo>
                  <a:pt x="0" y="1399239"/>
                </a:lnTo>
                <a:lnTo>
                  <a:pt x="0" y="1399238"/>
                </a:lnTo>
                <a:lnTo>
                  <a:pt x="0" y="1399237"/>
                </a:lnTo>
                <a:lnTo>
                  <a:pt x="0" y="1154618"/>
                </a:lnTo>
                <a:lnTo>
                  <a:pt x="0" y="1126482"/>
                </a:lnTo>
                <a:lnTo>
                  <a:pt x="0" y="696108"/>
                </a:lnTo>
                <a:lnTo>
                  <a:pt x="0" y="45851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21088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BC4832D-2254-4A9F-8429-7952279A15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42718" y="490698"/>
            <a:ext cx="4891380" cy="5751788"/>
          </a:xfrm>
          <a:custGeom>
            <a:avLst/>
            <a:gdLst>
              <a:gd name="connsiteX0" fmla="*/ 0 w 4891380"/>
              <a:gd name="connsiteY0" fmla="*/ 0 h 5751788"/>
              <a:gd name="connsiteX1" fmla="*/ 1471669 w 4891380"/>
              <a:gd name="connsiteY1" fmla="*/ 0 h 5751788"/>
              <a:gd name="connsiteX2" fmla="*/ 1960808 w 4891380"/>
              <a:gd name="connsiteY2" fmla="*/ 0 h 5751788"/>
              <a:gd name="connsiteX3" fmla="*/ 2930558 w 4891380"/>
              <a:gd name="connsiteY3" fmla="*/ 0 h 5751788"/>
              <a:gd name="connsiteX4" fmla="*/ 3419696 w 4891380"/>
              <a:gd name="connsiteY4" fmla="*/ 0 h 5751788"/>
              <a:gd name="connsiteX5" fmla="*/ 3458648 w 4891380"/>
              <a:gd name="connsiteY5" fmla="*/ 0 h 5751788"/>
              <a:gd name="connsiteX6" fmla="*/ 3458648 w 4891380"/>
              <a:gd name="connsiteY6" fmla="*/ 1 h 5751788"/>
              <a:gd name="connsiteX7" fmla="*/ 3488752 w 4891380"/>
              <a:gd name="connsiteY7" fmla="*/ 1 h 5751788"/>
              <a:gd name="connsiteX8" fmla="*/ 3488752 w 4891380"/>
              <a:gd name="connsiteY8" fmla="*/ 3335 h 5751788"/>
              <a:gd name="connsiteX9" fmla="*/ 3559916 w 4891380"/>
              <a:gd name="connsiteY9" fmla="*/ 6728 h 5751788"/>
              <a:gd name="connsiteX10" fmla="*/ 3564234 w 4891380"/>
              <a:gd name="connsiteY10" fmla="*/ 7350 h 5751788"/>
              <a:gd name="connsiteX11" fmla="*/ 3569987 w 4891380"/>
              <a:gd name="connsiteY11" fmla="*/ 7641 h 5751788"/>
              <a:gd name="connsiteX12" fmla="*/ 3823196 w 4891380"/>
              <a:gd name="connsiteY12" fmla="*/ 56454 h 5751788"/>
              <a:gd name="connsiteX13" fmla="*/ 3829154 w 4891380"/>
              <a:gd name="connsiteY13" fmla="*/ 58447 h 5751788"/>
              <a:gd name="connsiteX14" fmla="*/ 3830180 w 4891380"/>
              <a:gd name="connsiteY14" fmla="*/ 58696 h 5751788"/>
              <a:gd name="connsiteX15" fmla="*/ 3840400 w 4891380"/>
              <a:gd name="connsiteY15" fmla="*/ 62213 h 5751788"/>
              <a:gd name="connsiteX16" fmla="*/ 3943517 w 4891380"/>
              <a:gd name="connsiteY16" fmla="*/ 96729 h 5751788"/>
              <a:gd name="connsiteX17" fmla="*/ 3954101 w 4891380"/>
              <a:gd name="connsiteY17" fmla="*/ 101328 h 5751788"/>
              <a:gd name="connsiteX18" fmla="*/ 3958123 w 4891380"/>
              <a:gd name="connsiteY18" fmla="*/ 102713 h 5751788"/>
              <a:gd name="connsiteX19" fmla="*/ 3979869 w 4891380"/>
              <a:gd name="connsiteY19" fmla="*/ 112529 h 5751788"/>
              <a:gd name="connsiteX20" fmla="*/ 4058977 w 4891380"/>
              <a:gd name="connsiteY20" fmla="*/ 146909 h 5751788"/>
              <a:gd name="connsiteX21" fmla="*/ 4073742 w 4891380"/>
              <a:gd name="connsiteY21" fmla="*/ 154899 h 5751788"/>
              <a:gd name="connsiteX22" fmla="*/ 4080462 w 4891380"/>
              <a:gd name="connsiteY22" fmla="*/ 157932 h 5751788"/>
              <a:gd name="connsiteX23" fmla="*/ 4104058 w 4891380"/>
              <a:gd name="connsiteY23" fmla="*/ 171305 h 5751788"/>
              <a:gd name="connsiteX24" fmla="*/ 4169078 w 4891380"/>
              <a:gd name="connsiteY24" fmla="*/ 206492 h 5751788"/>
              <a:gd name="connsiteX25" fmla="*/ 4187505 w 4891380"/>
              <a:gd name="connsiteY25" fmla="*/ 218597 h 5751788"/>
              <a:gd name="connsiteX26" fmla="*/ 4196586 w 4891380"/>
              <a:gd name="connsiteY26" fmla="*/ 223742 h 5751788"/>
              <a:gd name="connsiteX27" fmla="*/ 4219053 w 4891380"/>
              <a:gd name="connsiteY27" fmla="*/ 239321 h 5751788"/>
              <a:gd name="connsiteX28" fmla="*/ 4273318 w 4891380"/>
              <a:gd name="connsiteY28" fmla="*/ 274969 h 5751788"/>
              <a:gd name="connsiteX29" fmla="*/ 4294820 w 4891380"/>
              <a:gd name="connsiteY29" fmla="*/ 291856 h 5751788"/>
              <a:gd name="connsiteX30" fmla="*/ 4305886 w 4891380"/>
              <a:gd name="connsiteY30" fmla="*/ 299528 h 5751788"/>
              <a:gd name="connsiteX31" fmla="*/ 4326035 w 4891380"/>
              <a:gd name="connsiteY31" fmla="*/ 316371 h 5751788"/>
              <a:gd name="connsiteX32" fmla="*/ 4371194 w 4891380"/>
              <a:gd name="connsiteY32" fmla="*/ 351838 h 5751788"/>
              <a:gd name="connsiteX33" fmla="*/ 4395115 w 4891380"/>
              <a:gd name="connsiteY33" fmla="*/ 374115 h 5751788"/>
              <a:gd name="connsiteX34" fmla="*/ 4407752 w 4891380"/>
              <a:gd name="connsiteY34" fmla="*/ 384678 h 5751788"/>
              <a:gd name="connsiteX35" fmla="*/ 4425090 w 4891380"/>
              <a:gd name="connsiteY35" fmla="*/ 402029 h 5751788"/>
              <a:gd name="connsiteX36" fmla="*/ 4462206 w 4891380"/>
              <a:gd name="connsiteY36" fmla="*/ 436592 h 5751788"/>
              <a:gd name="connsiteX37" fmla="*/ 4487824 w 4891380"/>
              <a:gd name="connsiteY37" fmla="*/ 464813 h 5751788"/>
              <a:gd name="connsiteX38" fmla="*/ 4501580 w 4891380"/>
              <a:gd name="connsiteY38" fmla="*/ 478579 h 5751788"/>
              <a:gd name="connsiteX39" fmla="*/ 4515948 w 4891380"/>
              <a:gd name="connsiteY39" fmla="*/ 495792 h 5751788"/>
              <a:gd name="connsiteX40" fmla="*/ 4545848 w 4891380"/>
              <a:gd name="connsiteY40" fmla="*/ 528727 h 5751788"/>
              <a:gd name="connsiteX41" fmla="*/ 4572386 w 4891380"/>
              <a:gd name="connsiteY41" fmla="*/ 563402 h 5751788"/>
              <a:gd name="connsiteX42" fmla="*/ 4586756 w 4891380"/>
              <a:gd name="connsiteY42" fmla="*/ 580617 h 5751788"/>
              <a:gd name="connsiteX43" fmla="*/ 4598192 w 4891380"/>
              <a:gd name="connsiteY43" fmla="*/ 597122 h 5751788"/>
              <a:gd name="connsiteX44" fmla="*/ 4621624 w 4891380"/>
              <a:gd name="connsiteY44" fmla="*/ 627739 h 5751788"/>
              <a:gd name="connsiteX45" fmla="*/ 4648242 w 4891380"/>
              <a:gd name="connsiteY45" fmla="*/ 669353 h 5751788"/>
              <a:gd name="connsiteX46" fmla="*/ 4662670 w 4891380"/>
              <a:gd name="connsiteY46" fmla="*/ 690177 h 5751788"/>
              <a:gd name="connsiteX47" fmla="*/ 4671340 w 4891380"/>
              <a:gd name="connsiteY47" fmla="*/ 705466 h 5751788"/>
              <a:gd name="connsiteX48" fmla="*/ 4689030 w 4891380"/>
              <a:gd name="connsiteY48" fmla="*/ 733120 h 5751788"/>
              <a:gd name="connsiteX49" fmla="*/ 4714840 w 4891380"/>
              <a:gd name="connsiteY49" fmla="*/ 782179 h 5751788"/>
              <a:gd name="connsiteX50" fmla="*/ 4728718 w 4891380"/>
              <a:gd name="connsiteY50" fmla="*/ 806649 h 5751788"/>
              <a:gd name="connsiteX51" fmla="*/ 4734878 w 4891380"/>
              <a:gd name="connsiteY51" fmla="*/ 820262 h 5751788"/>
              <a:gd name="connsiteX52" fmla="*/ 4747562 w 4891380"/>
              <a:gd name="connsiteY52" fmla="*/ 844366 h 5751788"/>
              <a:gd name="connsiteX53" fmla="*/ 4771636 w 4891380"/>
              <a:gd name="connsiteY53" fmla="*/ 901470 h 5751788"/>
              <a:gd name="connsiteX54" fmla="*/ 4784286 w 4891380"/>
              <a:gd name="connsiteY54" fmla="*/ 929419 h 5751788"/>
              <a:gd name="connsiteX55" fmla="*/ 4788276 w 4891380"/>
              <a:gd name="connsiteY55" fmla="*/ 940938 h 5751788"/>
              <a:gd name="connsiteX56" fmla="*/ 4796723 w 4891380"/>
              <a:gd name="connsiteY56" fmla="*/ 960976 h 5751788"/>
              <a:gd name="connsiteX57" fmla="*/ 4818080 w 4891380"/>
              <a:gd name="connsiteY57" fmla="*/ 1027005 h 5751788"/>
              <a:gd name="connsiteX58" fmla="*/ 4828768 w 4891380"/>
              <a:gd name="connsiteY58" fmla="*/ 1057869 h 5751788"/>
              <a:gd name="connsiteX59" fmla="*/ 4830991 w 4891380"/>
              <a:gd name="connsiteY59" fmla="*/ 1066923 h 5751788"/>
              <a:gd name="connsiteX60" fmla="*/ 4836008 w 4891380"/>
              <a:gd name="connsiteY60" fmla="*/ 1082438 h 5751788"/>
              <a:gd name="connsiteX61" fmla="*/ 4853630 w 4891380"/>
              <a:gd name="connsiteY61" fmla="*/ 1159131 h 5751788"/>
              <a:gd name="connsiteX62" fmla="*/ 4861552 w 4891380"/>
              <a:gd name="connsiteY62" fmla="*/ 1191393 h 5751788"/>
              <a:gd name="connsiteX63" fmla="*/ 4862478 w 4891380"/>
              <a:gd name="connsiteY63" fmla="*/ 1197643 h 5751788"/>
              <a:gd name="connsiteX64" fmla="*/ 4864917 w 4891380"/>
              <a:gd name="connsiteY64" fmla="*/ 1208252 h 5751788"/>
              <a:gd name="connsiteX65" fmla="*/ 4877746 w 4891380"/>
              <a:gd name="connsiteY65" fmla="*/ 1300513 h 5751788"/>
              <a:gd name="connsiteX66" fmla="*/ 4882030 w 4891380"/>
              <a:gd name="connsiteY66" fmla="*/ 1329371 h 5751788"/>
              <a:gd name="connsiteX67" fmla="*/ 4882182 w 4891380"/>
              <a:gd name="connsiteY67" fmla="*/ 1332410 h 5751788"/>
              <a:gd name="connsiteX68" fmla="*/ 4882946 w 4891380"/>
              <a:gd name="connsiteY68" fmla="*/ 1337912 h 5751788"/>
              <a:gd name="connsiteX69" fmla="*/ 4885957 w 4891380"/>
              <a:gd name="connsiteY69" fmla="*/ 1401901 h 5751788"/>
              <a:gd name="connsiteX70" fmla="*/ 4889624 w 4891380"/>
              <a:gd name="connsiteY70" fmla="*/ 1401901 h 5751788"/>
              <a:gd name="connsiteX71" fmla="*/ 4889624 w 4891380"/>
              <a:gd name="connsiteY71" fmla="*/ 1460895 h 5751788"/>
              <a:gd name="connsiteX72" fmla="*/ 4889624 w 4891380"/>
              <a:gd name="connsiteY72" fmla="*/ 1479885 h 5751788"/>
              <a:gd name="connsiteX73" fmla="*/ 4889624 w 4891380"/>
              <a:gd name="connsiteY73" fmla="*/ 1480329 h 5751788"/>
              <a:gd name="connsiteX74" fmla="*/ 4891380 w 4891380"/>
              <a:gd name="connsiteY74" fmla="*/ 1480329 h 5751788"/>
              <a:gd name="connsiteX75" fmla="*/ 4891380 w 4891380"/>
              <a:gd name="connsiteY75" fmla="*/ 1630791 h 5751788"/>
              <a:gd name="connsiteX76" fmla="*/ 3458648 w 4891380"/>
              <a:gd name="connsiteY76" fmla="*/ 1630791 h 5751788"/>
              <a:gd name="connsiteX77" fmla="*/ 3458648 w 4891380"/>
              <a:gd name="connsiteY77" fmla="*/ 1630792 h 5751788"/>
              <a:gd name="connsiteX78" fmla="*/ 3488751 w 4891380"/>
              <a:gd name="connsiteY78" fmla="*/ 1630792 h 5751788"/>
              <a:gd name="connsiteX79" fmla="*/ 3488751 w 4891380"/>
              <a:gd name="connsiteY79" fmla="*/ 1634126 h 5751788"/>
              <a:gd name="connsiteX80" fmla="*/ 3559916 w 4891380"/>
              <a:gd name="connsiteY80" fmla="*/ 1637518 h 5751788"/>
              <a:gd name="connsiteX81" fmla="*/ 3564234 w 4891380"/>
              <a:gd name="connsiteY81" fmla="*/ 1638140 h 5751788"/>
              <a:gd name="connsiteX82" fmla="*/ 3569986 w 4891380"/>
              <a:gd name="connsiteY82" fmla="*/ 1638433 h 5751788"/>
              <a:gd name="connsiteX83" fmla="*/ 3823196 w 4891380"/>
              <a:gd name="connsiteY83" fmla="*/ 1687245 h 5751788"/>
              <a:gd name="connsiteX84" fmla="*/ 3829153 w 4891380"/>
              <a:gd name="connsiteY84" fmla="*/ 1689237 h 5751788"/>
              <a:gd name="connsiteX85" fmla="*/ 3830180 w 4891380"/>
              <a:gd name="connsiteY85" fmla="*/ 1689487 h 5751788"/>
              <a:gd name="connsiteX86" fmla="*/ 3840400 w 4891380"/>
              <a:gd name="connsiteY86" fmla="*/ 1693004 h 5751788"/>
              <a:gd name="connsiteX87" fmla="*/ 3943516 w 4891380"/>
              <a:gd name="connsiteY87" fmla="*/ 1727519 h 5751788"/>
              <a:gd name="connsiteX88" fmla="*/ 3954100 w 4891380"/>
              <a:gd name="connsiteY88" fmla="*/ 1732119 h 5751788"/>
              <a:gd name="connsiteX89" fmla="*/ 3958122 w 4891380"/>
              <a:gd name="connsiteY89" fmla="*/ 1733503 h 5751788"/>
              <a:gd name="connsiteX90" fmla="*/ 3979868 w 4891380"/>
              <a:gd name="connsiteY90" fmla="*/ 1743320 h 5751788"/>
              <a:gd name="connsiteX91" fmla="*/ 4058976 w 4891380"/>
              <a:gd name="connsiteY91" fmla="*/ 1777700 h 5751788"/>
              <a:gd name="connsiteX92" fmla="*/ 4073741 w 4891380"/>
              <a:gd name="connsiteY92" fmla="*/ 1785690 h 5751788"/>
              <a:gd name="connsiteX93" fmla="*/ 4080461 w 4891380"/>
              <a:gd name="connsiteY93" fmla="*/ 1788723 h 5751788"/>
              <a:gd name="connsiteX94" fmla="*/ 4104057 w 4891380"/>
              <a:gd name="connsiteY94" fmla="*/ 1802096 h 5751788"/>
              <a:gd name="connsiteX95" fmla="*/ 4169078 w 4891380"/>
              <a:gd name="connsiteY95" fmla="*/ 1837283 h 5751788"/>
              <a:gd name="connsiteX96" fmla="*/ 4187505 w 4891380"/>
              <a:gd name="connsiteY96" fmla="*/ 1849388 h 5751788"/>
              <a:gd name="connsiteX97" fmla="*/ 4196584 w 4891380"/>
              <a:gd name="connsiteY97" fmla="*/ 1854532 h 5751788"/>
              <a:gd name="connsiteX98" fmla="*/ 4219053 w 4891380"/>
              <a:gd name="connsiteY98" fmla="*/ 1870112 h 5751788"/>
              <a:gd name="connsiteX99" fmla="*/ 4273316 w 4891380"/>
              <a:gd name="connsiteY99" fmla="*/ 1905760 h 5751788"/>
              <a:gd name="connsiteX100" fmla="*/ 4294820 w 4891380"/>
              <a:gd name="connsiteY100" fmla="*/ 1922647 h 5751788"/>
              <a:gd name="connsiteX101" fmla="*/ 4305884 w 4891380"/>
              <a:gd name="connsiteY101" fmla="*/ 1930319 h 5751788"/>
              <a:gd name="connsiteX102" fmla="*/ 4326034 w 4891380"/>
              <a:gd name="connsiteY102" fmla="*/ 1947163 h 5751788"/>
              <a:gd name="connsiteX103" fmla="*/ 4371194 w 4891380"/>
              <a:gd name="connsiteY103" fmla="*/ 1982629 h 5751788"/>
              <a:gd name="connsiteX104" fmla="*/ 4395114 w 4891380"/>
              <a:gd name="connsiteY104" fmla="*/ 2004906 h 5751788"/>
              <a:gd name="connsiteX105" fmla="*/ 4407752 w 4891380"/>
              <a:gd name="connsiteY105" fmla="*/ 2015469 h 5751788"/>
              <a:gd name="connsiteX106" fmla="*/ 4425088 w 4891380"/>
              <a:gd name="connsiteY106" fmla="*/ 2032820 h 5751788"/>
              <a:gd name="connsiteX107" fmla="*/ 4462204 w 4891380"/>
              <a:gd name="connsiteY107" fmla="*/ 2067383 h 5751788"/>
              <a:gd name="connsiteX108" fmla="*/ 4487823 w 4891380"/>
              <a:gd name="connsiteY108" fmla="*/ 2095602 h 5751788"/>
              <a:gd name="connsiteX109" fmla="*/ 4501580 w 4891380"/>
              <a:gd name="connsiteY109" fmla="*/ 2109370 h 5751788"/>
              <a:gd name="connsiteX110" fmla="*/ 4515948 w 4891380"/>
              <a:gd name="connsiteY110" fmla="*/ 2126583 h 5751788"/>
              <a:gd name="connsiteX111" fmla="*/ 4545846 w 4891380"/>
              <a:gd name="connsiteY111" fmla="*/ 2159517 h 5751788"/>
              <a:gd name="connsiteX112" fmla="*/ 4572383 w 4891380"/>
              <a:gd name="connsiteY112" fmla="*/ 2194191 h 5751788"/>
              <a:gd name="connsiteX113" fmla="*/ 4586756 w 4891380"/>
              <a:gd name="connsiteY113" fmla="*/ 2211408 h 5751788"/>
              <a:gd name="connsiteX114" fmla="*/ 4598190 w 4891380"/>
              <a:gd name="connsiteY114" fmla="*/ 2227912 h 5751788"/>
              <a:gd name="connsiteX115" fmla="*/ 4621623 w 4891380"/>
              <a:gd name="connsiteY115" fmla="*/ 2258530 h 5751788"/>
              <a:gd name="connsiteX116" fmla="*/ 4648242 w 4891380"/>
              <a:gd name="connsiteY116" fmla="*/ 2300144 h 5751788"/>
              <a:gd name="connsiteX117" fmla="*/ 4662670 w 4891380"/>
              <a:gd name="connsiteY117" fmla="*/ 2320968 h 5751788"/>
              <a:gd name="connsiteX118" fmla="*/ 4671340 w 4891380"/>
              <a:gd name="connsiteY118" fmla="*/ 2336257 h 5751788"/>
              <a:gd name="connsiteX119" fmla="*/ 4689028 w 4891380"/>
              <a:gd name="connsiteY119" fmla="*/ 2363911 h 5751788"/>
              <a:gd name="connsiteX120" fmla="*/ 4714840 w 4891380"/>
              <a:gd name="connsiteY120" fmla="*/ 2412970 h 5751788"/>
              <a:gd name="connsiteX121" fmla="*/ 4728716 w 4891380"/>
              <a:gd name="connsiteY121" fmla="*/ 2437439 h 5751788"/>
              <a:gd name="connsiteX122" fmla="*/ 4734877 w 4891380"/>
              <a:gd name="connsiteY122" fmla="*/ 2451053 h 5751788"/>
              <a:gd name="connsiteX123" fmla="*/ 4747562 w 4891380"/>
              <a:gd name="connsiteY123" fmla="*/ 2475157 h 5751788"/>
              <a:gd name="connsiteX124" fmla="*/ 4771636 w 4891380"/>
              <a:gd name="connsiteY124" fmla="*/ 2532261 h 5751788"/>
              <a:gd name="connsiteX125" fmla="*/ 4784286 w 4891380"/>
              <a:gd name="connsiteY125" fmla="*/ 2560208 h 5751788"/>
              <a:gd name="connsiteX126" fmla="*/ 4788274 w 4891380"/>
              <a:gd name="connsiteY126" fmla="*/ 2571729 h 5751788"/>
              <a:gd name="connsiteX127" fmla="*/ 4796723 w 4891380"/>
              <a:gd name="connsiteY127" fmla="*/ 2591766 h 5751788"/>
              <a:gd name="connsiteX128" fmla="*/ 4818078 w 4891380"/>
              <a:gd name="connsiteY128" fmla="*/ 2657796 h 5751788"/>
              <a:gd name="connsiteX129" fmla="*/ 4828766 w 4891380"/>
              <a:gd name="connsiteY129" fmla="*/ 2688660 h 5751788"/>
              <a:gd name="connsiteX130" fmla="*/ 4830988 w 4891380"/>
              <a:gd name="connsiteY130" fmla="*/ 2697714 h 5751788"/>
              <a:gd name="connsiteX131" fmla="*/ 4836008 w 4891380"/>
              <a:gd name="connsiteY131" fmla="*/ 2713229 h 5751788"/>
              <a:gd name="connsiteX132" fmla="*/ 4853629 w 4891380"/>
              <a:gd name="connsiteY132" fmla="*/ 2789921 h 5751788"/>
              <a:gd name="connsiteX133" fmla="*/ 4861550 w 4891380"/>
              <a:gd name="connsiteY133" fmla="*/ 2822183 h 5751788"/>
              <a:gd name="connsiteX134" fmla="*/ 4862477 w 4891380"/>
              <a:gd name="connsiteY134" fmla="*/ 2828433 h 5751788"/>
              <a:gd name="connsiteX135" fmla="*/ 4864917 w 4891380"/>
              <a:gd name="connsiteY135" fmla="*/ 2839043 h 5751788"/>
              <a:gd name="connsiteX136" fmla="*/ 4877746 w 4891380"/>
              <a:gd name="connsiteY136" fmla="*/ 2931303 h 5751788"/>
              <a:gd name="connsiteX137" fmla="*/ 4882029 w 4891380"/>
              <a:gd name="connsiteY137" fmla="*/ 2960161 h 5751788"/>
              <a:gd name="connsiteX138" fmla="*/ 4882180 w 4891380"/>
              <a:gd name="connsiteY138" fmla="*/ 2963200 h 5751788"/>
              <a:gd name="connsiteX139" fmla="*/ 4882946 w 4891380"/>
              <a:gd name="connsiteY139" fmla="*/ 2968703 h 5751788"/>
              <a:gd name="connsiteX140" fmla="*/ 4885956 w 4891380"/>
              <a:gd name="connsiteY140" fmla="*/ 3032692 h 5751788"/>
              <a:gd name="connsiteX141" fmla="*/ 4889624 w 4891380"/>
              <a:gd name="connsiteY141" fmla="*/ 3032692 h 5751788"/>
              <a:gd name="connsiteX142" fmla="*/ 4889624 w 4891380"/>
              <a:gd name="connsiteY142" fmla="*/ 3091686 h 5751788"/>
              <a:gd name="connsiteX143" fmla="*/ 4889624 w 4891380"/>
              <a:gd name="connsiteY143" fmla="*/ 3110675 h 5751788"/>
              <a:gd name="connsiteX144" fmla="*/ 4889624 w 4891380"/>
              <a:gd name="connsiteY144" fmla="*/ 3111118 h 5751788"/>
              <a:gd name="connsiteX145" fmla="*/ 4891379 w 4891380"/>
              <a:gd name="connsiteY145" fmla="*/ 3111118 h 5751788"/>
              <a:gd name="connsiteX146" fmla="*/ 4891379 w 4891380"/>
              <a:gd name="connsiteY146" fmla="*/ 3394564 h 5751788"/>
              <a:gd name="connsiteX147" fmla="*/ 4891379 w 4891380"/>
              <a:gd name="connsiteY147" fmla="*/ 3988016 h 5751788"/>
              <a:gd name="connsiteX148" fmla="*/ 4891379 w 4891380"/>
              <a:gd name="connsiteY148" fmla="*/ 4271461 h 5751788"/>
              <a:gd name="connsiteX149" fmla="*/ 4891379 w 4891380"/>
              <a:gd name="connsiteY149" fmla="*/ 4349890 h 5751788"/>
              <a:gd name="connsiteX150" fmla="*/ 4889640 w 4891380"/>
              <a:gd name="connsiteY150" fmla="*/ 4349890 h 5751788"/>
              <a:gd name="connsiteX151" fmla="*/ 4889640 w 4891380"/>
              <a:gd name="connsiteY151" fmla="*/ 5751787 h 5751788"/>
              <a:gd name="connsiteX152" fmla="*/ 4400501 w 4891380"/>
              <a:gd name="connsiteY152" fmla="*/ 5751787 h 5751788"/>
              <a:gd name="connsiteX153" fmla="*/ 3430753 w 4891380"/>
              <a:gd name="connsiteY153" fmla="*/ 5751787 h 5751788"/>
              <a:gd name="connsiteX154" fmla="*/ 3420593 w 4891380"/>
              <a:gd name="connsiteY154" fmla="*/ 5751787 h 5751788"/>
              <a:gd name="connsiteX155" fmla="*/ 3419727 w 4891380"/>
              <a:gd name="connsiteY155" fmla="*/ 5751787 h 5751788"/>
              <a:gd name="connsiteX156" fmla="*/ 3419712 w 4891380"/>
              <a:gd name="connsiteY156" fmla="*/ 5751788 h 5751788"/>
              <a:gd name="connsiteX157" fmla="*/ 3419699 w 4891380"/>
              <a:gd name="connsiteY157" fmla="*/ 5751787 h 5751788"/>
              <a:gd name="connsiteX158" fmla="*/ 3350656 w 4891380"/>
              <a:gd name="connsiteY158" fmla="*/ 5751787 h 5751788"/>
              <a:gd name="connsiteX159" fmla="*/ 2941613 w 4891380"/>
              <a:gd name="connsiteY159" fmla="*/ 5751787 h 5751788"/>
              <a:gd name="connsiteX160" fmla="*/ 2931453 w 4891380"/>
              <a:gd name="connsiteY160" fmla="*/ 5751787 h 5751788"/>
              <a:gd name="connsiteX161" fmla="*/ 2930587 w 4891380"/>
              <a:gd name="connsiteY161" fmla="*/ 5751787 h 5751788"/>
              <a:gd name="connsiteX162" fmla="*/ 2930574 w 4891380"/>
              <a:gd name="connsiteY162" fmla="*/ 5751788 h 5751788"/>
              <a:gd name="connsiteX163" fmla="*/ 2930558 w 4891380"/>
              <a:gd name="connsiteY163" fmla="*/ 5751787 h 5751788"/>
              <a:gd name="connsiteX164" fmla="*/ 2861517 w 4891380"/>
              <a:gd name="connsiteY164" fmla="*/ 5751787 h 5751788"/>
              <a:gd name="connsiteX165" fmla="*/ 1961706 w 4891380"/>
              <a:gd name="connsiteY165" fmla="*/ 5751787 h 5751788"/>
              <a:gd name="connsiteX166" fmla="*/ 1960839 w 4891380"/>
              <a:gd name="connsiteY166" fmla="*/ 5751787 h 5751788"/>
              <a:gd name="connsiteX167" fmla="*/ 1960824 w 4891380"/>
              <a:gd name="connsiteY167" fmla="*/ 5751788 h 5751788"/>
              <a:gd name="connsiteX168" fmla="*/ 1960810 w 4891380"/>
              <a:gd name="connsiteY168" fmla="*/ 5751787 h 5751788"/>
              <a:gd name="connsiteX169" fmla="*/ 1891768 w 4891380"/>
              <a:gd name="connsiteY169" fmla="*/ 5751787 h 5751788"/>
              <a:gd name="connsiteX170" fmla="*/ 1472566 w 4891380"/>
              <a:gd name="connsiteY170" fmla="*/ 5751787 h 5751788"/>
              <a:gd name="connsiteX171" fmla="*/ 1471699 w 4891380"/>
              <a:gd name="connsiteY171" fmla="*/ 5751787 h 5751788"/>
              <a:gd name="connsiteX172" fmla="*/ 1471686 w 4891380"/>
              <a:gd name="connsiteY172" fmla="*/ 5751788 h 5751788"/>
              <a:gd name="connsiteX173" fmla="*/ 1471671 w 4891380"/>
              <a:gd name="connsiteY173" fmla="*/ 5751787 h 5751788"/>
              <a:gd name="connsiteX174" fmla="*/ 1402630 w 4891380"/>
              <a:gd name="connsiteY174" fmla="*/ 5751787 h 5751788"/>
              <a:gd name="connsiteX175" fmla="*/ 1402630 w 4891380"/>
              <a:gd name="connsiteY175" fmla="*/ 5748454 h 5751788"/>
              <a:gd name="connsiteX176" fmla="*/ 1331464 w 4891380"/>
              <a:gd name="connsiteY176" fmla="*/ 5745061 h 5751788"/>
              <a:gd name="connsiteX177" fmla="*/ 1327146 w 4891380"/>
              <a:gd name="connsiteY177" fmla="*/ 5744440 h 5751788"/>
              <a:gd name="connsiteX178" fmla="*/ 1321394 w 4891380"/>
              <a:gd name="connsiteY178" fmla="*/ 5744149 h 5751788"/>
              <a:gd name="connsiteX179" fmla="*/ 1068185 w 4891380"/>
              <a:gd name="connsiteY179" fmla="*/ 5695337 h 5751788"/>
              <a:gd name="connsiteX180" fmla="*/ 1062227 w 4891380"/>
              <a:gd name="connsiteY180" fmla="*/ 5693342 h 5751788"/>
              <a:gd name="connsiteX181" fmla="*/ 1061200 w 4891380"/>
              <a:gd name="connsiteY181" fmla="*/ 5693093 h 5751788"/>
              <a:gd name="connsiteX182" fmla="*/ 1050981 w 4891380"/>
              <a:gd name="connsiteY182" fmla="*/ 5689577 h 5751788"/>
              <a:gd name="connsiteX183" fmla="*/ 947864 w 4891380"/>
              <a:gd name="connsiteY183" fmla="*/ 5655061 h 5751788"/>
              <a:gd name="connsiteX184" fmla="*/ 937281 w 4891380"/>
              <a:gd name="connsiteY184" fmla="*/ 5650461 h 5751788"/>
              <a:gd name="connsiteX185" fmla="*/ 933258 w 4891380"/>
              <a:gd name="connsiteY185" fmla="*/ 5649077 h 5751788"/>
              <a:gd name="connsiteX186" fmla="*/ 911512 w 4891380"/>
              <a:gd name="connsiteY186" fmla="*/ 5639261 h 5751788"/>
              <a:gd name="connsiteX187" fmla="*/ 832403 w 4891380"/>
              <a:gd name="connsiteY187" fmla="*/ 5604881 h 5751788"/>
              <a:gd name="connsiteX188" fmla="*/ 817638 w 4891380"/>
              <a:gd name="connsiteY188" fmla="*/ 5596891 h 5751788"/>
              <a:gd name="connsiteX189" fmla="*/ 810920 w 4891380"/>
              <a:gd name="connsiteY189" fmla="*/ 5593857 h 5751788"/>
              <a:gd name="connsiteX190" fmla="*/ 787324 w 4891380"/>
              <a:gd name="connsiteY190" fmla="*/ 5580484 h 5751788"/>
              <a:gd name="connsiteX191" fmla="*/ 722302 w 4891380"/>
              <a:gd name="connsiteY191" fmla="*/ 5545298 h 5751788"/>
              <a:gd name="connsiteX192" fmla="*/ 703875 w 4891380"/>
              <a:gd name="connsiteY192" fmla="*/ 5533192 h 5751788"/>
              <a:gd name="connsiteX193" fmla="*/ 694796 w 4891380"/>
              <a:gd name="connsiteY193" fmla="*/ 5528048 h 5751788"/>
              <a:gd name="connsiteX194" fmla="*/ 672327 w 4891380"/>
              <a:gd name="connsiteY194" fmla="*/ 5512468 h 5751788"/>
              <a:gd name="connsiteX195" fmla="*/ 618064 w 4891380"/>
              <a:gd name="connsiteY195" fmla="*/ 5476820 h 5751788"/>
              <a:gd name="connsiteX196" fmla="*/ 596562 w 4891380"/>
              <a:gd name="connsiteY196" fmla="*/ 5459933 h 5751788"/>
              <a:gd name="connsiteX197" fmla="*/ 585496 w 4891380"/>
              <a:gd name="connsiteY197" fmla="*/ 5452261 h 5751788"/>
              <a:gd name="connsiteX198" fmla="*/ 565345 w 4891380"/>
              <a:gd name="connsiteY198" fmla="*/ 5435418 h 5751788"/>
              <a:gd name="connsiteX199" fmla="*/ 520187 w 4891380"/>
              <a:gd name="connsiteY199" fmla="*/ 5399950 h 5751788"/>
              <a:gd name="connsiteX200" fmla="*/ 496267 w 4891380"/>
              <a:gd name="connsiteY200" fmla="*/ 5377676 h 5751788"/>
              <a:gd name="connsiteX201" fmla="*/ 483628 w 4891380"/>
              <a:gd name="connsiteY201" fmla="*/ 5367110 h 5751788"/>
              <a:gd name="connsiteX202" fmla="*/ 466291 w 4891380"/>
              <a:gd name="connsiteY202" fmla="*/ 5349761 h 5751788"/>
              <a:gd name="connsiteX203" fmla="*/ 429176 w 4891380"/>
              <a:gd name="connsiteY203" fmla="*/ 5315197 h 5751788"/>
              <a:gd name="connsiteX204" fmla="*/ 403557 w 4891380"/>
              <a:gd name="connsiteY204" fmla="*/ 5286978 h 5751788"/>
              <a:gd name="connsiteX205" fmla="*/ 389801 w 4891380"/>
              <a:gd name="connsiteY205" fmla="*/ 5273210 h 5751788"/>
              <a:gd name="connsiteX206" fmla="*/ 375432 w 4891380"/>
              <a:gd name="connsiteY206" fmla="*/ 5255998 h 5751788"/>
              <a:gd name="connsiteX207" fmla="*/ 345533 w 4891380"/>
              <a:gd name="connsiteY207" fmla="*/ 5223062 h 5751788"/>
              <a:gd name="connsiteX208" fmla="*/ 318997 w 4891380"/>
              <a:gd name="connsiteY208" fmla="*/ 5188388 h 5751788"/>
              <a:gd name="connsiteX209" fmla="*/ 304626 w 4891380"/>
              <a:gd name="connsiteY209" fmla="*/ 5171174 h 5751788"/>
              <a:gd name="connsiteX210" fmla="*/ 293189 w 4891380"/>
              <a:gd name="connsiteY210" fmla="*/ 5154668 h 5751788"/>
              <a:gd name="connsiteX211" fmla="*/ 269757 w 4891380"/>
              <a:gd name="connsiteY211" fmla="*/ 5124051 h 5751788"/>
              <a:gd name="connsiteX212" fmla="*/ 243139 w 4891380"/>
              <a:gd name="connsiteY212" fmla="*/ 5082435 h 5751788"/>
              <a:gd name="connsiteX213" fmla="*/ 228710 w 4891380"/>
              <a:gd name="connsiteY213" fmla="*/ 5061612 h 5751788"/>
              <a:gd name="connsiteX214" fmla="*/ 220040 w 4891380"/>
              <a:gd name="connsiteY214" fmla="*/ 5046323 h 5751788"/>
              <a:gd name="connsiteX215" fmla="*/ 202353 w 4891380"/>
              <a:gd name="connsiteY215" fmla="*/ 5018669 h 5751788"/>
              <a:gd name="connsiteX216" fmla="*/ 176540 w 4891380"/>
              <a:gd name="connsiteY216" fmla="*/ 4969611 h 5751788"/>
              <a:gd name="connsiteX217" fmla="*/ 162664 w 4891380"/>
              <a:gd name="connsiteY217" fmla="*/ 4945140 h 5751788"/>
              <a:gd name="connsiteX218" fmla="*/ 156502 w 4891380"/>
              <a:gd name="connsiteY218" fmla="*/ 4931527 h 5751788"/>
              <a:gd name="connsiteX219" fmla="*/ 143819 w 4891380"/>
              <a:gd name="connsiteY219" fmla="*/ 4907422 h 5751788"/>
              <a:gd name="connsiteX220" fmla="*/ 119746 w 4891380"/>
              <a:gd name="connsiteY220" fmla="*/ 4850319 h 5751788"/>
              <a:gd name="connsiteX221" fmla="*/ 107095 w 4891380"/>
              <a:gd name="connsiteY221" fmla="*/ 4822372 h 5751788"/>
              <a:gd name="connsiteX222" fmla="*/ 103107 w 4891380"/>
              <a:gd name="connsiteY222" fmla="*/ 4810852 h 5751788"/>
              <a:gd name="connsiteX223" fmla="*/ 94658 w 4891380"/>
              <a:gd name="connsiteY223" fmla="*/ 4790814 h 5751788"/>
              <a:gd name="connsiteX224" fmla="*/ 73303 w 4891380"/>
              <a:gd name="connsiteY224" fmla="*/ 4724785 h 5751788"/>
              <a:gd name="connsiteX225" fmla="*/ 62615 w 4891380"/>
              <a:gd name="connsiteY225" fmla="*/ 4693921 h 5751788"/>
              <a:gd name="connsiteX226" fmla="*/ 60392 w 4891380"/>
              <a:gd name="connsiteY226" fmla="*/ 4684865 h 5751788"/>
              <a:gd name="connsiteX227" fmla="*/ 55373 w 4891380"/>
              <a:gd name="connsiteY227" fmla="*/ 4669350 h 5751788"/>
              <a:gd name="connsiteX228" fmla="*/ 37752 w 4891380"/>
              <a:gd name="connsiteY228" fmla="*/ 4592660 h 5751788"/>
              <a:gd name="connsiteX229" fmla="*/ 29830 w 4891380"/>
              <a:gd name="connsiteY229" fmla="*/ 4560396 h 5751788"/>
              <a:gd name="connsiteX230" fmla="*/ 28902 w 4891380"/>
              <a:gd name="connsiteY230" fmla="*/ 4554148 h 5751788"/>
              <a:gd name="connsiteX231" fmla="*/ 26465 w 4891380"/>
              <a:gd name="connsiteY231" fmla="*/ 4543536 h 5751788"/>
              <a:gd name="connsiteX232" fmla="*/ 13636 w 4891380"/>
              <a:gd name="connsiteY232" fmla="*/ 4451278 h 5751788"/>
              <a:gd name="connsiteX233" fmla="*/ 9352 w 4891380"/>
              <a:gd name="connsiteY233" fmla="*/ 4422418 h 5751788"/>
              <a:gd name="connsiteX234" fmla="*/ 9200 w 4891380"/>
              <a:gd name="connsiteY234" fmla="*/ 4419380 h 5751788"/>
              <a:gd name="connsiteX235" fmla="*/ 8434 w 4891380"/>
              <a:gd name="connsiteY235" fmla="*/ 4413877 h 5751788"/>
              <a:gd name="connsiteX236" fmla="*/ 5426 w 4891380"/>
              <a:gd name="connsiteY236" fmla="*/ 4349890 h 5751788"/>
              <a:gd name="connsiteX237" fmla="*/ 1757 w 4891380"/>
              <a:gd name="connsiteY237" fmla="*/ 4349890 h 5751788"/>
              <a:gd name="connsiteX238" fmla="*/ 1757 w 4891380"/>
              <a:gd name="connsiteY238" fmla="*/ 4290894 h 5751788"/>
              <a:gd name="connsiteX239" fmla="*/ 1757 w 4891380"/>
              <a:gd name="connsiteY239" fmla="*/ 4271904 h 5751788"/>
              <a:gd name="connsiteX240" fmla="*/ 1757 w 4891380"/>
              <a:gd name="connsiteY240" fmla="*/ 4271461 h 5751788"/>
              <a:gd name="connsiteX241" fmla="*/ 0 w 4891380"/>
              <a:gd name="connsiteY241" fmla="*/ 4271461 h 5751788"/>
              <a:gd name="connsiteX242" fmla="*/ 0 w 4891380"/>
              <a:gd name="connsiteY242" fmla="*/ 3988016 h 5751788"/>
              <a:gd name="connsiteX243" fmla="*/ 0 w 4891380"/>
              <a:gd name="connsiteY243" fmla="*/ 3394564 h 5751788"/>
              <a:gd name="connsiteX244" fmla="*/ 0 w 4891380"/>
              <a:gd name="connsiteY244" fmla="*/ 3111118 h 5751788"/>
              <a:gd name="connsiteX245" fmla="*/ 0 w 4891380"/>
              <a:gd name="connsiteY245" fmla="*/ 3032692 h 5751788"/>
              <a:gd name="connsiteX246" fmla="*/ 1740 w 4891380"/>
              <a:gd name="connsiteY246" fmla="*/ 3032692 h 5751788"/>
              <a:gd name="connsiteX247" fmla="*/ 1740 w 4891380"/>
              <a:gd name="connsiteY247" fmla="*/ 3022121 h 5751788"/>
              <a:gd name="connsiteX248" fmla="*/ 0 w 4891380"/>
              <a:gd name="connsiteY248" fmla="*/ 3022121 h 575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4891380" h="5751788">
                <a:moveTo>
                  <a:pt x="0" y="0"/>
                </a:moveTo>
                <a:lnTo>
                  <a:pt x="1471669" y="0"/>
                </a:lnTo>
                <a:lnTo>
                  <a:pt x="1960808" y="0"/>
                </a:lnTo>
                <a:lnTo>
                  <a:pt x="2930558" y="0"/>
                </a:lnTo>
                <a:lnTo>
                  <a:pt x="3419696" y="0"/>
                </a:lnTo>
                <a:lnTo>
                  <a:pt x="3458648" y="0"/>
                </a:lnTo>
                <a:lnTo>
                  <a:pt x="3458648" y="1"/>
                </a:lnTo>
                <a:lnTo>
                  <a:pt x="3488752" y="1"/>
                </a:lnTo>
                <a:lnTo>
                  <a:pt x="3488752" y="3335"/>
                </a:lnTo>
                <a:lnTo>
                  <a:pt x="3559916" y="6728"/>
                </a:lnTo>
                <a:lnTo>
                  <a:pt x="3564234" y="7350"/>
                </a:lnTo>
                <a:lnTo>
                  <a:pt x="3569987" y="7641"/>
                </a:lnTo>
                <a:cubicBezTo>
                  <a:pt x="3656849" y="16522"/>
                  <a:pt x="3741475" y="33018"/>
                  <a:pt x="3823196" y="56454"/>
                </a:cubicBezTo>
                <a:lnTo>
                  <a:pt x="3829154" y="58447"/>
                </a:lnTo>
                <a:lnTo>
                  <a:pt x="3830180" y="58696"/>
                </a:lnTo>
                <a:lnTo>
                  <a:pt x="3840400" y="62213"/>
                </a:lnTo>
                <a:lnTo>
                  <a:pt x="3943517" y="96729"/>
                </a:lnTo>
                <a:lnTo>
                  <a:pt x="3954101" y="101328"/>
                </a:lnTo>
                <a:lnTo>
                  <a:pt x="3958123" y="102713"/>
                </a:lnTo>
                <a:lnTo>
                  <a:pt x="3979869" y="112529"/>
                </a:lnTo>
                <a:lnTo>
                  <a:pt x="4058977" y="146909"/>
                </a:lnTo>
                <a:lnTo>
                  <a:pt x="4073742" y="154899"/>
                </a:lnTo>
                <a:lnTo>
                  <a:pt x="4080462" y="157932"/>
                </a:lnTo>
                <a:lnTo>
                  <a:pt x="4104058" y="171305"/>
                </a:lnTo>
                <a:lnTo>
                  <a:pt x="4169078" y="206492"/>
                </a:lnTo>
                <a:lnTo>
                  <a:pt x="4187505" y="218597"/>
                </a:lnTo>
                <a:lnTo>
                  <a:pt x="4196586" y="223742"/>
                </a:lnTo>
                <a:lnTo>
                  <a:pt x="4219053" y="239321"/>
                </a:lnTo>
                <a:lnTo>
                  <a:pt x="4273318" y="274969"/>
                </a:lnTo>
                <a:lnTo>
                  <a:pt x="4294820" y="291856"/>
                </a:lnTo>
                <a:lnTo>
                  <a:pt x="4305886" y="299528"/>
                </a:lnTo>
                <a:lnTo>
                  <a:pt x="4326035" y="316371"/>
                </a:lnTo>
                <a:lnTo>
                  <a:pt x="4371194" y="351838"/>
                </a:lnTo>
                <a:lnTo>
                  <a:pt x="4395115" y="374115"/>
                </a:lnTo>
                <a:lnTo>
                  <a:pt x="4407752" y="384678"/>
                </a:lnTo>
                <a:lnTo>
                  <a:pt x="4425090" y="402029"/>
                </a:lnTo>
                <a:lnTo>
                  <a:pt x="4462206" y="436592"/>
                </a:lnTo>
                <a:lnTo>
                  <a:pt x="4487824" y="464813"/>
                </a:lnTo>
                <a:lnTo>
                  <a:pt x="4501580" y="478579"/>
                </a:lnTo>
                <a:lnTo>
                  <a:pt x="4515948" y="495792"/>
                </a:lnTo>
                <a:lnTo>
                  <a:pt x="4545848" y="528727"/>
                </a:lnTo>
                <a:lnTo>
                  <a:pt x="4572386" y="563402"/>
                </a:lnTo>
                <a:lnTo>
                  <a:pt x="4586756" y="580617"/>
                </a:lnTo>
                <a:lnTo>
                  <a:pt x="4598192" y="597122"/>
                </a:lnTo>
                <a:lnTo>
                  <a:pt x="4621624" y="627739"/>
                </a:lnTo>
                <a:lnTo>
                  <a:pt x="4648242" y="669353"/>
                </a:lnTo>
                <a:lnTo>
                  <a:pt x="4662670" y="690177"/>
                </a:lnTo>
                <a:lnTo>
                  <a:pt x="4671340" y="705466"/>
                </a:lnTo>
                <a:lnTo>
                  <a:pt x="4689030" y="733120"/>
                </a:lnTo>
                <a:lnTo>
                  <a:pt x="4714840" y="782179"/>
                </a:lnTo>
                <a:lnTo>
                  <a:pt x="4728718" y="806649"/>
                </a:lnTo>
                <a:lnTo>
                  <a:pt x="4734878" y="820262"/>
                </a:lnTo>
                <a:lnTo>
                  <a:pt x="4747562" y="844366"/>
                </a:lnTo>
                <a:lnTo>
                  <a:pt x="4771636" y="901470"/>
                </a:lnTo>
                <a:lnTo>
                  <a:pt x="4784286" y="929419"/>
                </a:lnTo>
                <a:lnTo>
                  <a:pt x="4788276" y="940938"/>
                </a:lnTo>
                <a:lnTo>
                  <a:pt x="4796723" y="960976"/>
                </a:lnTo>
                <a:lnTo>
                  <a:pt x="4818080" y="1027005"/>
                </a:lnTo>
                <a:lnTo>
                  <a:pt x="4828768" y="1057869"/>
                </a:lnTo>
                <a:lnTo>
                  <a:pt x="4830991" y="1066923"/>
                </a:lnTo>
                <a:lnTo>
                  <a:pt x="4836008" y="1082438"/>
                </a:lnTo>
                <a:lnTo>
                  <a:pt x="4853630" y="1159131"/>
                </a:lnTo>
                <a:lnTo>
                  <a:pt x="4861552" y="1191393"/>
                </a:lnTo>
                <a:lnTo>
                  <a:pt x="4862478" y="1197643"/>
                </a:lnTo>
                <a:lnTo>
                  <a:pt x="4864917" y="1208252"/>
                </a:lnTo>
                <a:lnTo>
                  <a:pt x="4877746" y="1300513"/>
                </a:lnTo>
                <a:lnTo>
                  <a:pt x="4882030" y="1329371"/>
                </a:lnTo>
                <a:lnTo>
                  <a:pt x="4882182" y="1332410"/>
                </a:lnTo>
                <a:lnTo>
                  <a:pt x="4882946" y="1337912"/>
                </a:lnTo>
                <a:lnTo>
                  <a:pt x="4885957" y="1401901"/>
                </a:lnTo>
                <a:lnTo>
                  <a:pt x="4889624" y="1401901"/>
                </a:lnTo>
                <a:lnTo>
                  <a:pt x="4889624" y="1460895"/>
                </a:lnTo>
                <a:lnTo>
                  <a:pt x="4889624" y="1479885"/>
                </a:lnTo>
                <a:lnTo>
                  <a:pt x="4889624" y="1480329"/>
                </a:lnTo>
                <a:lnTo>
                  <a:pt x="4891380" y="1480329"/>
                </a:lnTo>
                <a:lnTo>
                  <a:pt x="4891380" y="1630791"/>
                </a:lnTo>
                <a:lnTo>
                  <a:pt x="3458648" y="1630791"/>
                </a:lnTo>
                <a:lnTo>
                  <a:pt x="3458648" y="1630792"/>
                </a:lnTo>
                <a:lnTo>
                  <a:pt x="3488751" y="1630792"/>
                </a:lnTo>
                <a:lnTo>
                  <a:pt x="3488751" y="1634126"/>
                </a:lnTo>
                <a:lnTo>
                  <a:pt x="3559916" y="1637518"/>
                </a:lnTo>
                <a:lnTo>
                  <a:pt x="3564234" y="1638140"/>
                </a:lnTo>
                <a:lnTo>
                  <a:pt x="3569986" y="1638433"/>
                </a:lnTo>
                <a:cubicBezTo>
                  <a:pt x="3656848" y="1647313"/>
                  <a:pt x="3741475" y="1663807"/>
                  <a:pt x="3823196" y="1687245"/>
                </a:cubicBezTo>
                <a:lnTo>
                  <a:pt x="3829153" y="1689237"/>
                </a:lnTo>
                <a:lnTo>
                  <a:pt x="3830180" y="1689487"/>
                </a:lnTo>
                <a:lnTo>
                  <a:pt x="3840400" y="1693004"/>
                </a:lnTo>
                <a:lnTo>
                  <a:pt x="3943516" y="1727519"/>
                </a:lnTo>
                <a:lnTo>
                  <a:pt x="3954100" y="1732119"/>
                </a:lnTo>
                <a:lnTo>
                  <a:pt x="3958122" y="1733503"/>
                </a:lnTo>
                <a:lnTo>
                  <a:pt x="3979868" y="1743320"/>
                </a:lnTo>
                <a:lnTo>
                  <a:pt x="4058976" y="1777700"/>
                </a:lnTo>
                <a:lnTo>
                  <a:pt x="4073741" y="1785690"/>
                </a:lnTo>
                <a:lnTo>
                  <a:pt x="4080461" y="1788723"/>
                </a:lnTo>
                <a:lnTo>
                  <a:pt x="4104057" y="1802096"/>
                </a:lnTo>
                <a:lnTo>
                  <a:pt x="4169078" y="1837283"/>
                </a:lnTo>
                <a:lnTo>
                  <a:pt x="4187505" y="1849388"/>
                </a:lnTo>
                <a:lnTo>
                  <a:pt x="4196584" y="1854532"/>
                </a:lnTo>
                <a:lnTo>
                  <a:pt x="4219053" y="1870112"/>
                </a:lnTo>
                <a:lnTo>
                  <a:pt x="4273316" y="1905760"/>
                </a:lnTo>
                <a:lnTo>
                  <a:pt x="4294820" y="1922647"/>
                </a:lnTo>
                <a:lnTo>
                  <a:pt x="4305884" y="1930319"/>
                </a:lnTo>
                <a:lnTo>
                  <a:pt x="4326034" y="1947163"/>
                </a:lnTo>
                <a:lnTo>
                  <a:pt x="4371194" y="1982629"/>
                </a:lnTo>
                <a:lnTo>
                  <a:pt x="4395114" y="2004906"/>
                </a:lnTo>
                <a:lnTo>
                  <a:pt x="4407752" y="2015469"/>
                </a:lnTo>
                <a:lnTo>
                  <a:pt x="4425088" y="2032820"/>
                </a:lnTo>
                <a:lnTo>
                  <a:pt x="4462204" y="2067383"/>
                </a:lnTo>
                <a:lnTo>
                  <a:pt x="4487823" y="2095602"/>
                </a:lnTo>
                <a:lnTo>
                  <a:pt x="4501580" y="2109370"/>
                </a:lnTo>
                <a:lnTo>
                  <a:pt x="4515948" y="2126583"/>
                </a:lnTo>
                <a:lnTo>
                  <a:pt x="4545846" y="2159517"/>
                </a:lnTo>
                <a:lnTo>
                  <a:pt x="4572383" y="2194191"/>
                </a:lnTo>
                <a:lnTo>
                  <a:pt x="4586756" y="2211408"/>
                </a:lnTo>
                <a:lnTo>
                  <a:pt x="4598190" y="2227912"/>
                </a:lnTo>
                <a:lnTo>
                  <a:pt x="4621623" y="2258530"/>
                </a:lnTo>
                <a:lnTo>
                  <a:pt x="4648242" y="2300144"/>
                </a:lnTo>
                <a:lnTo>
                  <a:pt x="4662670" y="2320968"/>
                </a:lnTo>
                <a:lnTo>
                  <a:pt x="4671340" y="2336257"/>
                </a:lnTo>
                <a:lnTo>
                  <a:pt x="4689028" y="2363911"/>
                </a:lnTo>
                <a:lnTo>
                  <a:pt x="4714840" y="2412970"/>
                </a:lnTo>
                <a:lnTo>
                  <a:pt x="4728716" y="2437439"/>
                </a:lnTo>
                <a:lnTo>
                  <a:pt x="4734877" y="2451053"/>
                </a:lnTo>
                <a:lnTo>
                  <a:pt x="4747562" y="2475157"/>
                </a:lnTo>
                <a:lnTo>
                  <a:pt x="4771636" y="2532261"/>
                </a:lnTo>
                <a:lnTo>
                  <a:pt x="4784286" y="2560208"/>
                </a:lnTo>
                <a:lnTo>
                  <a:pt x="4788274" y="2571729"/>
                </a:lnTo>
                <a:lnTo>
                  <a:pt x="4796723" y="2591766"/>
                </a:lnTo>
                <a:lnTo>
                  <a:pt x="4818078" y="2657796"/>
                </a:lnTo>
                <a:lnTo>
                  <a:pt x="4828766" y="2688660"/>
                </a:lnTo>
                <a:lnTo>
                  <a:pt x="4830988" y="2697714"/>
                </a:lnTo>
                <a:lnTo>
                  <a:pt x="4836008" y="2713229"/>
                </a:lnTo>
                <a:lnTo>
                  <a:pt x="4853629" y="2789921"/>
                </a:lnTo>
                <a:lnTo>
                  <a:pt x="4861550" y="2822183"/>
                </a:lnTo>
                <a:lnTo>
                  <a:pt x="4862477" y="2828433"/>
                </a:lnTo>
                <a:lnTo>
                  <a:pt x="4864917" y="2839043"/>
                </a:lnTo>
                <a:lnTo>
                  <a:pt x="4877746" y="2931303"/>
                </a:lnTo>
                <a:lnTo>
                  <a:pt x="4882029" y="2960161"/>
                </a:lnTo>
                <a:lnTo>
                  <a:pt x="4882180" y="2963200"/>
                </a:lnTo>
                <a:lnTo>
                  <a:pt x="4882946" y="2968703"/>
                </a:lnTo>
                <a:lnTo>
                  <a:pt x="4885956" y="3032692"/>
                </a:lnTo>
                <a:lnTo>
                  <a:pt x="4889624" y="3032692"/>
                </a:lnTo>
                <a:lnTo>
                  <a:pt x="4889624" y="3091686"/>
                </a:lnTo>
                <a:lnTo>
                  <a:pt x="4889624" y="3110675"/>
                </a:lnTo>
                <a:lnTo>
                  <a:pt x="4889624" y="3111118"/>
                </a:lnTo>
                <a:lnTo>
                  <a:pt x="4891379" y="3111118"/>
                </a:lnTo>
                <a:lnTo>
                  <a:pt x="4891379" y="3394564"/>
                </a:lnTo>
                <a:lnTo>
                  <a:pt x="4891379" y="3988016"/>
                </a:lnTo>
                <a:lnTo>
                  <a:pt x="4891379" y="4271461"/>
                </a:lnTo>
                <a:lnTo>
                  <a:pt x="4891379" y="4349890"/>
                </a:lnTo>
                <a:lnTo>
                  <a:pt x="4889640" y="4349890"/>
                </a:lnTo>
                <a:lnTo>
                  <a:pt x="4889640" y="5751787"/>
                </a:lnTo>
                <a:lnTo>
                  <a:pt x="4400501" y="5751787"/>
                </a:lnTo>
                <a:lnTo>
                  <a:pt x="3430753" y="5751787"/>
                </a:lnTo>
                <a:lnTo>
                  <a:pt x="3420593" y="5751787"/>
                </a:lnTo>
                <a:lnTo>
                  <a:pt x="3419727" y="5751787"/>
                </a:lnTo>
                <a:lnTo>
                  <a:pt x="3419712" y="5751788"/>
                </a:lnTo>
                <a:lnTo>
                  <a:pt x="3419699" y="5751787"/>
                </a:lnTo>
                <a:lnTo>
                  <a:pt x="3350656" y="5751787"/>
                </a:lnTo>
                <a:lnTo>
                  <a:pt x="2941613" y="5751787"/>
                </a:lnTo>
                <a:lnTo>
                  <a:pt x="2931453" y="5751787"/>
                </a:lnTo>
                <a:lnTo>
                  <a:pt x="2930587" y="5751787"/>
                </a:lnTo>
                <a:lnTo>
                  <a:pt x="2930574" y="5751788"/>
                </a:lnTo>
                <a:lnTo>
                  <a:pt x="2930558" y="5751787"/>
                </a:lnTo>
                <a:lnTo>
                  <a:pt x="2861517" y="5751787"/>
                </a:lnTo>
                <a:lnTo>
                  <a:pt x="1961706" y="5751787"/>
                </a:lnTo>
                <a:lnTo>
                  <a:pt x="1960839" y="5751787"/>
                </a:lnTo>
                <a:lnTo>
                  <a:pt x="1960824" y="5751788"/>
                </a:lnTo>
                <a:lnTo>
                  <a:pt x="1960810" y="5751787"/>
                </a:lnTo>
                <a:lnTo>
                  <a:pt x="1891768" y="5751787"/>
                </a:lnTo>
                <a:lnTo>
                  <a:pt x="1472566" y="5751787"/>
                </a:lnTo>
                <a:lnTo>
                  <a:pt x="1471699" y="5751787"/>
                </a:lnTo>
                <a:lnTo>
                  <a:pt x="1471686" y="5751788"/>
                </a:lnTo>
                <a:lnTo>
                  <a:pt x="1471671" y="5751787"/>
                </a:lnTo>
                <a:lnTo>
                  <a:pt x="1402630" y="5751787"/>
                </a:lnTo>
                <a:lnTo>
                  <a:pt x="1402630" y="5748454"/>
                </a:lnTo>
                <a:lnTo>
                  <a:pt x="1331464" y="5745061"/>
                </a:lnTo>
                <a:lnTo>
                  <a:pt x="1327146" y="5744440"/>
                </a:lnTo>
                <a:lnTo>
                  <a:pt x="1321394" y="5744149"/>
                </a:lnTo>
                <a:cubicBezTo>
                  <a:pt x="1234532" y="5735266"/>
                  <a:pt x="1149908" y="5718772"/>
                  <a:pt x="1068185" y="5695337"/>
                </a:cubicBezTo>
                <a:lnTo>
                  <a:pt x="1062227" y="5693342"/>
                </a:lnTo>
                <a:lnTo>
                  <a:pt x="1061200" y="5693093"/>
                </a:lnTo>
                <a:lnTo>
                  <a:pt x="1050981" y="5689577"/>
                </a:lnTo>
                <a:lnTo>
                  <a:pt x="947864" y="5655061"/>
                </a:lnTo>
                <a:lnTo>
                  <a:pt x="937281" y="5650461"/>
                </a:lnTo>
                <a:lnTo>
                  <a:pt x="933258" y="5649077"/>
                </a:lnTo>
                <a:lnTo>
                  <a:pt x="911512" y="5639261"/>
                </a:lnTo>
                <a:lnTo>
                  <a:pt x="832403" y="5604881"/>
                </a:lnTo>
                <a:lnTo>
                  <a:pt x="817638" y="5596891"/>
                </a:lnTo>
                <a:lnTo>
                  <a:pt x="810920" y="5593857"/>
                </a:lnTo>
                <a:lnTo>
                  <a:pt x="787324" y="5580484"/>
                </a:lnTo>
                <a:lnTo>
                  <a:pt x="722302" y="5545298"/>
                </a:lnTo>
                <a:lnTo>
                  <a:pt x="703875" y="5533192"/>
                </a:lnTo>
                <a:lnTo>
                  <a:pt x="694796" y="5528048"/>
                </a:lnTo>
                <a:lnTo>
                  <a:pt x="672327" y="5512468"/>
                </a:lnTo>
                <a:lnTo>
                  <a:pt x="618064" y="5476820"/>
                </a:lnTo>
                <a:lnTo>
                  <a:pt x="596562" y="5459933"/>
                </a:lnTo>
                <a:lnTo>
                  <a:pt x="585496" y="5452261"/>
                </a:lnTo>
                <a:lnTo>
                  <a:pt x="565345" y="5435418"/>
                </a:lnTo>
                <a:lnTo>
                  <a:pt x="520187" y="5399950"/>
                </a:lnTo>
                <a:lnTo>
                  <a:pt x="496267" y="5377676"/>
                </a:lnTo>
                <a:lnTo>
                  <a:pt x="483628" y="5367110"/>
                </a:lnTo>
                <a:lnTo>
                  <a:pt x="466291" y="5349761"/>
                </a:lnTo>
                <a:lnTo>
                  <a:pt x="429176" y="5315197"/>
                </a:lnTo>
                <a:lnTo>
                  <a:pt x="403557" y="5286978"/>
                </a:lnTo>
                <a:lnTo>
                  <a:pt x="389801" y="5273210"/>
                </a:lnTo>
                <a:lnTo>
                  <a:pt x="375432" y="5255998"/>
                </a:lnTo>
                <a:lnTo>
                  <a:pt x="345533" y="5223062"/>
                </a:lnTo>
                <a:lnTo>
                  <a:pt x="318997" y="5188388"/>
                </a:lnTo>
                <a:lnTo>
                  <a:pt x="304626" y="5171174"/>
                </a:lnTo>
                <a:lnTo>
                  <a:pt x="293189" y="5154668"/>
                </a:lnTo>
                <a:lnTo>
                  <a:pt x="269757" y="5124051"/>
                </a:lnTo>
                <a:lnTo>
                  <a:pt x="243139" y="5082435"/>
                </a:lnTo>
                <a:lnTo>
                  <a:pt x="228710" y="5061612"/>
                </a:lnTo>
                <a:lnTo>
                  <a:pt x="220040" y="5046323"/>
                </a:lnTo>
                <a:lnTo>
                  <a:pt x="202353" y="5018669"/>
                </a:lnTo>
                <a:lnTo>
                  <a:pt x="176540" y="4969611"/>
                </a:lnTo>
                <a:lnTo>
                  <a:pt x="162664" y="4945140"/>
                </a:lnTo>
                <a:lnTo>
                  <a:pt x="156502" y="4931527"/>
                </a:lnTo>
                <a:lnTo>
                  <a:pt x="143819" y="4907422"/>
                </a:lnTo>
                <a:lnTo>
                  <a:pt x="119746" y="4850319"/>
                </a:lnTo>
                <a:lnTo>
                  <a:pt x="107095" y="4822372"/>
                </a:lnTo>
                <a:lnTo>
                  <a:pt x="103107" y="4810852"/>
                </a:lnTo>
                <a:lnTo>
                  <a:pt x="94658" y="4790814"/>
                </a:lnTo>
                <a:lnTo>
                  <a:pt x="73303" y="4724785"/>
                </a:lnTo>
                <a:lnTo>
                  <a:pt x="62615" y="4693921"/>
                </a:lnTo>
                <a:lnTo>
                  <a:pt x="60392" y="4684865"/>
                </a:lnTo>
                <a:lnTo>
                  <a:pt x="55373" y="4669350"/>
                </a:lnTo>
                <a:lnTo>
                  <a:pt x="37752" y="4592660"/>
                </a:lnTo>
                <a:lnTo>
                  <a:pt x="29830" y="4560396"/>
                </a:lnTo>
                <a:lnTo>
                  <a:pt x="28902" y="4554148"/>
                </a:lnTo>
                <a:lnTo>
                  <a:pt x="26465" y="4543536"/>
                </a:lnTo>
                <a:lnTo>
                  <a:pt x="13636" y="4451278"/>
                </a:lnTo>
                <a:lnTo>
                  <a:pt x="9352" y="4422418"/>
                </a:lnTo>
                <a:lnTo>
                  <a:pt x="9200" y="4419380"/>
                </a:lnTo>
                <a:lnTo>
                  <a:pt x="8434" y="4413877"/>
                </a:lnTo>
                <a:lnTo>
                  <a:pt x="5426" y="4349890"/>
                </a:lnTo>
                <a:lnTo>
                  <a:pt x="1757" y="4349890"/>
                </a:lnTo>
                <a:lnTo>
                  <a:pt x="1757" y="4290894"/>
                </a:lnTo>
                <a:lnTo>
                  <a:pt x="1757" y="4271904"/>
                </a:lnTo>
                <a:lnTo>
                  <a:pt x="1757" y="4271461"/>
                </a:lnTo>
                <a:lnTo>
                  <a:pt x="0" y="4271461"/>
                </a:lnTo>
                <a:lnTo>
                  <a:pt x="0" y="3988016"/>
                </a:lnTo>
                <a:lnTo>
                  <a:pt x="0" y="3394564"/>
                </a:lnTo>
                <a:lnTo>
                  <a:pt x="0" y="3111118"/>
                </a:lnTo>
                <a:lnTo>
                  <a:pt x="0" y="3032692"/>
                </a:lnTo>
                <a:lnTo>
                  <a:pt x="1740" y="3032692"/>
                </a:lnTo>
                <a:lnTo>
                  <a:pt x="1740" y="3022121"/>
                </a:lnTo>
                <a:lnTo>
                  <a:pt x="0" y="302212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4097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75BDB38-C6FF-44C2-A529-8B55DC13093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A81D4AD-B3AA-46C8-8EE5-4753744EB46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0488" y="1686665"/>
            <a:ext cx="4920143" cy="4409314"/>
          </a:xfrm>
          <a:custGeom>
            <a:avLst/>
            <a:gdLst>
              <a:gd name="connsiteX0" fmla="*/ 1341763 w 4920143"/>
              <a:gd name="connsiteY0" fmla="*/ 1689277 h 4409314"/>
              <a:gd name="connsiteX1" fmla="*/ 1360019 w 4920143"/>
              <a:gd name="connsiteY1" fmla="*/ 1689277 h 4409314"/>
              <a:gd name="connsiteX2" fmla="*/ 2720036 w 4920143"/>
              <a:gd name="connsiteY2" fmla="*/ 1689277 h 4409314"/>
              <a:gd name="connsiteX3" fmla="*/ 2720036 w 4920143"/>
              <a:gd name="connsiteY3" fmla="*/ 3049283 h 4409314"/>
              <a:gd name="connsiteX4" fmla="*/ 2720037 w 4920143"/>
              <a:gd name="connsiteY4" fmla="*/ 3049296 h 4409314"/>
              <a:gd name="connsiteX5" fmla="*/ 2720036 w 4920143"/>
              <a:gd name="connsiteY5" fmla="*/ 3049309 h 4409314"/>
              <a:gd name="connsiteX6" fmla="*/ 2720036 w 4920143"/>
              <a:gd name="connsiteY6" fmla="*/ 3113189 h 4409314"/>
              <a:gd name="connsiteX7" fmla="*/ 2716811 w 4920143"/>
              <a:gd name="connsiteY7" fmla="*/ 3113189 h 4409314"/>
              <a:gd name="connsiteX8" fmla="*/ 2713016 w 4920143"/>
              <a:gd name="connsiteY8" fmla="*/ 3188350 h 4409314"/>
              <a:gd name="connsiteX9" fmla="*/ 1360019 w 4920143"/>
              <a:gd name="connsiteY9" fmla="*/ 4409314 h 4409314"/>
              <a:gd name="connsiteX10" fmla="*/ 0 w 4920143"/>
              <a:gd name="connsiteY10" fmla="*/ 3049296 h 4409314"/>
              <a:gd name="connsiteX11" fmla="*/ 1220965 w 4920143"/>
              <a:gd name="connsiteY11" fmla="*/ 1696299 h 4409314"/>
              <a:gd name="connsiteX12" fmla="*/ 1341763 w 4920143"/>
              <a:gd name="connsiteY12" fmla="*/ 1690199 h 4409314"/>
              <a:gd name="connsiteX13" fmla="*/ 3889525 w 4920143"/>
              <a:gd name="connsiteY13" fmla="*/ 242287 h 4409314"/>
              <a:gd name="connsiteX14" fmla="*/ 3889535 w 4920143"/>
              <a:gd name="connsiteY14" fmla="*/ 242288 h 4409314"/>
              <a:gd name="connsiteX15" fmla="*/ 3890141 w 4920143"/>
              <a:gd name="connsiteY15" fmla="*/ 242288 h 4409314"/>
              <a:gd name="connsiteX16" fmla="*/ 4918926 w 4920143"/>
              <a:gd name="connsiteY16" fmla="*/ 242288 h 4409314"/>
              <a:gd name="connsiteX17" fmla="*/ 4918926 w 4920143"/>
              <a:gd name="connsiteY17" fmla="*/ 1217442 h 4409314"/>
              <a:gd name="connsiteX18" fmla="*/ 4920143 w 4920143"/>
              <a:gd name="connsiteY18" fmla="*/ 1217442 h 4409314"/>
              <a:gd name="connsiteX19" fmla="*/ 4920143 w 4920143"/>
              <a:gd name="connsiteY19" fmla="*/ 1271995 h 4409314"/>
              <a:gd name="connsiteX20" fmla="*/ 4920143 w 4920143"/>
              <a:gd name="connsiteY20" fmla="*/ 1469159 h 4409314"/>
              <a:gd name="connsiteX21" fmla="*/ 4920143 w 4920143"/>
              <a:gd name="connsiteY21" fmla="*/ 1881961 h 4409314"/>
              <a:gd name="connsiteX22" fmla="*/ 4920143 w 4920143"/>
              <a:gd name="connsiteY22" fmla="*/ 2079124 h 4409314"/>
              <a:gd name="connsiteX23" fmla="*/ 4918913 w 4920143"/>
              <a:gd name="connsiteY23" fmla="*/ 2079124 h 4409314"/>
              <a:gd name="connsiteX24" fmla="*/ 4918913 w 4920143"/>
              <a:gd name="connsiteY24" fmla="*/ 2079125 h 4409314"/>
              <a:gd name="connsiteX25" fmla="*/ 4918913 w 4920143"/>
              <a:gd name="connsiteY25" fmla="*/ 2079432 h 4409314"/>
              <a:gd name="connsiteX26" fmla="*/ 4918913 w 4920143"/>
              <a:gd name="connsiteY26" fmla="*/ 2092642 h 4409314"/>
              <a:gd name="connsiteX27" fmla="*/ 4918913 w 4920143"/>
              <a:gd name="connsiteY27" fmla="*/ 2133678 h 4409314"/>
              <a:gd name="connsiteX28" fmla="*/ 4916345 w 4920143"/>
              <a:gd name="connsiteY28" fmla="*/ 2133678 h 4409314"/>
              <a:gd name="connsiteX29" fmla="*/ 4914238 w 4920143"/>
              <a:gd name="connsiteY29" fmla="*/ 2178188 h 4409314"/>
              <a:gd name="connsiteX30" fmla="*/ 4913701 w 4920143"/>
              <a:gd name="connsiteY30" fmla="*/ 2182015 h 4409314"/>
              <a:gd name="connsiteX31" fmla="*/ 4913595 w 4920143"/>
              <a:gd name="connsiteY31" fmla="*/ 2184129 h 4409314"/>
              <a:gd name="connsiteX32" fmla="*/ 4910595 w 4920143"/>
              <a:gd name="connsiteY32" fmla="*/ 2204203 h 4409314"/>
              <a:gd name="connsiteX33" fmla="*/ 4901610 w 4920143"/>
              <a:gd name="connsiteY33" fmla="*/ 2268379 h 4409314"/>
              <a:gd name="connsiteX34" fmla="*/ 4899903 w 4920143"/>
              <a:gd name="connsiteY34" fmla="*/ 2275759 h 4409314"/>
              <a:gd name="connsiteX35" fmla="*/ 4899254 w 4920143"/>
              <a:gd name="connsiteY35" fmla="*/ 2280107 h 4409314"/>
              <a:gd name="connsiteX36" fmla="*/ 4893706 w 4920143"/>
              <a:gd name="connsiteY36" fmla="*/ 2302548 h 4409314"/>
              <a:gd name="connsiteX37" fmla="*/ 4881366 w 4920143"/>
              <a:gd name="connsiteY37" fmla="*/ 2355894 h 4409314"/>
              <a:gd name="connsiteX38" fmla="*/ 4877851 w 4920143"/>
              <a:gd name="connsiteY38" fmla="*/ 2366687 h 4409314"/>
              <a:gd name="connsiteX39" fmla="*/ 4876295 w 4920143"/>
              <a:gd name="connsiteY39" fmla="*/ 2372985 h 4409314"/>
              <a:gd name="connsiteX40" fmla="*/ 4868810 w 4920143"/>
              <a:gd name="connsiteY40" fmla="*/ 2394454 h 4409314"/>
              <a:gd name="connsiteX41" fmla="*/ 4853854 w 4920143"/>
              <a:gd name="connsiteY41" fmla="*/ 2440384 h 4409314"/>
              <a:gd name="connsiteX42" fmla="*/ 4847938 w 4920143"/>
              <a:gd name="connsiteY42" fmla="*/ 2454322 h 4409314"/>
              <a:gd name="connsiteX43" fmla="*/ 4845145 w 4920143"/>
              <a:gd name="connsiteY43" fmla="*/ 2462335 h 4409314"/>
              <a:gd name="connsiteX44" fmla="*/ 4836286 w 4920143"/>
              <a:gd name="connsiteY44" fmla="*/ 2481775 h 4409314"/>
              <a:gd name="connsiteX45" fmla="*/ 4819427 w 4920143"/>
              <a:gd name="connsiteY45" fmla="*/ 2521496 h 4409314"/>
              <a:gd name="connsiteX46" fmla="*/ 4810544 w 4920143"/>
              <a:gd name="connsiteY46" fmla="*/ 2538263 h 4409314"/>
              <a:gd name="connsiteX47" fmla="*/ 4806229 w 4920143"/>
              <a:gd name="connsiteY47" fmla="*/ 2547733 h 4409314"/>
              <a:gd name="connsiteX48" fmla="*/ 4796511 w 4920143"/>
              <a:gd name="connsiteY48" fmla="*/ 2564754 h 4409314"/>
              <a:gd name="connsiteX49" fmla="*/ 4778435 w 4920143"/>
              <a:gd name="connsiteY49" fmla="*/ 2598879 h 4409314"/>
              <a:gd name="connsiteX50" fmla="*/ 4766048 w 4920143"/>
              <a:gd name="connsiteY50" fmla="*/ 2618115 h 4409314"/>
              <a:gd name="connsiteX51" fmla="*/ 4759977 w 4920143"/>
              <a:gd name="connsiteY51" fmla="*/ 2628749 h 4409314"/>
              <a:gd name="connsiteX52" fmla="*/ 4749872 w 4920143"/>
              <a:gd name="connsiteY52" fmla="*/ 2643234 h 4409314"/>
              <a:gd name="connsiteX53" fmla="*/ 4731231 w 4920143"/>
              <a:gd name="connsiteY53" fmla="*/ 2672182 h 4409314"/>
              <a:gd name="connsiteX54" fmla="*/ 4714821 w 4920143"/>
              <a:gd name="connsiteY54" fmla="*/ 2693479 h 4409314"/>
              <a:gd name="connsiteX55" fmla="*/ 4706813 w 4920143"/>
              <a:gd name="connsiteY55" fmla="*/ 2704960 h 4409314"/>
              <a:gd name="connsiteX56" fmla="*/ 4696748 w 4920143"/>
              <a:gd name="connsiteY56" fmla="*/ 2716934 h 4409314"/>
              <a:gd name="connsiteX57" fmla="*/ 4678165 w 4920143"/>
              <a:gd name="connsiteY57" fmla="*/ 2741053 h 4409314"/>
              <a:gd name="connsiteX58" fmla="*/ 4657225 w 4920143"/>
              <a:gd name="connsiteY58" fmla="*/ 2763963 h 4409314"/>
              <a:gd name="connsiteX59" fmla="*/ 4647164 w 4920143"/>
              <a:gd name="connsiteY59" fmla="*/ 2775936 h 4409314"/>
              <a:gd name="connsiteX60" fmla="*/ 4637529 w 4920143"/>
              <a:gd name="connsiteY60" fmla="*/ 2785513 h 4409314"/>
              <a:gd name="connsiteX61" fmla="*/ 4619589 w 4920143"/>
              <a:gd name="connsiteY61" fmla="*/ 2805142 h 4409314"/>
              <a:gd name="connsiteX62" fmla="*/ 4593597 w 4920143"/>
              <a:gd name="connsiteY62" fmla="*/ 2829184 h 4409314"/>
              <a:gd name="connsiteX63" fmla="*/ 4581456 w 4920143"/>
              <a:gd name="connsiteY63" fmla="*/ 2841253 h 4409314"/>
              <a:gd name="connsiteX64" fmla="*/ 4572605 w 4920143"/>
              <a:gd name="connsiteY64" fmla="*/ 2848601 h 4409314"/>
              <a:gd name="connsiteX65" fmla="*/ 4555853 w 4920143"/>
              <a:gd name="connsiteY65" fmla="*/ 2864096 h 4409314"/>
              <a:gd name="connsiteX66" fmla="*/ 4524228 w 4920143"/>
              <a:gd name="connsiteY66" fmla="*/ 2888767 h 4409314"/>
              <a:gd name="connsiteX67" fmla="*/ 4510117 w 4920143"/>
              <a:gd name="connsiteY67" fmla="*/ 2900483 h 4409314"/>
              <a:gd name="connsiteX68" fmla="*/ 4502368 w 4920143"/>
              <a:gd name="connsiteY68" fmla="*/ 2905820 h 4409314"/>
              <a:gd name="connsiteX69" fmla="*/ 4487310 w 4920143"/>
              <a:gd name="connsiteY69" fmla="*/ 2917566 h 4409314"/>
              <a:gd name="connsiteX70" fmla="*/ 4449308 w 4920143"/>
              <a:gd name="connsiteY70" fmla="*/ 2942363 h 4409314"/>
              <a:gd name="connsiteX71" fmla="*/ 4433574 w 4920143"/>
              <a:gd name="connsiteY71" fmla="*/ 2953200 h 4409314"/>
              <a:gd name="connsiteX72" fmla="*/ 4427215 w 4920143"/>
              <a:gd name="connsiteY72" fmla="*/ 2956778 h 4409314"/>
              <a:gd name="connsiteX73" fmla="*/ 4414311 w 4920143"/>
              <a:gd name="connsiteY73" fmla="*/ 2965199 h 4409314"/>
              <a:gd name="connsiteX74" fmla="*/ 4368776 w 4920143"/>
              <a:gd name="connsiteY74" fmla="*/ 2989675 h 4409314"/>
              <a:gd name="connsiteX75" fmla="*/ 4352251 w 4920143"/>
              <a:gd name="connsiteY75" fmla="*/ 2998977 h 4409314"/>
              <a:gd name="connsiteX76" fmla="*/ 4347546 w 4920143"/>
              <a:gd name="connsiteY76" fmla="*/ 3001086 h 4409314"/>
              <a:gd name="connsiteX77" fmla="*/ 4337206 w 4920143"/>
              <a:gd name="connsiteY77" fmla="*/ 3006644 h 4409314"/>
              <a:gd name="connsiteX78" fmla="*/ 4281806 w 4920143"/>
              <a:gd name="connsiteY78" fmla="*/ 3030559 h 4409314"/>
              <a:gd name="connsiteX79" fmla="*/ 4266577 w 4920143"/>
              <a:gd name="connsiteY79" fmla="*/ 3037387 h 4409314"/>
              <a:gd name="connsiteX80" fmla="*/ 4263760 w 4920143"/>
              <a:gd name="connsiteY80" fmla="*/ 3038350 h 4409314"/>
              <a:gd name="connsiteX81" fmla="*/ 4256348 w 4920143"/>
              <a:gd name="connsiteY81" fmla="*/ 3041550 h 4409314"/>
              <a:gd name="connsiteX82" fmla="*/ 4184135 w 4920143"/>
              <a:gd name="connsiteY82" fmla="*/ 3065558 h 4409314"/>
              <a:gd name="connsiteX83" fmla="*/ 4176978 w 4920143"/>
              <a:gd name="connsiteY83" fmla="*/ 3068005 h 4409314"/>
              <a:gd name="connsiteX84" fmla="*/ 4176259 w 4920143"/>
              <a:gd name="connsiteY84" fmla="*/ 3068178 h 4409314"/>
              <a:gd name="connsiteX85" fmla="*/ 4172087 w 4920143"/>
              <a:gd name="connsiteY85" fmla="*/ 3069565 h 4409314"/>
              <a:gd name="connsiteX86" fmla="*/ 3994762 w 4920143"/>
              <a:gd name="connsiteY86" fmla="*/ 3103519 h 4409314"/>
              <a:gd name="connsiteX87" fmla="*/ 3990734 w 4920143"/>
              <a:gd name="connsiteY87" fmla="*/ 3103721 h 4409314"/>
              <a:gd name="connsiteX88" fmla="*/ 3987710 w 4920143"/>
              <a:gd name="connsiteY88" fmla="*/ 3104154 h 4409314"/>
              <a:gd name="connsiteX89" fmla="*/ 3937873 w 4920143"/>
              <a:gd name="connsiteY89" fmla="*/ 3106514 h 4409314"/>
              <a:gd name="connsiteX90" fmla="*/ 3937873 w 4920143"/>
              <a:gd name="connsiteY90" fmla="*/ 3108833 h 4409314"/>
              <a:gd name="connsiteX91" fmla="*/ 3889523 w 4920143"/>
              <a:gd name="connsiteY91" fmla="*/ 3108833 h 4409314"/>
              <a:gd name="connsiteX92" fmla="*/ 3889512 w 4920143"/>
              <a:gd name="connsiteY92" fmla="*/ 3108833 h 4409314"/>
              <a:gd name="connsiteX93" fmla="*/ 3889503 w 4920143"/>
              <a:gd name="connsiteY93" fmla="*/ 3108833 h 4409314"/>
              <a:gd name="connsiteX94" fmla="*/ 3888896 w 4920143"/>
              <a:gd name="connsiteY94" fmla="*/ 3108833 h 4409314"/>
              <a:gd name="connsiteX95" fmla="*/ 2860112 w 4920143"/>
              <a:gd name="connsiteY95" fmla="*/ 3108833 h 4409314"/>
              <a:gd name="connsiteX96" fmla="*/ 2860112 w 4920143"/>
              <a:gd name="connsiteY96" fmla="*/ 2133678 h 4409314"/>
              <a:gd name="connsiteX97" fmla="*/ 2858894 w 4920143"/>
              <a:gd name="connsiteY97" fmla="*/ 2133678 h 4409314"/>
              <a:gd name="connsiteX98" fmla="*/ 2858894 w 4920143"/>
              <a:gd name="connsiteY98" fmla="*/ 2079125 h 4409314"/>
              <a:gd name="connsiteX99" fmla="*/ 2858894 w 4920143"/>
              <a:gd name="connsiteY99" fmla="*/ 1881961 h 4409314"/>
              <a:gd name="connsiteX100" fmla="*/ 2858894 w 4920143"/>
              <a:gd name="connsiteY100" fmla="*/ 1469159 h 4409314"/>
              <a:gd name="connsiteX101" fmla="*/ 2858894 w 4920143"/>
              <a:gd name="connsiteY101" fmla="*/ 1271996 h 4409314"/>
              <a:gd name="connsiteX102" fmla="*/ 2860124 w 4920143"/>
              <a:gd name="connsiteY102" fmla="*/ 1271996 h 4409314"/>
              <a:gd name="connsiteX103" fmla="*/ 2860124 w 4920143"/>
              <a:gd name="connsiteY103" fmla="*/ 1271995 h 4409314"/>
              <a:gd name="connsiteX104" fmla="*/ 2860124 w 4920143"/>
              <a:gd name="connsiteY104" fmla="*/ 1271687 h 4409314"/>
              <a:gd name="connsiteX105" fmla="*/ 2860124 w 4920143"/>
              <a:gd name="connsiteY105" fmla="*/ 1258478 h 4409314"/>
              <a:gd name="connsiteX106" fmla="*/ 2860124 w 4920143"/>
              <a:gd name="connsiteY106" fmla="*/ 1217442 h 4409314"/>
              <a:gd name="connsiteX107" fmla="*/ 2862693 w 4920143"/>
              <a:gd name="connsiteY107" fmla="*/ 1217442 h 4409314"/>
              <a:gd name="connsiteX108" fmla="*/ 2864800 w 4920143"/>
              <a:gd name="connsiteY108" fmla="*/ 1172932 h 4409314"/>
              <a:gd name="connsiteX109" fmla="*/ 2865336 w 4920143"/>
              <a:gd name="connsiteY109" fmla="*/ 1169104 h 4409314"/>
              <a:gd name="connsiteX110" fmla="*/ 2865443 w 4920143"/>
              <a:gd name="connsiteY110" fmla="*/ 1166991 h 4409314"/>
              <a:gd name="connsiteX111" fmla="*/ 2868442 w 4920143"/>
              <a:gd name="connsiteY111" fmla="*/ 1146917 h 4409314"/>
              <a:gd name="connsiteX112" fmla="*/ 2877427 w 4920143"/>
              <a:gd name="connsiteY112" fmla="*/ 1082741 h 4409314"/>
              <a:gd name="connsiteX113" fmla="*/ 2879134 w 4920143"/>
              <a:gd name="connsiteY113" fmla="*/ 1075360 h 4409314"/>
              <a:gd name="connsiteX114" fmla="*/ 2879784 w 4920143"/>
              <a:gd name="connsiteY114" fmla="*/ 1071013 h 4409314"/>
              <a:gd name="connsiteX115" fmla="*/ 2885331 w 4920143"/>
              <a:gd name="connsiteY115" fmla="*/ 1048572 h 4409314"/>
              <a:gd name="connsiteX116" fmla="*/ 2897672 w 4920143"/>
              <a:gd name="connsiteY116" fmla="*/ 995225 h 4409314"/>
              <a:gd name="connsiteX117" fmla="*/ 2901186 w 4920143"/>
              <a:gd name="connsiteY117" fmla="*/ 984433 h 4409314"/>
              <a:gd name="connsiteX118" fmla="*/ 2902743 w 4920143"/>
              <a:gd name="connsiteY118" fmla="*/ 978135 h 4409314"/>
              <a:gd name="connsiteX119" fmla="*/ 2910227 w 4920143"/>
              <a:gd name="connsiteY119" fmla="*/ 956666 h 4409314"/>
              <a:gd name="connsiteX120" fmla="*/ 2925183 w 4920143"/>
              <a:gd name="connsiteY120" fmla="*/ 910736 h 4409314"/>
              <a:gd name="connsiteX121" fmla="*/ 2931099 w 4920143"/>
              <a:gd name="connsiteY121" fmla="*/ 896798 h 4409314"/>
              <a:gd name="connsiteX122" fmla="*/ 2933893 w 4920143"/>
              <a:gd name="connsiteY122" fmla="*/ 888785 h 4409314"/>
              <a:gd name="connsiteX123" fmla="*/ 2942752 w 4920143"/>
              <a:gd name="connsiteY123" fmla="*/ 869345 h 4409314"/>
              <a:gd name="connsiteX124" fmla="*/ 2959611 w 4920143"/>
              <a:gd name="connsiteY124" fmla="*/ 829624 h 4409314"/>
              <a:gd name="connsiteX125" fmla="*/ 2968493 w 4920143"/>
              <a:gd name="connsiteY125" fmla="*/ 812857 h 4409314"/>
              <a:gd name="connsiteX126" fmla="*/ 2972808 w 4920143"/>
              <a:gd name="connsiteY126" fmla="*/ 803388 h 4409314"/>
              <a:gd name="connsiteX127" fmla="*/ 2982526 w 4920143"/>
              <a:gd name="connsiteY127" fmla="*/ 786366 h 4409314"/>
              <a:gd name="connsiteX128" fmla="*/ 3000602 w 4920143"/>
              <a:gd name="connsiteY128" fmla="*/ 752241 h 4409314"/>
              <a:gd name="connsiteX129" fmla="*/ 3012989 w 4920143"/>
              <a:gd name="connsiteY129" fmla="*/ 733005 h 4409314"/>
              <a:gd name="connsiteX130" fmla="*/ 3019061 w 4920143"/>
              <a:gd name="connsiteY130" fmla="*/ 722370 h 4409314"/>
              <a:gd name="connsiteX131" fmla="*/ 3029166 w 4920143"/>
              <a:gd name="connsiteY131" fmla="*/ 707885 h 4409314"/>
              <a:gd name="connsiteX132" fmla="*/ 3047806 w 4920143"/>
              <a:gd name="connsiteY132" fmla="*/ 678938 h 4409314"/>
              <a:gd name="connsiteX133" fmla="*/ 3064216 w 4920143"/>
              <a:gd name="connsiteY133" fmla="*/ 657642 h 4409314"/>
              <a:gd name="connsiteX134" fmla="*/ 3072225 w 4920143"/>
              <a:gd name="connsiteY134" fmla="*/ 646160 h 4409314"/>
              <a:gd name="connsiteX135" fmla="*/ 3082289 w 4920143"/>
              <a:gd name="connsiteY135" fmla="*/ 634186 h 4409314"/>
              <a:gd name="connsiteX136" fmla="*/ 3100873 w 4920143"/>
              <a:gd name="connsiteY136" fmla="*/ 610067 h 4409314"/>
              <a:gd name="connsiteX137" fmla="*/ 3121812 w 4920143"/>
              <a:gd name="connsiteY137" fmla="*/ 587157 h 4409314"/>
              <a:gd name="connsiteX138" fmla="*/ 3131874 w 4920143"/>
              <a:gd name="connsiteY138" fmla="*/ 575184 h 4409314"/>
              <a:gd name="connsiteX139" fmla="*/ 3141508 w 4920143"/>
              <a:gd name="connsiteY139" fmla="*/ 565607 h 4409314"/>
              <a:gd name="connsiteX140" fmla="*/ 3159449 w 4920143"/>
              <a:gd name="connsiteY140" fmla="*/ 545978 h 4409314"/>
              <a:gd name="connsiteX141" fmla="*/ 3185440 w 4920143"/>
              <a:gd name="connsiteY141" fmla="*/ 521936 h 4409314"/>
              <a:gd name="connsiteX142" fmla="*/ 3197581 w 4920143"/>
              <a:gd name="connsiteY142" fmla="*/ 509867 h 4409314"/>
              <a:gd name="connsiteX143" fmla="*/ 3206432 w 4920143"/>
              <a:gd name="connsiteY143" fmla="*/ 502518 h 4409314"/>
              <a:gd name="connsiteX144" fmla="*/ 3223184 w 4920143"/>
              <a:gd name="connsiteY144" fmla="*/ 487023 h 4409314"/>
              <a:gd name="connsiteX145" fmla="*/ 3254809 w 4920143"/>
              <a:gd name="connsiteY145" fmla="*/ 462354 h 4409314"/>
              <a:gd name="connsiteX146" fmla="*/ 3268920 w 4920143"/>
              <a:gd name="connsiteY146" fmla="*/ 450637 h 4409314"/>
              <a:gd name="connsiteX147" fmla="*/ 3276669 w 4920143"/>
              <a:gd name="connsiteY147" fmla="*/ 445300 h 4409314"/>
              <a:gd name="connsiteX148" fmla="*/ 3291727 w 4920143"/>
              <a:gd name="connsiteY148" fmla="*/ 433554 h 4409314"/>
              <a:gd name="connsiteX149" fmla="*/ 3329729 w 4920143"/>
              <a:gd name="connsiteY149" fmla="*/ 408757 h 4409314"/>
              <a:gd name="connsiteX150" fmla="*/ 3345464 w 4920143"/>
              <a:gd name="connsiteY150" fmla="*/ 397920 h 4409314"/>
              <a:gd name="connsiteX151" fmla="*/ 3351822 w 4920143"/>
              <a:gd name="connsiteY151" fmla="*/ 394342 h 4409314"/>
              <a:gd name="connsiteX152" fmla="*/ 3364727 w 4920143"/>
              <a:gd name="connsiteY152" fmla="*/ 385921 h 4409314"/>
              <a:gd name="connsiteX153" fmla="*/ 3410262 w 4920143"/>
              <a:gd name="connsiteY153" fmla="*/ 361445 h 4409314"/>
              <a:gd name="connsiteX154" fmla="*/ 3426786 w 4920143"/>
              <a:gd name="connsiteY154" fmla="*/ 352143 h 4409314"/>
              <a:gd name="connsiteX155" fmla="*/ 3431491 w 4920143"/>
              <a:gd name="connsiteY155" fmla="*/ 350034 h 4409314"/>
              <a:gd name="connsiteX156" fmla="*/ 3441831 w 4920143"/>
              <a:gd name="connsiteY156" fmla="*/ 344476 h 4409314"/>
              <a:gd name="connsiteX157" fmla="*/ 3497231 w 4920143"/>
              <a:gd name="connsiteY157" fmla="*/ 320561 h 4409314"/>
              <a:gd name="connsiteX158" fmla="*/ 3512460 w 4920143"/>
              <a:gd name="connsiteY158" fmla="*/ 313733 h 4409314"/>
              <a:gd name="connsiteX159" fmla="*/ 3515277 w 4920143"/>
              <a:gd name="connsiteY159" fmla="*/ 312771 h 4409314"/>
              <a:gd name="connsiteX160" fmla="*/ 3522689 w 4920143"/>
              <a:gd name="connsiteY160" fmla="*/ 309570 h 4409314"/>
              <a:gd name="connsiteX161" fmla="*/ 3594903 w 4920143"/>
              <a:gd name="connsiteY161" fmla="*/ 285562 h 4409314"/>
              <a:gd name="connsiteX162" fmla="*/ 3602059 w 4920143"/>
              <a:gd name="connsiteY162" fmla="*/ 283116 h 4409314"/>
              <a:gd name="connsiteX163" fmla="*/ 3602778 w 4920143"/>
              <a:gd name="connsiteY163" fmla="*/ 282942 h 4409314"/>
              <a:gd name="connsiteX164" fmla="*/ 3606950 w 4920143"/>
              <a:gd name="connsiteY164" fmla="*/ 281556 h 4409314"/>
              <a:gd name="connsiteX165" fmla="*/ 3784274 w 4920143"/>
              <a:gd name="connsiteY165" fmla="*/ 247602 h 4409314"/>
              <a:gd name="connsiteX166" fmla="*/ 3788303 w 4920143"/>
              <a:gd name="connsiteY166" fmla="*/ 247399 h 4409314"/>
              <a:gd name="connsiteX167" fmla="*/ 3791327 w 4920143"/>
              <a:gd name="connsiteY167" fmla="*/ 246966 h 4409314"/>
              <a:gd name="connsiteX168" fmla="*/ 3841164 w 4920143"/>
              <a:gd name="connsiteY168" fmla="*/ 244606 h 4409314"/>
              <a:gd name="connsiteX169" fmla="*/ 3841164 w 4920143"/>
              <a:gd name="connsiteY169" fmla="*/ 242288 h 4409314"/>
              <a:gd name="connsiteX170" fmla="*/ 3889515 w 4920143"/>
              <a:gd name="connsiteY170" fmla="*/ 242288 h 4409314"/>
              <a:gd name="connsiteX171" fmla="*/ 1951529 w 4920143"/>
              <a:gd name="connsiteY171" fmla="*/ 0 h 4409314"/>
              <a:gd name="connsiteX172" fmla="*/ 2716068 w 4920143"/>
              <a:gd name="connsiteY172" fmla="*/ 689931 h 4409314"/>
              <a:gd name="connsiteX173" fmla="*/ 2718212 w 4920143"/>
              <a:gd name="connsiteY173" fmla="*/ 732402 h 4409314"/>
              <a:gd name="connsiteX174" fmla="*/ 2720035 w 4920143"/>
              <a:gd name="connsiteY174" fmla="*/ 732402 h 4409314"/>
              <a:gd name="connsiteX175" fmla="*/ 2720035 w 4920143"/>
              <a:gd name="connsiteY175" fmla="*/ 768498 h 4409314"/>
              <a:gd name="connsiteX176" fmla="*/ 2720035 w 4920143"/>
              <a:gd name="connsiteY176" fmla="*/ 768506 h 4409314"/>
              <a:gd name="connsiteX177" fmla="*/ 2720035 w 4920143"/>
              <a:gd name="connsiteY177" fmla="*/ 768513 h 4409314"/>
              <a:gd name="connsiteX178" fmla="*/ 2720035 w 4920143"/>
              <a:gd name="connsiteY178" fmla="*/ 1537012 h 4409314"/>
              <a:gd name="connsiteX179" fmla="*/ 1951529 w 4920143"/>
              <a:gd name="connsiteY179" fmla="*/ 1537012 h 4409314"/>
              <a:gd name="connsiteX180" fmla="*/ 1941213 w 4920143"/>
              <a:gd name="connsiteY180" fmla="*/ 1537012 h 4409314"/>
              <a:gd name="connsiteX181" fmla="*/ 1941213 w 4920143"/>
              <a:gd name="connsiteY181" fmla="*/ 1536491 h 4409314"/>
              <a:gd name="connsiteX182" fmla="*/ 1872954 w 4920143"/>
              <a:gd name="connsiteY182" fmla="*/ 1533044 h 4409314"/>
              <a:gd name="connsiteX183" fmla="*/ 1183023 w 4920143"/>
              <a:gd name="connsiteY183" fmla="*/ 768506 h 4409314"/>
              <a:gd name="connsiteX184" fmla="*/ 1951529 w 4920143"/>
              <a:gd name="connsiteY184" fmla="*/ 0 h 4409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</a:cxnLst>
            <a:rect l="l" t="t" r="r" b="b"/>
            <a:pathLst>
              <a:path w="4920143" h="4409314">
                <a:moveTo>
                  <a:pt x="1341763" y="1689277"/>
                </a:moveTo>
                <a:lnTo>
                  <a:pt x="1360019" y="1689277"/>
                </a:lnTo>
                <a:lnTo>
                  <a:pt x="2720036" y="1689277"/>
                </a:lnTo>
                <a:lnTo>
                  <a:pt x="2720036" y="3049283"/>
                </a:lnTo>
                <a:lnTo>
                  <a:pt x="2720037" y="3049296"/>
                </a:lnTo>
                <a:lnTo>
                  <a:pt x="2720036" y="3049309"/>
                </a:lnTo>
                <a:lnTo>
                  <a:pt x="2720036" y="3113189"/>
                </a:lnTo>
                <a:lnTo>
                  <a:pt x="2716811" y="3113189"/>
                </a:lnTo>
                <a:lnTo>
                  <a:pt x="2713016" y="3188350"/>
                </a:lnTo>
                <a:cubicBezTo>
                  <a:pt x="2643369" y="3874147"/>
                  <a:pt x="2064191" y="4409314"/>
                  <a:pt x="1360019" y="4409314"/>
                </a:cubicBezTo>
                <a:cubicBezTo>
                  <a:pt x="608901" y="4409314"/>
                  <a:pt x="0" y="3800413"/>
                  <a:pt x="0" y="3049296"/>
                </a:cubicBezTo>
                <a:cubicBezTo>
                  <a:pt x="0" y="2345123"/>
                  <a:pt x="535167" y="1765946"/>
                  <a:pt x="1220965" y="1696299"/>
                </a:cubicBezTo>
                <a:lnTo>
                  <a:pt x="1341763" y="1690199"/>
                </a:lnTo>
                <a:close/>
                <a:moveTo>
                  <a:pt x="3889525" y="242287"/>
                </a:moveTo>
                <a:lnTo>
                  <a:pt x="3889535" y="242288"/>
                </a:lnTo>
                <a:lnTo>
                  <a:pt x="3890141" y="242288"/>
                </a:lnTo>
                <a:lnTo>
                  <a:pt x="4918926" y="242288"/>
                </a:lnTo>
                <a:lnTo>
                  <a:pt x="4918926" y="1217442"/>
                </a:lnTo>
                <a:lnTo>
                  <a:pt x="4920143" y="1217442"/>
                </a:lnTo>
                <a:lnTo>
                  <a:pt x="4920143" y="1271995"/>
                </a:lnTo>
                <a:lnTo>
                  <a:pt x="4920143" y="1469159"/>
                </a:lnTo>
                <a:lnTo>
                  <a:pt x="4920143" y="1881961"/>
                </a:lnTo>
                <a:lnTo>
                  <a:pt x="4920143" y="2079124"/>
                </a:lnTo>
                <a:lnTo>
                  <a:pt x="4918913" y="2079124"/>
                </a:lnTo>
                <a:lnTo>
                  <a:pt x="4918913" y="2079125"/>
                </a:lnTo>
                <a:lnTo>
                  <a:pt x="4918913" y="2079432"/>
                </a:lnTo>
                <a:lnTo>
                  <a:pt x="4918913" y="2092642"/>
                </a:lnTo>
                <a:lnTo>
                  <a:pt x="4918913" y="2133678"/>
                </a:lnTo>
                <a:lnTo>
                  <a:pt x="4916345" y="2133678"/>
                </a:lnTo>
                <a:lnTo>
                  <a:pt x="4914238" y="2178188"/>
                </a:lnTo>
                <a:lnTo>
                  <a:pt x="4913701" y="2182015"/>
                </a:lnTo>
                <a:lnTo>
                  <a:pt x="4913595" y="2184129"/>
                </a:lnTo>
                <a:lnTo>
                  <a:pt x="4910595" y="2204203"/>
                </a:lnTo>
                <a:lnTo>
                  <a:pt x="4901610" y="2268379"/>
                </a:lnTo>
                <a:lnTo>
                  <a:pt x="4899903" y="2275759"/>
                </a:lnTo>
                <a:lnTo>
                  <a:pt x="4899254" y="2280107"/>
                </a:lnTo>
                <a:lnTo>
                  <a:pt x="4893706" y="2302548"/>
                </a:lnTo>
                <a:lnTo>
                  <a:pt x="4881366" y="2355894"/>
                </a:lnTo>
                <a:lnTo>
                  <a:pt x="4877851" y="2366687"/>
                </a:lnTo>
                <a:lnTo>
                  <a:pt x="4876295" y="2372985"/>
                </a:lnTo>
                <a:lnTo>
                  <a:pt x="4868810" y="2394454"/>
                </a:lnTo>
                <a:lnTo>
                  <a:pt x="4853854" y="2440384"/>
                </a:lnTo>
                <a:lnTo>
                  <a:pt x="4847938" y="2454322"/>
                </a:lnTo>
                <a:lnTo>
                  <a:pt x="4845145" y="2462335"/>
                </a:lnTo>
                <a:lnTo>
                  <a:pt x="4836286" y="2481775"/>
                </a:lnTo>
                <a:lnTo>
                  <a:pt x="4819427" y="2521496"/>
                </a:lnTo>
                <a:lnTo>
                  <a:pt x="4810544" y="2538263"/>
                </a:lnTo>
                <a:lnTo>
                  <a:pt x="4806229" y="2547733"/>
                </a:lnTo>
                <a:lnTo>
                  <a:pt x="4796511" y="2564754"/>
                </a:lnTo>
                <a:lnTo>
                  <a:pt x="4778435" y="2598879"/>
                </a:lnTo>
                <a:lnTo>
                  <a:pt x="4766048" y="2618115"/>
                </a:lnTo>
                <a:lnTo>
                  <a:pt x="4759977" y="2628749"/>
                </a:lnTo>
                <a:lnTo>
                  <a:pt x="4749872" y="2643234"/>
                </a:lnTo>
                <a:lnTo>
                  <a:pt x="4731231" y="2672182"/>
                </a:lnTo>
                <a:lnTo>
                  <a:pt x="4714821" y="2693479"/>
                </a:lnTo>
                <a:lnTo>
                  <a:pt x="4706813" y="2704960"/>
                </a:lnTo>
                <a:lnTo>
                  <a:pt x="4696748" y="2716934"/>
                </a:lnTo>
                <a:lnTo>
                  <a:pt x="4678165" y="2741053"/>
                </a:lnTo>
                <a:lnTo>
                  <a:pt x="4657225" y="2763963"/>
                </a:lnTo>
                <a:lnTo>
                  <a:pt x="4647164" y="2775936"/>
                </a:lnTo>
                <a:lnTo>
                  <a:pt x="4637529" y="2785513"/>
                </a:lnTo>
                <a:lnTo>
                  <a:pt x="4619589" y="2805142"/>
                </a:lnTo>
                <a:lnTo>
                  <a:pt x="4593597" y="2829184"/>
                </a:lnTo>
                <a:lnTo>
                  <a:pt x="4581456" y="2841253"/>
                </a:lnTo>
                <a:lnTo>
                  <a:pt x="4572605" y="2848601"/>
                </a:lnTo>
                <a:lnTo>
                  <a:pt x="4555853" y="2864096"/>
                </a:lnTo>
                <a:lnTo>
                  <a:pt x="4524228" y="2888767"/>
                </a:lnTo>
                <a:lnTo>
                  <a:pt x="4510117" y="2900483"/>
                </a:lnTo>
                <a:lnTo>
                  <a:pt x="4502368" y="2905820"/>
                </a:lnTo>
                <a:lnTo>
                  <a:pt x="4487310" y="2917566"/>
                </a:lnTo>
                <a:lnTo>
                  <a:pt x="4449308" y="2942363"/>
                </a:lnTo>
                <a:lnTo>
                  <a:pt x="4433574" y="2953200"/>
                </a:lnTo>
                <a:lnTo>
                  <a:pt x="4427215" y="2956778"/>
                </a:lnTo>
                <a:lnTo>
                  <a:pt x="4414311" y="2965199"/>
                </a:lnTo>
                <a:lnTo>
                  <a:pt x="4368776" y="2989675"/>
                </a:lnTo>
                <a:lnTo>
                  <a:pt x="4352251" y="2998977"/>
                </a:lnTo>
                <a:lnTo>
                  <a:pt x="4347546" y="3001086"/>
                </a:lnTo>
                <a:lnTo>
                  <a:pt x="4337206" y="3006644"/>
                </a:lnTo>
                <a:lnTo>
                  <a:pt x="4281806" y="3030559"/>
                </a:lnTo>
                <a:lnTo>
                  <a:pt x="4266577" y="3037387"/>
                </a:lnTo>
                <a:lnTo>
                  <a:pt x="4263760" y="3038350"/>
                </a:lnTo>
                <a:lnTo>
                  <a:pt x="4256348" y="3041550"/>
                </a:lnTo>
                <a:lnTo>
                  <a:pt x="4184135" y="3065558"/>
                </a:lnTo>
                <a:lnTo>
                  <a:pt x="4176978" y="3068005"/>
                </a:lnTo>
                <a:lnTo>
                  <a:pt x="4176259" y="3068178"/>
                </a:lnTo>
                <a:lnTo>
                  <a:pt x="4172087" y="3069565"/>
                </a:lnTo>
                <a:cubicBezTo>
                  <a:pt x="4114856" y="3085867"/>
                  <a:pt x="4055593" y="3097340"/>
                  <a:pt x="3994762" y="3103519"/>
                </a:cubicBezTo>
                <a:lnTo>
                  <a:pt x="3990734" y="3103721"/>
                </a:lnTo>
                <a:lnTo>
                  <a:pt x="3987710" y="3104154"/>
                </a:lnTo>
                <a:lnTo>
                  <a:pt x="3937873" y="3106514"/>
                </a:lnTo>
                <a:lnTo>
                  <a:pt x="3937873" y="3108833"/>
                </a:lnTo>
                <a:lnTo>
                  <a:pt x="3889523" y="3108833"/>
                </a:lnTo>
                <a:lnTo>
                  <a:pt x="3889512" y="3108833"/>
                </a:lnTo>
                <a:lnTo>
                  <a:pt x="3889503" y="3108833"/>
                </a:lnTo>
                <a:lnTo>
                  <a:pt x="3888896" y="3108833"/>
                </a:lnTo>
                <a:lnTo>
                  <a:pt x="2860112" y="3108833"/>
                </a:lnTo>
                <a:lnTo>
                  <a:pt x="2860112" y="2133678"/>
                </a:lnTo>
                <a:lnTo>
                  <a:pt x="2858894" y="2133678"/>
                </a:lnTo>
                <a:lnTo>
                  <a:pt x="2858894" y="2079125"/>
                </a:lnTo>
                <a:lnTo>
                  <a:pt x="2858894" y="1881961"/>
                </a:lnTo>
                <a:lnTo>
                  <a:pt x="2858894" y="1469159"/>
                </a:lnTo>
                <a:lnTo>
                  <a:pt x="2858894" y="1271996"/>
                </a:lnTo>
                <a:lnTo>
                  <a:pt x="2860124" y="1271996"/>
                </a:lnTo>
                <a:lnTo>
                  <a:pt x="2860124" y="1271995"/>
                </a:lnTo>
                <a:lnTo>
                  <a:pt x="2860124" y="1271687"/>
                </a:lnTo>
                <a:lnTo>
                  <a:pt x="2860124" y="1258478"/>
                </a:lnTo>
                <a:lnTo>
                  <a:pt x="2860124" y="1217442"/>
                </a:lnTo>
                <a:lnTo>
                  <a:pt x="2862693" y="1217442"/>
                </a:lnTo>
                <a:lnTo>
                  <a:pt x="2864800" y="1172932"/>
                </a:lnTo>
                <a:lnTo>
                  <a:pt x="2865336" y="1169104"/>
                </a:lnTo>
                <a:lnTo>
                  <a:pt x="2865443" y="1166991"/>
                </a:lnTo>
                <a:lnTo>
                  <a:pt x="2868442" y="1146917"/>
                </a:lnTo>
                <a:lnTo>
                  <a:pt x="2877427" y="1082741"/>
                </a:lnTo>
                <a:lnTo>
                  <a:pt x="2879134" y="1075360"/>
                </a:lnTo>
                <a:lnTo>
                  <a:pt x="2879784" y="1071013"/>
                </a:lnTo>
                <a:lnTo>
                  <a:pt x="2885331" y="1048572"/>
                </a:lnTo>
                <a:lnTo>
                  <a:pt x="2897672" y="995225"/>
                </a:lnTo>
                <a:lnTo>
                  <a:pt x="2901186" y="984433"/>
                </a:lnTo>
                <a:lnTo>
                  <a:pt x="2902743" y="978135"/>
                </a:lnTo>
                <a:lnTo>
                  <a:pt x="2910227" y="956666"/>
                </a:lnTo>
                <a:lnTo>
                  <a:pt x="2925183" y="910736"/>
                </a:lnTo>
                <a:lnTo>
                  <a:pt x="2931099" y="896798"/>
                </a:lnTo>
                <a:lnTo>
                  <a:pt x="2933893" y="888785"/>
                </a:lnTo>
                <a:lnTo>
                  <a:pt x="2942752" y="869345"/>
                </a:lnTo>
                <a:lnTo>
                  <a:pt x="2959611" y="829624"/>
                </a:lnTo>
                <a:lnTo>
                  <a:pt x="2968493" y="812857"/>
                </a:lnTo>
                <a:lnTo>
                  <a:pt x="2972808" y="803388"/>
                </a:lnTo>
                <a:lnTo>
                  <a:pt x="2982526" y="786366"/>
                </a:lnTo>
                <a:lnTo>
                  <a:pt x="3000602" y="752241"/>
                </a:lnTo>
                <a:lnTo>
                  <a:pt x="3012989" y="733005"/>
                </a:lnTo>
                <a:lnTo>
                  <a:pt x="3019061" y="722370"/>
                </a:lnTo>
                <a:lnTo>
                  <a:pt x="3029166" y="707885"/>
                </a:lnTo>
                <a:lnTo>
                  <a:pt x="3047806" y="678938"/>
                </a:lnTo>
                <a:lnTo>
                  <a:pt x="3064216" y="657642"/>
                </a:lnTo>
                <a:lnTo>
                  <a:pt x="3072225" y="646160"/>
                </a:lnTo>
                <a:lnTo>
                  <a:pt x="3082289" y="634186"/>
                </a:lnTo>
                <a:lnTo>
                  <a:pt x="3100873" y="610067"/>
                </a:lnTo>
                <a:lnTo>
                  <a:pt x="3121812" y="587157"/>
                </a:lnTo>
                <a:lnTo>
                  <a:pt x="3131874" y="575184"/>
                </a:lnTo>
                <a:lnTo>
                  <a:pt x="3141508" y="565607"/>
                </a:lnTo>
                <a:lnTo>
                  <a:pt x="3159449" y="545978"/>
                </a:lnTo>
                <a:lnTo>
                  <a:pt x="3185440" y="521936"/>
                </a:lnTo>
                <a:lnTo>
                  <a:pt x="3197581" y="509867"/>
                </a:lnTo>
                <a:lnTo>
                  <a:pt x="3206432" y="502518"/>
                </a:lnTo>
                <a:lnTo>
                  <a:pt x="3223184" y="487023"/>
                </a:lnTo>
                <a:lnTo>
                  <a:pt x="3254809" y="462354"/>
                </a:lnTo>
                <a:lnTo>
                  <a:pt x="3268920" y="450637"/>
                </a:lnTo>
                <a:lnTo>
                  <a:pt x="3276669" y="445300"/>
                </a:lnTo>
                <a:lnTo>
                  <a:pt x="3291727" y="433554"/>
                </a:lnTo>
                <a:lnTo>
                  <a:pt x="3329729" y="408757"/>
                </a:lnTo>
                <a:lnTo>
                  <a:pt x="3345464" y="397920"/>
                </a:lnTo>
                <a:lnTo>
                  <a:pt x="3351822" y="394342"/>
                </a:lnTo>
                <a:lnTo>
                  <a:pt x="3364727" y="385921"/>
                </a:lnTo>
                <a:lnTo>
                  <a:pt x="3410262" y="361445"/>
                </a:lnTo>
                <a:lnTo>
                  <a:pt x="3426786" y="352143"/>
                </a:lnTo>
                <a:lnTo>
                  <a:pt x="3431491" y="350034"/>
                </a:lnTo>
                <a:lnTo>
                  <a:pt x="3441831" y="344476"/>
                </a:lnTo>
                <a:lnTo>
                  <a:pt x="3497231" y="320561"/>
                </a:lnTo>
                <a:lnTo>
                  <a:pt x="3512460" y="313733"/>
                </a:lnTo>
                <a:lnTo>
                  <a:pt x="3515277" y="312771"/>
                </a:lnTo>
                <a:lnTo>
                  <a:pt x="3522689" y="309570"/>
                </a:lnTo>
                <a:lnTo>
                  <a:pt x="3594903" y="285562"/>
                </a:lnTo>
                <a:lnTo>
                  <a:pt x="3602059" y="283116"/>
                </a:lnTo>
                <a:lnTo>
                  <a:pt x="3602778" y="282942"/>
                </a:lnTo>
                <a:lnTo>
                  <a:pt x="3606950" y="281556"/>
                </a:lnTo>
                <a:cubicBezTo>
                  <a:pt x="3664181" y="265254"/>
                  <a:pt x="3723445" y="253780"/>
                  <a:pt x="3784274" y="247602"/>
                </a:cubicBezTo>
                <a:lnTo>
                  <a:pt x="3788303" y="247399"/>
                </a:lnTo>
                <a:lnTo>
                  <a:pt x="3791327" y="246966"/>
                </a:lnTo>
                <a:lnTo>
                  <a:pt x="3841164" y="244606"/>
                </a:lnTo>
                <a:lnTo>
                  <a:pt x="3841164" y="242288"/>
                </a:lnTo>
                <a:lnTo>
                  <a:pt x="3889515" y="242288"/>
                </a:lnTo>
                <a:close/>
                <a:moveTo>
                  <a:pt x="1951529" y="0"/>
                </a:moveTo>
                <a:cubicBezTo>
                  <a:pt x="2349436" y="0"/>
                  <a:pt x="2676712" y="302407"/>
                  <a:pt x="2716068" y="689931"/>
                </a:cubicBezTo>
                <a:lnTo>
                  <a:pt x="2718212" y="732402"/>
                </a:lnTo>
                <a:lnTo>
                  <a:pt x="2720035" y="732402"/>
                </a:lnTo>
                <a:lnTo>
                  <a:pt x="2720035" y="768498"/>
                </a:lnTo>
                <a:lnTo>
                  <a:pt x="2720035" y="768506"/>
                </a:lnTo>
                <a:lnTo>
                  <a:pt x="2720035" y="768513"/>
                </a:lnTo>
                <a:lnTo>
                  <a:pt x="2720035" y="1537012"/>
                </a:lnTo>
                <a:lnTo>
                  <a:pt x="1951529" y="1537012"/>
                </a:lnTo>
                <a:lnTo>
                  <a:pt x="1941213" y="1537012"/>
                </a:lnTo>
                <a:lnTo>
                  <a:pt x="1941213" y="1536491"/>
                </a:lnTo>
                <a:lnTo>
                  <a:pt x="1872954" y="1533044"/>
                </a:lnTo>
                <a:cubicBezTo>
                  <a:pt x="1485430" y="1493689"/>
                  <a:pt x="1183023" y="1166413"/>
                  <a:pt x="1183023" y="768506"/>
                </a:cubicBezTo>
                <a:cubicBezTo>
                  <a:pt x="1183023" y="344072"/>
                  <a:pt x="1527095" y="0"/>
                  <a:pt x="19515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5078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74D766E-C329-4E8E-9BE7-5A9155152C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1521" y="421903"/>
            <a:ext cx="4276338" cy="6031595"/>
          </a:xfrm>
          <a:custGeom>
            <a:avLst/>
            <a:gdLst>
              <a:gd name="connsiteX0" fmla="*/ 2781255 w 4276338"/>
              <a:gd name="connsiteY0" fmla="*/ 0 h 6031595"/>
              <a:gd name="connsiteX1" fmla="*/ 2781270 w 4276338"/>
              <a:gd name="connsiteY1" fmla="*/ 1 h 6031595"/>
              <a:gd name="connsiteX2" fmla="*/ 2851409 w 4276338"/>
              <a:gd name="connsiteY2" fmla="*/ 1 h 6031595"/>
              <a:gd name="connsiteX3" fmla="*/ 2851409 w 4276338"/>
              <a:gd name="connsiteY3" fmla="*/ 3435 h 6031595"/>
              <a:gd name="connsiteX4" fmla="*/ 2923707 w 4276338"/>
              <a:gd name="connsiteY4" fmla="*/ 6932 h 6031595"/>
              <a:gd name="connsiteX5" fmla="*/ 2928093 w 4276338"/>
              <a:gd name="connsiteY5" fmla="*/ 7572 h 6031595"/>
              <a:gd name="connsiteX6" fmla="*/ 2933936 w 4276338"/>
              <a:gd name="connsiteY6" fmla="*/ 7873 h 6031595"/>
              <a:gd name="connsiteX7" fmla="*/ 3191171 w 4276338"/>
              <a:gd name="connsiteY7" fmla="*/ 58173 h 6031595"/>
              <a:gd name="connsiteX8" fmla="*/ 3197224 w 4276338"/>
              <a:gd name="connsiteY8" fmla="*/ 60227 h 6031595"/>
              <a:gd name="connsiteX9" fmla="*/ 3198266 w 4276338"/>
              <a:gd name="connsiteY9" fmla="*/ 60485 h 6031595"/>
              <a:gd name="connsiteX10" fmla="*/ 3208649 w 4276338"/>
              <a:gd name="connsiteY10" fmla="*/ 64107 h 6031595"/>
              <a:gd name="connsiteX11" fmla="*/ 3313404 w 4276338"/>
              <a:gd name="connsiteY11" fmla="*/ 99675 h 6031595"/>
              <a:gd name="connsiteX12" fmla="*/ 3324157 w 4276338"/>
              <a:gd name="connsiteY12" fmla="*/ 104416 h 6031595"/>
              <a:gd name="connsiteX13" fmla="*/ 3328243 w 4276338"/>
              <a:gd name="connsiteY13" fmla="*/ 105842 h 6031595"/>
              <a:gd name="connsiteX14" fmla="*/ 3350335 w 4276338"/>
              <a:gd name="connsiteY14" fmla="*/ 115957 h 6031595"/>
              <a:gd name="connsiteX15" fmla="*/ 3430701 w 4276338"/>
              <a:gd name="connsiteY15" fmla="*/ 151385 h 6031595"/>
              <a:gd name="connsiteX16" fmla="*/ 3445700 w 4276338"/>
              <a:gd name="connsiteY16" fmla="*/ 159618 h 6031595"/>
              <a:gd name="connsiteX17" fmla="*/ 3452526 w 4276338"/>
              <a:gd name="connsiteY17" fmla="*/ 162743 h 6031595"/>
              <a:gd name="connsiteX18" fmla="*/ 3476498 w 4276338"/>
              <a:gd name="connsiteY18" fmla="*/ 176524 h 6031595"/>
              <a:gd name="connsiteX19" fmla="*/ 3542552 w 4276338"/>
              <a:gd name="connsiteY19" fmla="*/ 212783 h 6031595"/>
              <a:gd name="connsiteX20" fmla="*/ 3561272 w 4276338"/>
              <a:gd name="connsiteY20" fmla="*/ 225258 h 6031595"/>
              <a:gd name="connsiteX21" fmla="*/ 3570497 w 4276338"/>
              <a:gd name="connsiteY21" fmla="*/ 230558 h 6031595"/>
              <a:gd name="connsiteX22" fmla="*/ 3593322 w 4276338"/>
              <a:gd name="connsiteY22" fmla="*/ 246613 h 6031595"/>
              <a:gd name="connsiteX23" fmla="*/ 3648450 w 4276338"/>
              <a:gd name="connsiteY23" fmla="*/ 283348 h 6031595"/>
              <a:gd name="connsiteX24" fmla="*/ 3670293 w 4276338"/>
              <a:gd name="connsiteY24" fmla="*/ 300749 h 6031595"/>
              <a:gd name="connsiteX25" fmla="*/ 3681535 w 4276338"/>
              <a:gd name="connsiteY25" fmla="*/ 308654 h 6031595"/>
              <a:gd name="connsiteX26" fmla="*/ 3702004 w 4276338"/>
              <a:gd name="connsiteY26" fmla="*/ 326011 h 6031595"/>
              <a:gd name="connsiteX27" fmla="*/ 3747882 w 4276338"/>
              <a:gd name="connsiteY27" fmla="*/ 362560 h 6031595"/>
              <a:gd name="connsiteX28" fmla="*/ 3772182 w 4276338"/>
              <a:gd name="connsiteY28" fmla="*/ 385514 h 6031595"/>
              <a:gd name="connsiteX29" fmla="*/ 3785022 w 4276338"/>
              <a:gd name="connsiteY29" fmla="*/ 396400 h 6031595"/>
              <a:gd name="connsiteX30" fmla="*/ 3802634 w 4276338"/>
              <a:gd name="connsiteY30" fmla="*/ 414279 h 6031595"/>
              <a:gd name="connsiteX31" fmla="*/ 3840339 w 4276338"/>
              <a:gd name="connsiteY31" fmla="*/ 449896 h 6031595"/>
              <a:gd name="connsiteX32" fmla="*/ 3866365 w 4276338"/>
              <a:gd name="connsiteY32" fmla="*/ 478975 h 6031595"/>
              <a:gd name="connsiteX33" fmla="*/ 3880341 w 4276338"/>
              <a:gd name="connsiteY33" fmla="*/ 493162 h 6031595"/>
              <a:gd name="connsiteX34" fmla="*/ 3894937 w 4276338"/>
              <a:gd name="connsiteY34" fmla="*/ 510898 h 6031595"/>
              <a:gd name="connsiteX35" fmla="*/ 3925313 w 4276338"/>
              <a:gd name="connsiteY35" fmla="*/ 544839 h 6031595"/>
              <a:gd name="connsiteX36" fmla="*/ 3952271 w 4276338"/>
              <a:gd name="connsiteY36" fmla="*/ 580568 h 6031595"/>
              <a:gd name="connsiteX37" fmla="*/ 3966871 w 4276338"/>
              <a:gd name="connsiteY37" fmla="*/ 598307 h 6031595"/>
              <a:gd name="connsiteX38" fmla="*/ 3978488 w 4276338"/>
              <a:gd name="connsiteY38" fmla="*/ 615316 h 6031595"/>
              <a:gd name="connsiteX39" fmla="*/ 4002293 w 4276338"/>
              <a:gd name="connsiteY39" fmla="*/ 646866 h 6031595"/>
              <a:gd name="connsiteX40" fmla="*/ 4029333 w 4276338"/>
              <a:gd name="connsiteY40" fmla="*/ 689750 h 6031595"/>
              <a:gd name="connsiteX41" fmla="*/ 4043994 w 4276338"/>
              <a:gd name="connsiteY41" fmla="*/ 711208 h 6031595"/>
              <a:gd name="connsiteX42" fmla="*/ 4052801 w 4276338"/>
              <a:gd name="connsiteY42" fmla="*/ 726962 h 6031595"/>
              <a:gd name="connsiteX43" fmla="*/ 4070770 w 4276338"/>
              <a:gd name="connsiteY43" fmla="*/ 755459 h 6031595"/>
              <a:gd name="connsiteX44" fmla="*/ 4096992 w 4276338"/>
              <a:gd name="connsiteY44" fmla="*/ 806012 h 6031595"/>
              <a:gd name="connsiteX45" fmla="*/ 4111089 w 4276338"/>
              <a:gd name="connsiteY45" fmla="*/ 831229 h 6031595"/>
              <a:gd name="connsiteX46" fmla="*/ 4117349 w 4276338"/>
              <a:gd name="connsiteY46" fmla="*/ 845256 h 6031595"/>
              <a:gd name="connsiteX47" fmla="*/ 4130234 w 4276338"/>
              <a:gd name="connsiteY47" fmla="*/ 870096 h 6031595"/>
              <a:gd name="connsiteX48" fmla="*/ 4154690 w 4276338"/>
              <a:gd name="connsiteY48" fmla="*/ 928939 h 6031595"/>
              <a:gd name="connsiteX49" fmla="*/ 4167542 w 4276338"/>
              <a:gd name="connsiteY49" fmla="*/ 957739 h 6031595"/>
              <a:gd name="connsiteX50" fmla="*/ 4171594 w 4276338"/>
              <a:gd name="connsiteY50" fmla="*/ 969609 h 6031595"/>
              <a:gd name="connsiteX51" fmla="*/ 4180176 w 4276338"/>
              <a:gd name="connsiteY51" fmla="*/ 990257 h 6031595"/>
              <a:gd name="connsiteX52" fmla="*/ 4201872 w 4276338"/>
              <a:gd name="connsiteY52" fmla="*/ 1058299 h 6031595"/>
              <a:gd name="connsiteX53" fmla="*/ 4212729 w 4276338"/>
              <a:gd name="connsiteY53" fmla="*/ 1090104 h 6031595"/>
              <a:gd name="connsiteX54" fmla="*/ 4214988 w 4276338"/>
              <a:gd name="connsiteY54" fmla="*/ 1099433 h 6031595"/>
              <a:gd name="connsiteX55" fmla="*/ 4220085 w 4276338"/>
              <a:gd name="connsiteY55" fmla="*/ 1115422 h 6031595"/>
              <a:gd name="connsiteX56" fmla="*/ 4237987 w 4276338"/>
              <a:gd name="connsiteY56" fmla="*/ 1194451 h 6031595"/>
              <a:gd name="connsiteX57" fmla="*/ 4246035 w 4276338"/>
              <a:gd name="connsiteY57" fmla="*/ 1227696 h 6031595"/>
              <a:gd name="connsiteX58" fmla="*/ 4246977 w 4276338"/>
              <a:gd name="connsiteY58" fmla="*/ 1234136 h 6031595"/>
              <a:gd name="connsiteX59" fmla="*/ 4249454 w 4276338"/>
              <a:gd name="connsiteY59" fmla="*/ 1245070 h 6031595"/>
              <a:gd name="connsiteX60" fmla="*/ 4262487 w 4276338"/>
              <a:gd name="connsiteY60" fmla="*/ 1340141 h 6031595"/>
              <a:gd name="connsiteX61" fmla="*/ 4266839 w 4276338"/>
              <a:gd name="connsiteY61" fmla="*/ 1369879 h 6031595"/>
              <a:gd name="connsiteX62" fmla="*/ 4266994 w 4276338"/>
              <a:gd name="connsiteY62" fmla="*/ 1373011 h 6031595"/>
              <a:gd name="connsiteX63" fmla="*/ 4267770 w 4276338"/>
              <a:gd name="connsiteY63" fmla="*/ 1378680 h 6031595"/>
              <a:gd name="connsiteX64" fmla="*/ 4270828 w 4276338"/>
              <a:gd name="connsiteY64" fmla="*/ 1444619 h 6031595"/>
              <a:gd name="connsiteX65" fmla="*/ 4274554 w 4276338"/>
              <a:gd name="connsiteY65" fmla="*/ 1444619 h 6031595"/>
              <a:gd name="connsiteX66" fmla="*/ 4274554 w 4276338"/>
              <a:gd name="connsiteY66" fmla="*/ 1505411 h 6031595"/>
              <a:gd name="connsiteX67" fmla="*/ 4274554 w 4276338"/>
              <a:gd name="connsiteY67" fmla="*/ 1524979 h 6031595"/>
              <a:gd name="connsiteX68" fmla="*/ 4274554 w 4276338"/>
              <a:gd name="connsiteY68" fmla="*/ 1525435 h 6031595"/>
              <a:gd name="connsiteX69" fmla="*/ 4274554 w 4276338"/>
              <a:gd name="connsiteY69" fmla="*/ 1525436 h 6031595"/>
              <a:gd name="connsiteX70" fmla="*/ 4276338 w 4276338"/>
              <a:gd name="connsiteY70" fmla="*/ 1525436 h 6031595"/>
              <a:gd name="connsiteX71" fmla="*/ 4276338 w 4276338"/>
              <a:gd name="connsiteY71" fmla="*/ 1724345 h 6031595"/>
              <a:gd name="connsiteX72" fmla="*/ 4276338 w 4276338"/>
              <a:gd name="connsiteY72" fmla="*/ 1817518 h 6031595"/>
              <a:gd name="connsiteX73" fmla="*/ 4276338 w 4276338"/>
              <a:gd name="connsiteY73" fmla="*/ 1983152 h 6031595"/>
              <a:gd name="connsiteX74" fmla="*/ 4276338 w 4276338"/>
              <a:gd name="connsiteY74" fmla="*/ 2006218 h 6031595"/>
              <a:gd name="connsiteX75" fmla="*/ 4276338 w 4276338"/>
              <a:gd name="connsiteY75" fmla="*/ 2087036 h 6031595"/>
              <a:gd name="connsiteX76" fmla="*/ 4274572 w 4276338"/>
              <a:gd name="connsiteY76" fmla="*/ 2087036 h 6031595"/>
              <a:gd name="connsiteX77" fmla="*/ 4274572 w 4276338"/>
              <a:gd name="connsiteY77" fmla="*/ 2117837 h 6031595"/>
              <a:gd name="connsiteX78" fmla="*/ 3339497 w 4276338"/>
              <a:gd name="connsiteY78" fmla="*/ 2117837 h 6031595"/>
              <a:gd name="connsiteX79" fmla="*/ 3427735 w 4276338"/>
              <a:gd name="connsiteY79" fmla="*/ 2178609 h 6031595"/>
              <a:gd name="connsiteX80" fmla="*/ 4265298 w 4276338"/>
              <a:gd name="connsiteY80" fmla="*/ 3665658 h 6031595"/>
              <a:gd name="connsiteX81" fmla="*/ 4274888 w 4276338"/>
              <a:gd name="connsiteY81" fmla="*/ 3855572 h 6031595"/>
              <a:gd name="connsiteX82" fmla="*/ 4276337 w 4276338"/>
              <a:gd name="connsiteY82" fmla="*/ 3855572 h 6031595"/>
              <a:gd name="connsiteX83" fmla="*/ 4276337 w 4276338"/>
              <a:gd name="connsiteY83" fmla="*/ 3884273 h 6031595"/>
              <a:gd name="connsiteX84" fmla="*/ 4276337 w 4276338"/>
              <a:gd name="connsiteY84" fmla="*/ 4511467 h 6031595"/>
              <a:gd name="connsiteX85" fmla="*/ 4276338 w 4276338"/>
              <a:gd name="connsiteY85" fmla="*/ 4511467 h 6031595"/>
              <a:gd name="connsiteX86" fmla="*/ 4276338 w 4276338"/>
              <a:gd name="connsiteY86" fmla="*/ 4586977 h 6031595"/>
              <a:gd name="connsiteX87" fmla="*/ 4276337 w 4276338"/>
              <a:gd name="connsiteY87" fmla="*/ 4586977 h 6031595"/>
              <a:gd name="connsiteX88" fmla="*/ 4276337 w 4276338"/>
              <a:gd name="connsiteY88" fmla="*/ 6022440 h 6031595"/>
              <a:gd name="connsiteX89" fmla="*/ 4274571 w 4276338"/>
              <a:gd name="connsiteY89" fmla="*/ 6022440 h 6031595"/>
              <a:gd name="connsiteX90" fmla="*/ 4274571 w 4276338"/>
              <a:gd name="connsiteY90" fmla="*/ 6031594 h 6031595"/>
              <a:gd name="connsiteX91" fmla="*/ 2782168 w 4276338"/>
              <a:gd name="connsiteY91" fmla="*/ 6031594 h 6031595"/>
              <a:gd name="connsiteX92" fmla="*/ 2781288 w 4276338"/>
              <a:gd name="connsiteY92" fmla="*/ 6031594 h 6031595"/>
              <a:gd name="connsiteX93" fmla="*/ 2781274 w 4276338"/>
              <a:gd name="connsiteY93" fmla="*/ 6031595 h 6031595"/>
              <a:gd name="connsiteX94" fmla="*/ 2781260 w 4276338"/>
              <a:gd name="connsiteY94" fmla="*/ 6031594 h 6031595"/>
              <a:gd name="connsiteX95" fmla="*/ 2711119 w 4276338"/>
              <a:gd name="connsiteY95" fmla="*/ 6031594 h 6031595"/>
              <a:gd name="connsiteX96" fmla="*/ 2711119 w 4276338"/>
              <a:gd name="connsiteY96" fmla="*/ 6028160 h 6031595"/>
              <a:gd name="connsiteX97" fmla="*/ 2638822 w 4276338"/>
              <a:gd name="connsiteY97" fmla="*/ 6024663 h 6031595"/>
              <a:gd name="connsiteX98" fmla="*/ 2634436 w 4276338"/>
              <a:gd name="connsiteY98" fmla="*/ 6024023 h 6031595"/>
              <a:gd name="connsiteX99" fmla="*/ 2628593 w 4276338"/>
              <a:gd name="connsiteY99" fmla="*/ 6023723 h 6031595"/>
              <a:gd name="connsiteX100" fmla="*/ 2620014 w 4276338"/>
              <a:gd name="connsiteY100" fmla="*/ 6022440 h 6031595"/>
              <a:gd name="connsiteX101" fmla="*/ 2138188 w 4276338"/>
              <a:gd name="connsiteY101" fmla="*/ 6022440 h 6031595"/>
              <a:gd name="connsiteX102" fmla="*/ 2138169 w 4276338"/>
              <a:gd name="connsiteY102" fmla="*/ 6022441 h 6031595"/>
              <a:gd name="connsiteX103" fmla="*/ 2138148 w 4276338"/>
              <a:gd name="connsiteY103" fmla="*/ 6022440 h 6031595"/>
              <a:gd name="connsiteX104" fmla="*/ 2037719 w 4276338"/>
              <a:gd name="connsiteY104" fmla="*/ 6022440 h 6031595"/>
              <a:gd name="connsiteX105" fmla="*/ 2037719 w 4276338"/>
              <a:gd name="connsiteY105" fmla="*/ 6017369 h 6031595"/>
              <a:gd name="connsiteX106" fmla="*/ 1919554 w 4276338"/>
              <a:gd name="connsiteY106" fmla="*/ 6011403 h 6031595"/>
              <a:gd name="connsiteX107" fmla="*/ 0 w 4276338"/>
              <a:gd name="connsiteY107" fmla="*/ 3884273 h 6031595"/>
              <a:gd name="connsiteX108" fmla="*/ 1118990 w 4276338"/>
              <a:gd name="connsiteY108" fmla="*/ 2004170 h 6031595"/>
              <a:gd name="connsiteX109" fmla="*/ 1286191 w 4276338"/>
              <a:gd name="connsiteY109" fmla="*/ 1923625 h 6031595"/>
              <a:gd name="connsiteX110" fmla="*/ 1286191 w 4276338"/>
              <a:gd name="connsiteY110" fmla="*/ 1817518 h 6031595"/>
              <a:gd name="connsiteX111" fmla="*/ 1286191 w 4276338"/>
              <a:gd name="connsiteY111" fmla="*/ 1724345 h 6031595"/>
              <a:gd name="connsiteX112" fmla="*/ 1286191 w 4276338"/>
              <a:gd name="connsiteY112" fmla="*/ 1525435 h 6031595"/>
              <a:gd name="connsiteX113" fmla="*/ 1286191 w 4276338"/>
              <a:gd name="connsiteY113" fmla="*/ 1444619 h 6031595"/>
              <a:gd name="connsiteX114" fmla="*/ 1287958 w 4276338"/>
              <a:gd name="connsiteY114" fmla="*/ 1444619 h 6031595"/>
              <a:gd name="connsiteX115" fmla="*/ 1287958 w 4276338"/>
              <a:gd name="connsiteY115" fmla="*/ 1 h 6031595"/>
              <a:gd name="connsiteX116" fmla="*/ 2780361 w 4276338"/>
              <a:gd name="connsiteY116" fmla="*/ 1 h 6031595"/>
              <a:gd name="connsiteX117" fmla="*/ 2781241 w 4276338"/>
              <a:gd name="connsiteY117" fmla="*/ 1 h 6031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4276338" h="6031595">
                <a:moveTo>
                  <a:pt x="2781255" y="0"/>
                </a:moveTo>
                <a:lnTo>
                  <a:pt x="2781270" y="1"/>
                </a:lnTo>
                <a:lnTo>
                  <a:pt x="2851409" y="1"/>
                </a:lnTo>
                <a:lnTo>
                  <a:pt x="2851409" y="3435"/>
                </a:lnTo>
                <a:lnTo>
                  <a:pt x="2923707" y="6932"/>
                </a:lnTo>
                <a:lnTo>
                  <a:pt x="2928093" y="7572"/>
                </a:lnTo>
                <a:lnTo>
                  <a:pt x="2933936" y="7873"/>
                </a:lnTo>
                <a:cubicBezTo>
                  <a:pt x="3022179" y="17025"/>
                  <a:pt x="3108150" y="34023"/>
                  <a:pt x="3191171" y="58173"/>
                </a:cubicBezTo>
                <a:lnTo>
                  <a:pt x="3197224" y="60227"/>
                </a:lnTo>
                <a:lnTo>
                  <a:pt x="3198266" y="60485"/>
                </a:lnTo>
                <a:lnTo>
                  <a:pt x="3208649" y="64107"/>
                </a:lnTo>
                <a:lnTo>
                  <a:pt x="3313404" y="99675"/>
                </a:lnTo>
                <a:lnTo>
                  <a:pt x="3324157" y="104416"/>
                </a:lnTo>
                <a:lnTo>
                  <a:pt x="3328243" y="105842"/>
                </a:lnTo>
                <a:lnTo>
                  <a:pt x="3350335" y="115957"/>
                </a:lnTo>
                <a:lnTo>
                  <a:pt x="3430701" y="151385"/>
                </a:lnTo>
                <a:lnTo>
                  <a:pt x="3445700" y="159618"/>
                </a:lnTo>
                <a:lnTo>
                  <a:pt x="3452526" y="162743"/>
                </a:lnTo>
                <a:lnTo>
                  <a:pt x="3476498" y="176524"/>
                </a:lnTo>
                <a:lnTo>
                  <a:pt x="3542552" y="212783"/>
                </a:lnTo>
                <a:lnTo>
                  <a:pt x="3561272" y="225258"/>
                </a:lnTo>
                <a:lnTo>
                  <a:pt x="3570497" y="230558"/>
                </a:lnTo>
                <a:lnTo>
                  <a:pt x="3593322" y="246613"/>
                </a:lnTo>
                <a:lnTo>
                  <a:pt x="3648450" y="283348"/>
                </a:lnTo>
                <a:lnTo>
                  <a:pt x="3670293" y="300749"/>
                </a:lnTo>
                <a:lnTo>
                  <a:pt x="3681535" y="308654"/>
                </a:lnTo>
                <a:lnTo>
                  <a:pt x="3702004" y="326011"/>
                </a:lnTo>
                <a:lnTo>
                  <a:pt x="3747882" y="362560"/>
                </a:lnTo>
                <a:lnTo>
                  <a:pt x="3772182" y="385514"/>
                </a:lnTo>
                <a:lnTo>
                  <a:pt x="3785022" y="396400"/>
                </a:lnTo>
                <a:lnTo>
                  <a:pt x="3802634" y="414279"/>
                </a:lnTo>
                <a:lnTo>
                  <a:pt x="3840339" y="449896"/>
                </a:lnTo>
                <a:lnTo>
                  <a:pt x="3866365" y="478975"/>
                </a:lnTo>
                <a:lnTo>
                  <a:pt x="3880341" y="493162"/>
                </a:lnTo>
                <a:lnTo>
                  <a:pt x="3894937" y="510898"/>
                </a:lnTo>
                <a:lnTo>
                  <a:pt x="3925313" y="544839"/>
                </a:lnTo>
                <a:lnTo>
                  <a:pt x="3952271" y="580568"/>
                </a:lnTo>
                <a:lnTo>
                  <a:pt x="3966871" y="598307"/>
                </a:lnTo>
                <a:lnTo>
                  <a:pt x="3978488" y="615316"/>
                </a:lnTo>
                <a:lnTo>
                  <a:pt x="4002293" y="646866"/>
                </a:lnTo>
                <a:lnTo>
                  <a:pt x="4029333" y="689750"/>
                </a:lnTo>
                <a:lnTo>
                  <a:pt x="4043994" y="711208"/>
                </a:lnTo>
                <a:lnTo>
                  <a:pt x="4052801" y="726962"/>
                </a:lnTo>
                <a:lnTo>
                  <a:pt x="4070770" y="755459"/>
                </a:lnTo>
                <a:lnTo>
                  <a:pt x="4096992" y="806012"/>
                </a:lnTo>
                <a:lnTo>
                  <a:pt x="4111089" y="831229"/>
                </a:lnTo>
                <a:lnTo>
                  <a:pt x="4117349" y="845256"/>
                </a:lnTo>
                <a:lnTo>
                  <a:pt x="4130234" y="870096"/>
                </a:lnTo>
                <a:lnTo>
                  <a:pt x="4154690" y="928939"/>
                </a:lnTo>
                <a:lnTo>
                  <a:pt x="4167542" y="957739"/>
                </a:lnTo>
                <a:lnTo>
                  <a:pt x="4171594" y="969609"/>
                </a:lnTo>
                <a:lnTo>
                  <a:pt x="4180176" y="990257"/>
                </a:lnTo>
                <a:lnTo>
                  <a:pt x="4201872" y="1058299"/>
                </a:lnTo>
                <a:lnTo>
                  <a:pt x="4212729" y="1090104"/>
                </a:lnTo>
                <a:lnTo>
                  <a:pt x="4214988" y="1099433"/>
                </a:lnTo>
                <a:lnTo>
                  <a:pt x="4220085" y="1115422"/>
                </a:lnTo>
                <a:lnTo>
                  <a:pt x="4237987" y="1194451"/>
                </a:lnTo>
                <a:lnTo>
                  <a:pt x="4246035" y="1227696"/>
                </a:lnTo>
                <a:lnTo>
                  <a:pt x="4246977" y="1234136"/>
                </a:lnTo>
                <a:lnTo>
                  <a:pt x="4249454" y="1245070"/>
                </a:lnTo>
                <a:lnTo>
                  <a:pt x="4262487" y="1340141"/>
                </a:lnTo>
                <a:lnTo>
                  <a:pt x="4266839" y="1369879"/>
                </a:lnTo>
                <a:lnTo>
                  <a:pt x="4266994" y="1373011"/>
                </a:lnTo>
                <a:lnTo>
                  <a:pt x="4267770" y="1378680"/>
                </a:lnTo>
                <a:lnTo>
                  <a:pt x="4270828" y="1444619"/>
                </a:lnTo>
                <a:lnTo>
                  <a:pt x="4274554" y="1444619"/>
                </a:lnTo>
                <a:lnTo>
                  <a:pt x="4274554" y="1505411"/>
                </a:lnTo>
                <a:lnTo>
                  <a:pt x="4274554" y="1524979"/>
                </a:lnTo>
                <a:lnTo>
                  <a:pt x="4274554" y="1525435"/>
                </a:lnTo>
                <a:lnTo>
                  <a:pt x="4274554" y="1525436"/>
                </a:lnTo>
                <a:lnTo>
                  <a:pt x="4276338" y="1525436"/>
                </a:lnTo>
                <a:lnTo>
                  <a:pt x="4276338" y="1724345"/>
                </a:lnTo>
                <a:lnTo>
                  <a:pt x="4276338" y="1817518"/>
                </a:lnTo>
                <a:lnTo>
                  <a:pt x="4276338" y="1983152"/>
                </a:lnTo>
                <a:lnTo>
                  <a:pt x="4276338" y="2006218"/>
                </a:lnTo>
                <a:lnTo>
                  <a:pt x="4276338" y="2087036"/>
                </a:lnTo>
                <a:lnTo>
                  <a:pt x="4274572" y="2087036"/>
                </a:lnTo>
                <a:lnTo>
                  <a:pt x="4274572" y="2117837"/>
                </a:lnTo>
                <a:lnTo>
                  <a:pt x="3339497" y="2117837"/>
                </a:lnTo>
                <a:lnTo>
                  <a:pt x="3427735" y="2178609"/>
                </a:lnTo>
                <a:cubicBezTo>
                  <a:pt x="3888653" y="2527630"/>
                  <a:pt x="4203707" y="3059179"/>
                  <a:pt x="4265298" y="3665658"/>
                </a:cubicBezTo>
                <a:lnTo>
                  <a:pt x="4274888" y="3855572"/>
                </a:lnTo>
                <a:lnTo>
                  <a:pt x="4276337" y="3855572"/>
                </a:lnTo>
                <a:lnTo>
                  <a:pt x="4276337" y="3884273"/>
                </a:lnTo>
                <a:lnTo>
                  <a:pt x="4276337" y="4511467"/>
                </a:lnTo>
                <a:lnTo>
                  <a:pt x="4276338" y="4511467"/>
                </a:lnTo>
                <a:lnTo>
                  <a:pt x="4276338" y="4586977"/>
                </a:lnTo>
                <a:lnTo>
                  <a:pt x="4276337" y="4586977"/>
                </a:lnTo>
                <a:lnTo>
                  <a:pt x="4276337" y="6022440"/>
                </a:lnTo>
                <a:lnTo>
                  <a:pt x="4274571" y="6022440"/>
                </a:lnTo>
                <a:lnTo>
                  <a:pt x="4274571" y="6031594"/>
                </a:lnTo>
                <a:lnTo>
                  <a:pt x="2782168" y="6031594"/>
                </a:lnTo>
                <a:lnTo>
                  <a:pt x="2781288" y="6031594"/>
                </a:lnTo>
                <a:lnTo>
                  <a:pt x="2781274" y="6031595"/>
                </a:lnTo>
                <a:lnTo>
                  <a:pt x="2781260" y="6031594"/>
                </a:lnTo>
                <a:lnTo>
                  <a:pt x="2711119" y="6031594"/>
                </a:lnTo>
                <a:lnTo>
                  <a:pt x="2711119" y="6028160"/>
                </a:lnTo>
                <a:lnTo>
                  <a:pt x="2638822" y="6024663"/>
                </a:lnTo>
                <a:lnTo>
                  <a:pt x="2634436" y="6024023"/>
                </a:lnTo>
                <a:lnTo>
                  <a:pt x="2628593" y="6023723"/>
                </a:lnTo>
                <a:lnTo>
                  <a:pt x="2620014" y="6022440"/>
                </a:lnTo>
                <a:lnTo>
                  <a:pt x="2138188" y="6022440"/>
                </a:lnTo>
                <a:lnTo>
                  <a:pt x="2138169" y="6022441"/>
                </a:lnTo>
                <a:lnTo>
                  <a:pt x="2138148" y="6022440"/>
                </a:lnTo>
                <a:lnTo>
                  <a:pt x="2037719" y="6022440"/>
                </a:lnTo>
                <a:lnTo>
                  <a:pt x="2037719" y="6017369"/>
                </a:lnTo>
                <a:lnTo>
                  <a:pt x="1919554" y="6011403"/>
                </a:lnTo>
                <a:cubicBezTo>
                  <a:pt x="841369" y="5901906"/>
                  <a:pt x="0" y="4991346"/>
                  <a:pt x="0" y="3884273"/>
                </a:cubicBezTo>
                <a:cubicBezTo>
                  <a:pt x="0" y="3072419"/>
                  <a:pt x="452469" y="2366246"/>
                  <a:pt x="1118990" y="2004170"/>
                </a:cubicBezTo>
                <a:lnTo>
                  <a:pt x="1286191" y="1923625"/>
                </a:lnTo>
                <a:lnTo>
                  <a:pt x="1286191" y="1817518"/>
                </a:lnTo>
                <a:lnTo>
                  <a:pt x="1286191" y="1724345"/>
                </a:lnTo>
                <a:lnTo>
                  <a:pt x="1286191" y="1525435"/>
                </a:lnTo>
                <a:lnTo>
                  <a:pt x="1286191" y="1444619"/>
                </a:lnTo>
                <a:lnTo>
                  <a:pt x="1287958" y="1444619"/>
                </a:lnTo>
                <a:lnTo>
                  <a:pt x="1287958" y="1"/>
                </a:lnTo>
                <a:lnTo>
                  <a:pt x="2780361" y="1"/>
                </a:lnTo>
                <a:lnTo>
                  <a:pt x="2781241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09046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35AA4D9-8E71-425F-B709-FFF07857CF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65546" y="502816"/>
            <a:ext cx="3545964" cy="5948510"/>
          </a:xfrm>
          <a:custGeom>
            <a:avLst/>
            <a:gdLst>
              <a:gd name="connsiteX0" fmla="*/ 2388888 w 3545964"/>
              <a:gd name="connsiteY0" fmla="*/ 3738199 h 5948510"/>
              <a:gd name="connsiteX1" fmla="*/ 2440798 w 3545964"/>
              <a:gd name="connsiteY1" fmla="*/ 3738199 h 5948510"/>
              <a:gd name="connsiteX2" fmla="*/ 2440808 w 3545964"/>
              <a:gd name="connsiteY2" fmla="*/ 3738199 h 5948510"/>
              <a:gd name="connsiteX3" fmla="*/ 2440818 w 3545964"/>
              <a:gd name="connsiteY3" fmla="*/ 3738199 h 5948510"/>
              <a:gd name="connsiteX4" fmla="*/ 3545964 w 3545964"/>
              <a:gd name="connsiteY4" fmla="*/ 3738199 h 5948510"/>
              <a:gd name="connsiteX5" fmla="*/ 3545964 w 3545964"/>
              <a:gd name="connsiteY5" fmla="*/ 4843354 h 5948510"/>
              <a:gd name="connsiteX6" fmla="*/ 3545964 w 3545964"/>
              <a:gd name="connsiteY6" fmla="*/ 4858189 h 5948510"/>
              <a:gd name="connsiteX7" fmla="*/ 3545214 w 3545964"/>
              <a:gd name="connsiteY7" fmla="*/ 4858189 h 5948510"/>
              <a:gd name="connsiteX8" fmla="*/ 3540258 w 3545964"/>
              <a:gd name="connsiteY8" fmla="*/ 4956350 h 5948510"/>
              <a:gd name="connsiteX9" fmla="*/ 2440808 w 3545964"/>
              <a:gd name="connsiteY9" fmla="*/ 5948510 h 5948510"/>
              <a:gd name="connsiteX10" fmla="*/ 1335652 w 3545964"/>
              <a:gd name="connsiteY10" fmla="*/ 4843354 h 5948510"/>
              <a:gd name="connsiteX11" fmla="*/ 2327812 w 3545964"/>
              <a:gd name="connsiteY11" fmla="*/ 3743904 h 5948510"/>
              <a:gd name="connsiteX12" fmla="*/ 2388888 w 3545964"/>
              <a:gd name="connsiteY12" fmla="*/ 3740820 h 5948510"/>
              <a:gd name="connsiteX13" fmla="*/ 1772981 w 3545964"/>
              <a:gd name="connsiteY13" fmla="*/ 0 h 5948510"/>
              <a:gd name="connsiteX14" fmla="*/ 3536810 w 3545964"/>
              <a:gd name="connsiteY14" fmla="*/ 1591706 h 5948510"/>
              <a:gd name="connsiteX15" fmla="*/ 3544762 w 3545964"/>
              <a:gd name="connsiteY15" fmla="*/ 1749184 h 5948510"/>
              <a:gd name="connsiteX16" fmla="*/ 3545964 w 3545964"/>
              <a:gd name="connsiteY16" fmla="*/ 1749184 h 5948510"/>
              <a:gd name="connsiteX17" fmla="*/ 3545964 w 3545964"/>
              <a:gd name="connsiteY17" fmla="*/ 1772983 h 5948510"/>
              <a:gd name="connsiteX18" fmla="*/ 3545964 w 3545964"/>
              <a:gd name="connsiteY18" fmla="*/ 3545964 h 5948510"/>
              <a:gd name="connsiteX19" fmla="*/ 1772998 w 3545964"/>
              <a:gd name="connsiteY19" fmla="*/ 3545964 h 5948510"/>
              <a:gd name="connsiteX20" fmla="*/ 1772982 w 3545964"/>
              <a:gd name="connsiteY20" fmla="*/ 3545965 h 5948510"/>
              <a:gd name="connsiteX21" fmla="*/ 1772964 w 3545964"/>
              <a:gd name="connsiteY21" fmla="*/ 3545964 h 5948510"/>
              <a:gd name="connsiteX22" fmla="*/ 1689688 w 3545964"/>
              <a:gd name="connsiteY22" fmla="*/ 3545964 h 5948510"/>
              <a:gd name="connsiteX23" fmla="*/ 1689688 w 3545964"/>
              <a:gd name="connsiteY23" fmla="*/ 3541759 h 5948510"/>
              <a:gd name="connsiteX24" fmla="*/ 1591706 w 3545964"/>
              <a:gd name="connsiteY24" fmla="*/ 3536812 h 5948510"/>
              <a:gd name="connsiteX25" fmla="*/ 0 w 3545964"/>
              <a:gd name="connsiteY25" fmla="*/ 1772982 h 5948510"/>
              <a:gd name="connsiteX26" fmla="*/ 1772981 w 3545964"/>
              <a:gd name="connsiteY26" fmla="*/ 0 h 5948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545964" h="5948510">
                <a:moveTo>
                  <a:pt x="2388888" y="3738199"/>
                </a:moveTo>
                <a:lnTo>
                  <a:pt x="2440798" y="3738199"/>
                </a:lnTo>
                <a:lnTo>
                  <a:pt x="2440808" y="3738199"/>
                </a:lnTo>
                <a:lnTo>
                  <a:pt x="2440818" y="3738199"/>
                </a:lnTo>
                <a:lnTo>
                  <a:pt x="3545964" y="3738199"/>
                </a:lnTo>
                <a:lnTo>
                  <a:pt x="3545964" y="4843354"/>
                </a:lnTo>
                <a:lnTo>
                  <a:pt x="3545964" y="4858189"/>
                </a:lnTo>
                <a:lnTo>
                  <a:pt x="3545214" y="4858189"/>
                </a:lnTo>
                <a:lnTo>
                  <a:pt x="3540258" y="4956350"/>
                </a:lnTo>
                <a:cubicBezTo>
                  <a:pt x="3483662" y="5513631"/>
                  <a:pt x="3013022" y="5948510"/>
                  <a:pt x="2440808" y="5948510"/>
                </a:cubicBezTo>
                <a:cubicBezTo>
                  <a:pt x="1830448" y="5948510"/>
                  <a:pt x="1335652" y="5453715"/>
                  <a:pt x="1335652" y="4843354"/>
                </a:cubicBezTo>
                <a:cubicBezTo>
                  <a:pt x="1335652" y="4271141"/>
                  <a:pt x="1770530" y="3800500"/>
                  <a:pt x="2327812" y="3743904"/>
                </a:cubicBezTo>
                <a:lnTo>
                  <a:pt x="2388888" y="3740820"/>
                </a:lnTo>
                <a:close/>
                <a:moveTo>
                  <a:pt x="1772981" y="0"/>
                </a:moveTo>
                <a:cubicBezTo>
                  <a:pt x="2690973" y="0"/>
                  <a:pt x="3446016" y="697668"/>
                  <a:pt x="3536810" y="1591706"/>
                </a:cubicBezTo>
                <a:lnTo>
                  <a:pt x="3544762" y="1749184"/>
                </a:lnTo>
                <a:lnTo>
                  <a:pt x="3545964" y="1749184"/>
                </a:lnTo>
                <a:lnTo>
                  <a:pt x="3545964" y="1772983"/>
                </a:lnTo>
                <a:lnTo>
                  <a:pt x="3545964" y="3545964"/>
                </a:lnTo>
                <a:lnTo>
                  <a:pt x="1772998" y="3545964"/>
                </a:lnTo>
                <a:lnTo>
                  <a:pt x="1772982" y="3545965"/>
                </a:lnTo>
                <a:lnTo>
                  <a:pt x="1772964" y="3545964"/>
                </a:lnTo>
                <a:lnTo>
                  <a:pt x="1689688" y="3545964"/>
                </a:lnTo>
                <a:lnTo>
                  <a:pt x="1689688" y="3541759"/>
                </a:lnTo>
                <a:lnTo>
                  <a:pt x="1591706" y="3536812"/>
                </a:lnTo>
                <a:cubicBezTo>
                  <a:pt x="697668" y="3446016"/>
                  <a:pt x="0" y="2690974"/>
                  <a:pt x="0" y="1772982"/>
                </a:cubicBezTo>
                <a:cubicBezTo>
                  <a:pt x="0" y="793791"/>
                  <a:pt x="793790" y="0"/>
                  <a:pt x="17729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06464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BB16BA-0155-46A1-9874-9AB1FD5526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21007" y="1269833"/>
            <a:ext cx="3418030" cy="4878949"/>
          </a:xfrm>
          <a:custGeom>
            <a:avLst/>
            <a:gdLst>
              <a:gd name="connsiteX0" fmla="*/ 1191331 w 3418030"/>
              <a:gd name="connsiteY0" fmla="*/ 0 h 4878949"/>
              <a:gd name="connsiteX1" fmla="*/ 1294432 w 3418030"/>
              <a:gd name="connsiteY1" fmla="*/ 0 h 4878949"/>
              <a:gd name="connsiteX2" fmla="*/ 1457098 w 3418030"/>
              <a:gd name="connsiteY2" fmla="*/ 0 h 4878949"/>
              <a:gd name="connsiteX3" fmla="*/ 1564784 w 3418030"/>
              <a:gd name="connsiteY3" fmla="*/ 0 h 4878949"/>
              <a:gd name="connsiteX4" fmla="*/ 2013538 w 3418030"/>
              <a:gd name="connsiteY4" fmla="*/ 0 h 4878949"/>
              <a:gd name="connsiteX5" fmla="*/ 2038520 w 3418030"/>
              <a:gd name="connsiteY5" fmla="*/ 0 h 4878949"/>
              <a:gd name="connsiteX6" fmla="*/ 2130825 w 3418030"/>
              <a:gd name="connsiteY6" fmla="*/ 0 h 4878949"/>
              <a:gd name="connsiteX7" fmla="*/ 2156238 w 3418030"/>
              <a:gd name="connsiteY7" fmla="*/ 0 h 4878949"/>
              <a:gd name="connsiteX8" fmla="*/ 2221889 w 3418030"/>
              <a:gd name="connsiteY8" fmla="*/ 0 h 4878949"/>
              <a:gd name="connsiteX9" fmla="*/ 2277890 w 3418030"/>
              <a:gd name="connsiteY9" fmla="*/ 0 h 4878949"/>
              <a:gd name="connsiteX10" fmla="*/ 2342770 w 3418030"/>
              <a:gd name="connsiteY10" fmla="*/ 0 h 4878949"/>
              <a:gd name="connsiteX11" fmla="*/ 2399737 w 3418030"/>
              <a:gd name="connsiteY11" fmla="*/ 0 h 4878949"/>
              <a:gd name="connsiteX12" fmla="*/ 2399737 w 3418030"/>
              <a:gd name="connsiteY12" fmla="*/ 1224 h 4878949"/>
              <a:gd name="connsiteX13" fmla="*/ 3278911 w 3418030"/>
              <a:gd name="connsiteY13" fmla="*/ 1224 h 4878949"/>
              <a:gd name="connsiteX14" fmla="*/ 3418030 w 3418030"/>
              <a:gd name="connsiteY14" fmla="*/ 1224 h 4878949"/>
              <a:gd name="connsiteX15" fmla="*/ 3418030 w 3418030"/>
              <a:gd name="connsiteY15" fmla="*/ 70784 h 4878949"/>
              <a:gd name="connsiteX16" fmla="*/ 3418030 w 3418030"/>
              <a:gd name="connsiteY16" fmla="*/ 685938 h 4878949"/>
              <a:gd name="connsiteX17" fmla="*/ 3418030 w 3418030"/>
              <a:gd name="connsiteY17" fmla="*/ 732837 h 4878949"/>
              <a:gd name="connsiteX18" fmla="*/ 3418030 w 3418030"/>
              <a:gd name="connsiteY18" fmla="*/ 755498 h 4878949"/>
              <a:gd name="connsiteX19" fmla="*/ 3418030 w 3418030"/>
              <a:gd name="connsiteY19" fmla="*/ 802397 h 4878949"/>
              <a:gd name="connsiteX20" fmla="*/ 3418030 w 3418030"/>
              <a:gd name="connsiteY20" fmla="*/ 1036312 h 4878949"/>
              <a:gd name="connsiteX21" fmla="*/ 3418030 w 3418030"/>
              <a:gd name="connsiteY21" fmla="*/ 1036923 h 4878949"/>
              <a:gd name="connsiteX22" fmla="*/ 3418030 w 3418030"/>
              <a:gd name="connsiteY22" fmla="*/ 1036933 h 4878949"/>
              <a:gd name="connsiteX23" fmla="*/ 3418030 w 3418030"/>
              <a:gd name="connsiteY23" fmla="*/ 1036943 h 4878949"/>
              <a:gd name="connsiteX24" fmla="*/ 3418030 w 3418030"/>
              <a:gd name="connsiteY24" fmla="*/ 1085589 h 4878949"/>
              <a:gd name="connsiteX25" fmla="*/ 3418030 w 3418030"/>
              <a:gd name="connsiteY25" fmla="*/ 1105871 h 4878949"/>
              <a:gd name="connsiteX26" fmla="*/ 3418030 w 3418030"/>
              <a:gd name="connsiteY26" fmla="*/ 1106482 h 4878949"/>
              <a:gd name="connsiteX27" fmla="*/ 3418030 w 3418030"/>
              <a:gd name="connsiteY27" fmla="*/ 1106491 h 4878949"/>
              <a:gd name="connsiteX28" fmla="*/ 3418030 w 3418030"/>
              <a:gd name="connsiteY28" fmla="*/ 1106501 h 4878949"/>
              <a:gd name="connsiteX29" fmla="*/ 3418030 w 3418030"/>
              <a:gd name="connsiteY29" fmla="*/ 1155149 h 4878949"/>
              <a:gd name="connsiteX30" fmla="*/ 3418030 w 3418030"/>
              <a:gd name="connsiteY30" fmla="*/ 1417551 h 4878949"/>
              <a:gd name="connsiteX31" fmla="*/ 3418030 w 3418030"/>
              <a:gd name="connsiteY31" fmla="*/ 1487111 h 4878949"/>
              <a:gd name="connsiteX32" fmla="*/ 3418030 w 3418030"/>
              <a:gd name="connsiteY32" fmla="*/ 1721026 h 4878949"/>
              <a:gd name="connsiteX33" fmla="*/ 3418030 w 3418030"/>
              <a:gd name="connsiteY33" fmla="*/ 1721637 h 4878949"/>
              <a:gd name="connsiteX34" fmla="*/ 3418030 w 3418030"/>
              <a:gd name="connsiteY34" fmla="*/ 1721646 h 4878949"/>
              <a:gd name="connsiteX35" fmla="*/ 3418030 w 3418030"/>
              <a:gd name="connsiteY35" fmla="*/ 1721657 h 4878949"/>
              <a:gd name="connsiteX36" fmla="*/ 3418030 w 3418030"/>
              <a:gd name="connsiteY36" fmla="*/ 1767925 h 4878949"/>
              <a:gd name="connsiteX37" fmla="*/ 3418030 w 3418030"/>
              <a:gd name="connsiteY37" fmla="*/ 1768536 h 4878949"/>
              <a:gd name="connsiteX38" fmla="*/ 3418030 w 3418030"/>
              <a:gd name="connsiteY38" fmla="*/ 1768546 h 4878949"/>
              <a:gd name="connsiteX39" fmla="*/ 3418030 w 3418030"/>
              <a:gd name="connsiteY39" fmla="*/ 1768556 h 4878949"/>
              <a:gd name="connsiteX40" fmla="*/ 3418030 w 3418030"/>
              <a:gd name="connsiteY40" fmla="*/ 1770303 h 4878949"/>
              <a:gd name="connsiteX41" fmla="*/ 3418030 w 3418030"/>
              <a:gd name="connsiteY41" fmla="*/ 1790585 h 4878949"/>
              <a:gd name="connsiteX42" fmla="*/ 3418030 w 3418030"/>
              <a:gd name="connsiteY42" fmla="*/ 1791196 h 4878949"/>
              <a:gd name="connsiteX43" fmla="*/ 3418030 w 3418030"/>
              <a:gd name="connsiteY43" fmla="*/ 1791205 h 4878949"/>
              <a:gd name="connsiteX44" fmla="*/ 3418030 w 3418030"/>
              <a:gd name="connsiteY44" fmla="*/ 1791215 h 4878949"/>
              <a:gd name="connsiteX45" fmla="*/ 3418030 w 3418030"/>
              <a:gd name="connsiteY45" fmla="*/ 1817203 h 4878949"/>
              <a:gd name="connsiteX46" fmla="*/ 3418030 w 3418030"/>
              <a:gd name="connsiteY46" fmla="*/ 1837484 h 4878949"/>
              <a:gd name="connsiteX47" fmla="*/ 3418030 w 3418030"/>
              <a:gd name="connsiteY47" fmla="*/ 1838095 h 4878949"/>
              <a:gd name="connsiteX48" fmla="*/ 3418030 w 3418030"/>
              <a:gd name="connsiteY48" fmla="*/ 1838105 h 4878949"/>
              <a:gd name="connsiteX49" fmla="*/ 3418030 w 3418030"/>
              <a:gd name="connsiteY49" fmla="*/ 1838115 h 4878949"/>
              <a:gd name="connsiteX50" fmla="*/ 3418030 w 3418030"/>
              <a:gd name="connsiteY50" fmla="*/ 1839863 h 4878949"/>
              <a:gd name="connsiteX51" fmla="*/ 3418030 w 3418030"/>
              <a:gd name="connsiteY51" fmla="*/ 1886762 h 4878949"/>
              <a:gd name="connsiteX52" fmla="*/ 3418030 w 3418030"/>
              <a:gd name="connsiteY52" fmla="*/ 2452639 h 4878949"/>
              <a:gd name="connsiteX53" fmla="*/ 3418030 w 3418030"/>
              <a:gd name="connsiteY53" fmla="*/ 2453250 h 4878949"/>
              <a:gd name="connsiteX54" fmla="*/ 3418030 w 3418030"/>
              <a:gd name="connsiteY54" fmla="*/ 2453260 h 4878949"/>
              <a:gd name="connsiteX55" fmla="*/ 3418030 w 3418030"/>
              <a:gd name="connsiteY55" fmla="*/ 2453270 h 4878949"/>
              <a:gd name="connsiteX56" fmla="*/ 3418030 w 3418030"/>
              <a:gd name="connsiteY56" fmla="*/ 2501917 h 4878949"/>
              <a:gd name="connsiteX57" fmla="*/ 3418030 w 3418030"/>
              <a:gd name="connsiteY57" fmla="*/ 2522198 h 4878949"/>
              <a:gd name="connsiteX58" fmla="*/ 3418030 w 3418030"/>
              <a:gd name="connsiteY58" fmla="*/ 2522809 h 4878949"/>
              <a:gd name="connsiteX59" fmla="*/ 3418030 w 3418030"/>
              <a:gd name="connsiteY59" fmla="*/ 2522819 h 4878949"/>
              <a:gd name="connsiteX60" fmla="*/ 3418030 w 3418030"/>
              <a:gd name="connsiteY60" fmla="*/ 2522830 h 4878949"/>
              <a:gd name="connsiteX61" fmla="*/ 3418030 w 3418030"/>
              <a:gd name="connsiteY61" fmla="*/ 2571476 h 4878949"/>
              <a:gd name="connsiteX62" fmla="*/ 3415609 w 3418030"/>
              <a:gd name="connsiteY62" fmla="*/ 2571476 h 4878949"/>
              <a:gd name="connsiteX63" fmla="*/ 3413143 w 3418030"/>
              <a:gd name="connsiteY63" fmla="*/ 2621619 h 4878949"/>
              <a:gd name="connsiteX64" fmla="*/ 3412693 w 3418030"/>
              <a:gd name="connsiteY64" fmla="*/ 2624661 h 4878949"/>
              <a:gd name="connsiteX65" fmla="*/ 3412480 w 3418030"/>
              <a:gd name="connsiteY65" fmla="*/ 2628713 h 4878949"/>
              <a:gd name="connsiteX66" fmla="*/ 3377025 w 3418030"/>
              <a:gd name="connsiteY66" fmla="*/ 2807125 h 4878949"/>
              <a:gd name="connsiteX67" fmla="*/ 3375576 w 3418030"/>
              <a:gd name="connsiteY67" fmla="*/ 2811322 h 4878949"/>
              <a:gd name="connsiteX68" fmla="*/ 3375395 w 3418030"/>
              <a:gd name="connsiteY68" fmla="*/ 2812045 h 4878949"/>
              <a:gd name="connsiteX69" fmla="*/ 3372842 w 3418030"/>
              <a:gd name="connsiteY69" fmla="*/ 2819247 h 4878949"/>
              <a:gd name="connsiteX70" fmla="*/ 3347771 w 3418030"/>
              <a:gd name="connsiteY70" fmla="*/ 2891903 h 4878949"/>
              <a:gd name="connsiteX71" fmla="*/ 3344429 w 3418030"/>
              <a:gd name="connsiteY71" fmla="*/ 2899360 h 4878949"/>
              <a:gd name="connsiteX72" fmla="*/ 3343424 w 3418030"/>
              <a:gd name="connsiteY72" fmla="*/ 2902194 h 4878949"/>
              <a:gd name="connsiteX73" fmla="*/ 3336294 w 3418030"/>
              <a:gd name="connsiteY73" fmla="*/ 2917516 h 4878949"/>
              <a:gd name="connsiteX74" fmla="*/ 3311321 w 3418030"/>
              <a:gd name="connsiteY74" fmla="*/ 2973257 h 4878949"/>
              <a:gd name="connsiteX75" fmla="*/ 3305517 w 3418030"/>
              <a:gd name="connsiteY75" fmla="*/ 2983659 h 4878949"/>
              <a:gd name="connsiteX76" fmla="*/ 3303314 w 3418030"/>
              <a:gd name="connsiteY76" fmla="*/ 2988394 h 4878949"/>
              <a:gd name="connsiteX77" fmla="*/ 3293601 w 3418030"/>
              <a:gd name="connsiteY77" fmla="*/ 3005019 h 4878949"/>
              <a:gd name="connsiteX78" fmla="*/ 3268042 w 3418030"/>
              <a:gd name="connsiteY78" fmla="*/ 3050833 h 4878949"/>
              <a:gd name="connsiteX79" fmla="*/ 3259248 w 3418030"/>
              <a:gd name="connsiteY79" fmla="*/ 3063817 h 4878949"/>
              <a:gd name="connsiteX80" fmla="*/ 3255513 w 3418030"/>
              <a:gd name="connsiteY80" fmla="*/ 3070215 h 4878949"/>
              <a:gd name="connsiteX81" fmla="*/ 3244196 w 3418030"/>
              <a:gd name="connsiteY81" fmla="*/ 3086045 h 4878949"/>
              <a:gd name="connsiteX82" fmla="*/ 3218302 w 3418030"/>
              <a:gd name="connsiteY82" fmla="*/ 3124280 h 4878949"/>
              <a:gd name="connsiteX83" fmla="*/ 3206037 w 3418030"/>
              <a:gd name="connsiteY83" fmla="*/ 3139430 h 4878949"/>
              <a:gd name="connsiteX84" fmla="*/ 3200464 w 3418030"/>
              <a:gd name="connsiteY84" fmla="*/ 3147227 h 4878949"/>
              <a:gd name="connsiteX85" fmla="*/ 3188229 w 3418030"/>
              <a:gd name="connsiteY85" fmla="*/ 3161424 h 4878949"/>
              <a:gd name="connsiteX86" fmla="*/ 3162468 w 3418030"/>
              <a:gd name="connsiteY86" fmla="*/ 3193243 h 4878949"/>
              <a:gd name="connsiteX87" fmla="*/ 3146287 w 3418030"/>
              <a:gd name="connsiteY87" fmla="*/ 3210097 h 4878949"/>
              <a:gd name="connsiteX88" fmla="*/ 3138613 w 3418030"/>
              <a:gd name="connsiteY88" fmla="*/ 3219003 h 4878949"/>
              <a:gd name="connsiteX89" fmla="*/ 3126010 w 3418030"/>
              <a:gd name="connsiteY89" fmla="*/ 3231219 h 4878949"/>
              <a:gd name="connsiteX90" fmla="*/ 3100905 w 3418030"/>
              <a:gd name="connsiteY90" fmla="*/ 3257369 h 4878949"/>
              <a:gd name="connsiteX91" fmla="*/ 3080407 w 3418030"/>
              <a:gd name="connsiteY91" fmla="*/ 3275420 h 4878949"/>
              <a:gd name="connsiteX92" fmla="*/ 3070407 w 3418030"/>
              <a:gd name="connsiteY92" fmla="*/ 3285113 h 4878949"/>
              <a:gd name="connsiteX93" fmla="*/ 3057904 w 3418030"/>
              <a:gd name="connsiteY93" fmla="*/ 3295236 h 4878949"/>
              <a:gd name="connsiteX94" fmla="*/ 3033981 w 3418030"/>
              <a:gd name="connsiteY94" fmla="*/ 3316304 h 4878949"/>
              <a:gd name="connsiteX95" fmla="*/ 3008795 w 3418030"/>
              <a:gd name="connsiteY95" fmla="*/ 3335002 h 4878949"/>
              <a:gd name="connsiteX96" fmla="*/ 2996290 w 3418030"/>
              <a:gd name="connsiteY96" fmla="*/ 3345128 h 4878949"/>
              <a:gd name="connsiteX97" fmla="*/ 2984301 w 3418030"/>
              <a:gd name="connsiteY97" fmla="*/ 3353185 h 4878949"/>
              <a:gd name="connsiteX98" fmla="*/ 2962062 w 3418030"/>
              <a:gd name="connsiteY98" fmla="*/ 3369695 h 4878949"/>
              <a:gd name="connsiteX99" fmla="*/ 2931835 w 3418030"/>
              <a:gd name="connsiteY99" fmla="*/ 3388450 h 4878949"/>
              <a:gd name="connsiteX100" fmla="*/ 2916709 w 3418030"/>
              <a:gd name="connsiteY100" fmla="*/ 3398618 h 4878949"/>
              <a:gd name="connsiteX101" fmla="*/ 2905603 w 3418030"/>
              <a:gd name="connsiteY101" fmla="*/ 3404726 h 4878949"/>
              <a:gd name="connsiteX102" fmla="*/ 2885517 w 3418030"/>
              <a:gd name="connsiteY102" fmla="*/ 3417189 h 4878949"/>
              <a:gd name="connsiteX103" fmla="*/ 2849882 w 3418030"/>
              <a:gd name="connsiteY103" fmla="*/ 3435375 h 4878949"/>
              <a:gd name="connsiteX104" fmla="*/ 2832108 w 3418030"/>
              <a:gd name="connsiteY104" fmla="*/ 3445153 h 4878949"/>
              <a:gd name="connsiteX105" fmla="*/ 2822219 w 3418030"/>
              <a:gd name="connsiteY105" fmla="*/ 3449494 h 4878949"/>
              <a:gd name="connsiteX106" fmla="*/ 2804710 w 3418030"/>
              <a:gd name="connsiteY106" fmla="*/ 3458432 h 4878949"/>
              <a:gd name="connsiteX107" fmla="*/ 2763233 w 3418030"/>
              <a:gd name="connsiteY107" fmla="*/ 3475393 h 4878949"/>
              <a:gd name="connsiteX108" fmla="*/ 2742933 w 3418030"/>
              <a:gd name="connsiteY108" fmla="*/ 3484308 h 4878949"/>
              <a:gd name="connsiteX109" fmla="*/ 2734565 w 3418030"/>
              <a:gd name="connsiteY109" fmla="*/ 3487117 h 4878949"/>
              <a:gd name="connsiteX110" fmla="*/ 2720010 w 3418030"/>
              <a:gd name="connsiteY110" fmla="*/ 3493070 h 4878949"/>
              <a:gd name="connsiteX111" fmla="*/ 2672049 w 3418030"/>
              <a:gd name="connsiteY111" fmla="*/ 3508117 h 4878949"/>
              <a:gd name="connsiteX112" fmla="*/ 2649630 w 3418030"/>
              <a:gd name="connsiteY112" fmla="*/ 3515648 h 4878949"/>
              <a:gd name="connsiteX113" fmla="*/ 2643052 w 3418030"/>
              <a:gd name="connsiteY113" fmla="*/ 3517214 h 4878949"/>
              <a:gd name="connsiteX114" fmla="*/ 2631783 w 3418030"/>
              <a:gd name="connsiteY114" fmla="*/ 3520749 h 4878949"/>
              <a:gd name="connsiteX115" fmla="*/ 2576079 w 3418030"/>
              <a:gd name="connsiteY115" fmla="*/ 3533167 h 4878949"/>
              <a:gd name="connsiteX116" fmla="*/ 2552643 w 3418030"/>
              <a:gd name="connsiteY116" fmla="*/ 3538747 h 4878949"/>
              <a:gd name="connsiteX117" fmla="*/ 2548104 w 3418030"/>
              <a:gd name="connsiteY117" fmla="*/ 3539401 h 4878949"/>
              <a:gd name="connsiteX118" fmla="*/ 2540397 w 3418030"/>
              <a:gd name="connsiteY118" fmla="*/ 3541118 h 4878949"/>
              <a:gd name="connsiteX119" fmla="*/ 2473383 w 3418030"/>
              <a:gd name="connsiteY119" fmla="*/ 3550158 h 4878949"/>
              <a:gd name="connsiteX120" fmla="*/ 2452420 w 3418030"/>
              <a:gd name="connsiteY120" fmla="*/ 3553176 h 4878949"/>
              <a:gd name="connsiteX121" fmla="*/ 2450212 w 3418030"/>
              <a:gd name="connsiteY121" fmla="*/ 3553284 h 4878949"/>
              <a:gd name="connsiteX122" fmla="*/ 2446216 w 3418030"/>
              <a:gd name="connsiteY122" fmla="*/ 3553824 h 4878949"/>
              <a:gd name="connsiteX123" fmla="*/ 2399737 w 3418030"/>
              <a:gd name="connsiteY123" fmla="*/ 3555943 h 4878949"/>
              <a:gd name="connsiteX124" fmla="*/ 2399737 w 3418030"/>
              <a:gd name="connsiteY124" fmla="*/ 3558529 h 4878949"/>
              <a:gd name="connsiteX125" fmla="*/ 2366297 w 3418030"/>
              <a:gd name="connsiteY125" fmla="*/ 3558529 h 4878949"/>
              <a:gd name="connsiteX126" fmla="*/ 2350286 w 3418030"/>
              <a:gd name="connsiteY126" fmla="*/ 3560726 h 4878949"/>
              <a:gd name="connsiteX127" fmla="*/ 2329679 w 3418030"/>
              <a:gd name="connsiteY127" fmla="*/ 3563743 h 4878949"/>
              <a:gd name="connsiteX128" fmla="*/ 2327509 w 3418030"/>
              <a:gd name="connsiteY128" fmla="*/ 3563851 h 4878949"/>
              <a:gd name="connsiteX129" fmla="*/ 2323580 w 3418030"/>
              <a:gd name="connsiteY129" fmla="*/ 3564391 h 4878949"/>
              <a:gd name="connsiteX130" fmla="*/ 2277890 w 3418030"/>
              <a:gd name="connsiteY130" fmla="*/ 3566510 h 4878949"/>
              <a:gd name="connsiteX131" fmla="*/ 2277890 w 3418030"/>
              <a:gd name="connsiteY131" fmla="*/ 3569096 h 4878949"/>
              <a:gd name="connsiteX132" fmla="*/ 2235765 w 3418030"/>
              <a:gd name="connsiteY132" fmla="*/ 3569096 h 4878949"/>
              <a:gd name="connsiteX133" fmla="*/ 2222205 w 3418030"/>
              <a:gd name="connsiteY133" fmla="*/ 3569096 h 4878949"/>
              <a:gd name="connsiteX134" fmla="*/ 2221889 w 3418030"/>
              <a:gd name="connsiteY134" fmla="*/ 3569096 h 4878949"/>
              <a:gd name="connsiteX135" fmla="*/ 2221889 w 3418030"/>
              <a:gd name="connsiteY135" fmla="*/ 3570333 h 4878949"/>
              <a:gd name="connsiteX136" fmla="*/ 2038520 w 3418030"/>
              <a:gd name="connsiteY136" fmla="*/ 3570333 h 4878949"/>
              <a:gd name="connsiteX137" fmla="*/ 2013539 w 3418030"/>
              <a:gd name="connsiteY137" fmla="*/ 3570333 h 4878949"/>
              <a:gd name="connsiteX138" fmla="*/ 1650818 w 3418030"/>
              <a:gd name="connsiteY138" fmla="*/ 3570333 h 4878949"/>
              <a:gd name="connsiteX139" fmla="*/ 1650818 w 3418030"/>
              <a:gd name="connsiteY139" fmla="*/ 3570744 h 4878949"/>
              <a:gd name="connsiteX140" fmla="*/ 1652012 w 3418030"/>
              <a:gd name="connsiteY140" fmla="*/ 3570744 h 4878949"/>
              <a:gd name="connsiteX141" fmla="*/ 1652012 w 3418030"/>
              <a:gd name="connsiteY141" fmla="*/ 3571721 h 4878949"/>
              <a:gd name="connsiteX142" fmla="*/ 1671221 w 3418030"/>
              <a:gd name="connsiteY142" fmla="*/ 3572716 h 4878949"/>
              <a:gd name="connsiteX143" fmla="*/ 1672387 w 3418030"/>
              <a:gd name="connsiteY143" fmla="*/ 3572898 h 4878949"/>
              <a:gd name="connsiteX144" fmla="*/ 1673940 w 3418030"/>
              <a:gd name="connsiteY144" fmla="*/ 3572984 h 4878949"/>
              <a:gd name="connsiteX145" fmla="*/ 1742290 w 3418030"/>
              <a:gd name="connsiteY145" fmla="*/ 3587296 h 4878949"/>
              <a:gd name="connsiteX146" fmla="*/ 1743898 w 3418030"/>
              <a:gd name="connsiteY146" fmla="*/ 3587880 h 4878949"/>
              <a:gd name="connsiteX147" fmla="*/ 1744176 w 3418030"/>
              <a:gd name="connsiteY147" fmla="*/ 3587953 h 4878949"/>
              <a:gd name="connsiteX148" fmla="*/ 1746934 w 3418030"/>
              <a:gd name="connsiteY148" fmla="*/ 3588984 h 4878949"/>
              <a:gd name="connsiteX149" fmla="*/ 1774769 w 3418030"/>
              <a:gd name="connsiteY149" fmla="*/ 3599104 h 4878949"/>
              <a:gd name="connsiteX150" fmla="*/ 1777626 w 3418030"/>
              <a:gd name="connsiteY150" fmla="*/ 3600453 h 4878949"/>
              <a:gd name="connsiteX151" fmla="*/ 1778712 w 3418030"/>
              <a:gd name="connsiteY151" fmla="*/ 3600858 h 4878949"/>
              <a:gd name="connsiteX152" fmla="*/ 1784582 w 3418030"/>
              <a:gd name="connsiteY152" fmla="*/ 3603737 h 4878949"/>
              <a:gd name="connsiteX153" fmla="*/ 1805936 w 3418030"/>
              <a:gd name="connsiteY153" fmla="*/ 3613817 h 4878949"/>
              <a:gd name="connsiteX154" fmla="*/ 1809922 w 3418030"/>
              <a:gd name="connsiteY154" fmla="*/ 3616160 h 4878949"/>
              <a:gd name="connsiteX155" fmla="*/ 1811736 w 3418030"/>
              <a:gd name="connsiteY155" fmla="*/ 3617049 h 4878949"/>
              <a:gd name="connsiteX156" fmla="*/ 1818105 w 3418030"/>
              <a:gd name="connsiteY156" fmla="*/ 3620970 h 4878949"/>
              <a:gd name="connsiteX157" fmla="*/ 1835657 w 3418030"/>
              <a:gd name="connsiteY157" fmla="*/ 3631287 h 4878949"/>
              <a:gd name="connsiteX158" fmla="*/ 1840631 w 3418030"/>
              <a:gd name="connsiteY158" fmla="*/ 3634836 h 4878949"/>
              <a:gd name="connsiteX159" fmla="*/ 1843082 w 3418030"/>
              <a:gd name="connsiteY159" fmla="*/ 3636344 h 4878949"/>
              <a:gd name="connsiteX160" fmla="*/ 1849146 w 3418030"/>
              <a:gd name="connsiteY160" fmla="*/ 3640912 h 4878949"/>
              <a:gd name="connsiteX161" fmla="*/ 1863794 w 3418030"/>
              <a:gd name="connsiteY161" fmla="*/ 3651364 h 4878949"/>
              <a:gd name="connsiteX162" fmla="*/ 1869598 w 3418030"/>
              <a:gd name="connsiteY162" fmla="*/ 3656316 h 4878949"/>
              <a:gd name="connsiteX163" fmla="*/ 1872586 w 3418030"/>
              <a:gd name="connsiteY163" fmla="*/ 3658565 h 4878949"/>
              <a:gd name="connsiteX164" fmla="*/ 1878025 w 3418030"/>
              <a:gd name="connsiteY164" fmla="*/ 3663504 h 4878949"/>
              <a:gd name="connsiteX165" fmla="*/ 1890215 w 3418030"/>
              <a:gd name="connsiteY165" fmla="*/ 3673902 h 4878949"/>
              <a:gd name="connsiteX166" fmla="*/ 1896672 w 3418030"/>
              <a:gd name="connsiteY166" fmla="*/ 3680434 h 4878949"/>
              <a:gd name="connsiteX167" fmla="*/ 1900084 w 3418030"/>
              <a:gd name="connsiteY167" fmla="*/ 3683531 h 4878949"/>
              <a:gd name="connsiteX168" fmla="*/ 1904763 w 3418030"/>
              <a:gd name="connsiteY168" fmla="*/ 3688618 h 4878949"/>
              <a:gd name="connsiteX169" fmla="*/ 1914782 w 3418030"/>
              <a:gd name="connsiteY169" fmla="*/ 3698752 h 4878949"/>
              <a:gd name="connsiteX170" fmla="*/ 1921697 w 3418030"/>
              <a:gd name="connsiteY170" fmla="*/ 3707026 h 4878949"/>
              <a:gd name="connsiteX171" fmla="*/ 1925411 w 3418030"/>
              <a:gd name="connsiteY171" fmla="*/ 3711062 h 4878949"/>
              <a:gd name="connsiteX172" fmla="*/ 1929289 w 3418030"/>
              <a:gd name="connsiteY172" fmla="*/ 3716109 h 4878949"/>
              <a:gd name="connsiteX173" fmla="*/ 1937360 w 3418030"/>
              <a:gd name="connsiteY173" fmla="*/ 3725766 h 4878949"/>
              <a:gd name="connsiteX174" fmla="*/ 1944523 w 3418030"/>
              <a:gd name="connsiteY174" fmla="*/ 3735932 h 4878949"/>
              <a:gd name="connsiteX175" fmla="*/ 1948403 w 3418030"/>
              <a:gd name="connsiteY175" fmla="*/ 3740980 h 4878949"/>
              <a:gd name="connsiteX176" fmla="*/ 1951490 w 3418030"/>
              <a:gd name="connsiteY176" fmla="*/ 3745819 h 4878949"/>
              <a:gd name="connsiteX177" fmla="*/ 1957815 w 3418030"/>
              <a:gd name="connsiteY177" fmla="*/ 3754796 h 4878949"/>
              <a:gd name="connsiteX178" fmla="*/ 1965000 w 3418030"/>
              <a:gd name="connsiteY178" fmla="*/ 3766998 h 4878949"/>
              <a:gd name="connsiteX179" fmla="*/ 1968895 w 3418030"/>
              <a:gd name="connsiteY179" fmla="*/ 3773103 h 4878949"/>
              <a:gd name="connsiteX180" fmla="*/ 1971236 w 3418030"/>
              <a:gd name="connsiteY180" fmla="*/ 3777586 h 4878949"/>
              <a:gd name="connsiteX181" fmla="*/ 1976010 w 3418030"/>
              <a:gd name="connsiteY181" fmla="*/ 3785694 h 4878949"/>
              <a:gd name="connsiteX182" fmla="*/ 1982978 w 3418030"/>
              <a:gd name="connsiteY182" fmla="*/ 3800078 h 4878949"/>
              <a:gd name="connsiteX183" fmla="*/ 1986724 w 3418030"/>
              <a:gd name="connsiteY183" fmla="*/ 3807252 h 4878949"/>
              <a:gd name="connsiteX184" fmla="*/ 1988387 w 3418030"/>
              <a:gd name="connsiteY184" fmla="*/ 3811244 h 4878949"/>
              <a:gd name="connsiteX185" fmla="*/ 1991811 w 3418030"/>
              <a:gd name="connsiteY185" fmla="*/ 3818312 h 4878949"/>
              <a:gd name="connsiteX186" fmla="*/ 1998309 w 3418030"/>
              <a:gd name="connsiteY186" fmla="*/ 3835054 h 4878949"/>
              <a:gd name="connsiteX187" fmla="*/ 2001724 w 3418030"/>
              <a:gd name="connsiteY187" fmla="*/ 3843248 h 4878949"/>
              <a:gd name="connsiteX188" fmla="*/ 2002801 w 3418030"/>
              <a:gd name="connsiteY188" fmla="*/ 3846626 h 4878949"/>
              <a:gd name="connsiteX189" fmla="*/ 2005081 w 3418030"/>
              <a:gd name="connsiteY189" fmla="*/ 3852501 h 4878949"/>
              <a:gd name="connsiteX190" fmla="*/ 2010846 w 3418030"/>
              <a:gd name="connsiteY190" fmla="*/ 3871861 h 4878949"/>
              <a:gd name="connsiteX191" fmla="*/ 2013730 w 3418030"/>
              <a:gd name="connsiteY191" fmla="*/ 3880910 h 4878949"/>
              <a:gd name="connsiteX192" fmla="*/ 2014331 w 3418030"/>
              <a:gd name="connsiteY192" fmla="*/ 3883565 h 4878949"/>
              <a:gd name="connsiteX193" fmla="*/ 2015685 w 3418030"/>
              <a:gd name="connsiteY193" fmla="*/ 3888114 h 4878949"/>
              <a:gd name="connsiteX194" fmla="*/ 2020442 w 3418030"/>
              <a:gd name="connsiteY194" fmla="*/ 3910600 h 4878949"/>
              <a:gd name="connsiteX195" fmla="*/ 2020535 w 3418030"/>
              <a:gd name="connsiteY195" fmla="*/ 3911014 h 4878949"/>
              <a:gd name="connsiteX196" fmla="*/ 2021162 w 3418030"/>
              <a:gd name="connsiteY196" fmla="*/ 3911014 h 4878949"/>
              <a:gd name="connsiteX197" fmla="*/ 2023207 w 3418030"/>
              <a:gd name="connsiteY197" fmla="*/ 3922096 h 4878949"/>
              <a:gd name="connsiteX198" fmla="*/ 2023457 w 3418030"/>
              <a:gd name="connsiteY198" fmla="*/ 3924341 h 4878949"/>
              <a:gd name="connsiteX199" fmla="*/ 2024115 w 3418030"/>
              <a:gd name="connsiteY199" fmla="*/ 3928152 h 4878949"/>
              <a:gd name="connsiteX200" fmla="*/ 2027578 w 3418030"/>
              <a:gd name="connsiteY200" fmla="*/ 3961293 h 4878949"/>
              <a:gd name="connsiteX201" fmla="*/ 2028734 w 3418030"/>
              <a:gd name="connsiteY201" fmla="*/ 3971660 h 4878949"/>
              <a:gd name="connsiteX202" fmla="*/ 2028775 w 3418030"/>
              <a:gd name="connsiteY202" fmla="*/ 3972751 h 4878949"/>
              <a:gd name="connsiteX203" fmla="*/ 2028982 w 3418030"/>
              <a:gd name="connsiteY203" fmla="*/ 3974727 h 4878949"/>
              <a:gd name="connsiteX204" fmla="*/ 2029794 w 3418030"/>
              <a:gd name="connsiteY204" fmla="*/ 3997713 h 4878949"/>
              <a:gd name="connsiteX205" fmla="*/ 2030784 w 3418030"/>
              <a:gd name="connsiteY205" fmla="*/ 3997713 h 4878949"/>
              <a:gd name="connsiteX206" fmla="*/ 2030784 w 3418030"/>
              <a:gd name="connsiteY206" fmla="*/ 4018905 h 4878949"/>
              <a:gd name="connsiteX207" fmla="*/ 2030784 w 3418030"/>
              <a:gd name="connsiteY207" fmla="*/ 4025726 h 4878949"/>
              <a:gd name="connsiteX208" fmla="*/ 2030784 w 3418030"/>
              <a:gd name="connsiteY208" fmla="*/ 4025885 h 4878949"/>
              <a:gd name="connsiteX209" fmla="*/ 2030784 w 3418030"/>
              <a:gd name="connsiteY209" fmla="*/ 4025886 h 4878949"/>
              <a:gd name="connsiteX210" fmla="*/ 2031258 w 3418030"/>
              <a:gd name="connsiteY210" fmla="*/ 4025886 h 4878949"/>
              <a:gd name="connsiteX211" fmla="*/ 2031258 w 3418030"/>
              <a:gd name="connsiteY211" fmla="*/ 4065384 h 4878949"/>
              <a:gd name="connsiteX212" fmla="*/ 2031258 w 3418030"/>
              <a:gd name="connsiteY212" fmla="*/ 4127703 h 4878949"/>
              <a:gd name="connsiteX213" fmla="*/ 2031258 w 3418030"/>
              <a:gd name="connsiteY213" fmla="*/ 4168958 h 4878949"/>
              <a:gd name="connsiteX214" fmla="*/ 2031258 w 3418030"/>
              <a:gd name="connsiteY214" fmla="*/ 4340879 h 4878949"/>
              <a:gd name="connsiteX215" fmla="*/ 2031258 w 3418030"/>
              <a:gd name="connsiteY215" fmla="*/ 4350450 h 4878949"/>
              <a:gd name="connsiteX216" fmla="*/ 2031258 w 3418030"/>
              <a:gd name="connsiteY216" fmla="*/ 4385812 h 4878949"/>
              <a:gd name="connsiteX217" fmla="*/ 2031258 w 3418030"/>
              <a:gd name="connsiteY217" fmla="*/ 4395548 h 4878949"/>
              <a:gd name="connsiteX218" fmla="*/ 2031258 w 3418030"/>
              <a:gd name="connsiteY218" fmla="*/ 4420700 h 4878949"/>
              <a:gd name="connsiteX219" fmla="*/ 2031258 w 3418030"/>
              <a:gd name="connsiteY219" fmla="*/ 4442154 h 4878949"/>
              <a:gd name="connsiteX220" fmla="*/ 2031258 w 3418030"/>
              <a:gd name="connsiteY220" fmla="*/ 4467010 h 4878949"/>
              <a:gd name="connsiteX221" fmla="*/ 2031258 w 3418030"/>
              <a:gd name="connsiteY221" fmla="*/ 4488834 h 4878949"/>
              <a:gd name="connsiteX222" fmla="*/ 2030789 w 3418030"/>
              <a:gd name="connsiteY222" fmla="*/ 4488834 h 4878949"/>
              <a:gd name="connsiteX223" fmla="*/ 2030789 w 3418030"/>
              <a:gd name="connsiteY223" fmla="*/ 4825652 h 4878949"/>
              <a:gd name="connsiteX224" fmla="*/ 2030789 w 3418030"/>
              <a:gd name="connsiteY224" fmla="*/ 4878949 h 4878949"/>
              <a:gd name="connsiteX225" fmla="*/ 2004140 w 3418030"/>
              <a:gd name="connsiteY225" fmla="*/ 4878949 h 4878949"/>
              <a:gd name="connsiteX226" fmla="*/ 1768470 w 3418030"/>
              <a:gd name="connsiteY226" fmla="*/ 4878949 h 4878949"/>
              <a:gd name="connsiteX227" fmla="*/ 1750503 w 3418030"/>
              <a:gd name="connsiteY227" fmla="*/ 4878949 h 4878949"/>
              <a:gd name="connsiteX228" fmla="*/ 1741822 w 3418030"/>
              <a:gd name="connsiteY228" fmla="*/ 4878949 h 4878949"/>
              <a:gd name="connsiteX229" fmla="*/ 1723854 w 3418030"/>
              <a:gd name="connsiteY229" fmla="*/ 4878949 h 4878949"/>
              <a:gd name="connsiteX230" fmla="*/ 1634240 w 3418030"/>
              <a:gd name="connsiteY230" fmla="*/ 4878949 h 4878949"/>
              <a:gd name="connsiteX231" fmla="*/ 1634005 w 3418030"/>
              <a:gd name="connsiteY231" fmla="*/ 4878949 h 4878949"/>
              <a:gd name="connsiteX232" fmla="*/ 1634002 w 3418030"/>
              <a:gd name="connsiteY232" fmla="*/ 4878949 h 4878949"/>
              <a:gd name="connsiteX233" fmla="*/ 1633998 w 3418030"/>
              <a:gd name="connsiteY233" fmla="*/ 4878949 h 4878949"/>
              <a:gd name="connsiteX234" fmla="*/ 1615361 w 3418030"/>
              <a:gd name="connsiteY234" fmla="*/ 4878949 h 4878949"/>
              <a:gd name="connsiteX235" fmla="*/ 1607591 w 3418030"/>
              <a:gd name="connsiteY235" fmla="*/ 4878949 h 4878949"/>
              <a:gd name="connsiteX236" fmla="*/ 1607357 w 3418030"/>
              <a:gd name="connsiteY236" fmla="*/ 4878949 h 4878949"/>
              <a:gd name="connsiteX237" fmla="*/ 1607354 w 3418030"/>
              <a:gd name="connsiteY237" fmla="*/ 4878949 h 4878949"/>
              <a:gd name="connsiteX238" fmla="*/ 1607350 w 3418030"/>
              <a:gd name="connsiteY238" fmla="*/ 4878949 h 4878949"/>
              <a:gd name="connsiteX239" fmla="*/ 1588712 w 3418030"/>
              <a:gd name="connsiteY239" fmla="*/ 4878949 h 4878949"/>
              <a:gd name="connsiteX240" fmla="*/ 1488184 w 3418030"/>
              <a:gd name="connsiteY240" fmla="*/ 4878949 h 4878949"/>
              <a:gd name="connsiteX241" fmla="*/ 1461535 w 3418030"/>
              <a:gd name="connsiteY241" fmla="*/ 4878949 h 4878949"/>
              <a:gd name="connsiteX242" fmla="*/ 1371921 w 3418030"/>
              <a:gd name="connsiteY242" fmla="*/ 4878949 h 4878949"/>
              <a:gd name="connsiteX243" fmla="*/ 1371687 w 3418030"/>
              <a:gd name="connsiteY243" fmla="*/ 4878949 h 4878949"/>
              <a:gd name="connsiteX244" fmla="*/ 1371683 w 3418030"/>
              <a:gd name="connsiteY244" fmla="*/ 4878949 h 4878949"/>
              <a:gd name="connsiteX245" fmla="*/ 1371679 w 3418030"/>
              <a:gd name="connsiteY245" fmla="*/ 4878949 h 4878949"/>
              <a:gd name="connsiteX246" fmla="*/ 1367507 w 3418030"/>
              <a:gd name="connsiteY246" fmla="*/ 4878949 h 4878949"/>
              <a:gd name="connsiteX247" fmla="*/ 1353954 w 3418030"/>
              <a:gd name="connsiteY247" fmla="*/ 4878949 h 4878949"/>
              <a:gd name="connsiteX248" fmla="*/ 1353719 w 3418030"/>
              <a:gd name="connsiteY248" fmla="*/ 4878949 h 4878949"/>
              <a:gd name="connsiteX249" fmla="*/ 1353716 w 3418030"/>
              <a:gd name="connsiteY249" fmla="*/ 4878949 h 4878949"/>
              <a:gd name="connsiteX250" fmla="*/ 1353712 w 3418030"/>
              <a:gd name="connsiteY250" fmla="*/ 4878949 h 4878949"/>
              <a:gd name="connsiteX251" fmla="*/ 1353043 w 3418030"/>
              <a:gd name="connsiteY251" fmla="*/ 4878949 h 4878949"/>
              <a:gd name="connsiteX252" fmla="*/ 1345272 w 3418030"/>
              <a:gd name="connsiteY252" fmla="*/ 4878949 h 4878949"/>
              <a:gd name="connsiteX253" fmla="*/ 1345038 w 3418030"/>
              <a:gd name="connsiteY253" fmla="*/ 4878949 h 4878949"/>
              <a:gd name="connsiteX254" fmla="*/ 1345035 w 3418030"/>
              <a:gd name="connsiteY254" fmla="*/ 4878949 h 4878949"/>
              <a:gd name="connsiteX255" fmla="*/ 1345031 w 3418030"/>
              <a:gd name="connsiteY255" fmla="*/ 4878949 h 4878949"/>
              <a:gd name="connsiteX256" fmla="*/ 1340858 w 3418030"/>
              <a:gd name="connsiteY256" fmla="*/ 4878949 h 4878949"/>
              <a:gd name="connsiteX257" fmla="*/ 1335075 w 3418030"/>
              <a:gd name="connsiteY257" fmla="*/ 4878949 h 4878949"/>
              <a:gd name="connsiteX258" fmla="*/ 1327305 w 3418030"/>
              <a:gd name="connsiteY258" fmla="*/ 4878949 h 4878949"/>
              <a:gd name="connsiteX259" fmla="*/ 1327071 w 3418030"/>
              <a:gd name="connsiteY259" fmla="*/ 4878949 h 4878949"/>
              <a:gd name="connsiteX260" fmla="*/ 1327067 w 3418030"/>
              <a:gd name="connsiteY260" fmla="*/ 4878949 h 4878949"/>
              <a:gd name="connsiteX261" fmla="*/ 1327063 w 3418030"/>
              <a:gd name="connsiteY261" fmla="*/ 4878949 h 4878949"/>
              <a:gd name="connsiteX262" fmla="*/ 1326394 w 3418030"/>
              <a:gd name="connsiteY262" fmla="*/ 4878949 h 4878949"/>
              <a:gd name="connsiteX263" fmla="*/ 1308426 w 3418030"/>
              <a:gd name="connsiteY263" fmla="*/ 4878949 h 4878949"/>
              <a:gd name="connsiteX264" fmla="*/ 1105188 w 3418030"/>
              <a:gd name="connsiteY264" fmla="*/ 4878949 h 4878949"/>
              <a:gd name="connsiteX265" fmla="*/ 1091635 w 3418030"/>
              <a:gd name="connsiteY265" fmla="*/ 4878949 h 4878949"/>
              <a:gd name="connsiteX266" fmla="*/ 1091401 w 3418030"/>
              <a:gd name="connsiteY266" fmla="*/ 4878949 h 4878949"/>
              <a:gd name="connsiteX267" fmla="*/ 1091397 w 3418030"/>
              <a:gd name="connsiteY267" fmla="*/ 4878949 h 4878949"/>
              <a:gd name="connsiteX268" fmla="*/ 1091393 w 3418030"/>
              <a:gd name="connsiteY268" fmla="*/ 4878949 h 4878949"/>
              <a:gd name="connsiteX269" fmla="*/ 1087221 w 3418030"/>
              <a:gd name="connsiteY269" fmla="*/ 4878949 h 4878949"/>
              <a:gd name="connsiteX270" fmla="*/ 1078540 w 3418030"/>
              <a:gd name="connsiteY270" fmla="*/ 4878949 h 4878949"/>
              <a:gd name="connsiteX271" fmla="*/ 1072756 w 3418030"/>
              <a:gd name="connsiteY271" fmla="*/ 4878949 h 4878949"/>
              <a:gd name="connsiteX272" fmla="*/ 1064986 w 3418030"/>
              <a:gd name="connsiteY272" fmla="*/ 4878949 h 4878949"/>
              <a:gd name="connsiteX273" fmla="*/ 1064752 w 3418030"/>
              <a:gd name="connsiteY273" fmla="*/ 4878949 h 4878949"/>
              <a:gd name="connsiteX274" fmla="*/ 1064748 w 3418030"/>
              <a:gd name="connsiteY274" fmla="*/ 4878949 h 4878949"/>
              <a:gd name="connsiteX275" fmla="*/ 1064745 w 3418030"/>
              <a:gd name="connsiteY275" fmla="*/ 4878949 h 4878949"/>
              <a:gd name="connsiteX276" fmla="*/ 1060572 w 3418030"/>
              <a:gd name="connsiteY276" fmla="*/ 4878949 h 4878949"/>
              <a:gd name="connsiteX277" fmla="*/ 1046108 w 3418030"/>
              <a:gd name="connsiteY277" fmla="*/ 4878949 h 4878949"/>
              <a:gd name="connsiteX278" fmla="*/ 970958 w 3418030"/>
              <a:gd name="connsiteY278" fmla="*/ 4878949 h 4878949"/>
              <a:gd name="connsiteX279" fmla="*/ 970723 w 3418030"/>
              <a:gd name="connsiteY279" fmla="*/ 4878949 h 4878949"/>
              <a:gd name="connsiteX280" fmla="*/ 970720 w 3418030"/>
              <a:gd name="connsiteY280" fmla="*/ 4878949 h 4878949"/>
              <a:gd name="connsiteX281" fmla="*/ 970716 w 3418030"/>
              <a:gd name="connsiteY281" fmla="*/ 4878949 h 4878949"/>
              <a:gd name="connsiteX282" fmla="*/ 952079 w 3418030"/>
              <a:gd name="connsiteY282" fmla="*/ 4878949 h 4878949"/>
              <a:gd name="connsiteX283" fmla="*/ 944309 w 3418030"/>
              <a:gd name="connsiteY283" fmla="*/ 4878949 h 4878949"/>
              <a:gd name="connsiteX284" fmla="*/ 944075 w 3418030"/>
              <a:gd name="connsiteY284" fmla="*/ 4878949 h 4878949"/>
              <a:gd name="connsiteX285" fmla="*/ 944072 w 3418030"/>
              <a:gd name="connsiteY285" fmla="*/ 4878949 h 4878949"/>
              <a:gd name="connsiteX286" fmla="*/ 944068 w 3418030"/>
              <a:gd name="connsiteY286" fmla="*/ 4878949 h 4878949"/>
              <a:gd name="connsiteX287" fmla="*/ 925430 w 3418030"/>
              <a:gd name="connsiteY287" fmla="*/ 4878949 h 4878949"/>
              <a:gd name="connsiteX288" fmla="*/ 824902 w 3418030"/>
              <a:gd name="connsiteY288" fmla="*/ 4878949 h 4878949"/>
              <a:gd name="connsiteX289" fmla="*/ 798253 w 3418030"/>
              <a:gd name="connsiteY289" fmla="*/ 4878949 h 4878949"/>
              <a:gd name="connsiteX290" fmla="*/ 708639 w 3418030"/>
              <a:gd name="connsiteY290" fmla="*/ 4878949 h 4878949"/>
              <a:gd name="connsiteX291" fmla="*/ 708405 w 3418030"/>
              <a:gd name="connsiteY291" fmla="*/ 4878949 h 4878949"/>
              <a:gd name="connsiteX292" fmla="*/ 708401 w 3418030"/>
              <a:gd name="connsiteY292" fmla="*/ 4878949 h 4878949"/>
              <a:gd name="connsiteX293" fmla="*/ 708397 w 3418030"/>
              <a:gd name="connsiteY293" fmla="*/ 4878949 h 4878949"/>
              <a:gd name="connsiteX294" fmla="*/ 690672 w 3418030"/>
              <a:gd name="connsiteY294" fmla="*/ 4878949 h 4878949"/>
              <a:gd name="connsiteX295" fmla="*/ 690437 w 3418030"/>
              <a:gd name="connsiteY295" fmla="*/ 4878949 h 4878949"/>
              <a:gd name="connsiteX296" fmla="*/ 690434 w 3418030"/>
              <a:gd name="connsiteY296" fmla="*/ 4878949 h 4878949"/>
              <a:gd name="connsiteX297" fmla="*/ 690430 w 3418030"/>
              <a:gd name="connsiteY297" fmla="*/ 4878949 h 4878949"/>
              <a:gd name="connsiteX298" fmla="*/ 689761 w 3418030"/>
              <a:gd name="connsiteY298" fmla="*/ 4878949 h 4878949"/>
              <a:gd name="connsiteX299" fmla="*/ 681990 w 3418030"/>
              <a:gd name="connsiteY299" fmla="*/ 4878949 h 4878949"/>
              <a:gd name="connsiteX300" fmla="*/ 681756 w 3418030"/>
              <a:gd name="connsiteY300" fmla="*/ 4878949 h 4878949"/>
              <a:gd name="connsiteX301" fmla="*/ 681753 w 3418030"/>
              <a:gd name="connsiteY301" fmla="*/ 4878949 h 4878949"/>
              <a:gd name="connsiteX302" fmla="*/ 681749 w 3418030"/>
              <a:gd name="connsiteY302" fmla="*/ 4878949 h 4878949"/>
              <a:gd name="connsiteX303" fmla="*/ 671793 w 3418030"/>
              <a:gd name="connsiteY303" fmla="*/ 4878949 h 4878949"/>
              <a:gd name="connsiteX304" fmla="*/ 664023 w 3418030"/>
              <a:gd name="connsiteY304" fmla="*/ 4878949 h 4878949"/>
              <a:gd name="connsiteX305" fmla="*/ 663789 w 3418030"/>
              <a:gd name="connsiteY305" fmla="*/ 4878949 h 4878949"/>
              <a:gd name="connsiteX306" fmla="*/ 663785 w 3418030"/>
              <a:gd name="connsiteY306" fmla="*/ 4878949 h 4878949"/>
              <a:gd name="connsiteX307" fmla="*/ 663781 w 3418030"/>
              <a:gd name="connsiteY307" fmla="*/ 4878949 h 4878949"/>
              <a:gd name="connsiteX308" fmla="*/ 663112 w 3418030"/>
              <a:gd name="connsiteY308" fmla="*/ 4878949 h 4878949"/>
              <a:gd name="connsiteX309" fmla="*/ 645144 w 3418030"/>
              <a:gd name="connsiteY309" fmla="*/ 4878949 h 4878949"/>
              <a:gd name="connsiteX310" fmla="*/ 428353 w 3418030"/>
              <a:gd name="connsiteY310" fmla="*/ 4878949 h 4878949"/>
              <a:gd name="connsiteX311" fmla="*/ 428119 w 3418030"/>
              <a:gd name="connsiteY311" fmla="*/ 4878949 h 4878949"/>
              <a:gd name="connsiteX312" fmla="*/ 428115 w 3418030"/>
              <a:gd name="connsiteY312" fmla="*/ 4878949 h 4878949"/>
              <a:gd name="connsiteX313" fmla="*/ 428111 w 3418030"/>
              <a:gd name="connsiteY313" fmla="*/ 4878949 h 4878949"/>
              <a:gd name="connsiteX314" fmla="*/ 409474 w 3418030"/>
              <a:gd name="connsiteY314" fmla="*/ 4878949 h 4878949"/>
              <a:gd name="connsiteX315" fmla="*/ 401704 w 3418030"/>
              <a:gd name="connsiteY315" fmla="*/ 4878949 h 4878949"/>
              <a:gd name="connsiteX316" fmla="*/ 401470 w 3418030"/>
              <a:gd name="connsiteY316" fmla="*/ 4878949 h 4878949"/>
              <a:gd name="connsiteX317" fmla="*/ 401466 w 3418030"/>
              <a:gd name="connsiteY317" fmla="*/ 4878949 h 4878949"/>
              <a:gd name="connsiteX318" fmla="*/ 401462 w 3418030"/>
              <a:gd name="connsiteY318" fmla="*/ 4878949 h 4878949"/>
              <a:gd name="connsiteX319" fmla="*/ 382826 w 3418030"/>
              <a:gd name="connsiteY319" fmla="*/ 4878949 h 4878949"/>
              <a:gd name="connsiteX320" fmla="*/ 382826 w 3418030"/>
              <a:gd name="connsiteY320" fmla="*/ 4878022 h 4878949"/>
              <a:gd name="connsiteX321" fmla="*/ 363616 w 3418030"/>
              <a:gd name="connsiteY321" fmla="*/ 4877077 h 4878949"/>
              <a:gd name="connsiteX322" fmla="*/ 362450 w 3418030"/>
              <a:gd name="connsiteY322" fmla="*/ 4876905 h 4878949"/>
              <a:gd name="connsiteX323" fmla="*/ 360898 w 3418030"/>
              <a:gd name="connsiteY323" fmla="*/ 4876823 h 4878949"/>
              <a:gd name="connsiteX324" fmla="*/ 292547 w 3418030"/>
              <a:gd name="connsiteY324" fmla="*/ 4863240 h 4878949"/>
              <a:gd name="connsiteX325" fmla="*/ 290939 w 3418030"/>
              <a:gd name="connsiteY325" fmla="*/ 4862685 h 4878949"/>
              <a:gd name="connsiteX326" fmla="*/ 290662 w 3418030"/>
              <a:gd name="connsiteY326" fmla="*/ 4862616 h 4878949"/>
              <a:gd name="connsiteX327" fmla="*/ 287903 w 3418030"/>
              <a:gd name="connsiteY327" fmla="*/ 4861637 h 4878949"/>
              <a:gd name="connsiteX328" fmla="*/ 260068 w 3418030"/>
              <a:gd name="connsiteY328" fmla="*/ 4852032 h 4878949"/>
              <a:gd name="connsiteX329" fmla="*/ 257211 w 3418030"/>
              <a:gd name="connsiteY329" fmla="*/ 4850752 h 4878949"/>
              <a:gd name="connsiteX330" fmla="*/ 256125 w 3418030"/>
              <a:gd name="connsiteY330" fmla="*/ 4850367 h 4878949"/>
              <a:gd name="connsiteX331" fmla="*/ 250255 w 3418030"/>
              <a:gd name="connsiteY331" fmla="*/ 4847636 h 4878949"/>
              <a:gd name="connsiteX332" fmla="*/ 228901 w 3418030"/>
              <a:gd name="connsiteY332" fmla="*/ 4838068 h 4878949"/>
              <a:gd name="connsiteX333" fmla="*/ 224915 w 3418030"/>
              <a:gd name="connsiteY333" fmla="*/ 4835845 h 4878949"/>
              <a:gd name="connsiteX334" fmla="*/ 223101 w 3418030"/>
              <a:gd name="connsiteY334" fmla="*/ 4835001 h 4878949"/>
              <a:gd name="connsiteX335" fmla="*/ 216732 w 3418030"/>
              <a:gd name="connsiteY335" fmla="*/ 4831280 h 4878949"/>
              <a:gd name="connsiteX336" fmla="*/ 199181 w 3418030"/>
              <a:gd name="connsiteY336" fmla="*/ 4821488 h 4878949"/>
              <a:gd name="connsiteX337" fmla="*/ 194206 w 3418030"/>
              <a:gd name="connsiteY337" fmla="*/ 4818119 h 4878949"/>
              <a:gd name="connsiteX338" fmla="*/ 191756 w 3418030"/>
              <a:gd name="connsiteY338" fmla="*/ 4816688 h 4878949"/>
              <a:gd name="connsiteX339" fmla="*/ 185691 w 3418030"/>
              <a:gd name="connsiteY339" fmla="*/ 4812352 h 4878949"/>
              <a:gd name="connsiteX340" fmla="*/ 171043 w 3418030"/>
              <a:gd name="connsiteY340" fmla="*/ 4802432 h 4878949"/>
              <a:gd name="connsiteX341" fmla="*/ 165239 w 3418030"/>
              <a:gd name="connsiteY341" fmla="*/ 4797733 h 4878949"/>
              <a:gd name="connsiteX342" fmla="*/ 162251 w 3418030"/>
              <a:gd name="connsiteY342" fmla="*/ 4795598 h 4878949"/>
              <a:gd name="connsiteX343" fmla="*/ 156813 w 3418030"/>
              <a:gd name="connsiteY343" fmla="*/ 4790911 h 4878949"/>
              <a:gd name="connsiteX344" fmla="*/ 144622 w 3418030"/>
              <a:gd name="connsiteY344" fmla="*/ 4781042 h 4878949"/>
              <a:gd name="connsiteX345" fmla="*/ 138166 w 3418030"/>
              <a:gd name="connsiteY345" fmla="*/ 4774843 h 4878949"/>
              <a:gd name="connsiteX346" fmla="*/ 134753 w 3418030"/>
              <a:gd name="connsiteY346" fmla="*/ 4771903 h 4878949"/>
              <a:gd name="connsiteX347" fmla="*/ 130074 w 3418030"/>
              <a:gd name="connsiteY347" fmla="*/ 4767074 h 4878949"/>
              <a:gd name="connsiteX348" fmla="*/ 120055 w 3418030"/>
              <a:gd name="connsiteY348" fmla="*/ 4757456 h 4878949"/>
              <a:gd name="connsiteX349" fmla="*/ 113140 w 3418030"/>
              <a:gd name="connsiteY349" fmla="*/ 4749604 h 4878949"/>
              <a:gd name="connsiteX350" fmla="*/ 109426 w 3418030"/>
              <a:gd name="connsiteY350" fmla="*/ 4745772 h 4878949"/>
              <a:gd name="connsiteX351" fmla="*/ 105548 w 3418030"/>
              <a:gd name="connsiteY351" fmla="*/ 4740983 h 4878949"/>
              <a:gd name="connsiteX352" fmla="*/ 97477 w 3418030"/>
              <a:gd name="connsiteY352" fmla="*/ 4731817 h 4878949"/>
              <a:gd name="connsiteX353" fmla="*/ 90314 w 3418030"/>
              <a:gd name="connsiteY353" fmla="*/ 4722168 h 4878949"/>
              <a:gd name="connsiteX354" fmla="*/ 86434 w 3418030"/>
              <a:gd name="connsiteY354" fmla="*/ 4717378 h 4878949"/>
              <a:gd name="connsiteX355" fmla="*/ 83347 w 3418030"/>
              <a:gd name="connsiteY355" fmla="*/ 4712785 h 4878949"/>
              <a:gd name="connsiteX356" fmla="*/ 77022 w 3418030"/>
              <a:gd name="connsiteY356" fmla="*/ 4704265 h 4878949"/>
              <a:gd name="connsiteX357" fmla="*/ 69837 w 3418030"/>
              <a:gd name="connsiteY357" fmla="*/ 4692685 h 4878949"/>
              <a:gd name="connsiteX358" fmla="*/ 65942 w 3418030"/>
              <a:gd name="connsiteY358" fmla="*/ 4686890 h 4878949"/>
              <a:gd name="connsiteX359" fmla="*/ 63602 w 3418030"/>
              <a:gd name="connsiteY359" fmla="*/ 4682635 h 4878949"/>
              <a:gd name="connsiteX360" fmla="*/ 58827 w 3418030"/>
              <a:gd name="connsiteY360" fmla="*/ 4674940 h 4878949"/>
              <a:gd name="connsiteX361" fmla="*/ 51860 w 3418030"/>
              <a:gd name="connsiteY361" fmla="*/ 4661288 h 4878949"/>
              <a:gd name="connsiteX362" fmla="*/ 48114 w 3418030"/>
              <a:gd name="connsiteY362" fmla="*/ 4654479 h 4878949"/>
              <a:gd name="connsiteX363" fmla="*/ 46451 w 3418030"/>
              <a:gd name="connsiteY363" fmla="*/ 4650690 h 4878949"/>
              <a:gd name="connsiteX364" fmla="*/ 43027 w 3418030"/>
              <a:gd name="connsiteY364" fmla="*/ 4643982 h 4878949"/>
              <a:gd name="connsiteX365" fmla="*/ 36529 w 3418030"/>
              <a:gd name="connsiteY365" fmla="*/ 4628092 h 4878949"/>
              <a:gd name="connsiteX366" fmla="*/ 33114 w 3418030"/>
              <a:gd name="connsiteY366" fmla="*/ 4620315 h 4878949"/>
              <a:gd name="connsiteX367" fmla="*/ 32037 w 3418030"/>
              <a:gd name="connsiteY367" fmla="*/ 4617109 h 4878949"/>
              <a:gd name="connsiteX368" fmla="*/ 29757 w 3418030"/>
              <a:gd name="connsiteY368" fmla="*/ 4611533 h 4878949"/>
              <a:gd name="connsiteX369" fmla="*/ 23992 w 3418030"/>
              <a:gd name="connsiteY369" fmla="*/ 4593159 h 4878949"/>
              <a:gd name="connsiteX370" fmla="*/ 21107 w 3418030"/>
              <a:gd name="connsiteY370" fmla="*/ 4584570 h 4878949"/>
              <a:gd name="connsiteX371" fmla="*/ 20507 w 3418030"/>
              <a:gd name="connsiteY371" fmla="*/ 4582050 h 4878949"/>
              <a:gd name="connsiteX372" fmla="*/ 19153 w 3418030"/>
              <a:gd name="connsiteY372" fmla="*/ 4577733 h 4878949"/>
              <a:gd name="connsiteX373" fmla="*/ 14395 w 3418030"/>
              <a:gd name="connsiteY373" fmla="*/ 4556392 h 4878949"/>
              <a:gd name="connsiteX374" fmla="*/ 12257 w 3418030"/>
              <a:gd name="connsiteY374" fmla="*/ 4547414 h 4878949"/>
              <a:gd name="connsiteX375" fmla="*/ 12007 w 3418030"/>
              <a:gd name="connsiteY375" fmla="*/ 4545675 h 4878949"/>
              <a:gd name="connsiteX376" fmla="*/ 11349 w 3418030"/>
              <a:gd name="connsiteY376" fmla="*/ 4542722 h 4878949"/>
              <a:gd name="connsiteX377" fmla="*/ 7886 w 3418030"/>
              <a:gd name="connsiteY377" fmla="*/ 4517048 h 4878949"/>
              <a:gd name="connsiteX378" fmla="*/ 6730 w 3418030"/>
              <a:gd name="connsiteY378" fmla="*/ 4509017 h 4878949"/>
              <a:gd name="connsiteX379" fmla="*/ 6688 w 3418030"/>
              <a:gd name="connsiteY379" fmla="*/ 4508172 h 4878949"/>
              <a:gd name="connsiteX380" fmla="*/ 6481 w 3418030"/>
              <a:gd name="connsiteY380" fmla="*/ 4506641 h 4878949"/>
              <a:gd name="connsiteX381" fmla="*/ 5670 w 3418030"/>
              <a:gd name="connsiteY381" fmla="*/ 4488834 h 4878949"/>
              <a:gd name="connsiteX382" fmla="*/ 4679 w 3418030"/>
              <a:gd name="connsiteY382" fmla="*/ 4488834 h 4878949"/>
              <a:gd name="connsiteX383" fmla="*/ 4679 w 3418030"/>
              <a:gd name="connsiteY383" fmla="*/ 4476023 h 4878949"/>
              <a:gd name="connsiteX384" fmla="*/ 3837 w 3418030"/>
              <a:gd name="connsiteY384" fmla="*/ 4469889 h 4878949"/>
              <a:gd name="connsiteX385" fmla="*/ 2681 w 3418030"/>
              <a:gd name="connsiteY385" fmla="*/ 4461995 h 4878949"/>
              <a:gd name="connsiteX386" fmla="*/ 2640 w 3418030"/>
              <a:gd name="connsiteY386" fmla="*/ 4461163 h 4878949"/>
              <a:gd name="connsiteX387" fmla="*/ 2433 w 3418030"/>
              <a:gd name="connsiteY387" fmla="*/ 4459658 h 4878949"/>
              <a:gd name="connsiteX388" fmla="*/ 1621 w 3418030"/>
              <a:gd name="connsiteY388" fmla="*/ 4442154 h 4878949"/>
              <a:gd name="connsiteX389" fmla="*/ 631 w 3418030"/>
              <a:gd name="connsiteY389" fmla="*/ 4442154 h 4878949"/>
              <a:gd name="connsiteX390" fmla="*/ 631 w 3418030"/>
              <a:gd name="connsiteY390" fmla="*/ 4426015 h 4878949"/>
              <a:gd name="connsiteX391" fmla="*/ 631 w 3418030"/>
              <a:gd name="connsiteY391" fmla="*/ 4420821 h 4878949"/>
              <a:gd name="connsiteX392" fmla="*/ 631 w 3418030"/>
              <a:gd name="connsiteY392" fmla="*/ 4420700 h 4878949"/>
              <a:gd name="connsiteX393" fmla="*/ 156 w 3418030"/>
              <a:gd name="connsiteY393" fmla="*/ 4420700 h 4878949"/>
              <a:gd name="connsiteX394" fmla="*/ 156 w 3418030"/>
              <a:gd name="connsiteY394" fmla="*/ 4350450 h 4878949"/>
              <a:gd name="connsiteX395" fmla="*/ 156 w 3418030"/>
              <a:gd name="connsiteY395" fmla="*/ 4340879 h 4878949"/>
              <a:gd name="connsiteX396" fmla="*/ 156 w 3418030"/>
              <a:gd name="connsiteY396" fmla="*/ 4127703 h 4878949"/>
              <a:gd name="connsiteX397" fmla="*/ 156 w 3418030"/>
              <a:gd name="connsiteY397" fmla="*/ 4025885 h 4878949"/>
              <a:gd name="connsiteX398" fmla="*/ 156 w 3418030"/>
              <a:gd name="connsiteY398" fmla="*/ 3997713 h 4878949"/>
              <a:gd name="connsiteX399" fmla="*/ 626 w 3418030"/>
              <a:gd name="connsiteY399" fmla="*/ 3997713 h 4878949"/>
              <a:gd name="connsiteX400" fmla="*/ 626 w 3418030"/>
              <a:gd name="connsiteY400" fmla="*/ 3911014 h 4878949"/>
              <a:gd name="connsiteX401" fmla="*/ 0 w 3418030"/>
              <a:gd name="connsiteY401" fmla="*/ 3911014 h 4878949"/>
              <a:gd name="connsiteX402" fmla="*/ 0 w 3418030"/>
              <a:gd name="connsiteY402" fmla="*/ 3908592 h 4878949"/>
              <a:gd name="connsiteX403" fmla="*/ 0 w 3418030"/>
              <a:gd name="connsiteY403" fmla="*/ 3570744 h 4878949"/>
              <a:gd name="connsiteX404" fmla="*/ 0 w 3418030"/>
              <a:gd name="connsiteY404" fmla="*/ 2076617 h 4878949"/>
              <a:gd name="connsiteX405" fmla="*/ 3302 w 3418030"/>
              <a:gd name="connsiteY405" fmla="*/ 2076617 h 4878949"/>
              <a:gd name="connsiteX406" fmla="*/ 3302 w 3418030"/>
              <a:gd name="connsiteY406" fmla="*/ 2074287 h 4878949"/>
              <a:gd name="connsiteX407" fmla="*/ 3302 w 3418030"/>
              <a:gd name="connsiteY407" fmla="*/ 1850939 h 4878949"/>
              <a:gd name="connsiteX408" fmla="*/ 3302 w 3418030"/>
              <a:gd name="connsiteY408" fmla="*/ 1850328 h 4878949"/>
              <a:gd name="connsiteX409" fmla="*/ 3301 w 3418030"/>
              <a:gd name="connsiteY409" fmla="*/ 1850319 h 4878949"/>
              <a:gd name="connsiteX410" fmla="*/ 3302 w 3418030"/>
              <a:gd name="connsiteY410" fmla="*/ 1850309 h 4878949"/>
              <a:gd name="connsiteX411" fmla="*/ 3302 w 3418030"/>
              <a:gd name="connsiteY411" fmla="*/ 1804040 h 4878949"/>
              <a:gd name="connsiteX412" fmla="*/ 3302 w 3418030"/>
              <a:gd name="connsiteY412" fmla="*/ 1803429 h 4878949"/>
              <a:gd name="connsiteX413" fmla="*/ 3301 w 3418030"/>
              <a:gd name="connsiteY413" fmla="*/ 1803419 h 4878949"/>
              <a:gd name="connsiteX414" fmla="*/ 3302 w 3418030"/>
              <a:gd name="connsiteY414" fmla="*/ 1803409 h 4878949"/>
              <a:gd name="connsiteX415" fmla="*/ 3302 w 3418030"/>
              <a:gd name="connsiteY415" fmla="*/ 1801662 h 4878949"/>
              <a:gd name="connsiteX416" fmla="*/ 3302 w 3418030"/>
              <a:gd name="connsiteY416" fmla="*/ 1770814 h 4878949"/>
              <a:gd name="connsiteX417" fmla="*/ 3302 w 3418030"/>
              <a:gd name="connsiteY417" fmla="*/ 1770203 h 4878949"/>
              <a:gd name="connsiteX418" fmla="*/ 3301 w 3418030"/>
              <a:gd name="connsiteY418" fmla="*/ 1770192 h 4878949"/>
              <a:gd name="connsiteX419" fmla="*/ 3302 w 3418030"/>
              <a:gd name="connsiteY419" fmla="*/ 1770183 h 4878949"/>
              <a:gd name="connsiteX420" fmla="*/ 3302 w 3418030"/>
              <a:gd name="connsiteY420" fmla="*/ 1754762 h 4878949"/>
              <a:gd name="connsiteX421" fmla="*/ 3302 w 3418030"/>
              <a:gd name="connsiteY421" fmla="*/ 1723914 h 4878949"/>
              <a:gd name="connsiteX422" fmla="*/ 3302 w 3418030"/>
              <a:gd name="connsiteY422" fmla="*/ 1723304 h 4878949"/>
              <a:gd name="connsiteX423" fmla="*/ 3301 w 3418030"/>
              <a:gd name="connsiteY423" fmla="*/ 1723293 h 4878949"/>
              <a:gd name="connsiteX424" fmla="*/ 3302 w 3418030"/>
              <a:gd name="connsiteY424" fmla="*/ 1723284 h 4878949"/>
              <a:gd name="connsiteX425" fmla="*/ 3302 w 3418030"/>
              <a:gd name="connsiteY425" fmla="*/ 1721537 h 4878949"/>
              <a:gd name="connsiteX426" fmla="*/ 3302 w 3418030"/>
              <a:gd name="connsiteY426" fmla="*/ 1674636 h 4878949"/>
              <a:gd name="connsiteX427" fmla="*/ 3302 w 3418030"/>
              <a:gd name="connsiteY427" fmla="*/ 1119326 h 4878949"/>
              <a:gd name="connsiteX428" fmla="*/ 3302 w 3418030"/>
              <a:gd name="connsiteY428" fmla="*/ 1118715 h 4878949"/>
              <a:gd name="connsiteX429" fmla="*/ 3301 w 3418030"/>
              <a:gd name="connsiteY429" fmla="*/ 1118705 h 4878949"/>
              <a:gd name="connsiteX430" fmla="*/ 3302 w 3418030"/>
              <a:gd name="connsiteY430" fmla="*/ 1118695 h 4878949"/>
              <a:gd name="connsiteX431" fmla="*/ 3302 w 3418030"/>
              <a:gd name="connsiteY431" fmla="*/ 1070048 h 4878949"/>
              <a:gd name="connsiteX432" fmla="*/ 3302 w 3418030"/>
              <a:gd name="connsiteY432" fmla="*/ 1039200 h 4878949"/>
              <a:gd name="connsiteX433" fmla="*/ 3302 w 3418030"/>
              <a:gd name="connsiteY433" fmla="*/ 1038590 h 4878949"/>
              <a:gd name="connsiteX434" fmla="*/ 3301 w 3418030"/>
              <a:gd name="connsiteY434" fmla="*/ 1038579 h 4878949"/>
              <a:gd name="connsiteX435" fmla="*/ 3302 w 3418030"/>
              <a:gd name="connsiteY435" fmla="*/ 1038570 h 4878949"/>
              <a:gd name="connsiteX436" fmla="*/ 3302 w 3418030"/>
              <a:gd name="connsiteY436" fmla="*/ 989923 h 4878949"/>
              <a:gd name="connsiteX437" fmla="*/ 5852 w 3418030"/>
              <a:gd name="connsiteY437" fmla="*/ 989923 h 4878949"/>
              <a:gd name="connsiteX438" fmla="*/ 8449 w 3418030"/>
              <a:gd name="connsiteY438" fmla="*/ 939781 h 4878949"/>
              <a:gd name="connsiteX439" fmla="*/ 8925 w 3418030"/>
              <a:gd name="connsiteY439" fmla="*/ 936738 h 4878949"/>
              <a:gd name="connsiteX440" fmla="*/ 9149 w 3418030"/>
              <a:gd name="connsiteY440" fmla="*/ 932684 h 4878949"/>
              <a:gd name="connsiteX441" fmla="*/ 46506 w 3418030"/>
              <a:gd name="connsiteY441" fmla="*/ 754274 h 4878949"/>
              <a:gd name="connsiteX442" fmla="*/ 48032 w 3418030"/>
              <a:gd name="connsiteY442" fmla="*/ 750077 h 4878949"/>
              <a:gd name="connsiteX443" fmla="*/ 48222 w 3418030"/>
              <a:gd name="connsiteY443" fmla="*/ 749353 h 4878949"/>
              <a:gd name="connsiteX444" fmla="*/ 50914 w 3418030"/>
              <a:gd name="connsiteY444" fmla="*/ 742152 h 4878949"/>
              <a:gd name="connsiteX445" fmla="*/ 77329 w 3418030"/>
              <a:gd name="connsiteY445" fmla="*/ 669497 h 4878949"/>
              <a:gd name="connsiteX446" fmla="*/ 80849 w 3418030"/>
              <a:gd name="connsiteY446" fmla="*/ 662039 h 4878949"/>
              <a:gd name="connsiteX447" fmla="*/ 81908 w 3418030"/>
              <a:gd name="connsiteY447" fmla="*/ 659204 h 4878949"/>
              <a:gd name="connsiteX448" fmla="*/ 89422 w 3418030"/>
              <a:gd name="connsiteY448" fmla="*/ 643883 h 4878949"/>
              <a:gd name="connsiteX449" fmla="*/ 115734 w 3418030"/>
              <a:gd name="connsiteY449" fmla="*/ 588143 h 4878949"/>
              <a:gd name="connsiteX450" fmla="*/ 121848 w 3418030"/>
              <a:gd name="connsiteY450" fmla="*/ 577740 h 4878949"/>
              <a:gd name="connsiteX451" fmla="*/ 124169 w 3418030"/>
              <a:gd name="connsiteY451" fmla="*/ 573005 h 4878949"/>
              <a:gd name="connsiteX452" fmla="*/ 134403 w 3418030"/>
              <a:gd name="connsiteY452" fmla="*/ 556381 h 4878949"/>
              <a:gd name="connsiteX453" fmla="*/ 161333 w 3418030"/>
              <a:gd name="connsiteY453" fmla="*/ 510566 h 4878949"/>
              <a:gd name="connsiteX454" fmla="*/ 170598 w 3418030"/>
              <a:gd name="connsiteY454" fmla="*/ 497582 h 4878949"/>
              <a:gd name="connsiteX455" fmla="*/ 174534 w 3418030"/>
              <a:gd name="connsiteY455" fmla="*/ 491185 h 4878949"/>
              <a:gd name="connsiteX456" fmla="*/ 186458 w 3418030"/>
              <a:gd name="connsiteY456" fmla="*/ 475354 h 4878949"/>
              <a:gd name="connsiteX457" fmla="*/ 213741 w 3418030"/>
              <a:gd name="connsiteY457" fmla="*/ 437120 h 4878949"/>
              <a:gd name="connsiteX458" fmla="*/ 226666 w 3418030"/>
              <a:gd name="connsiteY458" fmla="*/ 421970 h 4878949"/>
              <a:gd name="connsiteX459" fmla="*/ 232537 w 3418030"/>
              <a:gd name="connsiteY459" fmla="*/ 414172 h 4878949"/>
              <a:gd name="connsiteX460" fmla="*/ 245428 w 3418030"/>
              <a:gd name="connsiteY460" fmla="*/ 399975 h 4878949"/>
              <a:gd name="connsiteX461" fmla="*/ 272569 w 3418030"/>
              <a:gd name="connsiteY461" fmla="*/ 368155 h 4878949"/>
              <a:gd name="connsiteX462" fmla="*/ 289619 w 3418030"/>
              <a:gd name="connsiteY462" fmla="*/ 351302 h 4878949"/>
              <a:gd name="connsiteX463" fmla="*/ 297703 w 3418030"/>
              <a:gd name="connsiteY463" fmla="*/ 342396 h 4878949"/>
              <a:gd name="connsiteX464" fmla="*/ 310983 w 3418030"/>
              <a:gd name="connsiteY464" fmla="*/ 330181 h 4878949"/>
              <a:gd name="connsiteX465" fmla="*/ 337434 w 3418030"/>
              <a:gd name="connsiteY465" fmla="*/ 304029 h 4878949"/>
              <a:gd name="connsiteX466" fmla="*/ 359031 w 3418030"/>
              <a:gd name="connsiteY466" fmla="*/ 285980 h 4878949"/>
              <a:gd name="connsiteX467" fmla="*/ 369567 w 3418030"/>
              <a:gd name="connsiteY467" fmla="*/ 276286 h 4878949"/>
              <a:gd name="connsiteX468" fmla="*/ 382740 w 3418030"/>
              <a:gd name="connsiteY468" fmla="*/ 266163 h 4878949"/>
              <a:gd name="connsiteX469" fmla="*/ 407948 w 3418030"/>
              <a:gd name="connsiteY469" fmla="*/ 245095 h 4878949"/>
              <a:gd name="connsiteX470" fmla="*/ 434483 w 3418030"/>
              <a:gd name="connsiteY470" fmla="*/ 226398 h 4878949"/>
              <a:gd name="connsiteX471" fmla="*/ 447659 w 3418030"/>
              <a:gd name="connsiteY471" fmla="*/ 216272 h 4878949"/>
              <a:gd name="connsiteX472" fmla="*/ 460291 w 3418030"/>
              <a:gd name="connsiteY472" fmla="*/ 208214 h 4878949"/>
              <a:gd name="connsiteX473" fmla="*/ 483722 w 3418030"/>
              <a:gd name="connsiteY473" fmla="*/ 191703 h 4878949"/>
              <a:gd name="connsiteX474" fmla="*/ 515572 w 3418030"/>
              <a:gd name="connsiteY474" fmla="*/ 172948 h 4878949"/>
              <a:gd name="connsiteX475" fmla="*/ 531508 w 3418030"/>
              <a:gd name="connsiteY475" fmla="*/ 162782 h 4878949"/>
              <a:gd name="connsiteX476" fmla="*/ 543209 w 3418030"/>
              <a:gd name="connsiteY476" fmla="*/ 156673 h 4878949"/>
              <a:gd name="connsiteX477" fmla="*/ 564373 w 3418030"/>
              <a:gd name="connsiteY477" fmla="*/ 144210 h 4878949"/>
              <a:gd name="connsiteX478" fmla="*/ 601919 w 3418030"/>
              <a:gd name="connsiteY478" fmla="*/ 126023 h 4878949"/>
              <a:gd name="connsiteX479" fmla="*/ 620646 w 3418030"/>
              <a:gd name="connsiteY479" fmla="*/ 116246 h 4878949"/>
              <a:gd name="connsiteX480" fmla="*/ 631065 w 3418030"/>
              <a:gd name="connsiteY480" fmla="*/ 111905 h 4878949"/>
              <a:gd name="connsiteX481" fmla="*/ 649513 w 3418030"/>
              <a:gd name="connsiteY481" fmla="*/ 102967 h 4878949"/>
              <a:gd name="connsiteX482" fmla="*/ 693215 w 3418030"/>
              <a:gd name="connsiteY482" fmla="*/ 86005 h 4878949"/>
              <a:gd name="connsiteX483" fmla="*/ 714604 w 3418030"/>
              <a:gd name="connsiteY483" fmla="*/ 77091 h 4878949"/>
              <a:gd name="connsiteX484" fmla="*/ 723421 w 3418030"/>
              <a:gd name="connsiteY484" fmla="*/ 74281 h 4878949"/>
              <a:gd name="connsiteX485" fmla="*/ 738755 w 3418030"/>
              <a:gd name="connsiteY485" fmla="*/ 68329 h 4878949"/>
              <a:gd name="connsiteX486" fmla="*/ 789290 w 3418030"/>
              <a:gd name="connsiteY486" fmla="*/ 53281 h 4878949"/>
              <a:gd name="connsiteX487" fmla="*/ 812911 w 3418030"/>
              <a:gd name="connsiteY487" fmla="*/ 45751 h 4878949"/>
              <a:gd name="connsiteX488" fmla="*/ 819840 w 3418030"/>
              <a:gd name="connsiteY488" fmla="*/ 44184 h 4878949"/>
              <a:gd name="connsiteX489" fmla="*/ 831714 w 3418030"/>
              <a:gd name="connsiteY489" fmla="*/ 40649 h 4878949"/>
              <a:gd name="connsiteX490" fmla="*/ 890408 w 3418030"/>
              <a:gd name="connsiteY490" fmla="*/ 28233 h 4878949"/>
              <a:gd name="connsiteX491" fmla="*/ 891488 w 3418030"/>
              <a:gd name="connsiteY491" fmla="*/ 27989 h 4878949"/>
              <a:gd name="connsiteX492" fmla="*/ 891488 w 3418030"/>
              <a:gd name="connsiteY492" fmla="*/ 26353 h 4878949"/>
              <a:gd name="connsiteX493" fmla="*/ 920414 w 3418030"/>
              <a:gd name="connsiteY493" fmla="*/ 21016 h 4878949"/>
              <a:gd name="connsiteX494" fmla="*/ 926275 w 3418030"/>
              <a:gd name="connsiteY494" fmla="*/ 20363 h 4878949"/>
              <a:gd name="connsiteX495" fmla="*/ 936223 w 3418030"/>
              <a:gd name="connsiteY495" fmla="*/ 18645 h 4878949"/>
              <a:gd name="connsiteX496" fmla="*/ 1022729 w 3418030"/>
              <a:gd name="connsiteY496" fmla="*/ 9605 h 4878949"/>
              <a:gd name="connsiteX497" fmla="*/ 1049789 w 3418030"/>
              <a:gd name="connsiteY497" fmla="*/ 6588 h 4878949"/>
              <a:gd name="connsiteX498" fmla="*/ 1052637 w 3418030"/>
              <a:gd name="connsiteY498" fmla="*/ 6482 h 4878949"/>
              <a:gd name="connsiteX499" fmla="*/ 1057795 w 3418030"/>
              <a:gd name="connsiteY499" fmla="*/ 5941 h 4878949"/>
              <a:gd name="connsiteX500" fmla="*/ 1117794 w 3418030"/>
              <a:gd name="connsiteY500" fmla="*/ 3821 h 4878949"/>
              <a:gd name="connsiteX501" fmla="*/ 1117794 w 3418030"/>
              <a:gd name="connsiteY501" fmla="*/ 1237 h 4878949"/>
              <a:gd name="connsiteX502" fmla="*/ 1173109 w 3418030"/>
              <a:gd name="connsiteY502" fmla="*/ 1237 h 4878949"/>
              <a:gd name="connsiteX503" fmla="*/ 1190915 w 3418030"/>
              <a:gd name="connsiteY503" fmla="*/ 1237 h 4878949"/>
              <a:gd name="connsiteX504" fmla="*/ 1191329 w 3418030"/>
              <a:gd name="connsiteY504" fmla="*/ 1237 h 4878949"/>
              <a:gd name="connsiteX505" fmla="*/ 1191331 w 3418030"/>
              <a:gd name="connsiteY505" fmla="*/ 1237 h 487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</a:cxnLst>
            <a:rect l="l" t="t" r="r" b="b"/>
            <a:pathLst>
              <a:path w="3418030" h="4878949">
                <a:moveTo>
                  <a:pt x="1191331" y="0"/>
                </a:moveTo>
                <a:lnTo>
                  <a:pt x="1294432" y="0"/>
                </a:lnTo>
                <a:lnTo>
                  <a:pt x="1457098" y="0"/>
                </a:lnTo>
                <a:lnTo>
                  <a:pt x="1564784" y="0"/>
                </a:lnTo>
                <a:lnTo>
                  <a:pt x="2013538" y="0"/>
                </a:lnTo>
                <a:lnTo>
                  <a:pt x="2038520" y="0"/>
                </a:lnTo>
                <a:lnTo>
                  <a:pt x="2130825" y="0"/>
                </a:lnTo>
                <a:lnTo>
                  <a:pt x="2156238" y="0"/>
                </a:lnTo>
                <a:lnTo>
                  <a:pt x="2221889" y="0"/>
                </a:lnTo>
                <a:lnTo>
                  <a:pt x="2277890" y="0"/>
                </a:lnTo>
                <a:lnTo>
                  <a:pt x="2342770" y="0"/>
                </a:lnTo>
                <a:lnTo>
                  <a:pt x="2399737" y="0"/>
                </a:lnTo>
                <a:lnTo>
                  <a:pt x="2399737" y="1224"/>
                </a:lnTo>
                <a:lnTo>
                  <a:pt x="3278911" y="1224"/>
                </a:lnTo>
                <a:lnTo>
                  <a:pt x="3418030" y="1224"/>
                </a:lnTo>
                <a:lnTo>
                  <a:pt x="3418030" y="70784"/>
                </a:lnTo>
                <a:lnTo>
                  <a:pt x="3418030" y="685938"/>
                </a:lnTo>
                <a:lnTo>
                  <a:pt x="3418030" y="732837"/>
                </a:lnTo>
                <a:lnTo>
                  <a:pt x="3418030" y="755498"/>
                </a:lnTo>
                <a:lnTo>
                  <a:pt x="3418030" y="802397"/>
                </a:lnTo>
                <a:lnTo>
                  <a:pt x="3418030" y="1036312"/>
                </a:lnTo>
                <a:lnTo>
                  <a:pt x="3418030" y="1036923"/>
                </a:lnTo>
                <a:lnTo>
                  <a:pt x="3418030" y="1036933"/>
                </a:lnTo>
                <a:lnTo>
                  <a:pt x="3418030" y="1036943"/>
                </a:lnTo>
                <a:lnTo>
                  <a:pt x="3418030" y="1085589"/>
                </a:lnTo>
                <a:lnTo>
                  <a:pt x="3418030" y="1105871"/>
                </a:lnTo>
                <a:lnTo>
                  <a:pt x="3418030" y="1106482"/>
                </a:lnTo>
                <a:lnTo>
                  <a:pt x="3418030" y="1106491"/>
                </a:lnTo>
                <a:lnTo>
                  <a:pt x="3418030" y="1106501"/>
                </a:lnTo>
                <a:lnTo>
                  <a:pt x="3418030" y="1155149"/>
                </a:lnTo>
                <a:lnTo>
                  <a:pt x="3418030" y="1417551"/>
                </a:lnTo>
                <a:lnTo>
                  <a:pt x="3418030" y="1487111"/>
                </a:lnTo>
                <a:lnTo>
                  <a:pt x="3418030" y="1721026"/>
                </a:lnTo>
                <a:lnTo>
                  <a:pt x="3418030" y="1721637"/>
                </a:lnTo>
                <a:lnTo>
                  <a:pt x="3418030" y="1721646"/>
                </a:lnTo>
                <a:lnTo>
                  <a:pt x="3418030" y="1721657"/>
                </a:lnTo>
                <a:lnTo>
                  <a:pt x="3418030" y="1767925"/>
                </a:lnTo>
                <a:lnTo>
                  <a:pt x="3418030" y="1768536"/>
                </a:lnTo>
                <a:lnTo>
                  <a:pt x="3418030" y="1768546"/>
                </a:lnTo>
                <a:lnTo>
                  <a:pt x="3418030" y="1768556"/>
                </a:lnTo>
                <a:lnTo>
                  <a:pt x="3418030" y="1770303"/>
                </a:lnTo>
                <a:lnTo>
                  <a:pt x="3418030" y="1790585"/>
                </a:lnTo>
                <a:lnTo>
                  <a:pt x="3418030" y="1791196"/>
                </a:lnTo>
                <a:lnTo>
                  <a:pt x="3418030" y="1791205"/>
                </a:lnTo>
                <a:lnTo>
                  <a:pt x="3418030" y="1791215"/>
                </a:lnTo>
                <a:lnTo>
                  <a:pt x="3418030" y="1817203"/>
                </a:lnTo>
                <a:lnTo>
                  <a:pt x="3418030" y="1837484"/>
                </a:lnTo>
                <a:lnTo>
                  <a:pt x="3418030" y="1838095"/>
                </a:lnTo>
                <a:lnTo>
                  <a:pt x="3418030" y="1838105"/>
                </a:lnTo>
                <a:lnTo>
                  <a:pt x="3418030" y="1838115"/>
                </a:lnTo>
                <a:lnTo>
                  <a:pt x="3418030" y="1839863"/>
                </a:lnTo>
                <a:lnTo>
                  <a:pt x="3418030" y="1886762"/>
                </a:lnTo>
                <a:lnTo>
                  <a:pt x="3418030" y="2452639"/>
                </a:lnTo>
                <a:lnTo>
                  <a:pt x="3418030" y="2453250"/>
                </a:lnTo>
                <a:lnTo>
                  <a:pt x="3418030" y="2453260"/>
                </a:lnTo>
                <a:lnTo>
                  <a:pt x="3418030" y="2453270"/>
                </a:lnTo>
                <a:lnTo>
                  <a:pt x="3418030" y="2501917"/>
                </a:lnTo>
                <a:lnTo>
                  <a:pt x="3418030" y="2522198"/>
                </a:lnTo>
                <a:lnTo>
                  <a:pt x="3418030" y="2522809"/>
                </a:lnTo>
                <a:lnTo>
                  <a:pt x="3418030" y="2522819"/>
                </a:lnTo>
                <a:lnTo>
                  <a:pt x="3418030" y="2522830"/>
                </a:lnTo>
                <a:lnTo>
                  <a:pt x="3418030" y="2571476"/>
                </a:lnTo>
                <a:lnTo>
                  <a:pt x="3415609" y="2571476"/>
                </a:lnTo>
                <a:lnTo>
                  <a:pt x="3413143" y="2621619"/>
                </a:lnTo>
                <a:lnTo>
                  <a:pt x="3412693" y="2624661"/>
                </a:lnTo>
                <a:lnTo>
                  <a:pt x="3412480" y="2628713"/>
                </a:lnTo>
                <a:cubicBezTo>
                  <a:pt x="3406029" y="2689917"/>
                  <a:pt x="3394048" y="2749544"/>
                  <a:pt x="3377025" y="2807125"/>
                </a:cubicBezTo>
                <a:lnTo>
                  <a:pt x="3375576" y="2811322"/>
                </a:lnTo>
                <a:lnTo>
                  <a:pt x="3375395" y="2812045"/>
                </a:lnTo>
                <a:lnTo>
                  <a:pt x="3372842" y="2819247"/>
                </a:lnTo>
                <a:lnTo>
                  <a:pt x="3347771" y="2891903"/>
                </a:lnTo>
                <a:lnTo>
                  <a:pt x="3344429" y="2899360"/>
                </a:lnTo>
                <a:lnTo>
                  <a:pt x="3343424" y="2902194"/>
                </a:lnTo>
                <a:lnTo>
                  <a:pt x="3336294" y="2917516"/>
                </a:lnTo>
                <a:lnTo>
                  <a:pt x="3311321" y="2973257"/>
                </a:lnTo>
                <a:lnTo>
                  <a:pt x="3305517" y="2983659"/>
                </a:lnTo>
                <a:lnTo>
                  <a:pt x="3303314" y="2988394"/>
                </a:lnTo>
                <a:lnTo>
                  <a:pt x="3293601" y="3005019"/>
                </a:lnTo>
                <a:lnTo>
                  <a:pt x="3268042" y="3050833"/>
                </a:lnTo>
                <a:lnTo>
                  <a:pt x="3259248" y="3063817"/>
                </a:lnTo>
                <a:lnTo>
                  <a:pt x="3255513" y="3070215"/>
                </a:lnTo>
                <a:lnTo>
                  <a:pt x="3244196" y="3086045"/>
                </a:lnTo>
                <a:lnTo>
                  <a:pt x="3218302" y="3124280"/>
                </a:lnTo>
                <a:lnTo>
                  <a:pt x="3206037" y="3139430"/>
                </a:lnTo>
                <a:lnTo>
                  <a:pt x="3200464" y="3147227"/>
                </a:lnTo>
                <a:lnTo>
                  <a:pt x="3188229" y="3161424"/>
                </a:lnTo>
                <a:lnTo>
                  <a:pt x="3162468" y="3193243"/>
                </a:lnTo>
                <a:lnTo>
                  <a:pt x="3146287" y="3210097"/>
                </a:lnTo>
                <a:lnTo>
                  <a:pt x="3138613" y="3219003"/>
                </a:lnTo>
                <a:lnTo>
                  <a:pt x="3126010" y="3231219"/>
                </a:lnTo>
                <a:lnTo>
                  <a:pt x="3100905" y="3257369"/>
                </a:lnTo>
                <a:lnTo>
                  <a:pt x="3080407" y="3275420"/>
                </a:lnTo>
                <a:lnTo>
                  <a:pt x="3070407" y="3285113"/>
                </a:lnTo>
                <a:lnTo>
                  <a:pt x="3057904" y="3295236"/>
                </a:lnTo>
                <a:lnTo>
                  <a:pt x="3033981" y="3316304"/>
                </a:lnTo>
                <a:lnTo>
                  <a:pt x="3008795" y="3335002"/>
                </a:lnTo>
                <a:lnTo>
                  <a:pt x="2996290" y="3345128"/>
                </a:lnTo>
                <a:lnTo>
                  <a:pt x="2984301" y="3353185"/>
                </a:lnTo>
                <a:lnTo>
                  <a:pt x="2962062" y="3369695"/>
                </a:lnTo>
                <a:lnTo>
                  <a:pt x="2931835" y="3388450"/>
                </a:lnTo>
                <a:lnTo>
                  <a:pt x="2916709" y="3398618"/>
                </a:lnTo>
                <a:lnTo>
                  <a:pt x="2905603" y="3404726"/>
                </a:lnTo>
                <a:lnTo>
                  <a:pt x="2885517" y="3417189"/>
                </a:lnTo>
                <a:lnTo>
                  <a:pt x="2849882" y="3435375"/>
                </a:lnTo>
                <a:lnTo>
                  <a:pt x="2832108" y="3445153"/>
                </a:lnTo>
                <a:lnTo>
                  <a:pt x="2822219" y="3449494"/>
                </a:lnTo>
                <a:lnTo>
                  <a:pt x="2804710" y="3458432"/>
                </a:lnTo>
                <a:lnTo>
                  <a:pt x="2763233" y="3475393"/>
                </a:lnTo>
                <a:lnTo>
                  <a:pt x="2742933" y="3484308"/>
                </a:lnTo>
                <a:lnTo>
                  <a:pt x="2734565" y="3487117"/>
                </a:lnTo>
                <a:lnTo>
                  <a:pt x="2720010" y="3493070"/>
                </a:lnTo>
                <a:lnTo>
                  <a:pt x="2672049" y="3508117"/>
                </a:lnTo>
                <a:lnTo>
                  <a:pt x="2649630" y="3515648"/>
                </a:lnTo>
                <a:lnTo>
                  <a:pt x="2643052" y="3517214"/>
                </a:lnTo>
                <a:lnTo>
                  <a:pt x="2631783" y="3520749"/>
                </a:lnTo>
                <a:lnTo>
                  <a:pt x="2576079" y="3533167"/>
                </a:lnTo>
                <a:lnTo>
                  <a:pt x="2552643" y="3538747"/>
                </a:lnTo>
                <a:lnTo>
                  <a:pt x="2548104" y="3539401"/>
                </a:lnTo>
                <a:lnTo>
                  <a:pt x="2540397" y="3541118"/>
                </a:lnTo>
                <a:lnTo>
                  <a:pt x="2473383" y="3550158"/>
                </a:lnTo>
                <a:lnTo>
                  <a:pt x="2452420" y="3553176"/>
                </a:lnTo>
                <a:lnTo>
                  <a:pt x="2450212" y="3553284"/>
                </a:lnTo>
                <a:lnTo>
                  <a:pt x="2446216" y="3553824"/>
                </a:lnTo>
                <a:lnTo>
                  <a:pt x="2399737" y="3555943"/>
                </a:lnTo>
                <a:lnTo>
                  <a:pt x="2399737" y="3558529"/>
                </a:lnTo>
                <a:lnTo>
                  <a:pt x="2366297" y="3558529"/>
                </a:lnTo>
                <a:lnTo>
                  <a:pt x="2350286" y="3560726"/>
                </a:lnTo>
                <a:lnTo>
                  <a:pt x="2329679" y="3563743"/>
                </a:lnTo>
                <a:lnTo>
                  <a:pt x="2327509" y="3563851"/>
                </a:lnTo>
                <a:lnTo>
                  <a:pt x="2323580" y="3564391"/>
                </a:lnTo>
                <a:lnTo>
                  <a:pt x="2277890" y="3566510"/>
                </a:lnTo>
                <a:lnTo>
                  <a:pt x="2277890" y="3569096"/>
                </a:lnTo>
                <a:lnTo>
                  <a:pt x="2235765" y="3569096"/>
                </a:lnTo>
                <a:lnTo>
                  <a:pt x="2222205" y="3569096"/>
                </a:lnTo>
                <a:lnTo>
                  <a:pt x="2221889" y="3569096"/>
                </a:lnTo>
                <a:lnTo>
                  <a:pt x="2221889" y="3570333"/>
                </a:lnTo>
                <a:lnTo>
                  <a:pt x="2038520" y="3570333"/>
                </a:lnTo>
                <a:lnTo>
                  <a:pt x="2013539" y="3570333"/>
                </a:lnTo>
                <a:lnTo>
                  <a:pt x="1650818" y="3570333"/>
                </a:lnTo>
                <a:lnTo>
                  <a:pt x="1650818" y="3570744"/>
                </a:lnTo>
                <a:lnTo>
                  <a:pt x="1652012" y="3570744"/>
                </a:lnTo>
                <a:lnTo>
                  <a:pt x="1652012" y="3571721"/>
                </a:lnTo>
                <a:lnTo>
                  <a:pt x="1671221" y="3572716"/>
                </a:lnTo>
                <a:lnTo>
                  <a:pt x="1672387" y="3572898"/>
                </a:lnTo>
                <a:lnTo>
                  <a:pt x="1673940" y="3572984"/>
                </a:lnTo>
                <a:cubicBezTo>
                  <a:pt x="1697387" y="3575588"/>
                  <a:pt x="1720231" y="3580424"/>
                  <a:pt x="1742290" y="3587296"/>
                </a:cubicBezTo>
                <a:lnTo>
                  <a:pt x="1743898" y="3587880"/>
                </a:lnTo>
                <a:lnTo>
                  <a:pt x="1744176" y="3587953"/>
                </a:lnTo>
                <a:lnTo>
                  <a:pt x="1746934" y="3588984"/>
                </a:lnTo>
                <a:lnTo>
                  <a:pt x="1774769" y="3599104"/>
                </a:lnTo>
                <a:lnTo>
                  <a:pt x="1777626" y="3600453"/>
                </a:lnTo>
                <a:lnTo>
                  <a:pt x="1778712" y="3600858"/>
                </a:lnTo>
                <a:lnTo>
                  <a:pt x="1784582" y="3603737"/>
                </a:lnTo>
                <a:lnTo>
                  <a:pt x="1805936" y="3613817"/>
                </a:lnTo>
                <a:lnTo>
                  <a:pt x="1809922" y="3616160"/>
                </a:lnTo>
                <a:lnTo>
                  <a:pt x="1811736" y="3617049"/>
                </a:lnTo>
                <a:lnTo>
                  <a:pt x="1818105" y="3620970"/>
                </a:lnTo>
                <a:lnTo>
                  <a:pt x="1835657" y="3631287"/>
                </a:lnTo>
                <a:lnTo>
                  <a:pt x="1840631" y="3634836"/>
                </a:lnTo>
                <a:lnTo>
                  <a:pt x="1843082" y="3636344"/>
                </a:lnTo>
                <a:lnTo>
                  <a:pt x="1849146" y="3640912"/>
                </a:lnTo>
                <a:lnTo>
                  <a:pt x="1863794" y="3651364"/>
                </a:lnTo>
                <a:lnTo>
                  <a:pt x="1869598" y="3656316"/>
                </a:lnTo>
                <a:lnTo>
                  <a:pt x="1872586" y="3658565"/>
                </a:lnTo>
                <a:lnTo>
                  <a:pt x="1878025" y="3663504"/>
                </a:lnTo>
                <a:lnTo>
                  <a:pt x="1890215" y="3673902"/>
                </a:lnTo>
                <a:lnTo>
                  <a:pt x="1896672" y="3680434"/>
                </a:lnTo>
                <a:lnTo>
                  <a:pt x="1900084" y="3683531"/>
                </a:lnTo>
                <a:lnTo>
                  <a:pt x="1904763" y="3688618"/>
                </a:lnTo>
                <a:lnTo>
                  <a:pt x="1914782" y="3698752"/>
                </a:lnTo>
                <a:lnTo>
                  <a:pt x="1921697" y="3707026"/>
                </a:lnTo>
                <a:lnTo>
                  <a:pt x="1925411" y="3711062"/>
                </a:lnTo>
                <a:lnTo>
                  <a:pt x="1929289" y="3716109"/>
                </a:lnTo>
                <a:lnTo>
                  <a:pt x="1937360" y="3725766"/>
                </a:lnTo>
                <a:lnTo>
                  <a:pt x="1944523" y="3735932"/>
                </a:lnTo>
                <a:lnTo>
                  <a:pt x="1948403" y="3740980"/>
                </a:lnTo>
                <a:lnTo>
                  <a:pt x="1951490" y="3745819"/>
                </a:lnTo>
                <a:lnTo>
                  <a:pt x="1957815" y="3754796"/>
                </a:lnTo>
                <a:lnTo>
                  <a:pt x="1965000" y="3766998"/>
                </a:lnTo>
                <a:lnTo>
                  <a:pt x="1968895" y="3773103"/>
                </a:lnTo>
                <a:lnTo>
                  <a:pt x="1971236" y="3777586"/>
                </a:lnTo>
                <a:lnTo>
                  <a:pt x="1976010" y="3785694"/>
                </a:lnTo>
                <a:lnTo>
                  <a:pt x="1982978" y="3800078"/>
                </a:lnTo>
                <a:lnTo>
                  <a:pt x="1986724" y="3807252"/>
                </a:lnTo>
                <a:lnTo>
                  <a:pt x="1988387" y="3811244"/>
                </a:lnTo>
                <a:lnTo>
                  <a:pt x="1991811" y="3818312"/>
                </a:lnTo>
                <a:lnTo>
                  <a:pt x="1998309" y="3835054"/>
                </a:lnTo>
                <a:lnTo>
                  <a:pt x="2001724" y="3843248"/>
                </a:lnTo>
                <a:lnTo>
                  <a:pt x="2002801" y="3846626"/>
                </a:lnTo>
                <a:lnTo>
                  <a:pt x="2005081" y="3852501"/>
                </a:lnTo>
                <a:lnTo>
                  <a:pt x="2010846" y="3871861"/>
                </a:lnTo>
                <a:lnTo>
                  <a:pt x="2013730" y="3880910"/>
                </a:lnTo>
                <a:lnTo>
                  <a:pt x="2014331" y="3883565"/>
                </a:lnTo>
                <a:lnTo>
                  <a:pt x="2015685" y="3888114"/>
                </a:lnTo>
                <a:lnTo>
                  <a:pt x="2020442" y="3910600"/>
                </a:lnTo>
                <a:lnTo>
                  <a:pt x="2020535" y="3911014"/>
                </a:lnTo>
                <a:lnTo>
                  <a:pt x="2021162" y="3911014"/>
                </a:lnTo>
                <a:lnTo>
                  <a:pt x="2023207" y="3922096"/>
                </a:lnTo>
                <a:lnTo>
                  <a:pt x="2023457" y="3924341"/>
                </a:lnTo>
                <a:lnTo>
                  <a:pt x="2024115" y="3928152"/>
                </a:lnTo>
                <a:lnTo>
                  <a:pt x="2027578" y="3961293"/>
                </a:lnTo>
                <a:lnTo>
                  <a:pt x="2028734" y="3971660"/>
                </a:lnTo>
                <a:lnTo>
                  <a:pt x="2028775" y="3972751"/>
                </a:lnTo>
                <a:lnTo>
                  <a:pt x="2028982" y="3974727"/>
                </a:lnTo>
                <a:lnTo>
                  <a:pt x="2029794" y="3997713"/>
                </a:lnTo>
                <a:lnTo>
                  <a:pt x="2030784" y="3997713"/>
                </a:lnTo>
                <a:lnTo>
                  <a:pt x="2030784" y="4018905"/>
                </a:lnTo>
                <a:lnTo>
                  <a:pt x="2030784" y="4025726"/>
                </a:lnTo>
                <a:lnTo>
                  <a:pt x="2030784" y="4025885"/>
                </a:lnTo>
                <a:lnTo>
                  <a:pt x="2030784" y="4025886"/>
                </a:lnTo>
                <a:lnTo>
                  <a:pt x="2031258" y="4025886"/>
                </a:lnTo>
                <a:lnTo>
                  <a:pt x="2031258" y="4065384"/>
                </a:lnTo>
                <a:lnTo>
                  <a:pt x="2031258" y="4127703"/>
                </a:lnTo>
                <a:lnTo>
                  <a:pt x="2031258" y="4168958"/>
                </a:lnTo>
                <a:lnTo>
                  <a:pt x="2031258" y="4340879"/>
                </a:lnTo>
                <a:lnTo>
                  <a:pt x="2031258" y="4350450"/>
                </a:lnTo>
                <a:lnTo>
                  <a:pt x="2031258" y="4385812"/>
                </a:lnTo>
                <a:lnTo>
                  <a:pt x="2031258" y="4395548"/>
                </a:lnTo>
                <a:lnTo>
                  <a:pt x="2031258" y="4420700"/>
                </a:lnTo>
                <a:lnTo>
                  <a:pt x="2031258" y="4442154"/>
                </a:lnTo>
                <a:lnTo>
                  <a:pt x="2031258" y="4467010"/>
                </a:lnTo>
                <a:lnTo>
                  <a:pt x="2031258" y="4488834"/>
                </a:lnTo>
                <a:lnTo>
                  <a:pt x="2030789" y="4488834"/>
                </a:lnTo>
                <a:lnTo>
                  <a:pt x="2030789" y="4825652"/>
                </a:lnTo>
                <a:lnTo>
                  <a:pt x="2030789" y="4878949"/>
                </a:lnTo>
                <a:lnTo>
                  <a:pt x="2004140" y="4878949"/>
                </a:lnTo>
                <a:lnTo>
                  <a:pt x="1768470" y="4878949"/>
                </a:lnTo>
                <a:lnTo>
                  <a:pt x="1750503" y="4878949"/>
                </a:lnTo>
                <a:lnTo>
                  <a:pt x="1741822" y="4878949"/>
                </a:lnTo>
                <a:lnTo>
                  <a:pt x="1723854" y="4878949"/>
                </a:lnTo>
                <a:lnTo>
                  <a:pt x="1634240" y="4878949"/>
                </a:lnTo>
                <a:lnTo>
                  <a:pt x="1634005" y="4878949"/>
                </a:lnTo>
                <a:lnTo>
                  <a:pt x="1634002" y="4878949"/>
                </a:lnTo>
                <a:lnTo>
                  <a:pt x="1633998" y="4878949"/>
                </a:lnTo>
                <a:lnTo>
                  <a:pt x="1615361" y="4878949"/>
                </a:lnTo>
                <a:lnTo>
                  <a:pt x="1607591" y="4878949"/>
                </a:lnTo>
                <a:lnTo>
                  <a:pt x="1607357" y="4878949"/>
                </a:lnTo>
                <a:lnTo>
                  <a:pt x="1607354" y="4878949"/>
                </a:lnTo>
                <a:lnTo>
                  <a:pt x="1607350" y="4878949"/>
                </a:lnTo>
                <a:lnTo>
                  <a:pt x="1588712" y="4878949"/>
                </a:lnTo>
                <a:lnTo>
                  <a:pt x="1488184" y="4878949"/>
                </a:lnTo>
                <a:lnTo>
                  <a:pt x="1461535" y="4878949"/>
                </a:lnTo>
                <a:lnTo>
                  <a:pt x="1371921" y="4878949"/>
                </a:lnTo>
                <a:lnTo>
                  <a:pt x="1371687" y="4878949"/>
                </a:lnTo>
                <a:lnTo>
                  <a:pt x="1371683" y="4878949"/>
                </a:lnTo>
                <a:lnTo>
                  <a:pt x="1371679" y="4878949"/>
                </a:lnTo>
                <a:lnTo>
                  <a:pt x="1367507" y="4878949"/>
                </a:lnTo>
                <a:lnTo>
                  <a:pt x="1353954" y="4878949"/>
                </a:lnTo>
                <a:lnTo>
                  <a:pt x="1353719" y="4878949"/>
                </a:lnTo>
                <a:lnTo>
                  <a:pt x="1353716" y="4878949"/>
                </a:lnTo>
                <a:lnTo>
                  <a:pt x="1353712" y="4878949"/>
                </a:lnTo>
                <a:lnTo>
                  <a:pt x="1353043" y="4878949"/>
                </a:lnTo>
                <a:lnTo>
                  <a:pt x="1345272" y="4878949"/>
                </a:lnTo>
                <a:lnTo>
                  <a:pt x="1345038" y="4878949"/>
                </a:lnTo>
                <a:lnTo>
                  <a:pt x="1345035" y="4878949"/>
                </a:lnTo>
                <a:lnTo>
                  <a:pt x="1345031" y="4878949"/>
                </a:lnTo>
                <a:lnTo>
                  <a:pt x="1340858" y="4878949"/>
                </a:lnTo>
                <a:lnTo>
                  <a:pt x="1335075" y="4878949"/>
                </a:lnTo>
                <a:lnTo>
                  <a:pt x="1327305" y="4878949"/>
                </a:lnTo>
                <a:lnTo>
                  <a:pt x="1327071" y="4878949"/>
                </a:lnTo>
                <a:lnTo>
                  <a:pt x="1327067" y="4878949"/>
                </a:lnTo>
                <a:lnTo>
                  <a:pt x="1327063" y="4878949"/>
                </a:lnTo>
                <a:lnTo>
                  <a:pt x="1326394" y="4878949"/>
                </a:lnTo>
                <a:lnTo>
                  <a:pt x="1308426" y="4878949"/>
                </a:lnTo>
                <a:lnTo>
                  <a:pt x="1105188" y="4878949"/>
                </a:lnTo>
                <a:lnTo>
                  <a:pt x="1091635" y="4878949"/>
                </a:lnTo>
                <a:lnTo>
                  <a:pt x="1091401" y="4878949"/>
                </a:lnTo>
                <a:lnTo>
                  <a:pt x="1091397" y="4878949"/>
                </a:lnTo>
                <a:lnTo>
                  <a:pt x="1091393" y="4878949"/>
                </a:lnTo>
                <a:lnTo>
                  <a:pt x="1087221" y="4878949"/>
                </a:lnTo>
                <a:lnTo>
                  <a:pt x="1078540" y="4878949"/>
                </a:lnTo>
                <a:lnTo>
                  <a:pt x="1072756" y="4878949"/>
                </a:lnTo>
                <a:lnTo>
                  <a:pt x="1064986" y="4878949"/>
                </a:lnTo>
                <a:lnTo>
                  <a:pt x="1064752" y="4878949"/>
                </a:lnTo>
                <a:lnTo>
                  <a:pt x="1064748" y="4878949"/>
                </a:lnTo>
                <a:lnTo>
                  <a:pt x="1064745" y="4878949"/>
                </a:lnTo>
                <a:lnTo>
                  <a:pt x="1060572" y="4878949"/>
                </a:lnTo>
                <a:lnTo>
                  <a:pt x="1046108" y="4878949"/>
                </a:lnTo>
                <a:lnTo>
                  <a:pt x="970958" y="4878949"/>
                </a:lnTo>
                <a:lnTo>
                  <a:pt x="970723" y="4878949"/>
                </a:lnTo>
                <a:lnTo>
                  <a:pt x="970720" y="4878949"/>
                </a:lnTo>
                <a:lnTo>
                  <a:pt x="970716" y="4878949"/>
                </a:lnTo>
                <a:lnTo>
                  <a:pt x="952079" y="4878949"/>
                </a:lnTo>
                <a:lnTo>
                  <a:pt x="944309" y="4878949"/>
                </a:lnTo>
                <a:lnTo>
                  <a:pt x="944075" y="4878949"/>
                </a:lnTo>
                <a:lnTo>
                  <a:pt x="944072" y="4878949"/>
                </a:lnTo>
                <a:lnTo>
                  <a:pt x="944068" y="4878949"/>
                </a:lnTo>
                <a:lnTo>
                  <a:pt x="925430" y="4878949"/>
                </a:lnTo>
                <a:lnTo>
                  <a:pt x="824902" y="4878949"/>
                </a:lnTo>
                <a:lnTo>
                  <a:pt x="798253" y="4878949"/>
                </a:lnTo>
                <a:lnTo>
                  <a:pt x="708639" y="4878949"/>
                </a:lnTo>
                <a:lnTo>
                  <a:pt x="708405" y="4878949"/>
                </a:lnTo>
                <a:lnTo>
                  <a:pt x="708401" y="4878949"/>
                </a:lnTo>
                <a:lnTo>
                  <a:pt x="708397" y="4878949"/>
                </a:lnTo>
                <a:lnTo>
                  <a:pt x="690672" y="4878949"/>
                </a:lnTo>
                <a:lnTo>
                  <a:pt x="690437" y="4878949"/>
                </a:lnTo>
                <a:lnTo>
                  <a:pt x="690434" y="4878949"/>
                </a:lnTo>
                <a:lnTo>
                  <a:pt x="690430" y="4878949"/>
                </a:lnTo>
                <a:lnTo>
                  <a:pt x="689761" y="4878949"/>
                </a:lnTo>
                <a:lnTo>
                  <a:pt x="681990" y="4878949"/>
                </a:lnTo>
                <a:lnTo>
                  <a:pt x="681756" y="4878949"/>
                </a:lnTo>
                <a:lnTo>
                  <a:pt x="681753" y="4878949"/>
                </a:lnTo>
                <a:lnTo>
                  <a:pt x="681749" y="4878949"/>
                </a:lnTo>
                <a:lnTo>
                  <a:pt x="671793" y="4878949"/>
                </a:lnTo>
                <a:lnTo>
                  <a:pt x="664023" y="4878949"/>
                </a:lnTo>
                <a:lnTo>
                  <a:pt x="663789" y="4878949"/>
                </a:lnTo>
                <a:lnTo>
                  <a:pt x="663785" y="4878949"/>
                </a:lnTo>
                <a:lnTo>
                  <a:pt x="663781" y="4878949"/>
                </a:lnTo>
                <a:lnTo>
                  <a:pt x="663112" y="4878949"/>
                </a:lnTo>
                <a:lnTo>
                  <a:pt x="645144" y="4878949"/>
                </a:lnTo>
                <a:lnTo>
                  <a:pt x="428353" y="4878949"/>
                </a:lnTo>
                <a:lnTo>
                  <a:pt x="428119" y="4878949"/>
                </a:lnTo>
                <a:lnTo>
                  <a:pt x="428115" y="4878949"/>
                </a:lnTo>
                <a:lnTo>
                  <a:pt x="428111" y="4878949"/>
                </a:lnTo>
                <a:lnTo>
                  <a:pt x="409474" y="4878949"/>
                </a:lnTo>
                <a:lnTo>
                  <a:pt x="401704" y="4878949"/>
                </a:lnTo>
                <a:lnTo>
                  <a:pt x="401470" y="4878949"/>
                </a:lnTo>
                <a:lnTo>
                  <a:pt x="401466" y="4878949"/>
                </a:lnTo>
                <a:lnTo>
                  <a:pt x="401462" y="4878949"/>
                </a:lnTo>
                <a:lnTo>
                  <a:pt x="382826" y="4878949"/>
                </a:lnTo>
                <a:lnTo>
                  <a:pt x="382826" y="4878022"/>
                </a:lnTo>
                <a:lnTo>
                  <a:pt x="363616" y="4877077"/>
                </a:lnTo>
                <a:lnTo>
                  <a:pt x="362450" y="4876905"/>
                </a:lnTo>
                <a:lnTo>
                  <a:pt x="360898" y="4876823"/>
                </a:lnTo>
                <a:cubicBezTo>
                  <a:pt x="337450" y="4874352"/>
                  <a:pt x="314607" y="4869762"/>
                  <a:pt x="292547" y="4863240"/>
                </a:cubicBezTo>
                <a:lnTo>
                  <a:pt x="290939" y="4862685"/>
                </a:lnTo>
                <a:lnTo>
                  <a:pt x="290662" y="4862616"/>
                </a:lnTo>
                <a:lnTo>
                  <a:pt x="287903" y="4861637"/>
                </a:lnTo>
                <a:lnTo>
                  <a:pt x="260068" y="4852032"/>
                </a:lnTo>
                <a:lnTo>
                  <a:pt x="257211" y="4850752"/>
                </a:lnTo>
                <a:lnTo>
                  <a:pt x="256125" y="4850367"/>
                </a:lnTo>
                <a:lnTo>
                  <a:pt x="250255" y="4847636"/>
                </a:lnTo>
                <a:lnTo>
                  <a:pt x="228901" y="4838068"/>
                </a:lnTo>
                <a:lnTo>
                  <a:pt x="224915" y="4835845"/>
                </a:lnTo>
                <a:lnTo>
                  <a:pt x="223101" y="4835001"/>
                </a:lnTo>
                <a:lnTo>
                  <a:pt x="216732" y="4831280"/>
                </a:lnTo>
                <a:lnTo>
                  <a:pt x="199181" y="4821488"/>
                </a:lnTo>
                <a:lnTo>
                  <a:pt x="194206" y="4818119"/>
                </a:lnTo>
                <a:lnTo>
                  <a:pt x="191756" y="4816688"/>
                </a:lnTo>
                <a:lnTo>
                  <a:pt x="185691" y="4812352"/>
                </a:lnTo>
                <a:lnTo>
                  <a:pt x="171043" y="4802432"/>
                </a:lnTo>
                <a:lnTo>
                  <a:pt x="165239" y="4797733"/>
                </a:lnTo>
                <a:lnTo>
                  <a:pt x="162251" y="4795598"/>
                </a:lnTo>
                <a:lnTo>
                  <a:pt x="156813" y="4790911"/>
                </a:lnTo>
                <a:lnTo>
                  <a:pt x="144622" y="4781042"/>
                </a:lnTo>
                <a:lnTo>
                  <a:pt x="138166" y="4774843"/>
                </a:lnTo>
                <a:lnTo>
                  <a:pt x="134753" y="4771903"/>
                </a:lnTo>
                <a:lnTo>
                  <a:pt x="130074" y="4767074"/>
                </a:lnTo>
                <a:lnTo>
                  <a:pt x="120055" y="4757456"/>
                </a:lnTo>
                <a:lnTo>
                  <a:pt x="113140" y="4749604"/>
                </a:lnTo>
                <a:lnTo>
                  <a:pt x="109426" y="4745772"/>
                </a:lnTo>
                <a:lnTo>
                  <a:pt x="105548" y="4740983"/>
                </a:lnTo>
                <a:lnTo>
                  <a:pt x="97477" y="4731817"/>
                </a:lnTo>
                <a:lnTo>
                  <a:pt x="90314" y="4722168"/>
                </a:lnTo>
                <a:lnTo>
                  <a:pt x="86434" y="4717378"/>
                </a:lnTo>
                <a:lnTo>
                  <a:pt x="83347" y="4712785"/>
                </a:lnTo>
                <a:lnTo>
                  <a:pt x="77022" y="4704265"/>
                </a:lnTo>
                <a:lnTo>
                  <a:pt x="69837" y="4692685"/>
                </a:lnTo>
                <a:lnTo>
                  <a:pt x="65942" y="4686890"/>
                </a:lnTo>
                <a:lnTo>
                  <a:pt x="63602" y="4682635"/>
                </a:lnTo>
                <a:lnTo>
                  <a:pt x="58827" y="4674940"/>
                </a:lnTo>
                <a:lnTo>
                  <a:pt x="51860" y="4661288"/>
                </a:lnTo>
                <a:lnTo>
                  <a:pt x="48114" y="4654479"/>
                </a:lnTo>
                <a:lnTo>
                  <a:pt x="46451" y="4650690"/>
                </a:lnTo>
                <a:lnTo>
                  <a:pt x="43027" y="4643982"/>
                </a:lnTo>
                <a:lnTo>
                  <a:pt x="36529" y="4628092"/>
                </a:lnTo>
                <a:lnTo>
                  <a:pt x="33114" y="4620315"/>
                </a:lnTo>
                <a:lnTo>
                  <a:pt x="32037" y="4617109"/>
                </a:lnTo>
                <a:lnTo>
                  <a:pt x="29757" y="4611533"/>
                </a:lnTo>
                <a:lnTo>
                  <a:pt x="23992" y="4593159"/>
                </a:lnTo>
                <a:lnTo>
                  <a:pt x="21107" y="4584570"/>
                </a:lnTo>
                <a:lnTo>
                  <a:pt x="20507" y="4582050"/>
                </a:lnTo>
                <a:lnTo>
                  <a:pt x="19153" y="4577733"/>
                </a:lnTo>
                <a:lnTo>
                  <a:pt x="14395" y="4556392"/>
                </a:lnTo>
                <a:lnTo>
                  <a:pt x="12257" y="4547414"/>
                </a:lnTo>
                <a:lnTo>
                  <a:pt x="12007" y="4545675"/>
                </a:lnTo>
                <a:lnTo>
                  <a:pt x="11349" y="4542722"/>
                </a:lnTo>
                <a:lnTo>
                  <a:pt x="7886" y="4517048"/>
                </a:lnTo>
                <a:lnTo>
                  <a:pt x="6730" y="4509017"/>
                </a:lnTo>
                <a:lnTo>
                  <a:pt x="6688" y="4508172"/>
                </a:lnTo>
                <a:lnTo>
                  <a:pt x="6481" y="4506641"/>
                </a:lnTo>
                <a:lnTo>
                  <a:pt x="5670" y="4488834"/>
                </a:lnTo>
                <a:lnTo>
                  <a:pt x="4679" y="4488834"/>
                </a:lnTo>
                <a:lnTo>
                  <a:pt x="4679" y="4476023"/>
                </a:lnTo>
                <a:lnTo>
                  <a:pt x="3837" y="4469889"/>
                </a:lnTo>
                <a:lnTo>
                  <a:pt x="2681" y="4461995"/>
                </a:lnTo>
                <a:lnTo>
                  <a:pt x="2640" y="4461163"/>
                </a:lnTo>
                <a:lnTo>
                  <a:pt x="2433" y="4459658"/>
                </a:lnTo>
                <a:lnTo>
                  <a:pt x="1621" y="4442154"/>
                </a:lnTo>
                <a:lnTo>
                  <a:pt x="631" y="4442154"/>
                </a:lnTo>
                <a:lnTo>
                  <a:pt x="631" y="4426015"/>
                </a:lnTo>
                <a:lnTo>
                  <a:pt x="631" y="4420821"/>
                </a:lnTo>
                <a:lnTo>
                  <a:pt x="631" y="4420700"/>
                </a:lnTo>
                <a:lnTo>
                  <a:pt x="156" y="4420700"/>
                </a:lnTo>
                <a:lnTo>
                  <a:pt x="156" y="4350450"/>
                </a:lnTo>
                <a:lnTo>
                  <a:pt x="156" y="4340879"/>
                </a:lnTo>
                <a:lnTo>
                  <a:pt x="156" y="4127703"/>
                </a:lnTo>
                <a:lnTo>
                  <a:pt x="156" y="4025885"/>
                </a:lnTo>
                <a:lnTo>
                  <a:pt x="156" y="3997713"/>
                </a:lnTo>
                <a:lnTo>
                  <a:pt x="626" y="3997713"/>
                </a:lnTo>
                <a:lnTo>
                  <a:pt x="626" y="3911014"/>
                </a:lnTo>
                <a:lnTo>
                  <a:pt x="0" y="3911014"/>
                </a:lnTo>
                <a:lnTo>
                  <a:pt x="0" y="3908592"/>
                </a:lnTo>
                <a:lnTo>
                  <a:pt x="0" y="3570744"/>
                </a:lnTo>
                <a:lnTo>
                  <a:pt x="0" y="2076617"/>
                </a:lnTo>
                <a:lnTo>
                  <a:pt x="3302" y="2076617"/>
                </a:lnTo>
                <a:lnTo>
                  <a:pt x="3302" y="2074287"/>
                </a:lnTo>
                <a:lnTo>
                  <a:pt x="3302" y="1850939"/>
                </a:lnTo>
                <a:lnTo>
                  <a:pt x="3302" y="1850328"/>
                </a:lnTo>
                <a:lnTo>
                  <a:pt x="3301" y="1850319"/>
                </a:lnTo>
                <a:lnTo>
                  <a:pt x="3302" y="1850309"/>
                </a:lnTo>
                <a:lnTo>
                  <a:pt x="3302" y="1804040"/>
                </a:lnTo>
                <a:lnTo>
                  <a:pt x="3302" y="1803429"/>
                </a:lnTo>
                <a:lnTo>
                  <a:pt x="3301" y="1803419"/>
                </a:lnTo>
                <a:lnTo>
                  <a:pt x="3302" y="1803409"/>
                </a:lnTo>
                <a:lnTo>
                  <a:pt x="3302" y="1801662"/>
                </a:lnTo>
                <a:lnTo>
                  <a:pt x="3302" y="1770814"/>
                </a:lnTo>
                <a:lnTo>
                  <a:pt x="3302" y="1770203"/>
                </a:lnTo>
                <a:lnTo>
                  <a:pt x="3301" y="1770192"/>
                </a:lnTo>
                <a:lnTo>
                  <a:pt x="3302" y="1770183"/>
                </a:lnTo>
                <a:lnTo>
                  <a:pt x="3302" y="1754762"/>
                </a:lnTo>
                <a:lnTo>
                  <a:pt x="3302" y="1723914"/>
                </a:lnTo>
                <a:lnTo>
                  <a:pt x="3302" y="1723304"/>
                </a:lnTo>
                <a:lnTo>
                  <a:pt x="3301" y="1723293"/>
                </a:lnTo>
                <a:lnTo>
                  <a:pt x="3302" y="1723284"/>
                </a:lnTo>
                <a:lnTo>
                  <a:pt x="3302" y="1721537"/>
                </a:lnTo>
                <a:lnTo>
                  <a:pt x="3302" y="1674636"/>
                </a:lnTo>
                <a:lnTo>
                  <a:pt x="3302" y="1119326"/>
                </a:lnTo>
                <a:lnTo>
                  <a:pt x="3302" y="1118715"/>
                </a:lnTo>
                <a:lnTo>
                  <a:pt x="3301" y="1118705"/>
                </a:lnTo>
                <a:lnTo>
                  <a:pt x="3302" y="1118695"/>
                </a:lnTo>
                <a:lnTo>
                  <a:pt x="3302" y="1070048"/>
                </a:lnTo>
                <a:lnTo>
                  <a:pt x="3302" y="1039200"/>
                </a:lnTo>
                <a:lnTo>
                  <a:pt x="3302" y="1038590"/>
                </a:lnTo>
                <a:lnTo>
                  <a:pt x="3301" y="1038579"/>
                </a:lnTo>
                <a:lnTo>
                  <a:pt x="3302" y="1038570"/>
                </a:lnTo>
                <a:lnTo>
                  <a:pt x="3302" y="989923"/>
                </a:lnTo>
                <a:lnTo>
                  <a:pt x="5852" y="989923"/>
                </a:lnTo>
                <a:lnTo>
                  <a:pt x="8449" y="939781"/>
                </a:lnTo>
                <a:lnTo>
                  <a:pt x="8925" y="936738"/>
                </a:lnTo>
                <a:lnTo>
                  <a:pt x="9149" y="932684"/>
                </a:lnTo>
                <a:cubicBezTo>
                  <a:pt x="15946" y="871482"/>
                  <a:pt x="28569" y="811856"/>
                  <a:pt x="46506" y="754274"/>
                </a:cubicBezTo>
                <a:lnTo>
                  <a:pt x="48032" y="750077"/>
                </a:lnTo>
                <a:lnTo>
                  <a:pt x="48222" y="749353"/>
                </a:lnTo>
                <a:lnTo>
                  <a:pt x="50914" y="742152"/>
                </a:lnTo>
                <a:lnTo>
                  <a:pt x="77329" y="669497"/>
                </a:lnTo>
                <a:lnTo>
                  <a:pt x="80849" y="662039"/>
                </a:lnTo>
                <a:lnTo>
                  <a:pt x="81908" y="659204"/>
                </a:lnTo>
                <a:lnTo>
                  <a:pt x="89422" y="643883"/>
                </a:lnTo>
                <a:lnTo>
                  <a:pt x="115734" y="588143"/>
                </a:lnTo>
                <a:lnTo>
                  <a:pt x="121848" y="577740"/>
                </a:lnTo>
                <a:lnTo>
                  <a:pt x="124169" y="573005"/>
                </a:lnTo>
                <a:lnTo>
                  <a:pt x="134403" y="556381"/>
                </a:lnTo>
                <a:lnTo>
                  <a:pt x="161333" y="510566"/>
                </a:lnTo>
                <a:lnTo>
                  <a:pt x="170598" y="497582"/>
                </a:lnTo>
                <a:lnTo>
                  <a:pt x="174534" y="491185"/>
                </a:lnTo>
                <a:lnTo>
                  <a:pt x="186458" y="475354"/>
                </a:lnTo>
                <a:lnTo>
                  <a:pt x="213741" y="437120"/>
                </a:lnTo>
                <a:lnTo>
                  <a:pt x="226666" y="421970"/>
                </a:lnTo>
                <a:lnTo>
                  <a:pt x="232537" y="414172"/>
                </a:lnTo>
                <a:lnTo>
                  <a:pt x="245428" y="399975"/>
                </a:lnTo>
                <a:lnTo>
                  <a:pt x="272569" y="368155"/>
                </a:lnTo>
                <a:lnTo>
                  <a:pt x="289619" y="351302"/>
                </a:lnTo>
                <a:lnTo>
                  <a:pt x="297703" y="342396"/>
                </a:lnTo>
                <a:lnTo>
                  <a:pt x="310983" y="330181"/>
                </a:lnTo>
                <a:lnTo>
                  <a:pt x="337434" y="304029"/>
                </a:lnTo>
                <a:lnTo>
                  <a:pt x="359031" y="285980"/>
                </a:lnTo>
                <a:lnTo>
                  <a:pt x="369567" y="276286"/>
                </a:lnTo>
                <a:lnTo>
                  <a:pt x="382740" y="266163"/>
                </a:lnTo>
                <a:lnTo>
                  <a:pt x="407948" y="245095"/>
                </a:lnTo>
                <a:lnTo>
                  <a:pt x="434483" y="226398"/>
                </a:lnTo>
                <a:lnTo>
                  <a:pt x="447659" y="216272"/>
                </a:lnTo>
                <a:lnTo>
                  <a:pt x="460291" y="208214"/>
                </a:lnTo>
                <a:lnTo>
                  <a:pt x="483722" y="191703"/>
                </a:lnTo>
                <a:lnTo>
                  <a:pt x="515572" y="172948"/>
                </a:lnTo>
                <a:lnTo>
                  <a:pt x="531508" y="162782"/>
                </a:lnTo>
                <a:lnTo>
                  <a:pt x="543209" y="156673"/>
                </a:lnTo>
                <a:lnTo>
                  <a:pt x="564373" y="144210"/>
                </a:lnTo>
                <a:lnTo>
                  <a:pt x="601919" y="126023"/>
                </a:lnTo>
                <a:lnTo>
                  <a:pt x="620646" y="116246"/>
                </a:lnTo>
                <a:lnTo>
                  <a:pt x="631065" y="111905"/>
                </a:lnTo>
                <a:lnTo>
                  <a:pt x="649513" y="102967"/>
                </a:lnTo>
                <a:lnTo>
                  <a:pt x="693215" y="86005"/>
                </a:lnTo>
                <a:lnTo>
                  <a:pt x="714604" y="77091"/>
                </a:lnTo>
                <a:lnTo>
                  <a:pt x="723421" y="74281"/>
                </a:lnTo>
                <a:lnTo>
                  <a:pt x="738755" y="68329"/>
                </a:lnTo>
                <a:lnTo>
                  <a:pt x="789290" y="53281"/>
                </a:lnTo>
                <a:lnTo>
                  <a:pt x="812911" y="45751"/>
                </a:lnTo>
                <a:lnTo>
                  <a:pt x="819840" y="44184"/>
                </a:lnTo>
                <a:lnTo>
                  <a:pt x="831714" y="40649"/>
                </a:lnTo>
                <a:lnTo>
                  <a:pt x="890408" y="28233"/>
                </a:lnTo>
                <a:lnTo>
                  <a:pt x="891488" y="27989"/>
                </a:lnTo>
                <a:lnTo>
                  <a:pt x="891488" y="26353"/>
                </a:lnTo>
                <a:lnTo>
                  <a:pt x="920414" y="21016"/>
                </a:lnTo>
                <a:lnTo>
                  <a:pt x="926275" y="20363"/>
                </a:lnTo>
                <a:lnTo>
                  <a:pt x="936223" y="18645"/>
                </a:lnTo>
                <a:lnTo>
                  <a:pt x="1022729" y="9605"/>
                </a:lnTo>
                <a:lnTo>
                  <a:pt x="1049789" y="6588"/>
                </a:lnTo>
                <a:lnTo>
                  <a:pt x="1052637" y="6482"/>
                </a:lnTo>
                <a:lnTo>
                  <a:pt x="1057795" y="5941"/>
                </a:lnTo>
                <a:lnTo>
                  <a:pt x="1117794" y="3821"/>
                </a:lnTo>
                <a:lnTo>
                  <a:pt x="1117794" y="1237"/>
                </a:lnTo>
                <a:lnTo>
                  <a:pt x="1173109" y="1237"/>
                </a:lnTo>
                <a:lnTo>
                  <a:pt x="1190915" y="1237"/>
                </a:lnTo>
                <a:lnTo>
                  <a:pt x="1191329" y="1237"/>
                </a:lnTo>
                <a:lnTo>
                  <a:pt x="1191331" y="12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58891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B243513-C860-481A-B891-C8D2C3C9E5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658" y="1857854"/>
            <a:ext cx="2857979" cy="4655571"/>
          </a:xfrm>
          <a:custGeom>
            <a:avLst/>
            <a:gdLst>
              <a:gd name="connsiteX0" fmla="*/ 1428980 w 2857979"/>
              <a:gd name="connsiteY0" fmla="*/ 0 h 4655571"/>
              <a:gd name="connsiteX1" fmla="*/ 1428995 w 2857979"/>
              <a:gd name="connsiteY1" fmla="*/ 1 h 4655571"/>
              <a:gd name="connsiteX2" fmla="*/ 1496034 w 2857979"/>
              <a:gd name="connsiteY2" fmla="*/ 1 h 4655571"/>
              <a:gd name="connsiteX3" fmla="*/ 1496034 w 2857979"/>
              <a:gd name="connsiteY3" fmla="*/ 3215 h 4655571"/>
              <a:gd name="connsiteX4" fmla="*/ 1565136 w 2857979"/>
              <a:gd name="connsiteY4" fmla="*/ 6488 h 4655571"/>
              <a:gd name="connsiteX5" fmla="*/ 1569329 w 2857979"/>
              <a:gd name="connsiteY5" fmla="*/ 7088 h 4655571"/>
              <a:gd name="connsiteX6" fmla="*/ 1574913 w 2857979"/>
              <a:gd name="connsiteY6" fmla="*/ 7369 h 4655571"/>
              <a:gd name="connsiteX7" fmla="*/ 1820778 w 2857979"/>
              <a:gd name="connsiteY7" fmla="*/ 54447 h 4655571"/>
              <a:gd name="connsiteX8" fmla="*/ 1826563 w 2857979"/>
              <a:gd name="connsiteY8" fmla="*/ 56369 h 4655571"/>
              <a:gd name="connsiteX9" fmla="*/ 1827559 w 2857979"/>
              <a:gd name="connsiteY9" fmla="*/ 56610 h 4655571"/>
              <a:gd name="connsiteX10" fmla="*/ 1837483 w 2857979"/>
              <a:gd name="connsiteY10" fmla="*/ 60001 h 4655571"/>
              <a:gd name="connsiteX11" fmla="*/ 1937608 w 2857979"/>
              <a:gd name="connsiteY11" fmla="*/ 93290 h 4655571"/>
              <a:gd name="connsiteX12" fmla="*/ 1947886 w 2857979"/>
              <a:gd name="connsiteY12" fmla="*/ 97727 h 4655571"/>
              <a:gd name="connsiteX13" fmla="*/ 1951791 w 2857979"/>
              <a:gd name="connsiteY13" fmla="*/ 99062 h 4655571"/>
              <a:gd name="connsiteX14" fmla="*/ 1972906 w 2857979"/>
              <a:gd name="connsiteY14" fmla="*/ 108529 h 4655571"/>
              <a:gd name="connsiteX15" fmla="*/ 2049720 w 2857979"/>
              <a:gd name="connsiteY15" fmla="*/ 141688 h 4655571"/>
              <a:gd name="connsiteX16" fmla="*/ 2064057 w 2857979"/>
              <a:gd name="connsiteY16" fmla="*/ 149394 h 4655571"/>
              <a:gd name="connsiteX17" fmla="*/ 2070581 w 2857979"/>
              <a:gd name="connsiteY17" fmla="*/ 152319 h 4655571"/>
              <a:gd name="connsiteX18" fmla="*/ 2093493 w 2857979"/>
              <a:gd name="connsiteY18" fmla="*/ 165217 h 4655571"/>
              <a:gd name="connsiteX19" fmla="*/ 2156628 w 2857979"/>
              <a:gd name="connsiteY19" fmla="*/ 199153 h 4655571"/>
              <a:gd name="connsiteX20" fmla="*/ 2174520 w 2857979"/>
              <a:gd name="connsiteY20" fmla="*/ 210829 h 4655571"/>
              <a:gd name="connsiteX21" fmla="*/ 2183337 w 2857979"/>
              <a:gd name="connsiteY21" fmla="*/ 215789 h 4655571"/>
              <a:gd name="connsiteX22" fmla="*/ 2205153 w 2857979"/>
              <a:gd name="connsiteY22" fmla="*/ 230816 h 4655571"/>
              <a:gd name="connsiteX23" fmla="*/ 2257845 w 2857979"/>
              <a:gd name="connsiteY23" fmla="*/ 265197 h 4655571"/>
              <a:gd name="connsiteX24" fmla="*/ 2278722 w 2857979"/>
              <a:gd name="connsiteY24" fmla="*/ 281484 h 4655571"/>
              <a:gd name="connsiteX25" fmla="*/ 2289467 w 2857979"/>
              <a:gd name="connsiteY25" fmla="*/ 288883 h 4655571"/>
              <a:gd name="connsiteX26" fmla="*/ 2309032 w 2857979"/>
              <a:gd name="connsiteY26" fmla="*/ 305128 h 4655571"/>
              <a:gd name="connsiteX27" fmla="*/ 2352881 w 2857979"/>
              <a:gd name="connsiteY27" fmla="*/ 339335 h 4655571"/>
              <a:gd name="connsiteX28" fmla="*/ 2376107 w 2857979"/>
              <a:gd name="connsiteY28" fmla="*/ 360819 h 4655571"/>
              <a:gd name="connsiteX29" fmla="*/ 2388380 w 2857979"/>
              <a:gd name="connsiteY29" fmla="*/ 371008 h 4655571"/>
              <a:gd name="connsiteX30" fmla="*/ 2405214 w 2857979"/>
              <a:gd name="connsiteY30" fmla="*/ 387741 h 4655571"/>
              <a:gd name="connsiteX31" fmla="*/ 2441252 w 2857979"/>
              <a:gd name="connsiteY31" fmla="*/ 421077 h 4655571"/>
              <a:gd name="connsiteX32" fmla="*/ 2466127 w 2857979"/>
              <a:gd name="connsiteY32" fmla="*/ 448293 h 4655571"/>
              <a:gd name="connsiteX33" fmla="*/ 2479485 w 2857979"/>
              <a:gd name="connsiteY33" fmla="*/ 461571 h 4655571"/>
              <a:gd name="connsiteX34" fmla="*/ 2493436 w 2857979"/>
              <a:gd name="connsiteY34" fmla="*/ 478171 h 4655571"/>
              <a:gd name="connsiteX35" fmla="*/ 2522470 w 2857979"/>
              <a:gd name="connsiteY35" fmla="*/ 509938 h 4655571"/>
              <a:gd name="connsiteX36" fmla="*/ 2548236 w 2857979"/>
              <a:gd name="connsiteY36" fmla="*/ 543379 h 4655571"/>
              <a:gd name="connsiteX37" fmla="*/ 2562191 w 2857979"/>
              <a:gd name="connsiteY37" fmla="*/ 559982 h 4655571"/>
              <a:gd name="connsiteX38" fmla="*/ 2573295 w 2857979"/>
              <a:gd name="connsiteY38" fmla="*/ 575901 h 4655571"/>
              <a:gd name="connsiteX39" fmla="*/ 2596047 w 2857979"/>
              <a:gd name="connsiteY39" fmla="*/ 605429 h 4655571"/>
              <a:gd name="connsiteX40" fmla="*/ 2621892 w 2857979"/>
              <a:gd name="connsiteY40" fmla="*/ 645566 h 4655571"/>
              <a:gd name="connsiteX41" fmla="*/ 2635905 w 2857979"/>
              <a:gd name="connsiteY41" fmla="*/ 665649 h 4655571"/>
              <a:gd name="connsiteX42" fmla="*/ 2644323 w 2857979"/>
              <a:gd name="connsiteY42" fmla="*/ 680395 h 4655571"/>
              <a:gd name="connsiteX43" fmla="*/ 2661498 w 2857979"/>
              <a:gd name="connsiteY43" fmla="*/ 707066 h 4655571"/>
              <a:gd name="connsiteX44" fmla="*/ 2686560 w 2857979"/>
              <a:gd name="connsiteY44" fmla="*/ 754381 h 4655571"/>
              <a:gd name="connsiteX45" fmla="*/ 2700035 w 2857979"/>
              <a:gd name="connsiteY45" fmla="*/ 777982 h 4655571"/>
              <a:gd name="connsiteX46" fmla="*/ 2706018 w 2857979"/>
              <a:gd name="connsiteY46" fmla="*/ 791111 h 4655571"/>
              <a:gd name="connsiteX47" fmla="*/ 2718333 w 2857979"/>
              <a:gd name="connsiteY47" fmla="*/ 814360 h 4655571"/>
              <a:gd name="connsiteX48" fmla="*/ 2741708 w 2857979"/>
              <a:gd name="connsiteY48" fmla="*/ 869434 h 4655571"/>
              <a:gd name="connsiteX49" fmla="*/ 2753992 w 2857979"/>
              <a:gd name="connsiteY49" fmla="*/ 896389 h 4655571"/>
              <a:gd name="connsiteX50" fmla="*/ 2757865 w 2857979"/>
              <a:gd name="connsiteY50" fmla="*/ 907498 h 4655571"/>
              <a:gd name="connsiteX51" fmla="*/ 2766068 w 2857979"/>
              <a:gd name="connsiteY51" fmla="*/ 926823 h 4655571"/>
              <a:gd name="connsiteX52" fmla="*/ 2786805 w 2857979"/>
              <a:gd name="connsiteY52" fmla="*/ 990506 h 4655571"/>
              <a:gd name="connsiteX53" fmla="*/ 2797182 w 2857979"/>
              <a:gd name="connsiteY53" fmla="*/ 1020275 h 4655571"/>
              <a:gd name="connsiteX54" fmla="*/ 2799341 w 2857979"/>
              <a:gd name="connsiteY54" fmla="*/ 1029006 h 4655571"/>
              <a:gd name="connsiteX55" fmla="*/ 2804213 w 2857979"/>
              <a:gd name="connsiteY55" fmla="*/ 1043971 h 4655571"/>
              <a:gd name="connsiteX56" fmla="*/ 2821323 w 2857979"/>
              <a:gd name="connsiteY56" fmla="*/ 1117937 h 4655571"/>
              <a:gd name="connsiteX57" fmla="*/ 2829016 w 2857979"/>
              <a:gd name="connsiteY57" fmla="*/ 1149052 h 4655571"/>
              <a:gd name="connsiteX58" fmla="*/ 2829916 w 2857979"/>
              <a:gd name="connsiteY58" fmla="*/ 1155080 h 4655571"/>
              <a:gd name="connsiteX59" fmla="*/ 2832283 w 2857979"/>
              <a:gd name="connsiteY59" fmla="*/ 1165313 h 4655571"/>
              <a:gd name="connsiteX60" fmla="*/ 2844741 w 2857979"/>
              <a:gd name="connsiteY60" fmla="*/ 1254295 h 4655571"/>
              <a:gd name="connsiteX61" fmla="*/ 2848900 w 2857979"/>
              <a:gd name="connsiteY61" fmla="*/ 1282127 h 4655571"/>
              <a:gd name="connsiteX62" fmla="*/ 2849048 w 2857979"/>
              <a:gd name="connsiteY62" fmla="*/ 1285059 h 4655571"/>
              <a:gd name="connsiteX63" fmla="*/ 2849790 w 2857979"/>
              <a:gd name="connsiteY63" fmla="*/ 1290365 h 4655571"/>
              <a:gd name="connsiteX64" fmla="*/ 2852713 w 2857979"/>
              <a:gd name="connsiteY64" fmla="*/ 1352080 h 4655571"/>
              <a:gd name="connsiteX65" fmla="*/ 2856274 w 2857979"/>
              <a:gd name="connsiteY65" fmla="*/ 1352080 h 4655571"/>
              <a:gd name="connsiteX66" fmla="*/ 2856274 w 2857979"/>
              <a:gd name="connsiteY66" fmla="*/ 1408978 h 4655571"/>
              <a:gd name="connsiteX67" fmla="*/ 2856274 w 2857979"/>
              <a:gd name="connsiteY67" fmla="*/ 1427293 h 4655571"/>
              <a:gd name="connsiteX68" fmla="*/ 2856274 w 2857979"/>
              <a:gd name="connsiteY68" fmla="*/ 1427719 h 4655571"/>
              <a:gd name="connsiteX69" fmla="*/ 2856274 w 2857979"/>
              <a:gd name="connsiteY69" fmla="*/ 1427720 h 4655571"/>
              <a:gd name="connsiteX70" fmla="*/ 2857979 w 2857979"/>
              <a:gd name="connsiteY70" fmla="*/ 1427720 h 4655571"/>
              <a:gd name="connsiteX71" fmla="*/ 2857979 w 2857979"/>
              <a:gd name="connsiteY71" fmla="*/ 1613887 h 4655571"/>
              <a:gd name="connsiteX72" fmla="*/ 2857979 w 2857979"/>
              <a:gd name="connsiteY72" fmla="*/ 1701091 h 4655571"/>
              <a:gd name="connsiteX73" fmla="*/ 2857979 w 2857979"/>
              <a:gd name="connsiteY73" fmla="*/ 1856116 h 4655571"/>
              <a:gd name="connsiteX74" fmla="*/ 2857979 w 2857979"/>
              <a:gd name="connsiteY74" fmla="*/ 1877704 h 4655571"/>
              <a:gd name="connsiteX75" fmla="*/ 2857979 w 2857979"/>
              <a:gd name="connsiteY75" fmla="*/ 1953345 h 4655571"/>
              <a:gd name="connsiteX76" fmla="*/ 2856292 w 2857979"/>
              <a:gd name="connsiteY76" fmla="*/ 1953345 h 4655571"/>
              <a:gd name="connsiteX77" fmla="*/ 2856292 w 2857979"/>
              <a:gd name="connsiteY77" fmla="*/ 1982173 h 4655571"/>
              <a:gd name="connsiteX78" fmla="*/ 1592136 w 2857979"/>
              <a:gd name="connsiteY78" fmla="*/ 1982173 h 4655571"/>
              <a:gd name="connsiteX79" fmla="*/ 1820778 w 2857979"/>
              <a:gd name="connsiteY79" fmla="*/ 2025953 h 4655571"/>
              <a:gd name="connsiteX80" fmla="*/ 1826563 w 2857979"/>
              <a:gd name="connsiteY80" fmla="*/ 2027875 h 4655571"/>
              <a:gd name="connsiteX81" fmla="*/ 1827559 w 2857979"/>
              <a:gd name="connsiteY81" fmla="*/ 2028116 h 4655571"/>
              <a:gd name="connsiteX82" fmla="*/ 1837483 w 2857979"/>
              <a:gd name="connsiteY82" fmla="*/ 2031509 h 4655571"/>
              <a:gd name="connsiteX83" fmla="*/ 1937608 w 2857979"/>
              <a:gd name="connsiteY83" fmla="*/ 2064797 h 4655571"/>
              <a:gd name="connsiteX84" fmla="*/ 1947886 w 2857979"/>
              <a:gd name="connsiteY84" fmla="*/ 2069234 h 4655571"/>
              <a:gd name="connsiteX85" fmla="*/ 1951791 w 2857979"/>
              <a:gd name="connsiteY85" fmla="*/ 2070568 h 4655571"/>
              <a:gd name="connsiteX86" fmla="*/ 1972906 w 2857979"/>
              <a:gd name="connsiteY86" fmla="*/ 2080035 h 4655571"/>
              <a:gd name="connsiteX87" fmla="*/ 2049720 w 2857979"/>
              <a:gd name="connsiteY87" fmla="*/ 2113194 h 4655571"/>
              <a:gd name="connsiteX88" fmla="*/ 2064057 w 2857979"/>
              <a:gd name="connsiteY88" fmla="*/ 2120900 h 4655571"/>
              <a:gd name="connsiteX89" fmla="*/ 2070581 w 2857979"/>
              <a:gd name="connsiteY89" fmla="*/ 2123825 h 4655571"/>
              <a:gd name="connsiteX90" fmla="*/ 2093493 w 2857979"/>
              <a:gd name="connsiteY90" fmla="*/ 2136723 h 4655571"/>
              <a:gd name="connsiteX91" fmla="*/ 2156628 w 2857979"/>
              <a:gd name="connsiteY91" fmla="*/ 2170659 h 4655571"/>
              <a:gd name="connsiteX92" fmla="*/ 2174520 w 2857979"/>
              <a:gd name="connsiteY92" fmla="*/ 2182335 h 4655571"/>
              <a:gd name="connsiteX93" fmla="*/ 2183337 w 2857979"/>
              <a:gd name="connsiteY93" fmla="*/ 2187296 h 4655571"/>
              <a:gd name="connsiteX94" fmla="*/ 2205153 w 2857979"/>
              <a:gd name="connsiteY94" fmla="*/ 2202322 h 4655571"/>
              <a:gd name="connsiteX95" fmla="*/ 2257845 w 2857979"/>
              <a:gd name="connsiteY95" fmla="*/ 2236704 h 4655571"/>
              <a:gd name="connsiteX96" fmla="*/ 2278723 w 2857979"/>
              <a:gd name="connsiteY96" fmla="*/ 2252990 h 4655571"/>
              <a:gd name="connsiteX97" fmla="*/ 2289467 w 2857979"/>
              <a:gd name="connsiteY97" fmla="*/ 2260389 h 4655571"/>
              <a:gd name="connsiteX98" fmla="*/ 2309032 w 2857979"/>
              <a:gd name="connsiteY98" fmla="*/ 2276635 h 4655571"/>
              <a:gd name="connsiteX99" fmla="*/ 2352881 w 2857979"/>
              <a:gd name="connsiteY99" fmla="*/ 2310840 h 4655571"/>
              <a:gd name="connsiteX100" fmla="*/ 2376107 w 2857979"/>
              <a:gd name="connsiteY100" fmla="*/ 2332325 h 4655571"/>
              <a:gd name="connsiteX101" fmla="*/ 2388380 w 2857979"/>
              <a:gd name="connsiteY101" fmla="*/ 2342514 h 4655571"/>
              <a:gd name="connsiteX102" fmla="*/ 2405214 w 2857979"/>
              <a:gd name="connsiteY102" fmla="*/ 2359248 h 4655571"/>
              <a:gd name="connsiteX103" fmla="*/ 2441252 w 2857979"/>
              <a:gd name="connsiteY103" fmla="*/ 2392582 h 4655571"/>
              <a:gd name="connsiteX104" fmla="*/ 2466127 w 2857979"/>
              <a:gd name="connsiteY104" fmla="*/ 2419799 h 4655571"/>
              <a:gd name="connsiteX105" fmla="*/ 2479485 w 2857979"/>
              <a:gd name="connsiteY105" fmla="*/ 2433078 h 4655571"/>
              <a:gd name="connsiteX106" fmla="*/ 2493436 w 2857979"/>
              <a:gd name="connsiteY106" fmla="*/ 2449678 h 4655571"/>
              <a:gd name="connsiteX107" fmla="*/ 2522469 w 2857979"/>
              <a:gd name="connsiteY107" fmla="*/ 2481443 h 4655571"/>
              <a:gd name="connsiteX108" fmla="*/ 2548236 w 2857979"/>
              <a:gd name="connsiteY108" fmla="*/ 2514884 h 4655571"/>
              <a:gd name="connsiteX109" fmla="*/ 2562191 w 2857979"/>
              <a:gd name="connsiteY109" fmla="*/ 2531488 h 4655571"/>
              <a:gd name="connsiteX110" fmla="*/ 2573295 w 2857979"/>
              <a:gd name="connsiteY110" fmla="*/ 2547408 h 4655571"/>
              <a:gd name="connsiteX111" fmla="*/ 2596047 w 2857979"/>
              <a:gd name="connsiteY111" fmla="*/ 2576936 h 4655571"/>
              <a:gd name="connsiteX112" fmla="*/ 2621892 w 2857979"/>
              <a:gd name="connsiteY112" fmla="*/ 2617072 h 4655571"/>
              <a:gd name="connsiteX113" fmla="*/ 2635904 w 2857979"/>
              <a:gd name="connsiteY113" fmla="*/ 2637156 h 4655571"/>
              <a:gd name="connsiteX114" fmla="*/ 2644322 w 2857979"/>
              <a:gd name="connsiteY114" fmla="*/ 2651901 h 4655571"/>
              <a:gd name="connsiteX115" fmla="*/ 2661498 w 2857979"/>
              <a:gd name="connsiteY115" fmla="*/ 2678572 h 4655571"/>
              <a:gd name="connsiteX116" fmla="*/ 2686560 w 2857979"/>
              <a:gd name="connsiteY116" fmla="*/ 2725888 h 4655571"/>
              <a:gd name="connsiteX117" fmla="*/ 2700035 w 2857979"/>
              <a:gd name="connsiteY117" fmla="*/ 2749488 h 4655571"/>
              <a:gd name="connsiteX118" fmla="*/ 2706018 w 2857979"/>
              <a:gd name="connsiteY118" fmla="*/ 2762618 h 4655571"/>
              <a:gd name="connsiteX119" fmla="*/ 2718332 w 2857979"/>
              <a:gd name="connsiteY119" fmla="*/ 2785865 h 4655571"/>
              <a:gd name="connsiteX120" fmla="*/ 2741708 w 2857979"/>
              <a:gd name="connsiteY120" fmla="*/ 2840939 h 4655571"/>
              <a:gd name="connsiteX121" fmla="*/ 2753991 w 2857979"/>
              <a:gd name="connsiteY121" fmla="*/ 2867894 h 4655571"/>
              <a:gd name="connsiteX122" fmla="*/ 2757865 w 2857979"/>
              <a:gd name="connsiteY122" fmla="*/ 2879005 h 4655571"/>
              <a:gd name="connsiteX123" fmla="*/ 2766068 w 2857979"/>
              <a:gd name="connsiteY123" fmla="*/ 2898329 h 4655571"/>
              <a:gd name="connsiteX124" fmla="*/ 2786804 w 2857979"/>
              <a:gd name="connsiteY124" fmla="*/ 2962013 h 4655571"/>
              <a:gd name="connsiteX125" fmla="*/ 2797182 w 2857979"/>
              <a:gd name="connsiteY125" fmla="*/ 2991781 h 4655571"/>
              <a:gd name="connsiteX126" fmla="*/ 2799341 w 2857979"/>
              <a:gd name="connsiteY126" fmla="*/ 3000513 h 4655571"/>
              <a:gd name="connsiteX127" fmla="*/ 2804213 w 2857979"/>
              <a:gd name="connsiteY127" fmla="*/ 3015476 h 4655571"/>
              <a:gd name="connsiteX128" fmla="*/ 2821323 w 2857979"/>
              <a:gd name="connsiteY128" fmla="*/ 3089443 h 4655571"/>
              <a:gd name="connsiteX129" fmla="*/ 2829016 w 2857979"/>
              <a:gd name="connsiteY129" fmla="*/ 3120558 h 4655571"/>
              <a:gd name="connsiteX130" fmla="*/ 2829916 w 2857979"/>
              <a:gd name="connsiteY130" fmla="*/ 3126586 h 4655571"/>
              <a:gd name="connsiteX131" fmla="*/ 2832283 w 2857979"/>
              <a:gd name="connsiteY131" fmla="*/ 3136820 h 4655571"/>
              <a:gd name="connsiteX132" fmla="*/ 2844741 w 2857979"/>
              <a:gd name="connsiteY132" fmla="*/ 3225801 h 4655571"/>
              <a:gd name="connsiteX133" fmla="*/ 2848899 w 2857979"/>
              <a:gd name="connsiteY133" fmla="*/ 3253634 h 4655571"/>
              <a:gd name="connsiteX134" fmla="*/ 2849047 w 2857979"/>
              <a:gd name="connsiteY134" fmla="*/ 3256565 h 4655571"/>
              <a:gd name="connsiteX135" fmla="*/ 2849790 w 2857979"/>
              <a:gd name="connsiteY135" fmla="*/ 3261871 h 4655571"/>
              <a:gd name="connsiteX136" fmla="*/ 2852712 w 2857979"/>
              <a:gd name="connsiteY136" fmla="*/ 3323586 h 4655571"/>
              <a:gd name="connsiteX137" fmla="*/ 2856274 w 2857979"/>
              <a:gd name="connsiteY137" fmla="*/ 3323586 h 4655571"/>
              <a:gd name="connsiteX138" fmla="*/ 2856274 w 2857979"/>
              <a:gd name="connsiteY138" fmla="*/ 3325569 h 4655571"/>
              <a:gd name="connsiteX139" fmla="*/ 2856291 w 2857979"/>
              <a:gd name="connsiteY139" fmla="*/ 3325569 h 4655571"/>
              <a:gd name="connsiteX140" fmla="*/ 2856291 w 2857979"/>
              <a:gd name="connsiteY140" fmla="*/ 4287276 h 4655571"/>
              <a:gd name="connsiteX141" fmla="*/ 2856291 w 2857979"/>
              <a:gd name="connsiteY141" fmla="*/ 4655570 h 4655571"/>
              <a:gd name="connsiteX142" fmla="*/ 1429853 w 2857979"/>
              <a:gd name="connsiteY142" fmla="*/ 4655570 h 4655571"/>
              <a:gd name="connsiteX143" fmla="*/ 1429012 w 2857979"/>
              <a:gd name="connsiteY143" fmla="*/ 4655570 h 4655571"/>
              <a:gd name="connsiteX144" fmla="*/ 1428999 w 2857979"/>
              <a:gd name="connsiteY144" fmla="*/ 4655571 h 4655571"/>
              <a:gd name="connsiteX145" fmla="*/ 1428985 w 2857979"/>
              <a:gd name="connsiteY145" fmla="*/ 4655570 h 4655571"/>
              <a:gd name="connsiteX146" fmla="*/ 1361945 w 2857979"/>
              <a:gd name="connsiteY146" fmla="*/ 4655570 h 4655571"/>
              <a:gd name="connsiteX147" fmla="*/ 1361945 w 2857979"/>
              <a:gd name="connsiteY147" fmla="*/ 4652356 h 4655571"/>
              <a:gd name="connsiteX148" fmla="*/ 1292844 w 2857979"/>
              <a:gd name="connsiteY148" fmla="*/ 4649083 h 4655571"/>
              <a:gd name="connsiteX149" fmla="*/ 1288651 w 2857979"/>
              <a:gd name="connsiteY149" fmla="*/ 4648484 h 4655571"/>
              <a:gd name="connsiteX150" fmla="*/ 1283066 w 2857979"/>
              <a:gd name="connsiteY150" fmla="*/ 4648203 h 4655571"/>
              <a:gd name="connsiteX151" fmla="*/ 1037200 w 2857979"/>
              <a:gd name="connsiteY151" fmla="*/ 4601124 h 4655571"/>
              <a:gd name="connsiteX152" fmla="*/ 1031416 w 2857979"/>
              <a:gd name="connsiteY152" fmla="*/ 4599202 h 4655571"/>
              <a:gd name="connsiteX153" fmla="*/ 1030420 w 2857979"/>
              <a:gd name="connsiteY153" fmla="*/ 4598961 h 4655571"/>
              <a:gd name="connsiteX154" fmla="*/ 1020496 w 2857979"/>
              <a:gd name="connsiteY154" fmla="*/ 4595571 h 4655571"/>
              <a:gd name="connsiteX155" fmla="*/ 920371 w 2857979"/>
              <a:gd name="connsiteY155" fmla="*/ 4562281 h 4655571"/>
              <a:gd name="connsiteX156" fmla="*/ 910094 w 2857979"/>
              <a:gd name="connsiteY156" fmla="*/ 4557844 h 4655571"/>
              <a:gd name="connsiteX157" fmla="*/ 906188 w 2857979"/>
              <a:gd name="connsiteY157" fmla="*/ 4556510 h 4655571"/>
              <a:gd name="connsiteX158" fmla="*/ 885073 w 2857979"/>
              <a:gd name="connsiteY158" fmla="*/ 4547042 h 4655571"/>
              <a:gd name="connsiteX159" fmla="*/ 808258 w 2857979"/>
              <a:gd name="connsiteY159" fmla="*/ 4513883 h 4655571"/>
              <a:gd name="connsiteX160" fmla="*/ 793923 w 2857979"/>
              <a:gd name="connsiteY160" fmla="*/ 4506178 h 4655571"/>
              <a:gd name="connsiteX161" fmla="*/ 787398 w 2857979"/>
              <a:gd name="connsiteY161" fmla="*/ 4503253 h 4655571"/>
              <a:gd name="connsiteX162" fmla="*/ 764486 w 2857979"/>
              <a:gd name="connsiteY162" fmla="*/ 4490355 h 4655571"/>
              <a:gd name="connsiteX163" fmla="*/ 701352 w 2857979"/>
              <a:gd name="connsiteY163" fmla="*/ 4456419 h 4655571"/>
              <a:gd name="connsiteX164" fmla="*/ 683458 w 2857979"/>
              <a:gd name="connsiteY164" fmla="*/ 4444743 h 4655571"/>
              <a:gd name="connsiteX165" fmla="*/ 674642 w 2857979"/>
              <a:gd name="connsiteY165" fmla="*/ 4439782 h 4655571"/>
              <a:gd name="connsiteX166" fmla="*/ 652826 w 2857979"/>
              <a:gd name="connsiteY166" fmla="*/ 4424756 h 4655571"/>
              <a:gd name="connsiteX167" fmla="*/ 600135 w 2857979"/>
              <a:gd name="connsiteY167" fmla="*/ 4390374 h 4655571"/>
              <a:gd name="connsiteX168" fmla="*/ 579258 w 2857979"/>
              <a:gd name="connsiteY168" fmla="*/ 4374087 h 4655571"/>
              <a:gd name="connsiteX169" fmla="*/ 568512 w 2857979"/>
              <a:gd name="connsiteY169" fmla="*/ 4366689 h 4655571"/>
              <a:gd name="connsiteX170" fmla="*/ 548947 w 2857979"/>
              <a:gd name="connsiteY170" fmla="*/ 4350444 h 4655571"/>
              <a:gd name="connsiteX171" fmla="*/ 505098 w 2857979"/>
              <a:gd name="connsiteY171" fmla="*/ 4316236 h 4655571"/>
              <a:gd name="connsiteX172" fmla="*/ 481872 w 2857979"/>
              <a:gd name="connsiteY172" fmla="*/ 4294752 h 4655571"/>
              <a:gd name="connsiteX173" fmla="*/ 469600 w 2857979"/>
              <a:gd name="connsiteY173" fmla="*/ 4284563 h 4655571"/>
              <a:gd name="connsiteX174" fmla="*/ 452765 w 2857979"/>
              <a:gd name="connsiteY174" fmla="*/ 4267831 h 4655571"/>
              <a:gd name="connsiteX175" fmla="*/ 416727 w 2857979"/>
              <a:gd name="connsiteY175" fmla="*/ 4234495 h 4655571"/>
              <a:gd name="connsiteX176" fmla="*/ 391852 w 2857979"/>
              <a:gd name="connsiteY176" fmla="*/ 4207279 h 4655571"/>
              <a:gd name="connsiteX177" fmla="*/ 378494 w 2857979"/>
              <a:gd name="connsiteY177" fmla="*/ 4194000 h 4655571"/>
              <a:gd name="connsiteX178" fmla="*/ 364543 w 2857979"/>
              <a:gd name="connsiteY178" fmla="*/ 4177400 h 4655571"/>
              <a:gd name="connsiteX179" fmla="*/ 335510 w 2857979"/>
              <a:gd name="connsiteY179" fmla="*/ 4145634 h 4655571"/>
              <a:gd name="connsiteX180" fmla="*/ 309743 w 2857979"/>
              <a:gd name="connsiteY180" fmla="*/ 4112193 h 4655571"/>
              <a:gd name="connsiteX181" fmla="*/ 295789 w 2857979"/>
              <a:gd name="connsiteY181" fmla="*/ 4095590 h 4655571"/>
              <a:gd name="connsiteX182" fmla="*/ 284685 w 2857979"/>
              <a:gd name="connsiteY182" fmla="*/ 4079671 h 4655571"/>
              <a:gd name="connsiteX183" fmla="*/ 261931 w 2857979"/>
              <a:gd name="connsiteY183" fmla="*/ 4050142 h 4655571"/>
              <a:gd name="connsiteX184" fmla="*/ 236086 w 2857979"/>
              <a:gd name="connsiteY184" fmla="*/ 4010005 h 4655571"/>
              <a:gd name="connsiteX185" fmla="*/ 222075 w 2857979"/>
              <a:gd name="connsiteY185" fmla="*/ 3989922 h 4655571"/>
              <a:gd name="connsiteX186" fmla="*/ 213657 w 2857979"/>
              <a:gd name="connsiteY186" fmla="*/ 3975176 h 4655571"/>
              <a:gd name="connsiteX187" fmla="*/ 196482 w 2857979"/>
              <a:gd name="connsiteY187" fmla="*/ 3948505 h 4655571"/>
              <a:gd name="connsiteX188" fmla="*/ 171419 w 2857979"/>
              <a:gd name="connsiteY188" fmla="*/ 3901190 h 4655571"/>
              <a:gd name="connsiteX189" fmla="*/ 157945 w 2857979"/>
              <a:gd name="connsiteY189" fmla="*/ 3877589 h 4655571"/>
              <a:gd name="connsiteX190" fmla="*/ 151962 w 2857979"/>
              <a:gd name="connsiteY190" fmla="*/ 3864460 h 4655571"/>
              <a:gd name="connsiteX191" fmla="*/ 139646 w 2857979"/>
              <a:gd name="connsiteY191" fmla="*/ 3841212 h 4655571"/>
              <a:gd name="connsiteX192" fmla="*/ 116271 w 2857979"/>
              <a:gd name="connsiteY192" fmla="*/ 3786138 h 4655571"/>
              <a:gd name="connsiteX193" fmla="*/ 103988 w 2857979"/>
              <a:gd name="connsiteY193" fmla="*/ 3759183 h 4655571"/>
              <a:gd name="connsiteX194" fmla="*/ 100114 w 2857979"/>
              <a:gd name="connsiteY194" fmla="*/ 3748073 h 4655571"/>
              <a:gd name="connsiteX195" fmla="*/ 91911 w 2857979"/>
              <a:gd name="connsiteY195" fmla="*/ 3728748 h 4655571"/>
              <a:gd name="connsiteX196" fmla="*/ 71175 w 2857979"/>
              <a:gd name="connsiteY196" fmla="*/ 3665065 h 4655571"/>
              <a:gd name="connsiteX197" fmla="*/ 60797 w 2857979"/>
              <a:gd name="connsiteY197" fmla="*/ 3635297 h 4655571"/>
              <a:gd name="connsiteX198" fmla="*/ 58639 w 2857979"/>
              <a:gd name="connsiteY198" fmla="*/ 3626565 h 4655571"/>
              <a:gd name="connsiteX199" fmla="*/ 53766 w 2857979"/>
              <a:gd name="connsiteY199" fmla="*/ 3611600 h 4655571"/>
              <a:gd name="connsiteX200" fmla="*/ 36656 w 2857979"/>
              <a:gd name="connsiteY200" fmla="*/ 3537635 h 4655571"/>
              <a:gd name="connsiteX201" fmla="*/ 28964 w 2857979"/>
              <a:gd name="connsiteY201" fmla="*/ 3506519 h 4655571"/>
              <a:gd name="connsiteX202" fmla="*/ 28064 w 2857979"/>
              <a:gd name="connsiteY202" fmla="*/ 3500492 h 4655571"/>
              <a:gd name="connsiteX203" fmla="*/ 25696 w 2857979"/>
              <a:gd name="connsiteY203" fmla="*/ 3490258 h 4655571"/>
              <a:gd name="connsiteX204" fmla="*/ 13239 w 2857979"/>
              <a:gd name="connsiteY204" fmla="*/ 3401277 h 4655571"/>
              <a:gd name="connsiteX205" fmla="*/ 9079 w 2857979"/>
              <a:gd name="connsiteY205" fmla="*/ 3373444 h 4655571"/>
              <a:gd name="connsiteX206" fmla="*/ 8931 w 2857979"/>
              <a:gd name="connsiteY206" fmla="*/ 3370513 h 4655571"/>
              <a:gd name="connsiteX207" fmla="*/ 8188 w 2857979"/>
              <a:gd name="connsiteY207" fmla="*/ 3365207 h 4655571"/>
              <a:gd name="connsiteX208" fmla="*/ 6312 w 2857979"/>
              <a:gd name="connsiteY208" fmla="*/ 3325569 h 4655571"/>
              <a:gd name="connsiteX209" fmla="*/ 0 w 2857979"/>
              <a:gd name="connsiteY209" fmla="*/ 3325569 h 4655571"/>
              <a:gd name="connsiteX210" fmla="*/ 0 w 2857979"/>
              <a:gd name="connsiteY210" fmla="*/ 3323586 h 4655571"/>
              <a:gd name="connsiteX211" fmla="*/ 1688 w 2857979"/>
              <a:gd name="connsiteY211" fmla="*/ 3323586 h 4655571"/>
              <a:gd name="connsiteX212" fmla="*/ 1688 w 2857979"/>
              <a:gd name="connsiteY212" fmla="*/ 2339801 h 4655571"/>
              <a:gd name="connsiteX213" fmla="*/ 1688 w 2857979"/>
              <a:gd name="connsiteY213" fmla="*/ 1971507 h 4655571"/>
              <a:gd name="connsiteX214" fmla="*/ 6127 w 2857979"/>
              <a:gd name="connsiteY214" fmla="*/ 1971507 h 4655571"/>
              <a:gd name="connsiteX215" fmla="*/ 5267 w 2857979"/>
              <a:gd name="connsiteY215" fmla="*/ 1953345 h 4655571"/>
              <a:gd name="connsiteX216" fmla="*/ 1705 w 2857979"/>
              <a:gd name="connsiteY216" fmla="*/ 1953345 h 4655571"/>
              <a:gd name="connsiteX217" fmla="*/ 1705 w 2857979"/>
              <a:gd name="connsiteY217" fmla="*/ 1896448 h 4655571"/>
              <a:gd name="connsiteX218" fmla="*/ 1705 w 2857979"/>
              <a:gd name="connsiteY218" fmla="*/ 1878132 h 4655571"/>
              <a:gd name="connsiteX219" fmla="*/ 1705 w 2857979"/>
              <a:gd name="connsiteY219" fmla="*/ 1877704 h 4655571"/>
              <a:gd name="connsiteX220" fmla="*/ 0 w 2857979"/>
              <a:gd name="connsiteY220" fmla="*/ 1877704 h 4655571"/>
              <a:gd name="connsiteX221" fmla="*/ 0 w 2857979"/>
              <a:gd name="connsiteY221" fmla="*/ 1856116 h 4655571"/>
              <a:gd name="connsiteX222" fmla="*/ 0 w 2857979"/>
              <a:gd name="connsiteY222" fmla="*/ 1701091 h 4655571"/>
              <a:gd name="connsiteX223" fmla="*/ 0 w 2857979"/>
              <a:gd name="connsiteY223" fmla="*/ 1613887 h 4655571"/>
              <a:gd name="connsiteX224" fmla="*/ 0 w 2857979"/>
              <a:gd name="connsiteY224" fmla="*/ 1427719 h 4655571"/>
              <a:gd name="connsiteX225" fmla="*/ 0 w 2857979"/>
              <a:gd name="connsiteY225" fmla="*/ 1352080 h 4655571"/>
              <a:gd name="connsiteX226" fmla="*/ 1689 w 2857979"/>
              <a:gd name="connsiteY226" fmla="*/ 1352080 h 4655571"/>
              <a:gd name="connsiteX227" fmla="*/ 1689 w 2857979"/>
              <a:gd name="connsiteY227" fmla="*/ 1 h 4655571"/>
              <a:gd name="connsiteX228" fmla="*/ 1428126 w 2857979"/>
              <a:gd name="connsiteY228" fmla="*/ 1 h 4655571"/>
              <a:gd name="connsiteX229" fmla="*/ 1428967 w 2857979"/>
              <a:gd name="connsiteY229" fmla="*/ 1 h 46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2857979" h="4655571">
                <a:moveTo>
                  <a:pt x="1428980" y="0"/>
                </a:moveTo>
                <a:lnTo>
                  <a:pt x="1428995" y="1"/>
                </a:lnTo>
                <a:lnTo>
                  <a:pt x="1496034" y="1"/>
                </a:lnTo>
                <a:lnTo>
                  <a:pt x="1496034" y="3215"/>
                </a:lnTo>
                <a:lnTo>
                  <a:pt x="1565136" y="6488"/>
                </a:lnTo>
                <a:lnTo>
                  <a:pt x="1569329" y="7088"/>
                </a:lnTo>
                <a:lnTo>
                  <a:pt x="1574913" y="7369"/>
                </a:lnTo>
                <a:cubicBezTo>
                  <a:pt x="1659256" y="15935"/>
                  <a:pt x="1741426" y="31844"/>
                  <a:pt x="1820778" y="54447"/>
                </a:cubicBezTo>
                <a:lnTo>
                  <a:pt x="1826563" y="56369"/>
                </a:lnTo>
                <a:lnTo>
                  <a:pt x="1827559" y="56610"/>
                </a:lnTo>
                <a:lnTo>
                  <a:pt x="1837483" y="60001"/>
                </a:lnTo>
                <a:lnTo>
                  <a:pt x="1937608" y="93290"/>
                </a:lnTo>
                <a:lnTo>
                  <a:pt x="1947886" y="97727"/>
                </a:lnTo>
                <a:lnTo>
                  <a:pt x="1951791" y="99062"/>
                </a:lnTo>
                <a:lnTo>
                  <a:pt x="1972906" y="108529"/>
                </a:lnTo>
                <a:lnTo>
                  <a:pt x="2049720" y="141688"/>
                </a:lnTo>
                <a:lnTo>
                  <a:pt x="2064057" y="149394"/>
                </a:lnTo>
                <a:lnTo>
                  <a:pt x="2070581" y="152319"/>
                </a:lnTo>
                <a:lnTo>
                  <a:pt x="2093493" y="165217"/>
                </a:lnTo>
                <a:lnTo>
                  <a:pt x="2156628" y="199153"/>
                </a:lnTo>
                <a:lnTo>
                  <a:pt x="2174520" y="210829"/>
                </a:lnTo>
                <a:lnTo>
                  <a:pt x="2183337" y="215789"/>
                </a:lnTo>
                <a:lnTo>
                  <a:pt x="2205153" y="230816"/>
                </a:lnTo>
                <a:lnTo>
                  <a:pt x="2257845" y="265197"/>
                </a:lnTo>
                <a:lnTo>
                  <a:pt x="2278722" y="281484"/>
                </a:lnTo>
                <a:lnTo>
                  <a:pt x="2289467" y="288883"/>
                </a:lnTo>
                <a:lnTo>
                  <a:pt x="2309032" y="305128"/>
                </a:lnTo>
                <a:lnTo>
                  <a:pt x="2352881" y="339335"/>
                </a:lnTo>
                <a:lnTo>
                  <a:pt x="2376107" y="360819"/>
                </a:lnTo>
                <a:lnTo>
                  <a:pt x="2388380" y="371008"/>
                </a:lnTo>
                <a:lnTo>
                  <a:pt x="2405214" y="387741"/>
                </a:lnTo>
                <a:lnTo>
                  <a:pt x="2441252" y="421077"/>
                </a:lnTo>
                <a:lnTo>
                  <a:pt x="2466127" y="448293"/>
                </a:lnTo>
                <a:lnTo>
                  <a:pt x="2479485" y="461571"/>
                </a:lnTo>
                <a:lnTo>
                  <a:pt x="2493436" y="478171"/>
                </a:lnTo>
                <a:lnTo>
                  <a:pt x="2522470" y="509938"/>
                </a:lnTo>
                <a:lnTo>
                  <a:pt x="2548236" y="543379"/>
                </a:lnTo>
                <a:lnTo>
                  <a:pt x="2562191" y="559982"/>
                </a:lnTo>
                <a:lnTo>
                  <a:pt x="2573295" y="575901"/>
                </a:lnTo>
                <a:lnTo>
                  <a:pt x="2596047" y="605429"/>
                </a:lnTo>
                <a:lnTo>
                  <a:pt x="2621892" y="645566"/>
                </a:lnTo>
                <a:lnTo>
                  <a:pt x="2635905" y="665649"/>
                </a:lnTo>
                <a:lnTo>
                  <a:pt x="2644323" y="680395"/>
                </a:lnTo>
                <a:lnTo>
                  <a:pt x="2661498" y="707066"/>
                </a:lnTo>
                <a:lnTo>
                  <a:pt x="2686560" y="754381"/>
                </a:lnTo>
                <a:lnTo>
                  <a:pt x="2700035" y="777982"/>
                </a:lnTo>
                <a:lnTo>
                  <a:pt x="2706018" y="791111"/>
                </a:lnTo>
                <a:lnTo>
                  <a:pt x="2718333" y="814360"/>
                </a:lnTo>
                <a:lnTo>
                  <a:pt x="2741708" y="869434"/>
                </a:lnTo>
                <a:lnTo>
                  <a:pt x="2753992" y="896389"/>
                </a:lnTo>
                <a:lnTo>
                  <a:pt x="2757865" y="907498"/>
                </a:lnTo>
                <a:lnTo>
                  <a:pt x="2766068" y="926823"/>
                </a:lnTo>
                <a:lnTo>
                  <a:pt x="2786805" y="990506"/>
                </a:lnTo>
                <a:lnTo>
                  <a:pt x="2797182" y="1020275"/>
                </a:lnTo>
                <a:lnTo>
                  <a:pt x="2799341" y="1029006"/>
                </a:lnTo>
                <a:lnTo>
                  <a:pt x="2804213" y="1043971"/>
                </a:lnTo>
                <a:lnTo>
                  <a:pt x="2821323" y="1117937"/>
                </a:lnTo>
                <a:lnTo>
                  <a:pt x="2829016" y="1149052"/>
                </a:lnTo>
                <a:lnTo>
                  <a:pt x="2829916" y="1155080"/>
                </a:lnTo>
                <a:lnTo>
                  <a:pt x="2832283" y="1165313"/>
                </a:lnTo>
                <a:lnTo>
                  <a:pt x="2844741" y="1254295"/>
                </a:lnTo>
                <a:lnTo>
                  <a:pt x="2848900" y="1282127"/>
                </a:lnTo>
                <a:lnTo>
                  <a:pt x="2849048" y="1285059"/>
                </a:lnTo>
                <a:lnTo>
                  <a:pt x="2849790" y="1290365"/>
                </a:lnTo>
                <a:lnTo>
                  <a:pt x="2852713" y="1352080"/>
                </a:lnTo>
                <a:lnTo>
                  <a:pt x="2856274" y="1352080"/>
                </a:lnTo>
                <a:lnTo>
                  <a:pt x="2856274" y="1408978"/>
                </a:lnTo>
                <a:lnTo>
                  <a:pt x="2856274" y="1427293"/>
                </a:lnTo>
                <a:lnTo>
                  <a:pt x="2856274" y="1427719"/>
                </a:lnTo>
                <a:lnTo>
                  <a:pt x="2856274" y="1427720"/>
                </a:lnTo>
                <a:lnTo>
                  <a:pt x="2857979" y="1427720"/>
                </a:lnTo>
                <a:lnTo>
                  <a:pt x="2857979" y="1613887"/>
                </a:lnTo>
                <a:lnTo>
                  <a:pt x="2857979" y="1701091"/>
                </a:lnTo>
                <a:lnTo>
                  <a:pt x="2857979" y="1856116"/>
                </a:lnTo>
                <a:lnTo>
                  <a:pt x="2857979" y="1877704"/>
                </a:lnTo>
                <a:lnTo>
                  <a:pt x="2857979" y="1953345"/>
                </a:lnTo>
                <a:lnTo>
                  <a:pt x="2856292" y="1953345"/>
                </a:lnTo>
                <a:lnTo>
                  <a:pt x="2856292" y="1982173"/>
                </a:lnTo>
                <a:lnTo>
                  <a:pt x="1592136" y="1982173"/>
                </a:lnTo>
                <a:lnTo>
                  <a:pt x="1820778" y="2025953"/>
                </a:lnTo>
                <a:lnTo>
                  <a:pt x="1826563" y="2027875"/>
                </a:lnTo>
                <a:lnTo>
                  <a:pt x="1827559" y="2028116"/>
                </a:lnTo>
                <a:lnTo>
                  <a:pt x="1837483" y="2031509"/>
                </a:lnTo>
                <a:lnTo>
                  <a:pt x="1937608" y="2064797"/>
                </a:lnTo>
                <a:lnTo>
                  <a:pt x="1947886" y="2069234"/>
                </a:lnTo>
                <a:lnTo>
                  <a:pt x="1951791" y="2070568"/>
                </a:lnTo>
                <a:lnTo>
                  <a:pt x="1972906" y="2080035"/>
                </a:lnTo>
                <a:lnTo>
                  <a:pt x="2049720" y="2113194"/>
                </a:lnTo>
                <a:lnTo>
                  <a:pt x="2064057" y="2120900"/>
                </a:lnTo>
                <a:lnTo>
                  <a:pt x="2070581" y="2123825"/>
                </a:lnTo>
                <a:lnTo>
                  <a:pt x="2093493" y="2136723"/>
                </a:lnTo>
                <a:lnTo>
                  <a:pt x="2156628" y="2170659"/>
                </a:lnTo>
                <a:lnTo>
                  <a:pt x="2174520" y="2182335"/>
                </a:lnTo>
                <a:lnTo>
                  <a:pt x="2183337" y="2187296"/>
                </a:lnTo>
                <a:lnTo>
                  <a:pt x="2205153" y="2202322"/>
                </a:lnTo>
                <a:lnTo>
                  <a:pt x="2257845" y="2236704"/>
                </a:lnTo>
                <a:lnTo>
                  <a:pt x="2278723" y="2252990"/>
                </a:lnTo>
                <a:lnTo>
                  <a:pt x="2289467" y="2260389"/>
                </a:lnTo>
                <a:lnTo>
                  <a:pt x="2309032" y="2276635"/>
                </a:lnTo>
                <a:lnTo>
                  <a:pt x="2352881" y="2310840"/>
                </a:lnTo>
                <a:lnTo>
                  <a:pt x="2376107" y="2332325"/>
                </a:lnTo>
                <a:lnTo>
                  <a:pt x="2388380" y="2342514"/>
                </a:lnTo>
                <a:lnTo>
                  <a:pt x="2405214" y="2359248"/>
                </a:lnTo>
                <a:lnTo>
                  <a:pt x="2441252" y="2392582"/>
                </a:lnTo>
                <a:lnTo>
                  <a:pt x="2466127" y="2419799"/>
                </a:lnTo>
                <a:lnTo>
                  <a:pt x="2479485" y="2433078"/>
                </a:lnTo>
                <a:lnTo>
                  <a:pt x="2493436" y="2449678"/>
                </a:lnTo>
                <a:lnTo>
                  <a:pt x="2522469" y="2481443"/>
                </a:lnTo>
                <a:lnTo>
                  <a:pt x="2548236" y="2514884"/>
                </a:lnTo>
                <a:lnTo>
                  <a:pt x="2562191" y="2531488"/>
                </a:lnTo>
                <a:lnTo>
                  <a:pt x="2573295" y="2547408"/>
                </a:lnTo>
                <a:lnTo>
                  <a:pt x="2596047" y="2576936"/>
                </a:lnTo>
                <a:lnTo>
                  <a:pt x="2621892" y="2617072"/>
                </a:lnTo>
                <a:lnTo>
                  <a:pt x="2635904" y="2637156"/>
                </a:lnTo>
                <a:lnTo>
                  <a:pt x="2644322" y="2651901"/>
                </a:lnTo>
                <a:lnTo>
                  <a:pt x="2661498" y="2678572"/>
                </a:lnTo>
                <a:lnTo>
                  <a:pt x="2686560" y="2725888"/>
                </a:lnTo>
                <a:lnTo>
                  <a:pt x="2700035" y="2749488"/>
                </a:lnTo>
                <a:lnTo>
                  <a:pt x="2706018" y="2762618"/>
                </a:lnTo>
                <a:lnTo>
                  <a:pt x="2718332" y="2785865"/>
                </a:lnTo>
                <a:lnTo>
                  <a:pt x="2741708" y="2840939"/>
                </a:lnTo>
                <a:lnTo>
                  <a:pt x="2753991" y="2867894"/>
                </a:lnTo>
                <a:lnTo>
                  <a:pt x="2757865" y="2879005"/>
                </a:lnTo>
                <a:lnTo>
                  <a:pt x="2766068" y="2898329"/>
                </a:lnTo>
                <a:lnTo>
                  <a:pt x="2786804" y="2962013"/>
                </a:lnTo>
                <a:lnTo>
                  <a:pt x="2797182" y="2991781"/>
                </a:lnTo>
                <a:lnTo>
                  <a:pt x="2799341" y="3000513"/>
                </a:lnTo>
                <a:lnTo>
                  <a:pt x="2804213" y="3015476"/>
                </a:lnTo>
                <a:lnTo>
                  <a:pt x="2821323" y="3089443"/>
                </a:lnTo>
                <a:lnTo>
                  <a:pt x="2829016" y="3120558"/>
                </a:lnTo>
                <a:lnTo>
                  <a:pt x="2829916" y="3126586"/>
                </a:lnTo>
                <a:lnTo>
                  <a:pt x="2832283" y="3136820"/>
                </a:lnTo>
                <a:lnTo>
                  <a:pt x="2844741" y="3225801"/>
                </a:lnTo>
                <a:lnTo>
                  <a:pt x="2848899" y="3253634"/>
                </a:lnTo>
                <a:lnTo>
                  <a:pt x="2849047" y="3256565"/>
                </a:lnTo>
                <a:lnTo>
                  <a:pt x="2849790" y="3261871"/>
                </a:lnTo>
                <a:lnTo>
                  <a:pt x="2852712" y="3323586"/>
                </a:lnTo>
                <a:lnTo>
                  <a:pt x="2856274" y="3323586"/>
                </a:lnTo>
                <a:lnTo>
                  <a:pt x="2856274" y="3325569"/>
                </a:lnTo>
                <a:lnTo>
                  <a:pt x="2856291" y="3325569"/>
                </a:lnTo>
                <a:lnTo>
                  <a:pt x="2856291" y="4287276"/>
                </a:lnTo>
                <a:lnTo>
                  <a:pt x="2856291" y="4655570"/>
                </a:lnTo>
                <a:lnTo>
                  <a:pt x="1429853" y="4655570"/>
                </a:lnTo>
                <a:lnTo>
                  <a:pt x="1429012" y="4655570"/>
                </a:lnTo>
                <a:lnTo>
                  <a:pt x="1428999" y="4655571"/>
                </a:lnTo>
                <a:lnTo>
                  <a:pt x="1428985" y="4655570"/>
                </a:lnTo>
                <a:lnTo>
                  <a:pt x="1361945" y="4655570"/>
                </a:lnTo>
                <a:lnTo>
                  <a:pt x="1361945" y="4652356"/>
                </a:lnTo>
                <a:lnTo>
                  <a:pt x="1292844" y="4649083"/>
                </a:lnTo>
                <a:lnTo>
                  <a:pt x="1288651" y="4648484"/>
                </a:lnTo>
                <a:lnTo>
                  <a:pt x="1283066" y="4648203"/>
                </a:lnTo>
                <a:cubicBezTo>
                  <a:pt x="1198724" y="4639637"/>
                  <a:pt x="1116553" y="4623728"/>
                  <a:pt x="1037200" y="4601124"/>
                </a:cubicBezTo>
                <a:lnTo>
                  <a:pt x="1031416" y="4599202"/>
                </a:lnTo>
                <a:lnTo>
                  <a:pt x="1030420" y="4598961"/>
                </a:lnTo>
                <a:lnTo>
                  <a:pt x="1020496" y="4595571"/>
                </a:lnTo>
                <a:lnTo>
                  <a:pt x="920371" y="4562281"/>
                </a:lnTo>
                <a:lnTo>
                  <a:pt x="910094" y="4557844"/>
                </a:lnTo>
                <a:lnTo>
                  <a:pt x="906188" y="4556510"/>
                </a:lnTo>
                <a:lnTo>
                  <a:pt x="885073" y="4547042"/>
                </a:lnTo>
                <a:lnTo>
                  <a:pt x="808258" y="4513883"/>
                </a:lnTo>
                <a:lnTo>
                  <a:pt x="793923" y="4506178"/>
                </a:lnTo>
                <a:lnTo>
                  <a:pt x="787398" y="4503253"/>
                </a:lnTo>
                <a:lnTo>
                  <a:pt x="764486" y="4490355"/>
                </a:lnTo>
                <a:lnTo>
                  <a:pt x="701352" y="4456419"/>
                </a:lnTo>
                <a:lnTo>
                  <a:pt x="683458" y="4444743"/>
                </a:lnTo>
                <a:lnTo>
                  <a:pt x="674642" y="4439782"/>
                </a:lnTo>
                <a:lnTo>
                  <a:pt x="652826" y="4424756"/>
                </a:lnTo>
                <a:lnTo>
                  <a:pt x="600135" y="4390374"/>
                </a:lnTo>
                <a:lnTo>
                  <a:pt x="579258" y="4374087"/>
                </a:lnTo>
                <a:lnTo>
                  <a:pt x="568512" y="4366689"/>
                </a:lnTo>
                <a:lnTo>
                  <a:pt x="548947" y="4350444"/>
                </a:lnTo>
                <a:lnTo>
                  <a:pt x="505098" y="4316236"/>
                </a:lnTo>
                <a:lnTo>
                  <a:pt x="481872" y="4294752"/>
                </a:lnTo>
                <a:lnTo>
                  <a:pt x="469600" y="4284563"/>
                </a:lnTo>
                <a:lnTo>
                  <a:pt x="452765" y="4267831"/>
                </a:lnTo>
                <a:lnTo>
                  <a:pt x="416727" y="4234495"/>
                </a:lnTo>
                <a:lnTo>
                  <a:pt x="391852" y="4207279"/>
                </a:lnTo>
                <a:lnTo>
                  <a:pt x="378494" y="4194000"/>
                </a:lnTo>
                <a:lnTo>
                  <a:pt x="364543" y="4177400"/>
                </a:lnTo>
                <a:lnTo>
                  <a:pt x="335510" y="4145634"/>
                </a:lnTo>
                <a:lnTo>
                  <a:pt x="309743" y="4112193"/>
                </a:lnTo>
                <a:lnTo>
                  <a:pt x="295789" y="4095590"/>
                </a:lnTo>
                <a:lnTo>
                  <a:pt x="284685" y="4079671"/>
                </a:lnTo>
                <a:lnTo>
                  <a:pt x="261931" y="4050142"/>
                </a:lnTo>
                <a:lnTo>
                  <a:pt x="236086" y="4010005"/>
                </a:lnTo>
                <a:lnTo>
                  <a:pt x="222075" y="3989922"/>
                </a:lnTo>
                <a:lnTo>
                  <a:pt x="213657" y="3975176"/>
                </a:lnTo>
                <a:lnTo>
                  <a:pt x="196482" y="3948505"/>
                </a:lnTo>
                <a:lnTo>
                  <a:pt x="171419" y="3901190"/>
                </a:lnTo>
                <a:lnTo>
                  <a:pt x="157945" y="3877589"/>
                </a:lnTo>
                <a:lnTo>
                  <a:pt x="151962" y="3864460"/>
                </a:lnTo>
                <a:lnTo>
                  <a:pt x="139646" y="3841212"/>
                </a:lnTo>
                <a:lnTo>
                  <a:pt x="116271" y="3786138"/>
                </a:lnTo>
                <a:lnTo>
                  <a:pt x="103988" y="3759183"/>
                </a:lnTo>
                <a:lnTo>
                  <a:pt x="100114" y="3748073"/>
                </a:lnTo>
                <a:lnTo>
                  <a:pt x="91911" y="3728748"/>
                </a:lnTo>
                <a:lnTo>
                  <a:pt x="71175" y="3665065"/>
                </a:lnTo>
                <a:lnTo>
                  <a:pt x="60797" y="3635297"/>
                </a:lnTo>
                <a:lnTo>
                  <a:pt x="58639" y="3626565"/>
                </a:lnTo>
                <a:lnTo>
                  <a:pt x="53766" y="3611600"/>
                </a:lnTo>
                <a:lnTo>
                  <a:pt x="36656" y="3537635"/>
                </a:lnTo>
                <a:lnTo>
                  <a:pt x="28964" y="3506519"/>
                </a:lnTo>
                <a:lnTo>
                  <a:pt x="28064" y="3500492"/>
                </a:lnTo>
                <a:lnTo>
                  <a:pt x="25696" y="3490258"/>
                </a:lnTo>
                <a:lnTo>
                  <a:pt x="13239" y="3401277"/>
                </a:lnTo>
                <a:lnTo>
                  <a:pt x="9079" y="3373444"/>
                </a:lnTo>
                <a:lnTo>
                  <a:pt x="8931" y="3370513"/>
                </a:lnTo>
                <a:lnTo>
                  <a:pt x="8188" y="3365207"/>
                </a:lnTo>
                <a:lnTo>
                  <a:pt x="6312" y="3325569"/>
                </a:lnTo>
                <a:lnTo>
                  <a:pt x="0" y="3325569"/>
                </a:lnTo>
                <a:lnTo>
                  <a:pt x="0" y="3323586"/>
                </a:lnTo>
                <a:lnTo>
                  <a:pt x="1688" y="3323586"/>
                </a:lnTo>
                <a:lnTo>
                  <a:pt x="1688" y="2339801"/>
                </a:lnTo>
                <a:lnTo>
                  <a:pt x="1688" y="1971507"/>
                </a:lnTo>
                <a:lnTo>
                  <a:pt x="6127" y="1971507"/>
                </a:lnTo>
                <a:lnTo>
                  <a:pt x="5267" y="1953345"/>
                </a:lnTo>
                <a:lnTo>
                  <a:pt x="1705" y="1953345"/>
                </a:lnTo>
                <a:lnTo>
                  <a:pt x="1705" y="1896448"/>
                </a:lnTo>
                <a:lnTo>
                  <a:pt x="1705" y="1878132"/>
                </a:lnTo>
                <a:lnTo>
                  <a:pt x="1705" y="1877704"/>
                </a:lnTo>
                <a:lnTo>
                  <a:pt x="0" y="1877704"/>
                </a:lnTo>
                <a:lnTo>
                  <a:pt x="0" y="1856116"/>
                </a:lnTo>
                <a:lnTo>
                  <a:pt x="0" y="1701091"/>
                </a:lnTo>
                <a:lnTo>
                  <a:pt x="0" y="1613887"/>
                </a:lnTo>
                <a:lnTo>
                  <a:pt x="0" y="1427719"/>
                </a:lnTo>
                <a:lnTo>
                  <a:pt x="0" y="1352080"/>
                </a:lnTo>
                <a:lnTo>
                  <a:pt x="1689" y="1352080"/>
                </a:lnTo>
                <a:lnTo>
                  <a:pt x="1689" y="1"/>
                </a:lnTo>
                <a:lnTo>
                  <a:pt x="1428126" y="1"/>
                </a:lnTo>
                <a:lnTo>
                  <a:pt x="1428967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61173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3FB5265-BE70-4EE7-A3F2-04ACF23BC5E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53420" y="348394"/>
            <a:ext cx="2337656" cy="2337656"/>
          </a:xfrm>
          <a:custGeom>
            <a:avLst/>
            <a:gdLst>
              <a:gd name="connsiteX0" fmla="*/ 1168828 w 2337656"/>
              <a:gd name="connsiteY0" fmla="*/ 0 h 2337656"/>
              <a:gd name="connsiteX1" fmla="*/ 2337656 w 2337656"/>
              <a:gd name="connsiteY1" fmla="*/ 1168828 h 2337656"/>
              <a:gd name="connsiteX2" fmla="*/ 1288334 w 2337656"/>
              <a:gd name="connsiteY2" fmla="*/ 2331621 h 2337656"/>
              <a:gd name="connsiteX3" fmla="*/ 1184517 w 2337656"/>
              <a:gd name="connsiteY3" fmla="*/ 2336864 h 2337656"/>
              <a:gd name="connsiteX4" fmla="*/ 1184517 w 2337656"/>
              <a:gd name="connsiteY4" fmla="*/ 2337656 h 2337656"/>
              <a:gd name="connsiteX5" fmla="*/ 1168828 w 2337656"/>
              <a:gd name="connsiteY5" fmla="*/ 2337656 h 2337656"/>
              <a:gd name="connsiteX6" fmla="*/ 1 w 2337656"/>
              <a:gd name="connsiteY6" fmla="*/ 2337656 h 2337656"/>
              <a:gd name="connsiteX7" fmla="*/ 1 w 2337656"/>
              <a:gd name="connsiteY7" fmla="*/ 1168839 h 2337656"/>
              <a:gd name="connsiteX8" fmla="*/ 0 w 2337656"/>
              <a:gd name="connsiteY8" fmla="*/ 1168828 h 2337656"/>
              <a:gd name="connsiteX9" fmla="*/ 1 w 2337656"/>
              <a:gd name="connsiteY9" fmla="*/ 1168817 h 2337656"/>
              <a:gd name="connsiteX10" fmla="*/ 1 w 2337656"/>
              <a:gd name="connsiteY10" fmla="*/ 1113917 h 2337656"/>
              <a:gd name="connsiteX11" fmla="*/ 2773 w 2337656"/>
              <a:gd name="connsiteY11" fmla="*/ 1113917 h 2337656"/>
              <a:gd name="connsiteX12" fmla="*/ 6034 w 2337656"/>
              <a:gd name="connsiteY12" fmla="*/ 1049322 h 2337656"/>
              <a:gd name="connsiteX13" fmla="*/ 1168828 w 2337656"/>
              <a:gd name="connsiteY13" fmla="*/ 0 h 2337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37656" h="2337656">
                <a:moveTo>
                  <a:pt x="1168828" y="0"/>
                </a:moveTo>
                <a:cubicBezTo>
                  <a:pt x="1814354" y="0"/>
                  <a:pt x="2337656" y="523302"/>
                  <a:pt x="2337656" y="1168828"/>
                </a:cubicBezTo>
                <a:cubicBezTo>
                  <a:pt x="2337656" y="1774009"/>
                  <a:pt x="1877722" y="2271766"/>
                  <a:pt x="1288334" y="2331621"/>
                </a:cubicBezTo>
                <a:lnTo>
                  <a:pt x="1184517" y="2336864"/>
                </a:lnTo>
                <a:lnTo>
                  <a:pt x="1184517" y="2337656"/>
                </a:lnTo>
                <a:lnTo>
                  <a:pt x="1168828" y="2337656"/>
                </a:lnTo>
                <a:lnTo>
                  <a:pt x="1" y="2337656"/>
                </a:lnTo>
                <a:lnTo>
                  <a:pt x="1" y="1168839"/>
                </a:lnTo>
                <a:lnTo>
                  <a:pt x="0" y="1168828"/>
                </a:lnTo>
                <a:lnTo>
                  <a:pt x="1" y="1168817"/>
                </a:lnTo>
                <a:lnTo>
                  <a:pt x="1" y="1113917"/>
                </a:lnTo>
                <a:lnTo>
                  <a:pt x="2773" y="1113917"/>
                </a:lnTo>
                <a:lnTo>
                  <a:pt x="6034" y="1049322"/>
                </a:lnTo>
                <a:cubicBezTo>
                  <a:pt x="65891" y="459934"/>
                  <a:pt x="563647" y="0"/>
                  <a:pt x="116882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430EA44-BCD9-4CC4-B2D8-DF2CF82CB7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3420" y="2937656"/>
            <a:ext cx="3421968" cy="3438490"/>
          </a:xfrm>
          <a:custGeom>
            <a:avLst/>
            <a:gdLst>
              <a:gd name="connsiteX0" fmla="*/ 1029 w 3421968"/>
              <a:gd name="connsiteY0" fmla="*/ 0 h 3438490"/>
              <a:gd name="connsiteX1" fmla="*/ 751547 w 3421968"/>
              <a:gd name="connsiteY1" fmla="*/ 0 h 3438490"/>
              <a:gd name="connsiteX2" fmla="*/ 869868 w 3421968"/>
              <a:gd name="connsiteY2" fmla="*/ 0 h 3438490"/>
              <a:gd name="connsiteX3" fmla="*/ 870380 w 3421968"/>
              <a:gd name="connsiteY3" fmla="*/ 0 h 3438490"/>
              <a:gd name="connsiteX4" fmla="*/ 870388 w 3421968"/>
              <a:gd name="connsiteY4" fmla="*/ 0 h 3438490"/>
              <a:gd name="connsiteX5" fmla="*/ 870397 w 3421968"/>
              <a:gd name="connsiteY5" fmla="*/ 0 h 3438490"/>
              <a:gd name="connsiteX6" fmla="*/ 911231 w 3421968"/>
              <a:gd name="connsiteY6" fmla="*/ 0 h 3438490"/>
              <a:gd name="connsiteX7" fmla="*/ 931692 w 3421968"/>
              <a:gd name="connsiteY7" fmla="*/ 0 h 3438490"/>
              <a:gd name="connsiteX8" fmla="*/ 1620386 w 3421968"/>
              <a:gd name="connsiteY8" fmla="*/ 0 h 3438490"/>
              <a:gd name="connsiteX9" fmla="*/ 1620899 w 3421968"/>
              <a:gd name="connsiteY9" fmla="*/ 0 h 3438490"/>
              <a:gd name="connsiteX10" fmla="*/ 1620906 w 3421968"/>
              <a:gd name="connsiteY10" fmla="*/ 0 h 3438490"/>
              <a:gd name="connsiteX11" fmla="*/ 1620915 w 3421968"/>
              <a:gd name="connsiteY11" fmla="*/ 0 h 3438490"/>
              <a:gd name="connsiteX12" fmla="*/ 1661749 w 3421968"/>
              <a:gd name="connsiteY12" fmla="*/ 0 h 3438490"/>
              <a:gd name="connsiteX13" fmla="*/ 1682210 w 3421968"/>
              <a:gd name="connsiteY13" fmla="*/ 0 h 3438490"/>
              <a:gd name="connsiteX14" fmla="*/ 1800530 w 3421968"/>
              <a:gd name="connsiteY14" fmla="*/ 0 h 3438490"/>
              <a:gd name="connsiteX15" fmla="*/ 1801043 w 3421968"/>
              <a:gd name="connsiteY15" fmla="*/ 0 h 3438490"/>
              <a:gd name="connsiteX16" fmla="*/ 1801050 w 3421968"/>
              <a:gd name="connsiteY16" fmla="*/ 0 h 3438490"/>
              <a:gd name="connsiteX17" fmla="*/ 1801060 w 3421968"/>
              <a:gd name="connsiteY17" fmla="*/ 0 h 3438490"/>
              <a:gd name="connsiteX18" fmla="*/ 1841893 w 3421968"/>
              <a:gd name="connsiteY18" fmla="*/ 0 h 3438490"/>
              <a:gd name="connsiteX19" fmla="*/ 2551050 w 3421968"/>
              <a:gd name="connsiteY19" fmla="*/ 0 h 3438490"/>
              <a:gd name="connsiteX20" fmla="*/ 2551562 w 3421968"/>
              <a:gd name="connsiteY20" fmla="*/ 0 h 3438490"/>
              <a:gd name="connsiteX21" fmla="*/ 2551569 w 3421968"/>
              <a:gd name="connsiteY21" fmla="*/ 0 h 3438490"/>
              <a:gd name="connsiteX22" fmla="*/ 2551578 w 3421968"/>
              <a:gd name="connsiteY22" fmla="*/ 0 h 3438490"/>
              <a:gd name="connsiteX23" fmla="*/ 2592411 w 3421968"/>
              <a:gd name="connsiteY23" fmla="*/ 0 h 3438490"/>
              <a:gd name="connsiteX24" fmla="*/ 2592411 w 3421968"/>
              <a:gd name="connsiteY24" fmla="*/ 1958 h 3438490"/>
              <a:gd name="connsiteX25" fmla="*/ 2634501 w 3421968"/>
              <a:gd name="connsiteY25" fmla="*/ 3952 h 3438490"/>
              <a:gd name="connsiteX26" fmla="*/ 2637054 w 3421968"/>
              <a:gd name="connsiteY26" fmla="*/ 4316 h 3438490"/>
              <a:gd name="connsiteX27" fmla="*/ 2640456 w 3421968"/>
              <a:gd name="connsiteY27" fmla="*/ 4488 h 3438490"/>
              <a:gd name="connsiteX28" fmla="*/ 2790212 w 3421968"/>
              <a:gd name="connsiteY28" fmla="*/ 33163 h 3438490"/>
              <a:gd name="connsiteX29" fmla="*/ 2793735 w 3421968"/>
              <a:gd name="connsiteY29" fmla="*/ 34335 h 3438490"/>
              <a:gd name="connsiteX30" fmla="*/ 2794341 w 3421968"/>
              <a:gd name="connsiteY30" fmla="*/ 34481 h 3438490"/>
              <a:gd name="connsiteX31" fmla="*/ 2800387 w 3421968"/>
              <a:gd name="connsiteY31" fmla="*/ 36546 h 3438490"/>
              <a:gd name="connsiteX32" fmla="*/ 2861373 w 3421968"/>
              <a:gd name="connsiteY32" fmla="*/ 56823 h 3438490"/>
              <a:gd name="connsiteX33" fmla="*/ 2867633 w 3421968"/>
              <a:gd name="connsiteY33" fmla="*/ 59526 h 3438490"/>
              <a:gd name="connsiteX34" fmla="*/ 2870011 w 3421968"/>
              <a:gd name="connsiteY34" fmla="*/ 60338 h 3438490"/>
              <a:gd name="connsiteX35" fmla="*/ 2882873 w 3421968"/>
              <a:gd name="connsiteY35" fmla="*/ 66104 h 3438490"/>
              <a:gd name="connsiteX36" fmla="*/ 2929660 w 3421968"/>
              <a:gd name="connsiteY36" fmla="*/ 86302 h 3438490"/>
              <a:gd name="connsiteX37" fmla="*/ 2938392 w 3421968"/>
              <a:gd name="connsiteY37" fmla="*/ 90995 h 3438490"/>
              <a:gd name="connsiteX38" fmla="*/ 2942366 w 3421968"/>
              <a:gd name="connsiteY38" fmla="*/ 92777 h 3438490"/>
              <a:gd name="connsiteX39" fmla="*/ 2956322 w 3421968"/>
              <a:gd name="connsiteY39" fmla="*/ 100633 h 3438490"/>
              <a:gd name="connsiteX40" fmla="*/ 2994777 w 3421968"/>
              <a:gd name="connsiteY40" fmla="*/ 121304 h 3438490"/>
              <a:gd name="connsiteX41" fmla="*/ 3005676 w 3421968"/>
              <a:gd name="connsiteY41" fmla="*/ 128415 h 3438490"/>
              <a:gd name="connsiteX42" fmla="*/ 3011046 w 3421968"/>
              <a:gd name="connsiteY42" fmla="*/ 131437 h 3438490"/>
              <a:gd name="connsiteX43" fmla="*/ 3024334 w 3421968"/>
              <a:gd name="connsiteY43" fmla="*/ 140589 h 3438490"/>
              <a:gd name="connsiteX44" fmla="*/ 3056428 w 3421968"/>
              <a:gd name="connsiteY44" fmla="*/ 161531 h 3438490"/>
              <a:gd name="connsiteX45" fmla="*/ 3069144 w 3421968"/>
              <a:gd name="connsiteY45" fmla="*/ 171451 h 3438490"/>
              <a:gd name="connsiteX46" fmla="*/ 3075690 w 3421968"/>
              <a:gd name="connsiteY46" fmla="*/ 175957 h 3438490"/>
              <a:gd name="connsiteX47" fmla="*/ 3087606 w 3421968"/>
              <a:gd name="connsiteY47" fmla="*/ 185852 h 3438490"/>
              <a:gd name="connsiteX48" fmla="*/ 3114314 w 3421968"/>
              <a:gd name="connsiteY48" fmla="*/ 206688 h 3438490"/>
              <a:gd name="connsiteX49" fmla="*/ 3128462 w 3421968"/>
              <a:gd name="connsiteY49" fmla="*/ 219774 h 3438490"/>
              <a:gd name="connsiteX50" fmla="*/ 3135937 w 3421968"/>
              <a:gd name="connsiteY50" fmla="*/ 225980 h 3438490"/>
              <a:gd name="connsiteX51" fmla="*/ 3146191 w 3421968"/>
              <a:gd name="connsiteY51" fmla="*/ 236171 h 3438490"/>
              <a:gd name="connsiteX52" fmla="*/ 3168141 w 3421968"/>
              <a:gd name="connsiteY52" fmla="*/ 256476 h 3438490"/>
              <a:gd name="connsiteX53" fmla="*/ 3183293 w 3421968"/>
              <a:gd name="connsiteY53" fmla="*/ 273055 h 3438490"/>
              <a:gd name="connsiteX54" fmla="*/ 3191429 w 3421968"/>
              <a:gd name="connsiteY54" fmla="*/ 281142 h 3438490"/>
              <a:gd name="connsiteX55" fmla="*/ 3199926 w 3421968"/>
              <a:gd name="connsiteY55" fmla="*/ 291252 h 3438490"/>
              <a:gd name="connsiteX56" fmla="*/ 3217610 w 3421968"/>
              <a:gd name="connsiteY56" fmla="*/ 310602 h 3438490"/>
              <a:gd name="connsiteX57" fmla="*/ 3233304 w 3421968"/>
              <a:gd name="connsiteY57" fmla="*/ 330971 h 3438490"/>
              <a:gd name="connsiteX58" fmla="*/ 3241804 w 3421968"/>
              <a:gd name="connsiteY58" fmla="*/ 341083 h 3438490"/>
              <a:gd name="connsiteX59" fmla="*/ 3248568 w 3421968"/>
              <a:gd name="connsiteY59" fmla="*/ 350779 h 3438490"/>
              <a:gd name="connsiteX60" fmla="*/ 3262426 w 3421968"/>
              <a:gd name="connsiteY60" fmla="*/ 368765 h 3438490"/>
              <a:gd name="connsiteX61" fmla="*/ 3278169 w 3421968"/>
              <a:gd name="connsiteY61" fmla="*/ 393212 h 3438490"/>
              <a:gd name="connsiteX62" fmla="*/ 3286703 w 3421968"/>
              <a:gd name="connsiteY62" fmla="*/ 405445 h 3438490"/>
              <a:gd name="connsiteX63" fmla="*/ 3291831 w 3421968"/>
              <a:gd name="connsiteY63" fmla="*/ 414427 h 3438490"/>
              <a:gd name="connsiteX64" fmla="*/ 3302291 w 3421968"/>
              <a:gd name="connsiteY64" fmla="*/ 430672 h 3438490"/>
              <a:gd name="connsiteX65" fmla="*/ 3317558 w 3421968"/>
              <a:gd name="connsiteY65" fmla="*/ 459491 h 3438490"/>
              <a:gd name="connsiteX66" fmla="*/ 3325764 w 3421968"/>
              <a:gd name="connsiteY66" fmla="*/ 473866 h 3438490"/>
              <a:gd name="connsiteX67" fmla="*/ 3329409 w 3421968"/>
              <a:gd name="connsiteY67" fmla="*/ 481864 h 3438490"/>
              <a:gd name="connsiteX68" fmla="*/ 3336910 w 3421968"/>
              <a:gd name="connsiteY68" fmla="*/ 496024 h 3438490"/>
              <a:gd name="connsiteX69" fmla="*/ 3351148 w 3421968"/>
              <a:gd name="connsiteY69" fmla="*/ 529569 h 3438490"/>
              <a:gd name="connsiteX70" fmla="*/ 3358630 w 3421968"/>
              <a:gd name="connsiteY70" fmla="*/ 545987 h 3438490"/>
              <a:gd name="connsiteX71" fmla="*/ 3360989 w 3421968"/>
              <a:gd name="connsiteY71" fmla="*/ 552754 h 3438490"/>
              <a:gd name="connsiteX72" fmla="*/ 3365986 w 3421968"/>
              <a:gd name="connsiteY72" fmla="*/ 564525 h 3438490"/>
              <a:gd name="connsiteX73" fmla="*/ 3378616 w 3421968"/>
              <a:gd name="connsiteY73" fmla="*/ 603315 h 3438490"/>
              <a:gd name="connsiteX74" fmla="*/ 3384937 w 3421968"/>
              <a:gd name="connsiteY74" fmla="*/ 621447 h 3438490"/>
              <a:gd name="connsiteX75" fmla="*/ 3386251 w 3421968"/>
              <a:gd name="connsiteY75" fmla="*/ 626765 h 3438490"/>
              <a:gd name="connsiteX76" fmla="*/ 3389219 w 3421968"/>
              <a:gd name="connsiteY76" fmla="*/ 635880 h 3438490"/>
              <a:gd name="connsiteX77" fmla="*/ 3399642 w 3421968"/>
              <a:gd name="connsiteY77" fmla="*/ 680932 h 3438490"/>
              <a:gd name="connsiteX78" fmla="*/ 3404327 w 3421968"/>
              <a:gd name="connsiteY78" fmla="*/ 699885 h 3438490"/>
              <a:gd name="connsiteX79" fmla="*/ 3404875 w 3421968"/>
              <a:gd name="connsiteY79" fmla="*/ 703555 h 3438490"/>
              <a:gd name="connsiteX80" fmla="*/ 3406317 w 3421968"/>
              <a:gd name="connsiteY80" fmla="*/ 709789 h 3438490"/>
              <a:gd name="connsiteX81" fmla="*/ 3413905 w 3421968"/>
              <a:gd name="connsiteY81" fmla="*/ 763987 h 3438490"/>
              <a:gd name="connsiteX82" fmla="*/ 3416438 w 3421968"/>
              <a:gd name="connsiteY82" fmla="*/ 780941 h 3438490"/>
              <a:gd name="connsiteX83" fmla="*/ 3416529 w 3421968"/>
              <a:gd name="connsiteY83" fmla="*/ 782725 h 3438490"/>
              <a:gd name="connsiteX84" fmla="*/ 3416981 w 3421968"/>
              <a:gd name="connsiteY84" fmla="*/ 785957 h 3438490"/>
              <a:gd name="connsiteX85" fmla="*/ 3418760 w 3421968"/>
              <a:gd name="connsiteY85" fmla="*/ 823548 h 3438490"/>
              <a:gd name="connsiteX86" fmla="*/ 3420930 w 3421968"/>
              <a:gd name="connsiteY86" fmla="*/ 823548 h 3438490"/>
              <a:gd name="connsiteX87" fmla="*/ 3420930 w 3421968"/>
              <a:gd name="connsiteY87" fmla="*/ 858205 h 3438490"/>
              <a:gd name="connsiteX88" fmla="*/ 3420930 w 3421968"/>
              <a:gd name="connsiteY88" fmla="*/ 869361 h 3438490"/>
              <a:gd name="connsiteX89" fmla="*/ 3420930 w 3421968"/>
              <a:gd name="connsiteY89" fmla="*/ 869619 h 3438490"/>
              <a:gd name="connsiteX90" fmla="*/ 3420930 w 3421968"/>
              <a:gd name="connsiteY90" fmla="*/ 869620 h 3438490"/>
              <a:gd name="connsiteX91" fmla="*/ 3421968 w 3421968"/>
              <a:gd name="connsiteY91" fmla="*/ 869620 h 3438490"/>
              <a:gd name="connsiteX92" fmla="*/ 3421968 w 3421968"/>
              <a:gd name="connsiteY92" fmla="*/ 983014 h 3438490"/>
              <a:gd name="connsiteX93" fmla="*/ 3421968 w 3421968"/>
              <a:gd name="connsiteY93" fmla="*/ 1036130 h 3438490"/>
              <a:gd name="connsiteX94" fmla="*/ 3421968 w 3421968"/>
              <a:gd name="connsiteY94" fmla="*/ 1093947 h 3438490"/>
              <a:gd name="connsiteX95" fmla="*/ 3421968 w 3421968"/>
              <a:gd name="connsiteY95" fmla="*/ 1130555 h 3438490"/>
              <a:gd name="connsiteX96" fmla="*/ 3421968 w 3421968"/>
              <a:gd name="connsiteY96" fmla="*/ 1143704 h 3438490"/>
              <a:gd name="connsiteX97" fmla="*/ 3421968 w 3421968"/>
              <a:gd name="connsiteY97" fmla="*/ 1189777 h 3438490"/>
              <a:gd name="connsiteX98" fmla="*/ 3421968 w 3421968"/>
              <a:gd name="connsiteY98" fmla="*/ 1207341 h 3438490"/>
              <a:gd name="connsiteX99" fmla="*/ 3421968 w 3421968"/>
              <a:gd name="connsiteY99" fmla="*/ 1260457 h 3438490"/>
              <a:gd name="connsiteX100" fmla="*/ 3421968 w 3421968"/>
              <a:gd name="connsiteY100" fmla="*/ 1354882 h 3438490"/>
              <a:gd name="connsiteX101" fmla="*/ 3421968 w 3421968"/>
              <a:gd name="connsiteY101" fmla="*/ 1368031 h 3438490"/>
              <a:gd name="connsiteX102" fmla="*/ 3421968 w 3421968"/>
              <a:gd name="connsiteY102" fmla="*/ 1414104 h 3438490"/>
              <a:gd name="connsiteX103" fmla="*/ 3420940 w 3421968"/>
              <a:gd name="connsiteY103" fmla="*/ 1414104 h 3438490"/>
              <a:gd name="connsiteX104" fmla="*/ 3420940 w 3421968"/>
              <a:gd name="connsiteY104" fmla="*/ 2013324 h 3438490"/>
              <a:gd name="connsiteX105" fmla="*/ 3420940 w 3421968"/>
              <a:gd name="connsiteY105" fmla="*/ 2237651 h 3438490"/>
              <a:gd name="connsiteX106" fmla="*/ 3418236 w 3421968"/>
              <a:gd name="connsiteY106" fmla="*/ 2237651 h 3438490"/>
              <a:gd name="connsiteX107" fmla="*/ 3418760 w 3421968"/>
              <a:gd name="connsiteY107" fmla="*/ 2248714 h 3438490"/>
              <a:gd name="connsiteX108" fmla="*/ 3420930 w 3421968"/>
              <a:gd name="connsiteY108" fmla="*/ 2248714 h 3438490"/>
              <a:gd name="connsiteX109" fmla="*/ 3420930 w 3421968"/>
              <a:gd name="connsiteY109" fmla="*/ 2283369 h 3438490"/>
              <a:gd name="connsiteX110" fmla="*/ 3420930 w 3421968"/>
              <a:gd name="connsiteY110" fmla="*/ 2294524 h 3438490"/>
              <a:gd name="connsiteX111" fmla="*/ 3420930 w 3421968"/>
              <a:gd name="connsiteY111" fmla="*/ 2294786 h 3438490"/>
              <a:gd name="connsiteX112" fmla="*/ 3421968 w 3421968"/>
              <a:gd name="connsiteY112" fmla="*/ 2294786 h 3438490"/>
              <a:gd name="connsiteX113" fmla="*/ 3421968 w 3421968"/>
              <a:gd name="connsiteY113" fmla="*/ 2307936 h 3438490"/>
              <a:gd name="connsiteX114" fmla="*/ 3421968 w 3421968"/>
              <a:gd name="connsiteY114" fmla="*/ 2402360 h 3438490"/>
              <a:gd name="connsiteX115" fmla="*/ 3421968 w 3421968"/>
              <a:gd name="connsiteY115" fmla="*/ 2455476 h 3438490"/>
              <a:gd name="connsiteX116" fmla="*/ 3421968 w 3421968"/>
              <a:gd name="connsiteY116" fmla="*/ 2568870 h 3438490"/>
              <a:gd name="connsiteX117" fmla="*/ 3421968 w 3421968"/>
              <a:gd name="connsiteY117" fmla="*/ 2614942 h 3438490"/>
              <a:gd name="connsiteX118" fmla="*/ 3420939 w 3421968"/>
              <a:gd name="connsiteY118" fmla="*/ 2614942 h 3438490"/>
              <a:gd name="connsiteX119" fmla="*/ 3420939 w 3421968"/>
              <a:gd name="connsiteY119" fmla="*/ 3438489 h 3438490"/>
              <a:gd name="connsiteX120" fmla="*/ 2670421 w 3421968"/>
              <a:gd name="connsiteY120" fmla="*/ 3438489 h 3438490"/>
              <a:gd name="connsiteX121" fmla="*/ 2552100 w 3421968"/>
              <a:gd name="connsiteY121" fmla="*/ 3438489 h 3438490"/>
              <a:gd name="connsiteX122" fmla="*/ 2551589 w 3421968"/>
              <a:gd name="connsiteY122" fmla="*/ 3438489 h 3438490"/>
              <a:gd name="connsiteX123" fmla="*/ 2551580 w 3421968"/>
              <a:gd name="connsiteY123" fmla="*/ 3438490 h 3438490"/>
              <a:gd name="connsiteX124" fmla="*/ 2551571 w 3421968"/>
              <a:gd name="connsiteY124" fmla="*/ 3438489 h 3438490"/>
              <a:gd name="connsiteX125" fmla="*/ 2510738 w 3421968"/>
              <a:gd name="connsiteY125" fmla="*/ 3438489 h 3438490"/>
              <a:gd name="connsiteX126" fmla="*/ 2490276 w 3421968"/>
              <a:gd name="connsiteY126" fmla="*/ 3438489 h 3438490"/>
              <a:gd name="connsiteX127" fmla="*/ 1801582 w 3421968"/>
              <a:gd name="connsiteY127" fmla="*/ 3438489 h 3438490"/>
              <a:gd name="connsiteX128" fmla="*/ 1801070 w 3421968"/>
              <a:gd name="connsiteY128" fmla="*/ 3438489 h 3438490"/>
              <a:gd name="connsiteX129" fmla="*/ 1801062 w 3421968"/>
              <a:gd name="connsiteY129" fmla="*/ 3438490 h 3438490"/>
              <a:gd name="connsiteX130" fmla="*/ 1801053 w 3421968"/>
              <a:gd name="connsiteY130" fmla="*/ 3438489 h 3438490"/>
              <a:gd name="connsiteX131" fmla="*/ 1760220 w 3421968"/>
              <a:gd name="connsiteY131" fmla="*/ 3438489 h 3438490"/>
              <a:gd name="connsiteX132" fmla="*/ 1739758 w 3421968"/>
              <a:gd name="connsiteY132" fmla="*/ 3438489 h 3438490"/>
              <a:gd name="connsiteX133" fmla="*/ 1621438 w 3421968"/>
              <a:gd name="connsiteY133" fmla="*/ 3438489 h 3438490"/>
              <a:gd name="connsiteX134" fmla="*/ 1620926 w 3421968"/>
              <a:gd name="connsiteY134" fmla="*/ 3438489 h 3438490"/>
              <a:gd name="connsiteX135" fmla="*/ 1620917 w 3421968"/>
              <a:gd name="connsiteY135" fmla="*/ 3438490 h 3438490"/>
              <a:gd name="connsiteX136" fmla="*/ 1620908 w 3421968"/>
              <a:gd name="connsiteY136" fmla="*/ 3438489 h 3438490"/>
              <a:gd name="connsiteX137" fmla="*/ 1580075 w 3421968"/>
              <a:gd name="connsiteY137" fmla="*/ 3438489 h 3438490"/>
              <a:gd name="connsiteX138" fmla="*/ 870919 w 3421968"/>
              <a:gd name="connsiteY138" fmla="*/ 3438489 h 3438490"/>
              <a:gd name="connsiteX139" fmla="*/ 870408 w 3421968"/>
              <a:gd name="connsiteY139" fmla="*/ 3438489 h 3438490"/>
              <a:gd name="connsiteX140" fmla="*/ 870400 w 3421968"/>
              <a:gd name="connsiteY140" fmla="*/ 3438490 h 3438490"/>
              <a:gd name="connsiteX141" fmla="*/ 870390 w 3421968"/>
              <a:gd name="connsiteY141" fmla="*/ 3438489 h 3438490"/>
              <a:gd name="connsiteX142" fmla="*/ 829557 w 3421968"/>
              <a:gd name="connsiteY142" fmla="*/ 3438489 h 3438490"/>
              <a:gd name="connsiteX143" fmla="*/ 829557 w 3421968"/>
              <a:gd name="connsiteY143" fmla="*/ 3436532 h 3438490"/>
              <a:gd name="connsiteX144" fmla="*/ 787467 w 3421968"/>
              <a:gd name="connsiteY144" fmla="*/ 3434538 h 3438490"/>
              <a:gd name="connsiteX145" fmla="*/ 784914 w 3421968"/>
              <a:gd name="connsiteY145" fmla="*/ 3434173 h 3438490"/>
              <a:gd name="connsiteX146" fmla="*/ 781512 w 3421968"/>
              <a:gd name="connsiteY146" fmla="*/ 3434001 h 3438490"/>
              <a:gd name="connsiteX147" fmla="*/ 631756 w 3421968"/>
              <a:gd name="connsiteY147" fmla="*/ 3405326 h 3438490"/>
              <a:gd name="connsiteX148" fmla="*/ 628233 w 3421968"/>
              <a:gd name="connsiteY148" fmla="*/ 3404156 h 3438490"/>
              <a:gd name="connsiteX149" fmla="*/ 627626 w 3421968"/>
              <a:gd name="connsiteY149" fmla="*/ 3404009 h 3438490"/>
              <a:gd name="connsiteX150" fmla="*/ 621581 w 3421968"/>
              <a:gd name="connsiteY150" fmla="*/ 3401944 h 3438490"/>
              <a:gd name="connsiteX151" fmla="*/ 560595 w 3421968"/>
              <a:gd name="connsiteY151" fmla="*/ 3381667 h 3438490"/>
              <a:gd name="connsiteX152" fmla="*/ 554335 w 3421968"/>
              <a:gd name="connsiteY152" fmla="*/ 3378965 h 3438490"/>
              <a:gd name="connsiteX153" fmla="*/ 551956 w 3421968"/>
              <a:gd name="connsiteY153" fmla="*/ 3378152 h 3438490"/>
              <a:gd name="connsiteX154" fmla="*/ 539096 w 3421968"/>
              <a:gd name="connsiteY154" fmla="*/ 3372385 h 3438490"/>
              <a:gd name="connsiteX155" fmla="*/ 492308 w 3421968"/>
              <a:gd name="connsiteY155" fmla="*/ 3352188 h 3438490"/>
              <a:gd name="connsiteX156" fmla="*/ 483576 w 3421968"/>
              <a:gd name="connsiteY156" fmla="*/ 3347496 h 3438490"/>
              <a:gd name="connsiteX157" fmla="*/ 479602 w 3421968"/>
              <a:gd name="connsiteY157" fmla="*/ 3345713 h 3438490"/>
              <a:gd name="connsiteX158" fmla="*/ 465646 w 3421968"/>
              <a:gd name="connsiteY158" fmla="*/ 3337856 h 3438490"/>
              <a:gd name="connsiteX159" fmla="*/ 427191 w 3421968"/>
              <a:gd name="connsiteY159" fmla="*/ 3317186 h 3438490"/>
              <a:gd name="connsiteX160" fmla="*/ 416293 w 3421968"/>
              <a:gd name="connsiteY160" fmla="*/ 3310074 h 3438490"/>
              <a:gd name="connsiteX161" fmla="*/ 410923 w 3421968"/>
              <a:gd name="connsiteY161" fmla="*/ 3307054 h 3438490"/>
              <a:gd name="connsiteX162" fmla="*/ 397634 w 3421968"/>
              <a:gd name="connsiteY162" fmla="*/ 3297901 h 3438490"/>
              <a:gd name="connsiteX163" fmla="*/ 365540 w 3421968"/>
              <a:gd name="connsiteY163" fmla="*/ 3276960 h 3438490"/>
              <a:gd name="connsiteX164" fmla="*/ 352824 w 3421968"/>
              <a:gd name="connsiteY164" fmla="*/ 3267038 h 3438490"/>
              <a:gd name="connsiteX165" fmla="*/ 346279 w 3421968"/>
              <a:gd name="connsiteY165" fmla="*/ 3262532 h 3438490"/>
              <a:gd name="connsiteX166" fmla="*/ 334363 w 3421968"/>
              <a:gd name="connsiteY166" fmla="*/ 3252638 h 3438490"/>
              <a:gd name="connsiteX167" fmla="*/ 307654 w 3421968"/>
              <a:gd name="connsiteY167" fmla="*/ 3231802 h 3438490"/>
              <a:gd name="connsiteX168" fmla="*/ 293506 w 3421968"/>
              <a:gd name="connsiteY168" fmla="*/ 3218717 h 3438490"/>
              <a:gd name="connsiteX169" fmla="*/ 286031 w 3421968"/>
              <a:gd name="connsiteY169" fmla="*/ 3212510 h 3438490"/>
              <a:gd name="connsiteX170" fmla="*/ 275778 w 3421968"/>
              <a:gd name="connsiteY170" fmla="*/ 3202318 h 3438490"/>
              <a:gd name="connsiteX171" fmla="*/ 253827 w 3421968"/>
              <a:gd name="connsiteY171" fmla="*/ 3182013 h 3438490"/>
              <a:gd name="connsiteX172" fmla="*/ 238676 w 3421968"/>
              <a:gd name="connsiteY172" fmla="*/ 3165436 h 3438490"/>
              <a:gd name="connsiteX173" fmla="*/ 230539 w 3421968"/>
              <a:gd name="connsiteY173" fmla="*/ 3157349 h 3438490"/>
              <a:gd name="connsiteX174" fmla="*/ 222041 w 3421968"/>
              <a:gd name="connsiteY174" fmla="*/ 3147238 h 3438490"/>
              <a:gd name="connsiteX175" fmla="*/ 204358 w 3421968"/>
              <a:gd name="connsiteY175" fmla="*/ 3127888 h 3438490"/>
              <a:gd name="connsiteX176" fmla="*/ 188664 w 3421968"/>
              <a:gd name="connsiteY176" fmla="*/ 3107519 h 3438490"/>
              <a:gd name="connsiteX177" fmla="*/ 180164 w 3421968"/>
              <a:gd name="connsiteY177" fmla="*/ 3097407 h 3438490"/>
              <a:gd name="connsiteX178" fmla="*/ 173400 w 3421968"/>
              <a:gd name="connsiteY178" fmla="*/ 3087711 h 3438490"/>
              <a:gd name="connsiteX179" fmla="*/ 159541 w 3421968"/>
              <a:gd name="connsiteY179" fmla="*/ 3069725 h 3438490"/>
              <a:gd name="connsiteX180" fmla="*/ 143800 w 3421968"/>
              <a:gd name="connsiteY180" fmla="*/ 3045278 h 3438490"/>
              <a:gd name="connsiteX181" fmla="*/ 135264 w 3421968"/>
              <a:gd name="connsiteY181" fmla="*/ 3033045 h 3438490"/>
              <a:gd name="connsiteX182" fmla="*/ 130137 w 3421968"/>
              <a:gd name="connsiteY182" fmla="*/ 3024063 h 3438490"/>
              <a:gd name="connsiteX183" fmla="*/ 119676 w 3421968"/>
              <a:gd name="connsiteY183" fmla="*/ 3007818 h 3438490"/>
              <a:gd name="connsiteX184" fmla="*/ 104410 w 3421968"/>
              <a:gd name="connsiteY184" fmla="*/ 2978998 h 3438490"/>
              <a:gd name="connsiteX185" fmla="*/ 96204 w 3421968"/>
              <a:gd name="connsiteY185" fmla="*/ 2964623 h 3438490"/>
              <a:gd name="connsiteX186" fmla="*/ 92559 w 3421968"/>
              <a:gd name="connsiteY186" fmla="*/ 2956626 h 3438490"/>
              <a:gd name="connsiteX187" fmla="*/ 85058 w 3421968"/>
              <a:gd name="connsiteY187" fmla="*/ 2942467 h 3438490"/>
              <a:gd name="connsiteX188" fmla="*/ 70820 w 3421968"/>
              <a:gd name="connsiteY188" fmla="*/ 2908920 h 3438490"/>
              <a:gd name="connsiteX189" fmla="*/ 63338 w 3421968"/>
              <a:gd name="connsiteY189" fmla="*/ 2892502 h 3438490"/>
              <a:gd name="connsiteX190" fmla="*/ 60979 w 3421968"/>
              <a:gd name="connsiteY190" fmla="*/ 2885735 h 3438490"/>
              <a:gd name="connsiteX191" fmla="*/ 55983 w 3421968"/>
              <a:gd name="connsiteY191" fmla="*/ 2873964 h 3438490"/>
              <a:gd name="connsiteX192" fmla="*/ 43352 w 3421968"/>
              <a:gd name="connsiteY192" fmla="*/ 2835175 h 3438490"/>
              <a:gd name="connsiteX193" fmla="*/ 37031 w 3421968"/>
              <a:gd name="connsiteY193" fmla="*/ 2817044 h 3438490"/>
              <a:gd name="connsiteX194" fmla="*/ 35716 w 3421968"/>
              <a:gd name="connsiteY194" fmla="*/ 2811725 h 3438490"/>
              <a:gd name="connsiteX195" fmla="*/ 32748 w 3421968"/>
              <a:gd name="connsiteY195" fmla="*/ 2802610 h 3438490"/>
              <a:gd name="connsiteX196" fmla="*/ 22327 w 3421968"/>
              <a:gd name="connsiteY196" fmla="*/ 2757558 h 3438490"/>
              <a:gd name="connsiteX197" fmla="*/ 17642 w 3421968"/>
              <a:gd name="connsiteY197" fmla="*/ 2738606 h 3438490"/>
              <a:gd name="connsiteX198" fmla="*/ 17093 w 3421968"/>
              <a:gd name="connsiteY198" fmla="*/ 2734935 h 3438490"/>
              <a:gd name="connsiteX199" fmla="*/ 15651 w 3421968"/>
              <a:gd name="connsiteY199" fmla="*/ 2728701 h 3438490"/>
              <a:gd name="connsiteX200" fmla="*/ 8064 w 3421968"/>
              <a:gd name="connsiteY200" fmla="*/ 2674503 h 3438490"/>
              <a:gd name="connsiteX201" fmla="*/ 5530 w 3421968"/>
              <a:gd name="connsiteY201" fmla="*/ 2657550 h 3438490"/>
              <a:gd name="connsiteX202" fmla="*/ 5440 w 3421968"/>
              <a:gd name="connsiteY202" fmla="*/ 2655765 h 3438490"/>
              <a:gd name="connsiteX203" fmla="*/ 4988 w 3421968"/>
              <a:gd name="connsiteY203" fmla="*/ 2652533 h 3438490"/>
              <a:gd name="connsiteX204" fmla="*/ 3208 w 3421968"/>
              <a:gd name="connsiteY204" fmla="*/ 2614942 h 3438490"/>
              <a:gd name="connsiteX205" fmla="*/ 1039 w 3421968"/>
              <a:gd name="connsiteY205" fmla="*/ 2614942 h 3438490"/>
              <a:gd name="connsiteX206" fmla="*/ 1039 w 3421968"/>
              <a:gd name="connsiteY206" fmla="*/ 2580285 h 3438490"/>
              <a:gd name="connsiteX207" fmla="*/ 1039 w 3421968"/>
              <a:gd name="connsiteY207" fmla="*/ 2569130 h 3438490"/>
              <a:gd name="connsiteX208" fmla="*/ 1039 w 3421968"/>
              <a:gd name="connsiteY208" fmla="*/ 2568870 h 3438490"/>
              <a:gd name="connsiteX209" fmla="*/ 0 w 3421968"/>
              <a:gd name="connsiteY209" fmla="*/ 2568870 h 3438490"/>
              <a:gd name="connsiteX210" fmla="*/ 0 w 3421968"/>
              <a:gd name="connsiteY210" fmla="*/ 2455476 h 3438490"/>
              <a:gd name="connsiteX211" fmla="*/ 0 w 3421968"/>
              <a:gd name="connsiteY211" fmla="*/ 2402360 h 3438490"/>
              <a:gd name="connsiteX212" fmla="*/ 0 w 3421968"/>
              <a:gd name="connsiteY212" fmla="*/ 2307936 h 3438490"/>
              <a:gd name="connsiteX213" fmla="*/ 0 w 3421968"/>
              <a:gd name="connsiteY213" fmla="*/ 2294786 h 3438490"/>
              <a:gd name="connsiteX214" fmla="*/ 0 w 3421968"/>
              <a:gd name="connsiteY214" fmla="*/ 2248714 h 3438490"/>
              <a:gd name="connsiteX215" fmla="*/ 1028 w 3421968"/>
              <a:gd name="connsiteY215" fmla="*/ 2248714 h 3438490"/>
              <a:gd name="connsiteX216" fmla="*/ 1028 w 3421968"/>
              <a:gd name="connsiteY216" fmla="*/ 2231154 h 3438490"/>
              <a:gd name="connsiteX217" fmla="*/ 751546 w 3421968"/>
              <a:gd name="connsiteY217" fmla="*/ 2231154 h 3438490"/>
              <a:gd name="connsiteX218" fmla="*/ 771021 w 3421968"/>
              <a:gd name="connsiteY218" fmla="*/ 2231154 h 3438490"/>
              <a:gd name="connsiteX219" fmla="*/ 631756 w 3421968"/>
              <a:gd name="connsiteY219" fmla="*/ 2204488 h 3438490"/>
              <a:gd name="connsiteX220" fmla="*/ 628233 w 3421968"/>
              <a:gd name="connsiteY220" fmla="*/ 2203317 h 3438490"/>
              <a:gd name="connsiteX221" fmla="*/ 627626 w 3421968"/>
              <a:gd name="connsiteY221" fmla="*/ 2203170 h 3438490"/>
              <a:gd name="connsiteX222" fmla="*/ 621582 w 3421968"/>
              <a:gd name="connsiteY222" fmla="*/ 2201104 h 3438490"/>
              <a:gd name="connsiteX223" fmla="*/ 560595 w 3421968"/>
              <a:gd name="connsiteY223" fmla="*/ 2180828 h 3438490"/>
              <a:gd name="connsiteX224" fmla="*/ 554335 w 3421968"/>
              <a:gd name="connsiteY224" fmla="*/ 2178125 h 3438490"/>
              <a:gd name="connsiteX225" fmla="*/ 551956 w 3421968"/>
              <a:gd name="connsiteY225" fmla="*/ 2177313 h 3438490"/>
              <a:gd name="connsiteX226" fmla="*/ 539096 w 3421968"/>
              <a:gd name="connsiteY226" fmla="*/ 2171547 h 3438490"/>
              <a:gd name="connsiteX227" fmla="*/ 492308 w 3421968"/>
              <a:gd name="connsiteY227" fmla="*/ 2151350 h 3438490"/>
              <a:gd name="connsiteX228" fmla="*/ 483576 w 3421968"/>
              <a:gd name="connsiteY228" fmla="*/ 2146656 h 3438490"/>
              <a:gd name="connsiteX229" fmla="*/ 479602 w 3421968"/>
              <a:gd name="connsiteY229" fmla="*/ 2144873 h 3438490"/>
              <a:gd name="connsiteX230" fmla="*/ 465646 w 3421968"/>
              <a:gd name="connsiteY230" fmla="*/ 2137018 h 3438490"/>
              <a:gd name="connsiteX231" fmla="*/ 427191 w 3421968"/>
              <a:gd name="connsiteY231" fmla="*/ 2116347 h 3438490"/>
              <a:gd name="connsiteX232" fmla="*/ 416293 w 3421968"/>
              <a:gd name="connsiteY232" fmla="*/ 2109236 h 3438490"/>
              <a:gd name="connsiteX233" fmla="*/ 410923 w 3421968"/>
              <a:gd name="connsiteY233" fmla="*/ 2106214 h 3438490"/>
              <a:gd name="connsiteX234" fmla="*/ 397634 w 3421968"/>
              <a:gd name="connsiteY234" fmla="*/ 2097063 h 3438490"/>
              <a:gd name="connsiteX235" fmla="*/ 365540 w 3421968"/>
              <a:gd name="connsiteY235" fmla="*/ 2076120 h 3438490"/>
              <a:gd name="connsiteX236" fmla="*/ 352824 w 3421968"/>
              <a:gd name="connsiteY236" fmla="*/ 2066200 h 3438490"/>
              <a:gd name="connsiteX237" fmla="*/ 346279 w 3421968"/>
              <a:gd name="connsiteY237" fmla="*/ 2061693 h 3438490"/>
              <a:gd name="connsiteX238" fmla="*/ 334363 w 3421968"/>
              <a:gd name="connsiteY238" fmla="*/ 2051798 h 3438490"/>
              <a:gd name="connsiteX239" fmla="*/ 307654 w 3421968"/>
              <a:gd name="connsiteY239" fmla="*/ 2030964 h 3438490"/>
              <a:gd name="connsiteX240" fmla="*/ 293506 w 3421968"/>
              <a:gd name="connsiteY240" fmla="*/ 2017878 h 3438490"/>
              <a:gd name="connsiteX241" fmla="*/ 286031 w 3421968"/>
              <a:gd name="connsiteY241" fmla="*/ 2011671 h 3438490"/>
              <a:gd name="connsiteX242" fmla="*/ 275778 w 3421968"/>
              <a:gd name="connsiteY242" fmla="*/ 2001479 h 3438490"/>
              <a:gd name="connsiteX243" fmla="*/ 253827 w 3421968"/>
              <a:gd name="connsiteY243" fmla="*/ 1981175 h 3438490"/>
              <a:gd name="connsiteX244" fmla="*/ 238676 w 3421968"/>
              <a:gd name="connsiteY244" fmla="*/ 1964597 h 3438490"/>
              <a:gd name="connsiteX245" fmla="*/ 230539 w 3421968"/>
              <a:gd name="connsiteY245" fmla="*/ 1956509 h 3438490"/>
              <a:gd name="connsiteX246" fmla="*/ 222041 w 3421968"/>
              <a:gd name="connsiteY246" fmla="*/ 1946399 h 3438490"/>
              <a:gd name="connsiteX247" fmla="*/ 204358 w 3421968"/>
              <a:gd name="connsiteY247" fmla="*/ 1927050 h 3438490"/>
              <a:gd name="connsiteX248" fmla="*/ 188664 w 3421968"/>
              <a:gd name="connsiteY248" fmla="*/ 1906681 h 3438490"/>
              <a:gd name="connsiteX249" fmla="*/ 180164 w 3421968"/>
              <a:gd name="connsiteY249" fmla="*/ 1896567 h 3438490"/>
              <a:gd name="connsiteX250" fmla="*/ 173400 w 3421968"/>
              <a:gd name="connsiteY250" fmla="*/ 1886871 h 3438490"/>
              <a:gd name="connsiteX251" fmla="*/ 159541 w 3421968"/>
              <a:gd name="connsiteY251" fmla="*/ 1868886 h 3438490"/>
              <a:gd name="connsiteX252" fmla="*/ 143800 w 3421968"/>
              <a:gd name="connsiteY252" fmla="*/ 1844439 h 3438490"/>
              <a:gd name="connsiteX253" fmla="*/ 135265 w 3421968"/>
              <a:gd name="connsiteY253" fmla="*/ 1832206 h 3438490"/>
              <a:gd name="connsiteX254" fmla="*/ 130138 w 3421968"/>
              <a:gd name="connsiteY254" fmla="*/ 1823225 h 3438490"/>
              <a:gd name="connsiteX255" fmla="*/ 119676 w 3421968"/>
              <a:gd name="connsiteY255" fmla="*/ 1806980 h 3438490"/>
              <a:gd name="connsiteX256" fmla="*/ 104411 w 3421968"/>
              <a:gd name="connsiteY256" fmla="*/ 1778160 h 3438490"/>
              <a:gd name="connsiteX257" fmla="*/ 96204 w 3421968"/>
              <a:gd name="connsiteY257" fmla="*/ 1763784 h 3438490"/>
              <a:gd name="connsiteX258" fmla="*/ 92559 w 3421968"/>
              <a:gd name="connsiteY258" fmla="*/ 1755787 h 3438490"/>
              <a:gd name="connsiteX259" fmla="*/ 85058 w 3421968"/>
              <a:gd name="connsiteY259" fmla="*/ 1741627 h 3438490"/>
              <a:gd name="connsiteX260" fmla="*/ 70820 w 3421968"/>
              <a:gd name="connsiteY260" fmla="*/ 1708082 h 3438490"/>
              <a:gd name="connsiteX261" fmla="*/ 63338 w 3421968"/>
              <a:gd name="connsiteY261" fmla="*/ 1691664 h 3438490"/>
              <a:gd name="connsiteX262" fmla="*/ 60979 w 3421968"/>
              <a:gd name="connsiteY262" fmla="*/ 1684897 h 3438490"/>
              <a:gd name="connsiteX263" fmla="*/ 55983 w 3421968"/>
              <a:gd name="connsiteY263" fmla="*/ 1673126 h 3438490"/>
              <a:gd name="connsiteX264" fmla="*/ 43353 w 3421968"/>
              <a:gd name="connsiteY264" fmla="*/ 1634336 h 3438490"/>
              <a:gd name="connsiteX265" fmla="*/ 37031 w 3421968"/>
              <a:gd name="connsiteY265" fmla="*/ 1616205 h 3438490"/>
              <a:gd name="connsiteX266" fmla="*/ 35716 w 3421968"/>
              <a:gd name="connsiteY266" fmla="*/ 1610886 h 3438490"/>
              <a:gd name="connsiteX267" fmla="*/ 32748 w 3421968"/>
              <a:gd name="connsiteY267" fmla="*/ 1601772 h 3438490"/>
              <a:gd name="connsiteX268" fmla="*/ 22327 w 3421968"/>
              <a:gd name="connsiteY268" fmla="*/ 1556719 h 3438490"/>
              <a:gd name="connsiteX269" fmla="*/ 17642 w 3421968"/>
              <a:gd name="connsiteY269" fmla="*/ 1537767 h 3438490"/>
              <a:gd name="connsiteX270" fmla="*/ 17093 w 3421968"/>
              <a:gd name="connsiteY270" fmla="*/ 1534095 h 3438490"/>
              <a:gd name="connsiteX271" fmla="*/ 15651 w 3421968"/>
              <a:gd name="connsiteY271" fmla="*/ 1527861 h 3438490"/>
              <a:gd name="connsiteX272" fmla="*/ 8064 w 3421968"/>
              <a:gd name="connsiteY272" fmla="*/ 1473664 h 3438490"/>
              <a:gd name="connsiteX273" fmla="*/ 5531 w 3421968"/>
              <a:gd name="connsiteY273" fmla="*/ 1456711 h 3438490"/>
              <a:gd name="connsiteX274" fmla="*/ 5440 w 3421968"/>
              <a:gd name="connsiteY274" fmla="*/ 1454926 h 3438490"/>
              <a:gd name="connsiteX275" fmla="*/ 4988 w 3421968"/>
              <a:gd name="connsiteY275" fmla="*/ 1451693 h 3438490"/>
              <a:gd name="connsiteX276" fmla="*/ 3208 w 3421968"/>
              <a:gd name="connsiteY276" fmla="*/ 1414104 h 3438490"/>
              <a:gd name="connsiteX277" fmla="*/ 1039 w 3421968"/>
              <a:gd name="connsiteY277" fmla="*/ 1414104 h 3438490"/>
              <a:gd name="connsiteX278" fmla="*/ 1039 w 3421968"/>
              <a:gd name="connsiteY278" fmla="*/ 1379448 h 3438490"/>
              <a:gd name="connsiteX279" fmla="*/ 1039 w 3421968"/>
              <a:gd name="connsiteY279" fmla="*/ 1368291 h 3438490"/>
              <a:gd name="connsiteX280" fmla="*/ 1039 w 3421968"/>
              <a:gd name="connsiteY280" fmla="*/ 1368031 h 3438490"/>
              <a:gd name="connsiteX281" fmla="*/ 0 w 3421968"/>
              <a:gd name="connsiteY281" fmla="*/ 1368031 h 3438490"/>
              <a:gd name="connsiteX282" fmla="*/ 0 w 3421968"/>
              <a:gd name="connsiteY282" fmla="*/ 1354882 h 3438490"/>
              <a:gd name="connsiteX283" fmla="*/ 0 w 3421968"/>
              <a:gd name="connsiteY283" fmla="*/ 1260457 h 3438490"/>
              <a:gd name="connsiteX284" fmla="*/ 0 w 3421968"/>
              <a:gd name="connsiteY284" fmla="*/ 1207341 h 3438490"/>
              <a:gd name="connsiteX285" fmla="*/ 0 w 3421968"/>
              <a:gd name="connsiteY285" fmla="*/ 1143704 h 3438490"/>
              <a:gd name="connsiteX286" fmla="*/ 0 w 3421968"/>
              <a:gd name="connsiteY286" fmla="*/ 1130555 h 3438490"/>
              <a:gd name="connsiteX287" fmla="*/ 0 w 3421968"/>
              <a:gd name="connsiteY287" fmla="*/ 1093946 h 3438490"/>
              <a:gd name="connsiteX288" fmla="*/ 0 w 3421968"/>
              <a:gd name="connsiteY288" fmla="*/ 1047875 h 3438490"/>
              <a:gd name="connsiteX289" fmla="*/ 0 w 3421968"/>
              <a:gd name="connsiteY289" fmla="*/ 1036130 h 3438490"/>
              <a:gd name="connsiteX290" fmla="*/ 0 w 3421968"/>
              <a:gd name="connsiteY290" fmla="*/ 983014 h 3438490"/>
              <a:gd name="connsiteX291" fmla="*/ 0 w 3421968"/>
              <a:gd name="connsiteY291" fmla="*/ 869619 h 3438490"/>
              <a:gd name="connsiteX292" fmla="*/ 0 w 3421968"/>
              <a:gd name="connsiteY292" fmla="*/ 823548 h 3438490"/>
              <a:gd name="connsiteX293" fmla="*/ 1029 w 3421968"/>
              <a:gd name="connsiteY293" fmla="*/ 823548 h 3438490"/>
              <a:gd name="connsiteX294" fmla="*/ 1029 w 3421968"/>
              <a:gd name="connsiteY294" fmla="*/ 224327 h 343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</a:cxnLst>
            <a:rect l="l" t="t" r="r" b="b"/>
            <a:pathLst>
              <a:path w="3421968" h="3438490">
                <a:moveTo>
                  <a:pt x="1029" y="0"/>
                </a:moveTo>
                <a:lnTo>
                  <a:pt x="751547" y="0"/>
                </a:lnTo>
                <a:lnTo>
                  <a:pt x="869868" y="0"/>
                </a:lnTo>
                <a:lnTo>
                  <a:pt x="870380" y="0"/>
                </a:lnTo>
                <a:lnTo>
                  <a:pt x="870388" y="0"/>
                </a:lnTo>
                <a:lnTo>
                  <a:pt x="870397" y="0"/>
                </a:lnTo>
                <a:lnTo>
                  <a:pt x="911231" y="0"/>
                </a:lnTo>
                <a:lnTo>
                  <a:pt x="931692" y="0"/>
                </a:lnTo>
                <a:lnTo>
                  <a:pt x="1620386" y="0"/>
                </a:lnTo>
                <a:lnTo>
                  <a:pt x="1620899" y="0"/>
                </a:lnTo>
                <a:lnTo>
                  <a:pt x="1620906" y="0"/>
                </a:lnTo>
                <a:lnTo>
                  <a:pt x="1620915" y="0"/>
                </a:lnTo>
                <a:lnTo>
                  <a:pt x="1661749" y="0"/>
                </a:lnTo>
                <a:lnTo>
                  <a:pt x="1682210" y="0"/>
                </a:lnTo>
                <a:lnTo>
                  <a:pt x="1800530" y="0"/>
                </a:lnTo>
                <a:lnTo>
                  <a:pt x="1801043" y="0"/>
                </a:lnTo>
                <a:lnTo>
                  <a:pt x="1801050" y="0"/>
                </a:lnTo>
                <a:lnTo>
                  <a:pt x="1801060" y="0"/>
                </a:lnTo>
                <a:lnTo>
                  <a:pt x="1841893" y="0"/>
                </a:lnTo>
                <a:lnTo>
                  <a:pt x="2551050" y="0"/>
                </a:lnTo>
                <a:lnTo>
                  <a:pt x="2551562" y="0"/>
                </a:lnTo>
                <a:lnTo>
                  <a:pt x="2551569" y="0"/>
                </a:lnTo>
                <a:lnTo>
                  <a:pt x="2551578" y="0"/>
                </a:lnTo>
                <a:lnTo>
                  <a:pt x="2592411" y="0"/>
                </a:lnTo>
                <a:lnTo>
                  <a:pt x="2592411" y="1958"/>
                </a:lnTo>
                <a:lnTo>
                  <a:pt x="2634501" y="3952"/>
                </a:lnTo>
                <a:lnTo>
                  <a:pt x="2637054" y="4316"/>
                </a:lnTo>
                <a:lnTo>
                  <a:pt x="2640456" y="4488"/>
                </a:lnTo>
                <a:cubicBezTo>
                  <a:pt x="2691829" y="9705"/>
                  <a:pt x="2741879" y="19395"/>
                  <a:pt x="2790212" y="33163"/>
                </a:cubicBezTo>
                <a:lnTo>
                  <a:pt x="2793735" y="34335"/>
                </a:lnTo>
                <a:lnTo>
                  <a:pt x="2794341" y="34481"/>
                </a:lnTo>
                <a:lnTo>
                  <a:pt x="2800387" y="36546"/>
                </a:lnTo>
                <a:lnTo>
                  <a:pt x="2861373" y="56823"/>
                </a:lnTo>
                <a:lnTo>
                  <a:pt x="2867633" y="59526"/>
                </a:lnTo>
                <a:lnTo>
                  <a:pt x="2870011" y="60338"/>
                </a:lnTo>
                <a:lnTo>
                  <a:pt x="2882873" y="66104"/>
                </a:lnTo>
                <a:lnTo>
                  <a:pt x="2929660" y="86302"/>
                </a:lnTo>
                <a:lnTo>
                  <a:pt x="2938392" y="90995"/>
                </a:lnTo>
                <a:lnTo>
                  <a:pt x="2942366" y="92777"/>
                </a:lnTo>
                <a:lnTo>
                  <a:pt x="2956322" y="100633"/>
                </a:lnTo>
                <a:lnTo>
                  <a:pt x="2994777" y="121304"/>
                </a:lnTo>
                <a:lnTo>
                  <a:pt x="3005676" y="128415"/>
                </a:lnTo>
                <a:lnTo>
                  <a:pt x="3011046" y="131437"/>
                </a:lnTo>
                <a:lnTo>
                  <a:pt x="3024334" y="140589"/>
                </a:lnTo>
                <a:lnTo>
                  <a:pt x="3056428" y="161531"/>
                </a:lnTo>
                <a:lnTo>
                  <a:pt x="3069144" y="171451"/>
                </a:lnTo>
                <a:lnTo>
                  <a:pt x="3075690" y="175957"/>
                </a:lnTo>
                <a:lnTo>
                  <a:pt x="3087606" y="185852"/>
                </a:lnTo>
                <a:lnTo>
                  <a:pt x="3114314" y="206688"/>
                </a:lnTo>
                <a:lnTo>
                  <a:pt x="3128462" y="219774"/>
                </a:lnTo>
                <a:lnTo>
                  <a:pt x="3135937" y="225980"/>
                </a:lnTo>
                <a:lnTo>
                  <a:pt x="3146191" y="236171"/>
                </a:lnTo>
                <a:lnTo>
                  <a:pt x="3168141" y="256476"/>
                </a:lnTo>
                <a:lnTo>
                  <a:pt x="3183293" y="273055"/>
                </a:lnTo>
                <a:lnTo>
                  <a:pt x="3191429" y="281142"/>
                </a:lnTo>
                <a:lnTo>
                  <a:pt x="3199926" y="291252"/>
                </a:lnTo>
                <a:lnTo>
                  <a:pt x="3217610" y="310602"/>
                </a:lnTo>
                <a:lnTo>
                  <a:pt x="3233304" y="330971"/>
                </a:lnTo>
                <a:lnTo>
                  <a:pt x="3241804" y="341083"/>
                </a:lnTo>
                <a:lnTo>
                  <a:pt x="3248568" y="350779"/>
                </a:lnTo>
                <a:lnTo>
                  <a:pt x="3262426" y="368765"/>
                </a:lnTo>
                <a:lnTo>
                  <a:pt x="3278169" y="393212"/>
                </a:lnTo>
                <a:lnTo>
                  <a:pt x="3286703" y="405445"/>
                </a:lnTo>
                <a:lnTo>
                  <a:pt x="3291831" y="414427"/>
                </a:lnTo>
                <a:lnTo>
                  <a:pt x="3302291" y="430672"/>
                </a:lnTo>
                <a:lnTo>
                  <a:pt x="3317558" y="459491"/>
                </a:lnTo>
                <a:lnTo>
                  <a:pt x="3325764" y="473866"/>
                </a:lnTo>
                <a:lnTo>
                  <a:pt x="3329409" y="481864"/>
                </a:lnTo>
                <a:lnTo>
                  <a:pt x="3336910" y="496024"/>
                </a:lnTo>
                <a:lnTo>
                  <a:pt x="3351148" y="529569"/>
                </a:lnTo>
                <a:lnTo>
                  <a:pt x="3358630" y="545987"/>
                </a:lnTo>
                <a:lnTo>
                  <a:pt x="3360989" y="552754"/>
                </a:lnTo>
                <a:lnTo>
                  <a:pt x="3365986" y="564525"/>
                </a:lnTo>
                <a:lnTo>
                  <a:pt x="3378616" y="603315"/>
                </a:lnTo>
                <a:lnTo>
                  <a:pt x="3384937" y="621447"/>
                </a:lnTo>
                <a:lnTo>
                  <a:pt x="3386251" y="626765"/>
                </a:lnTo>
                <a:lnTo>
                  <a:pt x="3389219" y="635880"/>
                </a:lnTo>
                <a:lnTo>
                  <a:pt x="3399642" y="680932"/>
                </a:lnTo>
                <a:lnTo>
                  <a:pt x="3404327" y="699885"/>
                </a:lnTo>
                <a:lnTo>
                  <a:pt x="3404875" y="703555"/>
                </a:lnTo>
                <a:lnTo>
                  <a:pt x="3406317" y="709789"/>
                </a:lnTo>
                <a:lnTo>
                  <a:pt x="3413905" y="763987"/>
                </a:lnTo>
                <a:lnTo>
                  <a:pt x="3416438" y="780941"/>
                </a:lnTo>
                <a:lnTo>
                  <a:pt x="3416529" y="782725"/>
                </a:lnTo>
                <a:lnTo>
                  <a:pt x="3416981" y="785957"/>
                </a:lnTo>
                <a:lnTo>
                  <a:pt x="3418760" y="823548"/>
                </a:lnTo>
                <a:lnTo>
                  <a:pt x="3420930" y="823548"/>
                </a:lnTo>
                <a:lnTo>
                  <a:pt x="3420930" y="858205"/>
                </a:lnTo>
                <a:lnTo>
                  <a:pt x="3420930" y="869361"/>
                </a:lnTo>
                <a:lnTo>
                  <a:pt x="3420930" y="869619"/>
                </a:lnTo>
                <a:lnTo>
                  <a:pt x="3420930" y="869620"/>
                </a:lnTo>
                <a:lnTo>
                  <a:pt x="3421968" y="869620"/>
                </a:lnTo>
                <a:lnTo>
                  <a:pt x="3421968" y="983014"/>
                </a:lnTo>
                <a:lnTo>
                  <a:pt x="3421968" y="1036130"/>
                </a:lnTo>
                <a:lnTo>
                  <a:pt x="3421968" y="1093947"/>
                </a:lnTo>
                <a:lnTo>
                  <a:pt x="3421968" y="1130555"/>
                </a:lnTo>
                <a:lnTo>
                  <a:pt x="3421968" y="1143704"/>
                </a:lnTo>
                <a:lnTo>
                  <a:pt x="3421968" y="1189777"/>
                </a:lnTo>
                <a:lnTo>
                  <a:pt x="3421968" y="1207341"/>
                </a:lnTo>
                <a:lnTo>
                  <a:pt x="3421968" y="1260457"/>
                </a:lnTo>
                <a:lnTo>
                  <a:pt x="3421968" y="1354882"/>
                </a:lnTo>
                <a:lnTo>
                  <a:pt x="3421968" y="1368031"/>
                </a:lnTo>
                <a:lnTo>
                  <a:pt x="3421968" y="1414104"/>
                </a:lnTo>
                <a:lnTo>
                  <a:pt x="3420940" y="1414104"/>
                </a:lnTo>
                <a:lnTo>
                  <a:pt x="3420940" y="2013324"/>
                </a:lnTo>
                <a:lnTo>
                  <a:pt x="3420940" y="2237651"/>
                </a:lnTo>
                <a:lnTo>
                  <a:pt x="3418236" y="2237651"/>
                </a:lnTo>
                <a:lnTo>
                  <a:pt x="3418760" y="2248714"/>
                </a:lnTo>
                <a:lnTo>
                  <a:pt x="3420930" y="2248714"/>
                </a:lnTo>
                <a:lnTo>
                  <a:pt x="3420930" y="2283369"/>
                </a:lnTo>
                <a:lnTo>
                  <a:pt x="3420930" y="2294524"/>
                </a:lnTo>
                <a:lnTo>
                  <a:pt x="3420930" y="2294786"/>
                </a:lnTo>
                <a:lnTo>
                  <a:pt x="3421968" y="2294786"/>
                </a:lnTo>
                <a:lnTo>
                  <a:pt x="3421968" y="2307936"/>
                </a:lnTo>
                <a:lnTo>
                  <a:pt x="3421968" y="2402360"/>
                </a:lnTo>
                <a:lnTo>
                  <a:pt x="3421968" y="2455476"/>
                </a:lnTo>
                <a:lnTo>
                  <a:pt x="3421968" y="2568870"/>
                </a:lnTo>
                <a:lnTo>
                  <a:pt x="3421968" y="2614942"/>
                </a:lnTo>
                <a:lnTo>
                  <a:pt x="3420939" y="2614942"/>
                </a:lnTo>
                <a:lnTo>
                  <a:pt x="3420939" y="3438489"/>
                </a:lnTo>
                <a:lnTo>
                  <a:pt x="2670421" y="3438489"/>
                </a:lnTo>
                <a:lnTo>
                  <a:pt x="2552100" y="3438489"/>
                </a:lnTo>
                <a:lnTo>
                  <a:pt x="2551589" y="3438489"/>
                </a:lnTo>
                <a:lnTo>
                  <a:pt x="2551580" y="3438490"/>
                </a:lnTo>
                <a:lnTo>
                  <a:pt x="2551571" y="3438489"/>
                </a:lnTo>
                <a:lnTo>
                  <a:pt x="2510738" y="3438489"/>
                </a:lnTo>
                <a:lnTo>
                  <a:pt x="2490276" y="3438489"/>
                </a:lnTo>
                <a:lnTo>
                  <a:pt x="1801582" y="3438489"/>
                </a:lnTo>
                <a:lnTo>
                  <a:pt x="1801070" y="3438489"/>
                </a:lnTo>
                <a:lnTo>
                  <a:pt x="1801062" y="3438490"/>
                </a:lnTo>
                <a:lnTo>
                  <a:pt x="1801053" y="3438489"/>
                </a:lnTo>
                <a:lnTo>
                  <a:pt x="1760220" y="3438489"/>
                </a:lnTo>
                <a:lnTo>
                  <a:pt x="1739758" y="3438489"/>
                </a:lnTo>
                <a:lnTo>
                  <a:pt x="1621438" y="3438489"/>
                </a:lnTo>
                <a:lnTo>
                  <a:pt x="1620926" y="3438489"/>
                </a:lnTo>
                <a:lnTo>
                  <a:pt x="1620917" y="3438490"/>
                </a:lnTo>
                <a:lnTo>
                  <a:pt x="1620908" y="3438489"/>
                </a:lnTo>
                <a:lnTo>
                  <a:pt x="1580075" y="3438489"/>
                </a:lnTo>
                <a:lnTo>
                  <a:pt x="870919" y="3438489"/>
                </a:lnTo>
                <a:lnTo>
                  <a:pt x="870408" y="3438489"/>
                </a:lnTo>
                <a:lnTo>
                  <a:pt x="870400" y="3438490"/>
                </a:lnTo>
                <a:lnTo>
                  <a:pt x="870390" y="3438489"/>
                </a:lnTo>
                <a:lnTo>
                  <a:pt x="829557" y="3438489"/>
                </a:lnTo>
                <a:lnTo>
                  <a:pt x="829557" y="3436532"/>
                </a:lnTo>
                <a:lnTo>
                  <a:pt x="787467" y="3434538"/>
                </a:lnTo>
                <a:lnTo>
                  <a:pt x="784914" y="3434173"/>
                </a:lnTo>
                <a:lnTo>
                  <a:pt x="781512" y="3434001"/>
                </a:lnTo>
                <a:cubicBezTo>
                  <a:pt x="730139" y="3428784"/>
                  <a:pt x="680090" y="3419094"/>
                  <a:pt x="631756" y="3405326"/>
                </a:cubicBezTo>
                <a:lnTo>
                  <a:pt x="628233" y="3404156"/>
                </a:lnTo>
                <a:lnTo>
                  <a:pt x="627626" y="3404009"/>
                </a:lnTo>
                <a:lnTo>
                  <a:pt x="621581" y="3401944"/>
                </a:lnTo>
                <a:lnTo>
                  <a:pt x="560595" y="3381667"/>
                </a:lnTo>
                <a:lnTo>
                  <a:pt x="554335" y="3378965"/>
                </a:lnTo>
                <a:lnTo>
                  <a:pt x="551956" y="3378152"/>
                </a:lnTo>
                <a:lnTo>
                  <a:pt x="539096" y="3372385"/>
                </a:lnTo>
                <a:lnTo>
                  <a:pt x="492308" y="3352188"/>
                </a:lnTo>
                <a:lnTo>
                  <a:pt x="483576" y="3347496"/>
                </a:lnTo>
                <a:lnTo>
                  <a:pt x="479602" y="3345713"/>
                </a:lnTo>
                <a:lnTo>
                  <a:pt x="465646" y="3337856"/>
                </a:lnTo>
                <a:lnTo>
                  <a:pt x="427191" y="3317186"/>
                </a:lnTo>
                <a:lnTo>
                  <a:pt x="416293" y="3310074"/>
                </a:lnTo>
                <a:lnTo>
                  <a:pt x="410923" y="3307054"/>
                </a:lnTo>
                <a:lnTo>
                  <a:pt x="397634" y="3297901"/>
                </a:lnTo>
                <a:lnTo>
                  <a:pt x="365540" y="3276960"/>
                </a:lnTo>
                <a:lnTo>
                  <a:pt x="352824" y="3267038"/>
                </a:lnTo>
                <a:lnTo>
                  <a:pt x="346279" y="3262532"/>
                </a:lnTo>
                <a:lnTo>
                  <a:pt x="334363" y="3252638"/>
                </a:lnTo>
                <a:lnTo>
                  <a:pt x="307654" y="3231802"/>
                </a:lnTo>
                <a:lnTo>
                  <a:pt x="293506" y="3218717"/>
                </a:lnTo>
                <a:lnTo>
                  <a:pt x="286031" y="3212510"/>
                </a:lnTo>
                <a:lnTo>
                  <a:pt x="275778" y="3202318"/>
                </a:lnTo>
                <a:lnTo>
                  <a:pt x="253827" y="3182013"/>
                </a:lnTo>
                <a:lnTo>
                  <a:pt x="238676" y="3165436"/>
                </a:lnTo>
                <a:lnTo>
                  <a:pt x="230539" y="3157349"/>
                </a:lnTo>
                <a:lnTo>
                  <a:pt x="222041" y="3147238"/>
                </a:lnTo>
                <a:lnTo>
                  <a:pt x="204358" y="3127888"/>
                </a:lnTo>
                <a:lnTo>
                  <a:pt x="188664" y="3107519"/>
                </a:lnTo>
                <a:lnTo>
                  <a:pt x="180164" y="3097407"/>
                </a:lnTo>
                <a:lnTo>
                  <a:pt x="173400" y="3087711"/>
                </a:lnTo>
                <a:lnTo>
                  <a:pt x="159541" y="3069725"/>
                </a:lnTo>
                <a:lnTo>
                  <a:pt x="143800" y="3045278"/>
                </a:lnTo>
                <a:lnTo>
                  <a:pt x="135264" y="3033045"/>
                </a:lnTo>
                <a:lnTo>
                  <a:pt x="130137" y="3024063"/>
                </a:lnTo>
                <a:lnTo>
                  <a:pt x="119676" y="3007818"/>
                </a:lnTo>
                <a:lnTo>
                  <a:pt x="104410" y="2978998"/>
                </a:lnTo>
                <a:lnTo>
                  <a:pt x="96204" y="2964623"/>
                </a:lnTo>
                <a:lnTo>
                  <a:pt x="92559" y="2956626"/>
                </a:lnTo>
                <a:lnTo>
                  <a:pt x="85058" y="2942467"/>
                </a:lnTo>
                <a:lnTo>
                  <a:pt x="70820" y="2908920"/>
                </a:lnTo>
                <a:lnTo>
                  <a:pt x="63338" y="2892502"/>
                </a:lnTo>
                <a:lnTo>
                  <a:pt x="60979" y="2885735"/>
                </a:lnTo>
                <a:lnTo>
                  <a:pt x="55983" y="2873964"/>
                </a:lnTo>
                <a:lnTo>
                  <a:pt x="43352" y="2835175"/>
                </a:lnTo>
                <a:lnTo>
                  <a:pt x="37031" y="2817044"/>
                </a:lnTo>
                <a:lnTo>
                  <a:pt x="35716" y="2811725"/>
                </a:lnTo>
                <a:lnTo>
                  <a:pt x="32748" y="2802610"/>
                </a:lnTo>
                <a:lnTo>
                  <a:pt x="22327" y="2757558"/>
                </a:lnTo>
                <a:lnTo>
                  <a:pt x="17642" y="2738606"/>
                </a:lnTo>
                <a:lnTo>
                  <a:pt x="17093" y="2734935"/>
                </a:lnTo>
                <a:lnTo>
                  <a:pt x="15651" y="2728701"/>
                </a:lnTo>
                <a:lnTo>
                  <a:pt x="8064" y="2674503"/>
                </a:lnTo>
                <a:lnTo>
                  <a:pt x="5530" y="2657550"/>
                </a:lnTo>
                <a:lnTo>
                  <a:pt x="5440" y="2655765"/>
                </a:lnTo>
                <a:lnTo>
                  <a:pt x="4988" y="2652533"/>
                </a:lnTo>
                <a:lnTo>
                  <a:pt x="3208" y="2614942"/>
                </a:lnTo>
                <a:lnTo>
                  <a:pt x="1039" y="2614942"/>
                </a:lnTo>
                <a:lnTo>
                  <a:pt x="1039" y="2580285"/>
                </a:lnTo>
                <a:lnTo>
                  <a:pt x="1039" y="2569130"/>
                </a:lnTo>
                <a:lnTo>
                  <a:pt x="1039" y="2568870"/>
                </a:lnTo>
                <a:lnTo>
                  <a:pt x="0" y="2568870"/>
                </a:lnTo>
                <a:lnTo>
                  <a:pt x="0" y="2455476"/>
                </a:lnTo>
                <a:lnTo>
                  <a:pt x="0" y="2402360"/>
                </a:lnTo>
                <a:lnTo>
                  <a:pt x="0" y="2307936"/>
                </a:lnTo>
                <a:lnTo>
                  <a:pt x="0" y="2294786"/>
                </a:lnTo>
                <a:lnTo>
                  <a:pt x="0" y="2248714"/>
                </a:lnTo>
                <a:lnTo>
                  <a:pt x="1028" y="2248714"/>
                </a:lnTo>
                <a:lnTo>
                  <a:pt x="1028" y="2231154"/>
                </a:lnTo>
                <a:lnTo>
                  <a:pt x="751546" y="2231154"/>
                </a:lnTo>
                <a:lnTo>
                  <a:pt x="771021" y="2231154"/>
                </a:lnTo>
                <a:lnTo>
                  <a:pt x="631756" y="2204488"/>
                </a:lnTo>
                <a:lnTo>
                  <a:pt x="628233" y="2203317"/>
                </a:lnTo>
                <a:lnTo>
                  <a:pt x="627626" y="2203170"/>
                </a:lnTo>
                <a:lnTo>
                  <a:pt x="621582" y="2201104"/>
                </a:lnTo>
                <a:lnTo>
                  <a:pt x="560595" y="2180828"/>
                </a:lnTo>
                <a:lnTo>
                  <a:pt x="554335" y="2178125"/>
                </a:lnTo>
                <a:lnTo>
                  <a:pt x="551956" y="2177313"/>
                </a:lnTo>
                <a:lnTo>
                  <a:pt x="539096" y="2171547"/>
                </a:lnTo>
                <a:lnTo>
                  <a:pt x="492308" y="2151350"/>
                </a:lnTo>
                <a:lnTo>
                  <a:pt x="483576" y="2146656"/>
                </a:lnTo>
                <a:lnTo>
                  <a:pt x="479602" y="2144873"/>
                </a:lnTo>
                <a:lnTo>
                  <a:pt x="465646" y="2137018"/>
                </a:lnTo>
                <a:lnTo>
                  <a:pt x="427191" y="2116347"/>
                </a:lnTo>
                <a:lnTo>
                  <a:pt x="416293" y="2109236"/>
                </a:lnTo>
                <a:lnTo>
                  <a:pt x="410923" y="2106214"/>
                </a:lnTo>
                <a:lnTo>
                  <a:pt x="397634" y="2097063"/>
                </a:lnTo>
                <a:lnTo>
                  <a:pt x="365540" y="2076120"/>
                </a:lnTo>
                <a:lnTo>
                  <a:pt x="352824" y="2066200"/>
                </a:lnTo>
                <a:lnTo>
                  <a:pt x="346279" y="2061693"/>
                </a:lnTo>
                <a:lnTo>
                  <a:pt x="334363" y="2051798"/>
                </a:lnTo>
                <a:lnTo>
                  <a:pt x="307654" y="2030964"/>
                </a:lnTo>
                <a:lnTo>
                  <a:pt x="293506" y="2017878"/>
                </a:lnTo>
                <a:lnTo>
                  <a:pt x="286031" y="2011671"/>
                </a:lnTo>
                <a:lnTo>
                  <a:pt x="275778" y="2001479"/>
                </a:lnTo>
                <a:lnTo>
                  <a:pt x="253827" y="1981175"/>
                </a:lnTo>
                <a:lnTo>
                  <a:pt x="238676" y="1964597"/>
                </a:lnTo>
                <a:lnTo>
                  <a:pt x="230539" y="1956509"/>
                </a:lnTo>
                <a:lnTo>
                  <a:pt x="222041" y="1946399"/>
                </a:lnTo>
                <a:lnTo>
                  <a:pt x="204358" y="1927050"/>
                </a:lnTo>
                <a:lnTo>
                  <a:pt x="188664" y="1906681"/>
                </a:lnTo>
                <a:lnTo>
                  <a:pt x="180164" y="1896567"/>
                </a:lnTo>
                <a:lnTo>
                  <a:pt x="173400" y="1886871"/>
                </a:lnTo>
                <a:lnTo>
                  <a:pt x="159541" y="1868886"/>
                </a:lnTo>
                <a:lnTo>
                  <a:pt x="143800" y="1844439"/>
                </a:lnTo>
                <a:lnTo>
                  <a:pt x="135265" y="1832206"/>
                </a:lnTo>
                <a:lnTo>
                  <a:pt x="130138" y="1823225"/>
                </a:lnTo>
                <a:lnTo>
                  <a:pt x="119676" y="1806980"/>
                </a:lnTo>
                <a:lnTo>
                  <a:pt x="104411" y="1778160"/>
                </a:lnTo>
                <a:lnTo>
                  <a:pt x="96204" y="1763784"/>
                </a:lnTo>
                <a:lnTo>
                  <a:pt x="92559" y="1755787"/>
                </a:lnTo>
                <a:lnTo>
                  <a:pt x="85058" y="1741627"/>
                </a:lnTo>
                <a:lnTo>
                  <a:pt x="70820" y="1708082"/>
                </a:lnTo>
                <a:lnTo>
                  <a:pt x="63338" y="1691664"/>
                </a:lnTo>
                <a:lnTo>
                  <a:pt x="60979" y="1684897"/>
                </a:lnTo>
                <a:lnTo>
                  <a:pt x="55983" y="1673126"/>
                </a:lnTo>
                <a:lnTo>
                  <a:pt x="43353" y="1634336"/>
                </a:lnTo>
                <a:lnTo>
                  <a:pt x="37031" y="1616205"/>
                </a:lnTo>
                <a:lnTo>
                  <a:pt x="35716" y="1610886"/>
                </a:lnTo>
                <a:lnTo>
                  <a:pt x="32748" y="1601772"/>
                </a:lnTo>
                <a:lnTo>
                  <a:pt x="22327" y="1556719"/>
                </a:lnTo>
                <a:lnTo>
                  <a:pt x="17642" y="1537767"/>
                </a:lnTo>
                <a:lnTo>
                  <a:pt x="17093" y="1534095"/>
                </a:lnTo>
                <a:lnTo>
                  <a:pt x="15651" y="1527861"/>
                </a:lnTo>
                <a:lnTo>
                  <a:pt x="8064" y="1473664"/>
                </a:lnTo>
                <a:lnTo>
                  <a:pt x="5531" y="1456711"/>
                </a:lnTo>
                <a:lnTo>
                  <a:pt x="5440" y="1454926"/>
                </a:lnTo>
                <a:lnTo>
                  <a:pt x="4988" y="1451693"/>
                </a:lnTo>
                <a:lnTo>
                  <a:pt x="3208" y="1414104"/>
                </a:lnTo>
                <a:lnTo>
                  <a:pt x="1039" y="1414104"/>
                </a:lnTo>
                <a:lnTo>
                  <a:pt x="1039" y="1379448"/>
                </a:lnTo>
                <a:lnTo>
                  <a:pt x="1039" y="1368291"/>
                </a:lnTo>
                <a:lnTo>
                  <a:pt x="1039" y="1368031"/>
                </a:lnTo>
                <a:lnTo>
                  <a:pt x="0" y="1368031"/>
                </a:lnTo>
                <a:lnTo>
                  <a:pt x="0" y="1354882"/>
                </a:lnTo>
                <a:lnTo>
                  <a:pt x="0" y="1260457"/>
                </a:lnTo>
                <a:lnTo>
                  <a:pt x="0" y="1207341"/>
                </a:lnTo>
                <a:lnTo>
                  <a:pt x="0" y="1143704"/>
                </a:lnTo>
                <a:lnTo>
                  <a:pt x="0" y="1130555"/>
                </a:lnTo>
                <a:lnTo>
                  <a:pt x="0" y="1093946"/>
                </a:lnTo>
                <a:lnTo>
                  <a:pt x="0" y="1047875"/>
                </a:lnTo>
                <a:lnTo>
                  <a:pt x="0" y="1036130"/>
                </a:lnTo>
                <a:lnTo>
                  <a:pt x="0" y="983014"/>
                </a:lnTo>
                <a:lnTo>
                  <a:pt x="0" y="869619"/>
                </a:lnTo>
                <a:lnTo>
                  <a:pt x="0" y="823548"/>
                </a:lnTo>
                <a:lnTo>
                  <a:pt x="1029" y="823548"/>
                </a:lnTo>
                <a:lnTo>
                  <a:pt x="1029" y="22432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41392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C9F0DB2-0512-401D-8243-4C10160F486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09642" y="0"/>
            <a:ext cx="4694471" cy="6855583"/>
          </a:xfrm>
          <a:custGeom>
            <a:avLst/>
            <a:gdLst>
              <a:gd name="connsiteX0" fmla="*/ 2738 w 4694471"/>
              <a:gd name="connsiteY0" fmla="*/ 0 h 6855583"/>
              <a:gd name="connsiteX1" fmla="*/ 961282 w 4694471"/>
              <a:gd name="connsiteY1" fmla="*/ 0 h 6855583"/>
              <a:gd name="connsiteX2" fmla="*/ 1974639 w 4694471"/>
              <a:gd name="connsiteY2" fmla="*/ 0 h 6855583"/>
              <a:gd name="connsiteX3" fmla="*/ 2050909 w 4694471"/>
              <a:gd name="connsiteY3" fmla="*/ 0 h 6855583"/>
              <a:gd name="connsiteX4" fmla="*/ 2600795 w 4694471"/>
              <a:gd name="connsiteY4" fmla="*/ 0 h 6855583"/>
              <a:gd name="connsiteX5" fmla="*/ 2671049 w 4694471"/>
              <a:gd name="connsiteY5" fmla="*/ 0 h 6855583"/>
              <a:gd name="connsiteX6" fmla="*/ 2747320 w 4694471"/>
              <a:gd name="connsiteY6" fmla="*/ 0 h 6855583"/>
              <a:gd name="connsiteX7" fmla="*/ 2933183 w 4694471"/>
              <a:gd name="connsiteY7" fmla="*/ 0 h 6855583"/>
              <a:gd name="connsiteX8" fmla="*/ 3009453 w 4694471"/>
              <a:gd name="connsiteY8" fmla="*/ 0 h 6855583"/>
              <a:gd name="connsiteX9" fmla="*/ 3559339 w 4694471"/>
              <a:gd name="connsiteY9" fmla="*/ 0 h 6855583"/>
              <a:gd name="connsiteX10" fmla="*/ 3559339 w 4694471"/>
              <a:gd name="connsiteY10" fmla="*/ 1 h 6855583"/>
              <a:gd name="connsiteX11" fmla="*/ 3629003 w 4694471"/>
              <a:gd name="connsiteY11" fmla="*/ 1 h 6855583"/>
              <a:gd name="connsiteX12" fmla="*/ 3629584 w 4694471"/>
              <a:gd name="connsiteY12" fmla="*/ 1 h 6855583"/>
              <a:gd name="connsiteX13" fmla="*/ 3629593 w 4694471"/>
              <a:gd name="connsiteY13" fmla="*/ 0 h 6855583"/>
              <a:gd name="connsiteX14" fmla="*/ 3629603 w 4694471"/>
              <a:gd name="connsiteY14" fmla="*/ 1 h 6855583"/>
              <a:gd name="connsiteX15" fmla="*/ 3675909 w 4694471"/>
              <a:gd name="connsiteY15" fmla="*/ 1 h 6855583"/>
              <a:gd name="connsiteX16" fmla="*/ 3705273 w 4694471"/>
              <a:gd name="connsiteY16" fmla="*/ 1 h 6855583"/>
              <a:gd name="connsiteX17" fmla="*/ 3705854 w 4694471"/>
              <a:gd name="connsiteY17" fmla="*/ 1 h 6855583"/>
              <a:gd name="connsiteX18" fmla="*/ 3705864 w 4694471"/>
              <a:gd name="connsiteY18" fmla="*/ 0 h 6855583"/>
              <a:gd name="connsiteX19" fmla="*/ 3705872 w 4694471"/>
              <a:gd name="connsiteY19" fmla="*/ 1 h 6855583"/>
              <a:gd name="connsiteX20" fmla="*/ 3752180 w 4694471"/>
              <a:gd name="connsiteY20" fmla="*/ 1 h 6855583"/>
              <a:gd name="connsiteX21" fmla="*/ 3752180 w 4694471"/>
              <a:gd name="connsiteY21" fmla="*/ 2441 h 6855583"/>
              <a:gd name="connsiteX22" fmla="*/ 3799909 w 4694471"/>
              <a:gd name="connsiteY22" fmla="*/ 4925 h 6855583"/>
              <a:gd name="connsiteX23" fmla="*/ 3802804 w 4694471"/>
              <a:gd name="connsiteY23" fmla="*/ 5380 h 6855583"/>
              <a:gd name="connsiteX24" fmla="*/ 3806663 w 4694471"/>
              <a:gd name="connsiteY24" fmla="*/ 5593 h 6855583"/>
              <a:gd name="connsiteX25" fmla="*/ 3976490 w 4694471"/>
              <a:gd name="connsiteY25" fmla="*/ 41323 h 6855583"/>
              <a:gd name="connsiteX26" fmla="*/ 3980485 w 4694471"/>
              <a:gd name="connsiteY26" fmla="*/ 42781 h 6855583"/>
              <a:gd name="connsiteX27" fmla="*/ 3981173 w 4694471"/>
              <a:gd name="connsiteY27" fmla="*/ 42964 h 6855583"/>
              <a:gd name="connsiteX28" fmla="*/ 3988028 w 4694471"/>
              <a:gd name="connsiteY28" fmla="*/ 45538 h 6855583"/>
              <a:gd name="connsiteX29" fmla="*/ 4057188 w 4694471"/>
              <a:gd name="connsiteY29" fmla="*/ 70802 h 6855583"/>
              <a:gd name="connsiteX30" fmla="*/ 4064286 w 4694471"/>
              <a:gd name="connsiteY30" fmla="*/ 74169 h 6855583"/>
              <a:gd name="connsiteX31" fmla="*/ 4066984 w 4694471"/>
              <a:gd name="connsiteY31" fmla="*/ 75182 h 6855583"/>
              <a:gd name="connsiteX32" fmla="*/ 4081569 w 4694471"/>
              <a:gd name="connsiteY32" fmla="*/ 82367 h 6855583"/>
              <a:gd name="connsiteX33" fmla="*/ 4134626 w 4694471"/>
              <a:gd name="connsiteY33" fmla="*/ 107533 h 6855583"/>
              <a:gd name="connsiteX34" fmla="*/ 4144529 w 4694471"/>
              <a:gd name="connsiteY34" fmla="*/ 113381 h 6855583"/>
              <a:gd name="connsiteX35" fmla="*/ 4149036 w 4694471"/>
              <a:gd name="connsiteY35" fmla="*/ 115600 h 6855583"/>
              <a:gd name="connsiteX36" fmla="*/ 4164861 w 4694471"/>
              <a:gd name="connsiteY36" fmla="*/ 125388 h 6855583"/>
              <a:gd name="connsiteX37" fmla="*/ 4208472 w 4694471"/>
              <a:gd name="connsiteY37" fmla="*/ 151145 h 6855583"/>
              <a:gd name="connsiteX38" fmla="*/ 4220829 w 4694471"/>
              <a:gd name="connsiteY38" fmla="*/ 160005 h 6855583"/>
              <a:gd name="connsiteX39" fmla="*/ 4226920 w 4694471"/>
              <a:gd name="connsiteY39" fmla="*/ 163770 h 6855583"/>
              <a:gd name="connsiteX40" fmla="*/ 4241989 w 4694471"/>
              <a:gd name="connsiteY40" fmla="*/ 175174 h 6855583"/>
              <a:gd name="connsiteX41" fmla="*/ 4278383 w 4694471"/>
              <a:gd name="connsiteY41" fmla="*/ 201267 h 6855583"/>
              <a:gd name="connsiteX42" fmla="*/ 4292804 w 4694471"/>
              <a:gd name="connsiteY42" fmla="*/ 213629 h 6855583"/>
              <a:gd name="connsiteX43" fmla="*/ 4300227 w 4694471"/>
              <a:gd name="connsiteY43" fmla="*/ 219244 h 6855583"/>
              <a:gd name="connsiteX44" fmla="*/ 4313741 w 4694471"/>
              <a:gd name="connsiteY44" fmla="*/ 231573 h 6855583"/>
              <a:gd name="connsiteX45" fmla="*/ 4344028 w 4694471"/>
              <a:gd name="connsiteY45" fmla="*/ 257532 h 6855583"/>
              <a:gd name="connsiteX46" fmla="*/ 4360072 w 4694471"/>
              <a:gd name="connsiteY46" fmla="*/ 273838 h 6855583"/>
              <a:gd name="connsiteX47" fmla="*/ 4368549 w 4694471"/>
              <a:gd name="connsiteY47" fmla="*/ 281570 h 6855583"/>
              <a:gd name="connsiteX48" fmla="*/ 4380176 w 4694471"/>
              <a:gd name="connsiteY48" fmla="*/ 294271 h 6855583"/>
              <a:gd name="connsiteX49" fmla="*/ 4405069 w 4694471"/>
              <a:gd name="connsiteY49" fmla="*/ 319569 h 6855583"/>
              <a:gd name="connsiteX50" fmla="*/ 4422252 w 4694471"/>
              <a:gd name="connsiteY50" fmla="*/ 340225 h 6855583"/>
              <a:gd name="connsiteX51" fmla="*/ 4431478 w 4694471"/>
              <a:gd name="connsiteY51" fmla="*/ 350303 h 6855583"/>
              <a:gd name="connsiteX52" fmla="*/ 4441115 w 4694471"/>
              <a:gd name="connsiteY52" fmla="*/ 362902 h 6855583"/>
              <a:gd name="connsiteX53" fmla="*/ 4461169 w 4694471"/>
              <a:gd name="connsiteY53" fmla="*/ 387010 h 6855583"/>
              <a:gd name="connsiteX54" fmla="*/ 4478966 w 4694471"/>
              <a:gd name="connsiteY54" fmla="*/ 412388 h 6855583"/>
              <a:gd name="connsiteX55" fmla="*/ 4488605 w 4694471"/>
              <a:gd name="connsiteY55" fmla="*/ 424989 h 6855583"/>
              <a:gd name="connsiteX56" fmla="*/ 4496275 w 4694471"/>
              <a:gd name="connsiteY56" fmla="*/ 437070 h 6855583"/>
              <a:gd name="connsiteX57" fmla="*/ 4511991 w 4694471"/>
              <a:gd name="connsiteY57" fmla="*/ 459481 h 6855583"/>
              <a:gd name="connsiteX58" fmla="*/ 4529843 w 4694471"/>
              <a:gd name="connsiteY58" fmla="*/ 489942 h 6855583"/>
              <a:gd name="connsiteX59" fmla="*/ 4539521 w 4694471"/>
              <a:gd name="connsiteY59" fmla="*/ 505184 h 6855583"/>
              <a:gd name="connsiteX60" fmla="*/ 4545336 w 4694471"/>
              <a:gd name="connsiteY60" fmla="*/ 516375 h 6855583"/>
              <a:gd name="connsiteX61" fmla="*/ 4557199 w 4694471"/>
              <a:gd name="connsiteY61" fmla="*/ 536617 h 6855583"/>
              <a:gd name="connsiteX62" fmla="*/ 4574510 w 4694471"/>
              <a:gd name="connsiteY62" fmla="*/ 572526 h 6855583"/>
              <a:gd name="connsiteX63" fmla="*/ 4583819 w 4694471"/>
              <a:gd name="connsiteY63" fmla="*/ 590437 h 6855583"/>
              <a:gd name="connsiteX64" fmla="*/ 4587950 w 4694471"/>
              <a:gd name="connsiteY64" fmla="*/ 600402 h 6855583"/>
              <a:gd name="connsiteX65" fmla="*/ 4596457 w 4694471"/>
              <a:gd name="connsiteY65" fmla="*/ 618045 h 6855583"/>
              <a:gd name="connsiteX66" fmla="*/ 4612602 w 4694471"/>
              <a:gd name="connsiteY66" fmla="*/ 659843 h 6855583"/>
              <a:gd name="connsiteX67" fmla="*/ 4621089 w 4694471"/>
              <a:gd name="connsiteY67" fmla="*/ 680300 h 6855583"/>
              <a:gd name="connsiteX68" fmla="*/ 4623764 w 4694471"/>
              <a:gd name="connsiteY68" fmla="*/ 688731 h 6855583"/>
              <a:gd name="connsiteX69" fmla="*/ 4629429 w 4694471"/>
              <a:gd name="connsiteY69" fmla="*/ 703398 h 6855583"/>
              <a:gd name="connsiteX70" fmla="*/ 4643753 w 4694471"/>
              <a:gd name="connsiteY70" fmla="*/ 751729 h 6855583"/>
              <a:gd name="connsiteX71" fmla="*/ 4650921 w 4694471"/>
              <a:gd name="connsiteY71" fmla="*/ 774321 h 6855583"/>
              <a:gd name="connsiteX72" fmla="*/ 4652412 w 4694471"/>
              <a:gd name="connsiteY72" fmla="*/ 780948 h 6855583"/>
              <a:gd name="connsiteX73" fmla="*/ 4655777 w 4694471"/>
              <a:gd name="connsiteY73" fmla="*/ 792304 h 6855583"/>
              <a:gd name="connsiteX74" fmla="*/ 4667595 w 4694471"/>
              <a:gd name="connsiteY74" fmla="*/ 848440 h 6855583"/>
              <a:gd name="connsiteX75" fmla="*/ 4667828 w 4694471"/>
              <a:gd name="connsiteY75" fmla="*/ 849474 h 6855583"/>
              <a:gd name="connsiteX76" fmla="*/ 4669385 w 4694471"/>
              <a:gd name="connsiteY76" fmla="*/ 849474 h 6855583"/>
              <a:gd name="connsiteX77" fmla="*/ 4674465 w 4694471"/>
              <a:gd name="connsiteY77" fmla="*/ 877139 h 6855583"/>
              <a:gd name="connsiteX78" fmla="*/ 4675087 w 4694471"/>
              <a:gd name="connsiteY78" fmla="*/ 882743 h 6855583"/>
              <a:gd name="connsiteX79" fmla="*/ 4676722 w 4694471"/>
              <a:gd name="connsiteY79" fmla="*/ 892259 h 6855583"/>
              <a:gd name="connsiteX80" fmla="*/ 4685327 w 4694471"/>
              <a:gd name="connsiteY80" fmla="*/ 974994 h 6855583"/>
              <a:gd name="connsiteX81" fmla="*/ 4688200 w 4694471"/>
              <a:gd name="connsiteY81" fmla="*/ 1000874 h 6855583"/>
              <a:gd name="connsiteX82" fmla="*/ 4688301 w 4694471"/>
              <a:gd name="connsiteY82" fmla="*/ 1003598 h 6855583"/>
              <a:gd name="connsiteX83" fmla="*/ 4688815 w 4694471"/>
              <a:gd name="connsiteY83" fmla="*/ 1008533 h 6855583"/>
              <a:gd name="connsiteX84" fmla="*/ 4690833 w 4694471"/>
              <a:gd name="connsiteY84" fmla="*/ 1065916 h 6855583"/>
              <a:gd name="connsiteX85" fmla="*/ 4693293 w 4694471"/>
              <a:gd name="connsiteY85" fmla="*/ 1065916 h 6855583"/>
              <a:gd name="connsiteX86" fmla="*/ 4693293 w 4694471"/>
              <a:gd name="connsiteY86" fmla="*/ 1118819 h 6855583"/>
              <a:gd name="connsiteX87" fmla="*/ 4693293 w 4694471"/>
              <a:gd name="connsiteY87" fmla="*/ 1135849 h 6855583"/>
              <a:gd name="connsiteX88" fmla="*/ 4693293 w 4694471"/>
              <a:gd name="connsiteY88" fmla="*/ 1136246 h 6855583"/>
              <a:gd name="connsiteX89" fmla="*/ 4693293 w 4694471"/>
              <a:gd name="connsiteY89" fmla="*/ 1136247 h 6855583"/>
              <a:gd name="connsiteX90" fmla="*/ 4694471 w 4694471"/>
              <a:gd name="connsiteY90" fmla="*/ 1136247 h 6855583"/>
              <a:gd name="connsiteX91" fmla="*/ 4694471 w 4694471"/>
              <a:gd name="connsiteY91" fmla="*/ 1234853 h 6855583"/>
              <a:gd name="connsiteX92" fmla="*/ 4694471 w 4694471"/>
              <a:gd name="connsiteY92" fmla="*/ 1390429 h 6855583"/>
              <a:gd name="connsiteX93" fmla="*/ 4694471 w 4694471"/>
              <a:gd name="connsiteY93" fmla="*/ 1493422 h 6855583"/>
              <a:gd name="connsiteX94" fmla="*/ 4694471 w 4694471"/>
              <a:gd name="connsiteY94" fmla="*/ 1922616 h 6855583"/>
              <a:gd name="connsiteX95" fmla="*/ 4694471 w 4694471"/>
              <a:gd name="connsiteY95" fmla="*/ 1946509 h 6855583"/>
              <a:gd name="connsiteX96" fmla="*/ 4694471 w 4694471"/>
              <a:gd name="connsiteY96" fmla="*/ 2034790 h 6855583"/>
              <a:gd name="connsiteX97" fmla="*/ 4694471 w 4694471"/>
              <a:gd name="connsiteY97" fmla="*/ 2059094 h 6855583"/>
              <a:gd name="connsiteX98" fmla="*/ 4694471 w 4694471"/>
              <a:gd name="connsiteY98" fmla="*/ 2121885 h 6855583"/>
              <a:gd name="connsiteX99" fmla="*/ 4694471 w 4694471"/>
              <a:gd name="connsiteY99" fmla="*/ 2175446 h 6855583"/>
              <a:gd name="connsiteX100" fmla="*/ 4694471 w 4694471"/>
              <a:gd name="connsiteY100" fmla="*/ 2237497 h 6855583"/>
              <a:gd name="connsiteX101" fmla="*/ 4694471 w 4694471"/>
              <a:gd name="connsiteY101" fmla="*/ 2291981 h 6855583"/>
              <a:gd name="connsiteX102" fmla="*/ 4693305 w 4694471"/>
              <a:gd name="connsiteY102" fmla="*/ 2291981 h 6855583"/>
              <a:gd name="connsiteX103" fmla="*/ 4693305 w 4694471"/>
              <a:gd name="connsiteY103" fmla="*/ 3132833 h 6855583"/>
              <a:gd name="connsiteX104" fmla="*/ 4693305 w 4694471"/>
              <a:gd name="connsiteY104" fmla="*/ 3265888 h 6855583"/>
              <a:gd name="connsiteX105" fmla="*/ 4627092 w 4694471"/>
              <a:gd name="connsiteY105" fmla="*/ 3265888 h 6855583"/>
              <a:gd name="connsiteX106" fmla="*/ 3996894 w 4694471"/>
              <a:gd name="connsiteY106" fmla="*/ 3265888 h 6855583"/>
              <a:gd name="connsiteX107" fmla="*/ 3930683 w 4694471"/>
              <a:gd name="connsiteY107" fmla="*/ 3265888 h 6855583"/>
              <a:gd name="connsiteX108" fmla="*/ 3734761 w 4694471"/>
              <a:gd name="connsiteY108" fmla="*/ 3265888 h 6855583"/>
              <a:gd name="connsiteX109" fmla="*/ 3708022 w 4694471"/>
              <a:gd name="connsiteY109" fmla="*/ 3265888 h 6855583"/>
              <a:gd name="connsiteX110" fmla="*/ 3707441 w 4694471"/>
              <a:gd name="connsiteY110" fmla="*/ 3265888 h 6855583"/>
              <a:gd name="connsiteX111" fmla="*/ 3707431 w 4694471"/>
              <a:gd name="connsiteY111" fmla="*/ 3265888 h 6855583"/>
              <a:gd name="connsiteX112" fmla="*/ 3707422 w 4694471"/>
              <a:gd name="connsiteY112" fmla="*/ 3265888 h 6855583"/>
              <a:gd name="connsiteX113" fmla="*/ 3668548 w 4694471"/>
              <a:gd name="connsiteY113" fmla="*/ 3265888 h 6855583"/>
              <a:gd name="connsiteX114" fmla="*/ 3661115 w 4694471"/>
              <a:gd name="connsiteY114" fmla="*/ 3265888 h 6855583"/>
              <a:gd name="connsiteX115" fmla="*/ 3641811 w 4694471"/>
              <a:gd name="connsiteY115" fmla="*/ 3265888 h 6855583"/>
              <a:gd name="connsiteX116" fmla="*/ 3641229 w 4694471"/>
              <a:gd name="connsiteY116" fmla="*/ 3265888 h 6855583"/>
              <a:gd name="connsiteX117" fmla="*/ 3641220 w 4694471"/>
              <a:gd name="connsiteY117" fmla="*/ 3265888 h 6855583"/>
              <a:gd name="connsiteX118" fmla="*/ 3641210 w 4694471"/>
              <a:gd name="connsiteY118" fmla="*/ 3265888 h 6855583"/>
              <a:gd name="connsiteX119" fmla="*/ 3594904 w 4694471"/>
              <a:gd name="connsiteY119" fmla="*/ 3265888 h 6855583"/>
              <a:gd name="connsiteX120" fmla="*/ 3559339 w 4694471"/>
              <a:gd name="connsiteY120" fmla="*/ 3265888 h 6855583"/>
              <a:gd name="connsiteX121" fmla="*/ 3559339 w 4694471"/>
              <a:gd name="connsiteY121" fmla="*/ 3265890 h 6855583"/>
              <a:gd name="connsiteX122" fmla="*/ 3574921 w 4694471"/>
              <a:gd name="connsiteY122" fmla="*/ 3265890 h 6855583"/>
              <a:gd name="connsiteX123" fmla="*/ 3607197 w 4694471"/>
              <a:gd name="connsiteY123" fmla="*/ 3265890 h 6855583"/>
              <a:gd name="connsiteX124" fmla="*/ 3607836 w 4694471"/>
              <a:gd name="connsiteY124" fmla="*/ 3265890 h 6855583"/>
              <a:gd name="connsiteX125" fmla="*/ 3607845 w 4694471"/>
              <a:gd name="connsiteY125" fmla="*/ 3265889 h 6855583"/>
              <a:gd name="connsiteX126" fmla="*/ 3607855 w 4694471"/>
              <a:gd name="connsiteY126" fmla="*/ 3265890 h 6855583"/>
              <a:gd name="connsiteX127" fmla="*/ 3658753 w 4694471"/>
              <a:gd name="connsiteY127" fmla="*/ 3265890 h 6855583"/>
              <a:gd name="connsiteX128" fmla="*/ 3658753 w 4694471"/>
              <a:gd name="connsiteY128" fmla="*/ 3268571 h 6855583"/>
              <a:gd name="connsiteX129" fmla="*/ 3711215 w 4694471"/>
              <a:gd name="connsiteY129" fmla="*/ 3271301 h 6855583"/>
              <a:gd name="connsiteX130" fmla="*/ 3714398 w 4694471"/>
              <a:gd name="connsiteY130" fmla="*/ 3271802 h 6855583"/>
              <a:gd name="connsiteX131" fmla="*/ 3718640 w 4694471"/>
              <a:gd name="connsiteY131" fmla="*/ 3272037 h 6855583"/>
              <a:gd name="connsiteX132" fmla="*/ 3905304 w 4694471"/>
              <a:gd name="connsiteY132" fmla="*/ 3311308 h 6855583"/>
              <a:gd name="connsiteX133" fmla="*/ 3909694 w 4694471"/>
              <a:gd name="connsiteY133" fmla="*/ 3312912 h 6855583"/>
              <a:gd name="connsiteX134" fmla="*/ 3910452 w 4694471"/>
              <a:gd name="connsiteY134" fmla="*/ 3313112 h 6855583"/>
              <a:gd name="connsiteX135" fmla="*/ 3917986 w 4694471"/>
              <a:gd name="connsiteY135" fmla="*/ 3315942 h 6855583"/>
              <a:gd name="connsiteX136" fmla="*/ 3994003 w 4694471"/>
              <a:gd name="connsiteY136" fmla="*/ 3343710 h 6855583"/>
              <a:gd name="connsiteX137" fmla="*/ 4001805 w 4694471"/>
              <a:gd name="connsiteY137" fmla="*/ 3347410 h 6855583"/>
              <a:gd name="connsiteX138" fmla="*/ 4004771 w 4694471"/>
              <a:gd name="connsiteY138" fmla="*/ 3348524 h 6855583"/>
              <a:gd name="connsiteX139" fmla="*/ 4020801 w 4694471"/>
              <a:gd name="connsiteY139" fmla="*/ 3356422 h 6855583"/>
              <a:gd name="connsiteX140" fmla="*/ 4079119 w 4694471"/>
              <a:gd name="connsiteY140" fmla="*/ 3384083 h 6855583"/>
              <a:gd name="connsiteX141" fmla="*/ 4090003 w 4694471"/>
              <a:gd name="connsiteY141" fmla="*/ 3390510 h 6855583"/>
              <a:gd name="connsiteX142" fmla="*/ 4094957 w 4694471"/>
              <a:gd name="connsiteY142" fmla="*/ 3392950 h 6855583"/>
              <a:gd name="connsiteX143" fmla="*/ 4112351 w 4694471"/>
              <a:gd name="connsiteY143" fmla="*/ 3403709 h 6855583"/>
              <a:gd name="connsiteX144" fmla="*/ 4160286 w 4694471"/>
              <a:gd name="connsiteY144" fmla="*/ 3432019 h 6855583"/>
              <a:gd name="connsiteX145" fmla="*/ 4173870 w 4694471"/>
              <a:gd name="connsiteY145" fmla="*/ 3441758 h 6855583"/>
              <a:gd name="connsiteX146" fmla="*/ 4180562 w 4694471"/>
              <a:gd name="connsiteY146" fmla="*/ 3445896 h 6855583"/>
              <a:gd name="connsiteX147" fmla="*/ 4197126 w 4694471"/>
              <a:gd name="connsiteY147" fmla="*/ 3458431 h 6855583"/>
              <a:gd name="connsiteX148" fmla="*/ 4237129 w 4694471"/>
              <a:gd name="connsiteY148" fmla="*/ 3487112 h 6855583"/>
              <a:gd name="connsiteX149" fmla="*/ 4252979 w 4694471"/>
              <a:gd name="connsiteY149" fmla="*/ 3500699 h 6855583"/>
              <a:gd name="connsiteX150" fmla="*/ 4261138 w 4694471"/>
              <a:gd name="connsiteY150" fmla="*/ 3506870 h 6855583"/>
              <a:gd name="connsiteX151" fmla="*/ 4275993 w 4694471"/>
              <a:gd name="connsiteY151" fmla="*/ 3520422 h 6855583"/>
              <a:gd name="connsiteX152" fmla="*/ 4309284 w 4694471"/>
              <a:gd name="connsiteY152" fmla="*/ 3548954 h 6855583"/>
              <a:gd name="connsiteX153" fmla="*/ 4326916 w 4694471"/>
              <a:gd name="connsiteY153" fmla="*/ 3566877 h 6855583"/>
              <a:gd name="connsiteX154" fmla="*/ 4336234 w 4694471"/>
              <a:gd name="connsiteY154" fmla="*/ 3575376 h 6855583"/>
              <a:gd name="connsiteX155" fmla="*/ 4349015 w 4694471"/>
              <a:gd name="connsiteY155" fmla="*/ 3589336 h 6855583"/>
              <a:gd name="connsiteX156" fmla="*/ 4376377 w 4694471"/>
              <a:gd name="connsiteY156" fmla="*/ 3617142 h 6855583"/>
              <a:gd name="connsiteX157" fmla="*/ 4395261 w 4694471"/>
              <a:gd name="connsiteY157" fmla="*/ 3639845 h 6855583"/>
              <a:gd name="connsiteX158" fmla="*/ 4405403 w 4694471"/>
              <a:gd name="connsiteY158" fmla="*/ 3650923 h 6855583"/>
              <a:gd name="connsiteX159" fmla="*/ 4415995 w 4694471"/>
              <a:gd name="connsiteY159" fmla="*/ 3664770 h 6855583"/>
              <a:gd name="connsiteX160" fmla="*/ 4438037 w 4694471"/>
              <a:gd name="connsiteY160" fmla="*/ 3691269 h 6855583"/>
              <a:gd name="connsiteX161" fmla="*/ 4457599 w 4694471"/>
              <a:gd name="connsiteY161" fmla="*/ 3719164 h 6855583"/>
              <a:gd name="connsiteX162" fmla="*/ 4468193 w 4694471"/>
              <a:gd name="connsiteY162" fmla="*/ 3733015 h 6855583"/>
              <a:gd name="connsiteX163" fmla="*/ 4476623 w 4694471"/>
              <a:gd name="connsiteY163" fmla="*/ 3746294 h 6855583"/>
              <a:gd name="connsiteX164" fmla="*/ 4493900 w 4694471"/>
              <a:gd name="connsiteY164" fmla="*/ 3770927 h 6855583"/>
              <a:gd name="connsiteX165" fmla="*/ 4513522 w 4694471"/>
              <a:gd name="connsiteY165" fmla="*/ 3804408 h 6855583"/>
              <a:gd name="connsiteX166" fmla="*/ 4524158 w 4694471"/>
              <a:gd name="connsiteY166" fmla="*/ 3821161 h 6855583"/>
              <a:gd name="connsiteX167" fmla="*/ 4530550 w 4694471"/>
              <a:gd name="connsiteY167" fmla="*/ 3833462 h 6855583"/>
              <a:gd name="connsiteX168" fmla="*/ 4543589 w 4694471"/>
              <a:gd name="connsiteY168" fmla="*/ 3855710 h 6855583"/>
              <a:gd name="connsiteX169" fmla="*/ 4562617 w 4694471"/>
              <a:gd name="connsiteY169" fmla="*/ 3895180 h 6855583"/>
              <a:gd name="connsiteX170" fmla="*/ 4572847 w 4694471"/>
              <a:gd name="connsiteY170" fmla="*/ 3914866 h 6855583"/>
              <a:gd name="connsiteX171" fmla="*/ 4577389 w 4694471"/>
              <a:gd name="connsiteY171" fmla="*/ 3925819 h 6855583"/>
              <a:gd name="connsiteX172" fmla="*/ 4586740 w 4694471"/>
              <a:gd name="connsiteY172" fmla="*/ 3945212 h 6855583"/>
              <a:gd name="connsiteX173" fmla="*/ 4604487 w 4694471"/>
              <a:gd name="connsiteY173" fmla="*/ 3991153 h 6855583"/>
              <a:gd name="connsiteX174" fmla="*/ 4613813 w 4694471"/>
              <a:gd name="connsiteY174" fmla="*/ 4013638 h 6855583"/>
              <a:gd name="connsiteX175" fmla="*/ 4616753 w 4694471"/>
              <a:gd name="connsiteY175" fmla="*/ 4022906 h 6855583"/>
              <a:gd name="connsiteX176" fmla="*/ 4622981 w 4694471"/>
              <a:gd name="connsiteY176" fmla="*/ 4039027 h 6855583"/>
              <a:gd name="connsiteX177" fmla="*/ 4638724 w 4694471"/>
              <a:gd name="connsiteY177" fmla="*/ 4092151 h 6855583"/>
              <a:gd name="connsiteX178" fmla="*/ 4646603 w 4694471"/>
              <a:gd name="connsiteY178" fmla="*/ 4116982 h 6855583"/>
              <a:gd name="connsiteX179" fmla="*/ 4648243 w 4694471"/>
              <a:gd name="connsiteY179" fmla="*/ 4124267 h 6855583"/>
              <a:gd name="connsiteX180" fmla="*/ 4651941 w 4694471"/>
              <a:gd name="connsiteY180" fmla="*/ 4136749 h 6855583"/>
              <a:gd name="connsiteX181" fmla="*/ 4664931 w 4694471"/>
              <a:gd name="connsiteY181" fmla="*/ 4198450 h 6855583"/>
              <a:gd name="connsiteX182" fmla="*/ 4665187 w 4694471"/>
              <a:gd name="connsiteY182" fmla="*/ 4199586 h 6855583"/>
              <a:gd name="connsiteX183" fmla="*/ 4666897 w 4694471"/>
              <a:gd name="connsiteY183" fmla="*/ 4199586 h 6855583"/>
              <a:gd name="connsiteX184" fmla="*/ 4672481 w 4694471"/>
              <a:gd name="connsiteY184" fmla="*/ 4229994 h 6855583"/>
              <a:gd name="connsiteX185" fmla="*/ 4673165 w 4694471"/>
              <a:gd name="connsiteY185" fmla="*/ 4236155 h 6855583"/>
              <a:gd name="connsiteX186" fmla="*/ 4674963 w 4694471"/>
              <a:gd name="connsiteY186" fmla="*/ 4246612 h 6855583"/>
              <a:gd name="connsiteX187" fmla="*/ 4684421 w 4694471"/>
              <a:gd name="connsiteY187" fmla="*/ 4337551 h 6855583"/>
              <a:gd name="connsiteX188" fmla="*/ 4687579 w 4694471"/>
              <a:gd name="connsiteY188" fmla="*/ 4365998 h 6855583"/>
              <a:gd name="connsiteX189" fmla="*/ 4687689 w 4694471"/>
              <a:gd name="connsiteY189" fmla="*/ 4368991 h 6855583"/>
              <a:gd name="connsiteX190" fmla="*/ 4688255 w 4694471"/>
              <a:gd name="connsiteY190" fmla="*/ 4374414 h 6855583"/>
              <a:gd name="connsiteX191" fmla="*/ 4690473 w 4694471"/>
              <a:gd name="connsiteY191" fmla="*/ 4437487 h 6855583"/>
              <a:gd name="connsiteX192" fmla="*/ 4693177 w 4694471"/>
              <a:gd name="connsiteY192" fmla="*/ 4437487 h 6855583"/>
              <a:gd name="connsiteX193" fmla="*/ 4693177 w 4694471"/>
              <a:gd name="connsiteY193" fmla="*/ 4495636 h 6855583"/>
              <a:gd name="connsiteX194" fmla="*/ 4693177 w 4694471"/>
              <a:gd name="connsiteY194" fmla="*/ 4514355 h 6855583"/>
              <a:gd name="connsiteX195" fmla="*/ 4693177 w 4694471"/>
              <a:gd name="connsiteY195" fmla="*/ 4514790 h 6855583"/>
              <a:gd name="connsiteX196" fmla="*/ 4693177 w 4694471"/>
              <a:gd name="connsiteY196" fmla="*/ 4514792 h 6855583"/>
              <a:gd name="connsiteX197" fmla="*/ 4694471 w 4694471"/>
              <a:gd name="connsiteY197" fmla="*/ 4514792 h 6855583"/>
              <a:gd name="connsiteX198" fmla="*/ 4694471 w 4694471"/>
              <a:gd name="connsiteY198" fmla="*/ 4623176 h 6855583"/>
              <a:gd name="connsiteX199" fmla="*/ 4694471 w 4694471"/>
              <a:gd name="connsiteY199" fmla="*/ 4794177 h 6855583"/>
              <a:gd name="connsiteX200" fmla="*/ 4694471 w 4694471"/>
              <a:gd name="connsiteY200" fmla="*/ 4907381 h 6855583"/>
              <a:gd name="connsiteX201" fmla="*/ 4694471 w 4694471"/>
              <a:gd name="connsiteY201" fmla="*/ 5379129 h 6855583"/>
              <a:gd name="connsiteX202" fmla="*/ 4694471 w 4694471"/>
              <a:gd name="connsiteY202" fmla="*/ 5405390 h 6855583"/>
              <a:gd name="connsiteX203" fmla="*/ 4694471 w 4694471"/>
              <a:gd name="connsiteY203" fmla="*/ 5502425 h 6855583"/>
              <a:gd name="connsiteX204" fmla="*/ 4694471 w 4694471"/>
              <a:gd name="connsiteY204" fmla="*/ 5529139 h 6855583"/>
              <a:gd name="connsiteX205" fmla="*/ 4694471 w 4694471"/>
              <a:gd name="connsiteY205" fmla="*/ 5598155 h 6855583"/>
              <a:gd name="connsiteX206" fmla="*/ 4694471 w 4694471"/>
              <a:gd name="connsiteY206" fmla="*/ 5657026 h 6855583"/>
              <a:gd name="connsiteX207" fmla="*/ 4694471 w 4694471"/>
              <a:gd name="connsiteY207" fmla="*/ 5725229 h 6855583"/>
              <a:gd name="connsiteX208" fmla="*/ 4694471 w 4694471"/>
              <a:gd name="connsiteY208" fmla="*/ 5785115 h 6855583"/>
              <a:gd name="connsiteX209" fmla="*/ 4693189 w 4694471"/>
              <a:gd name="connsiteY209" fmla="*/ 5785115 h 6855583"/>
              <a:gd name="connsiteX210" fmla="*/ 4693189 w 4694471"/>
              <a:gd name="connsiteY210" fmla="*/ 6709336 h 6855583"/>
              <a:gd name="connsiteX211" fmla="*/ 4693189 w 4694471"/>
              <a:gd name="connsiteY211" fmla="*/ 6855583 h 6855583"/>
              <a:gd name="connsiteX212" fmla="*/ 4620412 w 4694471"/>
              <a:gd name="connsiteY212" fmla="*/ 6855583 h 6855583"/>
              <a:gd name="connsiteX213" fmla="*/ 3976799 w 4694471"/>
              <a:gd name="connsiteY213" fmla="*/ 6855583 h 6855583"/>
              <a:gd name="connsiteX214" fmla="*/ 3927731 w 4694471"/>
              <a:gd name="connsiteY214" fmla="*/ 6855583 h 6855583"/>
              <a:gd name="connsiteX215" fmla="*/ 3904023 w 4694471"/>
              <a:gd name="connsiteY215" fmla="*/ 6855583 h 6855583"/>
              <a:gd name="connsiteX216" fmla="*/ 3854954 w 4694471"/>
              <a:gd name="connsiteY216" fmla="*/ 6855583 h 6855583"/>
              <a:gd name="connsiteX217" fmla="*/ 3734645 w 4694471"/>
              <a:gd name="connsiteY217" fmla="*/ 6855583 h 6855583"/>
              <a:gd name="connsiteX218" fmla="*/ 3661868 w 4694471"/>
              <a:gd name="connsiteY218" fmla="*/ 6855583 h 6855583"/>
              <a:gd name="connsiteX219" fmla="*/ 3610218 w 4694471"/>
              <a:gd name="connsiteY219" fmla="*/ 6855583 h 6855583"/>
              <a:gd name="connsiteX220" fmla="*/ 3609578 w 4694471"/>
              <a:gd name="connsiteY220" fmla="*/ 6855583 h 6855583"/>
              <a:gd name="connsiteX221" fmla="*/ 3609569 w 4694471"/>
              <a:gd name="connsiteY221" fmla="*/ 6855583 h 6855583"/>
              <a:gd name="connsiteX222" fmla="*/ 3609558 w 4694471"/>
              <a:gd name="connsiteY222" fmla="*/ 6855583 h 6855583"/>
              <a:gd name="connsiteX223" fmla="*/ 3559339 w 4694471"/>
              <a:gd name="connsiteY223" fmla="*/ 6855583 h 6855583"/>
              <a:gd name="connsiteX224" fmla="*/ 3558661 w 4694471"/>
              <a:gd name="connsiteY224" fmla="*/ 6855583 h 6855583"/>
              <a:gd name="connsiteX225" fmla="*/ 3537440 w 4694471"/>
              <a:gd name="connsiteY225" fmla="*/ 6855583 h 6855583"/>
              <a:gd name="connsiteX226" fmla="*/ 3536802 w 4694471"/>
              <a:gd name="connsiteY226" fmla="*/ 6855583 h 6855583"/>
              <a:gd name="connsiteX227" fmla="*/ 3536793 w 4694471"/>
              <a:gd name="connsiteY227" fmla="*/ 6855583 h 6855583"/>
              <a:gd name="connsiteX228" fmla="*/ 3536782 w 4694471"/>
              <a:gd name="connsiteY228" fmla="*/ 6855583 h 6855583"/>
              <a:gd name="connsiteX229" fmla="*/ 3485884 w 4694471"/>
              <a:gd name="connsiteY229" fmla="*/ 6855583 h 6855583"/>
              <a:gd name="connsiteX230" fmla="*/ 3211343 w 4694471"/>
              <a:gd name="connsiteY230" fmla="*/ 6855583 h 6855583"/>
              <a:gd name="connsiteX231" fmla="*/ 3138565 w 4694471"/>
              <a:gd name="connsiteY231" fmla="*/ 6855583 h 6855583"/>
              <a:gd name="connsiteX232" fmla="*/ 3018255 w 4694471"/>
              <a:gd name="connsiteY232" fmla="*/ 6855583 h 6855583"/>
              <a:gd name="connsiteX233" fmla="*/ 2969187 w 4694471"/>
              <a:gd name="connsiteY233" fmla="*/ 6855583 h 6855583"/>
              <a:gd name="connsiteX234" fmla="*/ 2945479 w 4694471"/>
              <a:gd name="connsiteY234" fmla="*/ 6855583 h 6855583"/>
              <a:gd name="connsiteX235" fmla="*/ 2896410 w 4694471"/>
              <a:gd name="connsiteY235" fmla="*/ 6855583 h 6855583"/>
              <a:gd name="connsiteX236" fmla="*/ 2893829 w 4694471"/>
              <a:gd name="connsiteY236" fmla="*/ 6855583 h 6855583"/>
              <a:gd name="connsiteX237" fmla="*/ 2893189 w 4694471"/>
              <a:gd name="connsiteY237" fmla="*/ 6855583 h 6855583"/>
              <a:gd name="connsiteX238" fmla="*/ 2893179 w 4694471"/>
              <a:gd name="connsiteY238" fmla="*/ 6855583 h 6855583"/>
              <a:gd name="connsiteX239" fmla="*/ 2893168 w 4694471"/>
              <a:gd name="connsiteY239" fmla="*/ 6855583 h 6855583"/>
              <a:gd name="connsiteX240" fmla="*/ 2844760 w 4694471"/>
              <a:gd name="connsiteY240" fmla="*/ 6855583 h 6855583"/>
              <a:gd name="connsiteX241" fmla="*/ 2844120 w 4694471"/>
              <a:gd name="connsiteY241" fmla="*/ 6855583 h 6855583"/>
              <a:gd name="connsiteX242" fmla="*/ 2844111 w 4694471"/>
              <a:gd name="connsiteY242" fmla="*/ 6855583 h 6855583"/>
              <a:gd name="connsiteX243" fmla="*/ 2844100 w 4694471"/>
              <a:gd name="connsiteY243" fmla="*/ 6855583 h 6855583"/>
              <a:gd name="connsiteX244" fmla="*/ 2842271 w 4694471"/>
              <a:gd name="connsiteY244" fmla="*/ 6855583 h 6855583"/>
              <a:gd name="connsiteX245" fmla="*/ 2821051 w 4694471"/>
              <a:gd name="connsiteY245" fmla="*/ 6855583 h 6855583"/>
              <a:gd name="connsiteX246" fmla="*/ 2820413 w 4694471"/>
              <a:gd name="connsiteY246" fmla="*/ 6855583 h 6855583"/>
              <a:gd name="connsiteX247" fmla="*/ 2820403 w 4694471"/>
              <a:gd name="connsiteY247" fmla="*/ 6855583 h 6855583"/>
              <a:gd name="connsiteX248" fmla="*/ 2820392 w 4694471"/>
              <a:gd name="connsiteY248" fmla="*/ 6855583 h 6855583"/>
              <a:gd name="connsiteX249" fmla="*/ 2793202 w 4694471"/>
              <a:gd name="connsiteY249" fmla="*/ 6855583 h 6855583"/>
              <a:gd name="connsiteX250" fmla="*/ 2771983 w 4694471"/>
              <a:gd name="connsiteY250" fmla="*/ 6855583 h 6855583"/>
              <a:gd name="connsiteX251" fmla="*/ 2771344 w 4694471"/>
              <a:gd name="connsiteY251" fmla="*/ 6855583 h 6855583"/>
              <a:gd name="connsiteX252" fmla="*/ 2771334 w 4694471"/>
              <a:gd name="connsiteY252" fmla="*/ 6855583 h 6855583"/>
              <a:gd name="connsiteX253" fmla="*/ 2771323 w 4694471"/>
              <a:gd name="connsiteY253" fmla="*/ 6855583 h 6855583"/>
              <a:gd name="connsiteX254" fmla="*/ 2769494 w 4694471"/>
              <a:gd name="connsiteY254" fmla="*/ 6855583 h 6855583"/>
              <a:gd name="connsiteX255" fmla="*/ 2720426 w 4694471"/>
              <a:gd name="connsiteY255" fmla="*/ 6855583 h 6855583"/>
              <a:gd name="connsiteX256" fmla="*/ 2651674 w 4694471"/>
              <a:gd name="connsiteY256" fmla="*/ 6855583 h 6855583"/>
              <a:gd name="connsiteX257" fmla="*/ 2651034 w 4694471"/>
              <a:gd name="connsiteY257" fmla="*/ 6855583 h 6855583"/>
              <a:gd name="connsiteX258" fmla="*/ 2651025 w 4694471"/>
              <a:gd name="connsiteY258" fmla="*/ 6855583 h 6855583"/>
              <a:gd name="connsiteX259" fmla="*/ 2651014 w 4694471"/>
              <a:gd name="connsiteY259" fmla="*/ 6855583 h 6855583"/>
              <a:gd name="connsiteX260" fmla="*/ 2600795 w 4694471"/>
              <a:gd name="connsiteY260" fmla="*/ 6855583 h 6855583"/>
              <a:gd name="connsiteX261" fmla="*/ 2600117 w 4694471"/>
              <a:gd name="connsiteY261" fmla="*/ 6855583 h 6855583"/>
              <a:gd name="connsiteX262" fmla="*/ 2578896 w 4694471"/>
              <a:gd name="connsiteY262" fmla="*/ 6855583 h 6855583"/>
              <a:gd name="connsiteX263" fmla="*/ 2578258 w 4694471"/>
              <a:gd name="connsiteY263" fmla="*/ 6855583 h 6855583"/>
              <a:gd name="connsiteX264" fmla="*/ 2578249 w 4694471"/>
              <a:gd name="connsiteY264" fmla="*/ 6855583 h 6855583"/>
              <a:gd name="connsiteX265" fmla="*/ 2578238 w 4694471"/>
              <a:gd name="connsiteY265" fmla="*/ 6855583 h 6855583"/>
              <a:gd name="connsiteX266" fmla="*/ 2527340 w 4694471"/>
              <a:gd name="connsiteY266" fmla="*/ 6855583 h 6855583"/>
              <a:gd name="connsiteX267" fmla="*/ 2252799 w 4694471"/>
              <a:gd name="connsiteY267" fmla="*/ 6855583 h 6855583"/>
              <a:gd name="connsiteX268" fmla="*/ 2180021 w 4694471"/>
              <a:gd name="connsiteY268" fmla="*/ 6855583 h 6855583"/>
              <a:gd name="connsiteX269" fmla="*/ 2128371 w 4694471"/>
              <a:gd name="connsiteY269" fmla="*/ 6855583 h 6855583"/>
              <a:gd name="connsiteX270" fmla="*/ 2127731 w 4694471"/>
              <a:gd name="connsiteY270" fmla="*/ 6855583 h 6855583"/>
              <a:gd name="connsiteX271" fmla="*/ 2127721 w 4694471"/>
              <a:gd name="connsiteY271" fmla="*/ 6855583 h 6855583"/>
              <a:gd name="connsiteX272" fmla="*/ 2127710 w 4694471"/>
              <a:gd name="connsiteY272" fmla="*/ 6855583 h 6855583"/>
              <a:gd name="connsiteX273" fmla="*/ 2076812 w 4694471"/>
              <a:gd name="connsiteY273" fmla="*/ 6855583 h 6855583"/>
              <a:gd name="connsiteX274" fmla="*/ 2055593 w 4694471"/>
              <a:gd name="connsiteY274" fmla="*/ 6855583 h 6855583"/>
              <a:gd name="connsiteX275" fmla="*/ 2054955 w 4694471"/>
              <a:gd name="connsiteY275" fmla="*/ 6855583 h 6855583"/>
              <a:gd name="connsiteX276" fmla="*/ 2054944 w 4694471"/>
              <a:gd name="connsiteY276" fmla="*/ 6855583 h 6855583"/>
              <a:gd name="connsiteX277" fmla="*/ 2054933 w 4694471"/>
              <a:gd name="connsiteY277" fmla="*/ 6855583 h 6855583"/>
              <a:gd name="connsiteX278" fmla="*/ 2004036 w 4694471"/>
              <a:gd name="connsiteY278" fmla="*/ 6855583 h 6855583"/>
              <a:gd name="connsiteX279" fmla="*/ 1935285 w 4694471"/>
              <a:gd name="connsiteY279" fmla="*/ 6855583 h 6855583"/>
              <a:gd name="connsiteX280" fmla="*/ 1934645 w 4694471"/>
              <a:gd name="connsiteY280" fmla="*/ 6855583 h 6855583"/>
              <a:gd name="connsiteX281" fmla="*/ 1934635 w 4694471"/>
              <a:gd name="connsiteY281" fmla="*/ 6855583 h 6855583"/>
              <a:gd name="connsiteX282" fmla="*/ 1934624 w 4694471"/>
              <a:gd name="connsiteY282" fmla="*/ 6855583 h 6855583"/>
              <a:gd name="connsiteX283" fmla="*/ 1886216 w 4694471"/>
              <a:gd name="connsiteY283" fmla="*/ 6855583 h 6855583"/>
              <a:gd name="connsiteX284" fmla="*/ 1885576 w 4694471"/>
              <a:gd name="connsiteY284" fmla="*/ 6855583 h 6855583"/>
              <a:gd name="connsiteX285" fmla="*/ 1885567 w 4694471"/>
              <a:gd name="connsiteY285" fmla="*/ 6855583 h 6855583"/>
              <a:gd name="connsiteX286" fmla="*/ 1885556 w 4694471"/>
              <a:gd name="connsiteY286" fmla="*/ 6855583 h 6855583"/>
              <a:gd name="connsiteX287" fmla="*/ 1883727 w 4694471"/>
              <a:gd name="connsiteY287" fmla="*/ 6855583 h 6855583"/>
              <a:gd name="connsiteX288" fmla="*/ 1862507 w 4694471"/>
              <a:gd name="connsiteY288" fmla="*/ 6855583 h 6855583"/>
              <a:gd name="connsiteX289" fmla="*/ 1861869 w 4694471"/>
              <a:gd name="connsiteY289" fmla="*/ 6855583 h 6855583"/>
              <a:gd name="connsiteX290" fmla="*/ 1861859 w 4694471"/>
              <a:gd name="connsiteY290" fmla="*/ 6855583 h 6855583"/>
              <a:gd name="connsiteX291" fmla="*/ 1861848 w 4694471"/>
              <a:gd name="connsiteY291" fmla="*/ 6855583 h 6855583"/>
              <a:gd name="connsiteX292" fmla="*/ 1834658 w 4694471"/>
              <a:gd name="connsiteY292" fmla="*/ 6855583 h 6855583"/>
              <a:gd name="connsiteX293" fmla="*/ 1813439 w 4694471"/>
              <a:gd name="connsiteY293" fmla="*/ 6855583 h 6855583"/>
              <a:gd name="connsiteX294" fmla="*/ 1812800 w 4694471"/>
              <a:gd name="connsiteY294" fmla="*/ 6855583 h 6855583"/>
              <a:gd name="connsiteX295" fmla="*/ 1812790 w 4694471"/>
              <a:gd name="connsiteY295" fmla="*/ 6855583 h 6855583"/>
              <a:gd name="connsiteX296" fmla="*/ 1812779 w 4694471"/>
              <a:gd name="connsiteY296" fmla="*/ 6855583 h 6855583"/>
              <a:gd name="connsiteX297" fmla="*/ 1810950 w 4694471"/>
              <a:gd name="connsiteY297" fmla="*/ 6855583 h 6855583"/>
              <a:gd name="connsiteX298" fmla="*/ 1761882 w 4694471"/>
              <a:gd name="connsiteY298" fmla="*/ 6855583 h 6855583"/>
              <a:gd name="connsiteX299" fmla="*/ 1169827 w 4694471"/>
              <a:gd name="connsiteY299" fmla="*/ 6855583 h 6855583"/>
              <a:gd name="connsiteX300" fmla="*/ 1169187 w 4694471"/>
              <a:gd name="connsiteY300" fmla="*/ 6855583 h 6855583"/>
              <a:gd name="connsiteX301" fmla="*/ 1169177 w 4694471"/>
              <a:gd name="connsiteY301" fmla="*/ 6855583 h 6855583"/>
              <a:gd name="connsiteX302" fmla="*/ 1169166 w 4694471"/>
              <a:gd name="connsiteY302" fmla="*/ 6855583 h 6855583"/>
              <a:gd name="connsiteX303" fmla="*/ 1118268 w 4694471"/>
              <a:gd name="connsiteY303" fmla="*/ 6855583 h 6855583"/>
              <a:gd name="connsiteX304" fmla="*/ 1097049 w 4694471"/>
              <a:gd name="connsiteY304" fmla="*/ 6855583 h 6855583"/>
              <a:gd name="connsiteX305" fmla="*/ 1096411 w 4694471"/>
              <a:gd name="connsiteY305" fmla="*/ 6855583 h 6855583"/>
              <a:gd name="connsiteX306" fmla="*/ 1096400 w 4694471"/>
              <a:gd name="connsiteY306" fmla="*/ 6855583 h 6855583"/>
              <a:gd name="connsiteX307" fmla="*/ 1096389 w 4694471"/>
              <a:gd name="connsiteY307" fmla="*/ 6855583 h 6855583"/>
              <a:gd name="connsiteX308" fmla="*/ 1045492 w 4694471"/>
              <a:gd name="connsiteY308" fmla="*/ 6855583 h 6855583"/>
              <a:gd name="connsiteX309" fmla="*/ 961282 w 4694471"/>
              <a:gd name="connsiteY309" fmla="*/ 6855583 h 6855583"/>
              <a:gd name="connsiteX310" fmla="*/ 2738 w 4694471"/>
              <a:gd name="connsiteY310" fmla="*/ 6855583 h 6855583"/>
              <a:gd name="connsiteX311" fmla="*/ 2738 w 4694471"/>
              <a:gd name="connsiteY311" fmla="*/ 5657026 h 6855583"/>
              <a:gd name="connsiteX312" fmla="*/ 1722 w 4694471"/>
              <a:gd name="connsiteY312" fmla="*/ 5657026 h 6855583"/>
              <a:gd name="connsiteX313" fmla="*/ 1722 w 4694471"/>
              <a:gd name="connsiteY313" fmla="*/ 5612741 h 6855583"/>
              <a:gd name="connsiteX314" fmla="*/ 1722 w 4694471"/>
              <a:gd name="connsiteY314" fmla="*/ 5598486 h 6855583"/>
              <a:gd name="connsiteX315" fmla="*/ 1722 w 4694471"/>
              <a:gd name="connsiteY315" fmla="*/ 5598155 h 6855583"/>
              <a:gd name="connsiteX316" fmla="*/ 426 w 4694471"/>
              <a:gd name="connsiteY316" fmla="*/ 5598155 h 6855583"/>
              <a:gd name="connsiteX317" fmla="*/ 426 w 4694471"/>
              <a:gd name="connsiteY317" fmla="*/ 5405390 h 6855583"/>
              <a:gd name="connsiteX318" fmla="*/ 426 w 4694471"/>
              <a:gd name="connsiteY318" fmla="*/ 5379129 h 6855583"/>
              <a:gd name="connsiteX319" fmla="*/ 428 w 4694471"/>
              <a:gd name="connsiteY319" fmla="*/ 4794177 h 6855583"/>
              <a:gd name="connsiteX320" fmla="*/ 428 w 4694471"/>
              <a:gd name="connsiteY320" fmla="*/ 4514790 h 6855583"/>
              <a:gd name="connsiteX321" fmla="*/ 428 w 4694471"/>
              <a:gd name="connsiteY321" fmla="*/ 4437487 h 6855583"/>
              <a:gd name="connsiteX322" fmla="*/ 1710 w 4694471"/>
              <a:gd name="connsiteY322" fmla="*/ 4437487 h 6855583"/>
              <a:gd name="connsiteX323" fmla="*/ 1710 w 4694471"/>
              <a:gd name="connsiteY323" fmla="*/ 4199586 h 6855583"/>
              <a:gd name="connsiteX324" fmla="*/ 0 w 4694471"/>
              <a:gd name="connsiteY324" fmla="*/ 4199586 h 6855583"/>
              <a:gd name="connsiteX325" fmla="*/ 0 w 4694471"/>
              <a:gd name="connsiteY325" fmla="*/ 3265890 h 6855583"/>
              <a:gd name="connsiteX326" fmla="*/ 2738 w 4694471"/>
              <a:gd name="connsiteY326" fmla="*/ 3265890 h 6855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</a:cxnLst>
            <a:rect l="l" t="t" r="r" b="b"/>
            <a:pathLst>
              <a:path w="4694471" h="6855583">
                <a:moveTo>
                  <a:pt x="2738" y="0"/>
                </a:moveTo>
                <a:lnTo>
                  <a:pt x="961282" y="0"/>
                </a:lnTo>
                <a:lnTo>
                  <a:pt x="1974639" y="0"/>
                </a:lnTo>
                <a:lnTo>
                  <a:pt x="2050909" y="0"/>
                </a:lnTo>
                <a:lnTo>
                  <a:pt x="2600795" y="0"/>
                </a:lnTo>
                <a:lnTo>
                  <a:pt x="2671049" y="0"/>
                </a:lnTo>
                <a:lnTo>
                  <a:pt x="2747320" y="0"/>
                </a:lnTo>
                <a:lnTo>
                  <a:pt x="2933183" y="0"/>
                </a:lnTo>
                <a:lnTo>
                  <a:pt x="3009453" y="0"/>
                </a:lnTo>
                <a:lnTo>
                  <a:pt x="3559339" y="0"/>
                </a:lnTo>
                <a:lnTo>
                  <a:pt x="3559339" y="1"/>
                </a:lnTo>
                <a:lnTo>
                  <a:pt x="3629003" y="1"/>
                </a:lnTo>
                <a:lnTo>
                  <a:pt x="3629584" y="1"/>
                </a:lnTo>
                <a:lnTo>
                  <a:pt x="3629593" y="0"/>
                </a:lnTo>
                <a:lnTo>
                  <a:pt x="3629603" y="1"/>
                </a:lnTo>
                <a:lnTo>
                  <a:pt x="3675909" y="1"/>
                </a:lnTo>
                <a:lnTo>
                  <a:pt x="3705273" y="1"/>
                </a:lnTo>
                <a:lnTo>
                  <a:pt x="3705854" y="1"/>
                </a:lnTo>
                <a:lnTo>
                  <a:pt x="3705864" y="0"/>
                </a:lnTo>
                <a:lnTo>
                  <a:pt x="3705872" y="1"/>
                </a:lnTo>
                <a:lnTo>
                  <a:pt x="3752180" y="1"/>
                </a:lnTo>
                <a:lnTo>
                  <a:pt x="3752180" y="2441"/>
                </a:lnTo>
                <a:lnTo>
                  <a:pt x="3799909" y="4925"/>
                </a:lnTo>
                <a:lnTo>
                  <a:pt x="3802804" y="5380"/>
                </a:lnTo>
                <a:lnTo>
                  <a:pt x="3806663" y="5593"/>
                </a:lnTo>
                <a:cubicBezTo>
                  <a:pt x="3864922" y="12094"/>
                  <a:pt x="3921679" y="24167"/>
                  <a:pt x="3976490" y="41323"/>
                </a:cubicBezTo>
                <a:lnTo>
                  <a:pt x="3980485" y="42781"/>
                </a:lnTo>
                <a:lnTo>
                  <a:pt x="3981173" y="42964"/>
                </a:lnTo>
                <a:lnTo>
                  <a:pt x="3988028" y="45538"/>
                </a:lnTo>
                <a:lnTo>
                  <a:pt x="4057188" y="70802"/>
                </a:lnTo>
                <a:lnTo>
                  <a:pt x="4064286" y="74169"/>
                </a:lnTo>
                <a:lnTo>
                  <a:pt x="4066984" y="75182"/>
                </a:lnTo>
                <a:lnTo>
                  <a:pt x="4081569" y="82367"/>
                </a:lnTo>
                <a:lnTo>
                  <a:pt x="4134626" y="107533"/>
                </a:lnTo>
                <a:lnTo>
                  <a:pt x="4144529" y="113381"/>
                </a:lnTo>
                <a:lnTo>
                  <a:pt x="4149036" y="115600"/>
                </a:lnTo>
                <a:lnTo>
                  <a:pt x="4164861" y="125388"/>
                </a:lnTo>
                <a:lnTo>
                  <a:pt x="4208472" y="151145"/>
                </a:lnTo>
                <a:lnTo>
                  <a:pt x="4220829" y="160005"/>
                </a:lnTo>
                <a:lnTo>
                  <a:pt x="4226920" y="163770"/>
                </a:lnTo>
                <a:lnTo>
                  <a:pt x="4241989" y="175174"/>
                </a:lnTo>
                <a:lnTo>
                  <a:pt x="4278383" y="201267"/>
                </a:lnTo>
                <a:lnTo>
                  <a:pt x="4292804" y="213629"/>
                </a:lnTo>
                <a:lnTo>
                  <a:pt x="4300227" y="219244"/>
                </a:lnTo>
                <a:lnTo>
                  <a:pt x="4313741" y="231573"/>
                </a:lnTo>
                <a:lnTo>
                  <a:pt x="4344028" y="257532"/>
                </a:lnTo>
                <a:lnTo>
                  <a:pt x="4360072" y="273838"/>
                </a:lnTo>
                <a:lnTo>
                  <a:pt x="4368549" y="281570"/>
                </a:lnTo>
                <a:lnTo>
                  <a:pt x="4380176" y="294271"/>
                </a:lnTo>
                <a:lnTo>
                  <a:pt x="4405069" y="319569"/>
                </a:lnTo>
                <a:lnTo>
                  <a:pt x="4422252" y="340225"/>
                </a:lnTo>
                <a:lnTo>
                  <a:pt x="4431478" y="350303"/>
                </a:lnTo>
                <a:lnTo>
                  <a:pt x="4441115" y="362902"/>
                </a:lnTo>
                <a:lnTo>
                  <a:pt x="4461169" y="387010"/>
                </a:lnTo>
                <a:lnTo>
                  <a:pt x="4478966" y="412388"/>
                </a:lnTo>
                <a:lnTo>
                  <a:pt x="4488605" y="424989"/>
                </a:lnTo>
                <a:lnTo>
                  <a:pt x="4496275" y="437070"/>
                </a:lnTo>
                <a:lnTo>
                  <a:pt x="4511991" y="459481"/>
                </a:lnTo>
                <a:lnTo>
                  <a:pt x="4529843" y="489942"/>
                </a:lnTo>
                <a:lnTo>
                  <a:pt x="4539521" y="505184"/>
                </a:lnTo>
                <a:lnTo>
                  <a:pt x="4545336" y="516375"/>
                </a:lnTo>
                <a:lnTo>
                  <a:pt x="4557199" y="536617"/>
                </a:lnTo>
                <a:lnTo>
                  <a:pt x="4574510" y="572526"/>
                </a:lnTo>
                <a:lnTo>
                  <a:pt x="4583819" y="590437"/>
                </a:lnTo>
                <a:lnTo>
                  <a:pt x="4587950" y="600402"/>
                </a:lnTo>
                <a:lnTo>
                  <a:pt x="4596457" y="618045"/>
                </a:lnTo>
                <a:lnTo>
                  <a:pt x="4612602" y="659843"/>
                </a:lnTo>
                <a:lnTo>
                  <a:pt x="4621089" y="680300"/>
                </a:lnTo>
                <a:lnTo>
                  <a:pt x="4623764" y="688731"/>
                </a:lnTo>
                <a:lnTo>
                  <a:pt x="4629429" y="703398"/>
                </a:lnTo>
                <a:lnTo>
                  <a:pt x="4643753" y="751729"/>
                </a:lnTo>
                <a:lnTo>
                  <a:pt x="4650921" y="774321"/>
                </a:lnTo>
                <a:lnTo>
                  <a:pt x="4652412" y="780948"/>
                </a:lnTo>
                <a:lnTo>
                  <a:pt x="4655777" y="792304"/>
                </a:lnTo>
                <a:lnTo>
                  <a:pt x="4667595" y="848440"/>
                </a:lnTo>
                <a:lnTo>
                  <a:pt x="4667828" y="849474"/>
                </a:lnTo>
                <a:lnTo>
                  <a:pt x="4669385" y="849474"/>
                </a:lnTo>
                <a:lnTo>
                  <a:pt x="4674465" y="877139"/>
                </a:lnTo>
                <a:lnTo>
                  <a:pt x="4675087" y="882743"/>
                </a:lnTo>
                <a:lnTo>
                  <a:pt x="4676722" y="892259"/>
                </a:lnTo>
                <a:lnTo>
                  <a:pt x="4685327" y="974994"/>
                </a:lnTo>
                <a:lnTo>
                  <a:pt x="4688200" y="1000874"/>
                </a:lnTo>
                <a:lnTo>
                  <a:pt x="4688301" y="1003598"/>
                </a:lnTo>
                <a:lnTo>
                  <a:pt x="4688815" y="1008533"/>
                </a:lnTo>
                <a:lnTo>
                  <a:pt x="4690833" y="1065916"/>
                </a:lnTo>
                <a:lnTo>
                  <a:pt x="4693293" y="1065916"/>
                </a:lnTo>
                <a:lnTo>
                  <a:pt x="4693293" y="1118819"/>
                </a:lnTo>
                <a:lnTo>
                  <a:pt x="4693293" y="1135849"/>
                </a:lnTo>
                <a:lnTo>
                  <a:pt x="4693293" y="1136246"/>
                </a:lnTo>
                <a:lnTo>
                  <a:pt x="4693293" y="1136247"/>
                </a:lnTo>
                <a:lnTo>
                  <a:pt x="4694471" y="1136247"/>
                </a:lnTo>
                <a:lnTo>
                  <a:pt x="4694471" y="1234853"/>
                </a:lnTo>
                <a:lnTo>
                  <a:pt x="4694471" y="1390429"/>
                </a:lnTo>
                <a:lnTo>
                  <a:pt x="4694471" y="1493422"/>
                </a:lnTo>
                <a:lnTo>
                  <a:pt x="4694471" y="1922616"/>
                </a:lnTo>
                <a:lnTo>
                  <a:pt x="4694471" y="1946509"/>
                </a:lnTo>
                <a:lnTo>
                  <a:pt x="4694471" y="2034790"/>
                </a:lnTo>
                <a:lnTo>
                  <a:pt x="4694471" y="2059094"/>
                </a:lnTo>
                <a:lnTo>
                  <a:pt x="4694471" y="2121885"/>
                </a:lnTo>
                <a:lnTo>
                  <a:pt x="4694471" y="2175446"/>
                </a:lnTo>
                <a:lnTo>
                  <a:pt x="4694471" y="2237497"/>
                </a:lnTo>
                <a:lnTo>
                  <a:pt x="4694471" y="2291981"/>
                </a:lnTo>
                <a:lnTo>
                  <a:pt x="4693305" y="2291981"/>
                </a:lnTo>
                <a:lnTo>
                  <a:pt x="4693305" y="3132833"/>
                </a:lnTo>
                <a:lnTo>
                  <a:pt x="4693305" y="3265888"/>
                </a:lnTo>
                <a:lnTo>
                  <a:pt x="4627092" y="3265888"/>
                </a:lnTo>
                <a:lnTo>
                  <a:pt x="3996894" y="3265888"/>
                </a:lnTo>
                <a:lnTo>
                  <a:pt x="3930683" y="3265888"/>
                </a:lnTo>
                <a:lnTo>
                  <a:pt x="3734761" y="3265888"/>
                </a:lnTo>
                <a:lnTo>
                  <a:pt x="3708022" y="3265888"/>
                </a:lnTo>
                <a:lnTo>
                  <a:pt x="3707441" y="3265888"/>
                </a:lnTo>
                <a:lnTo>
                  <a:pt x="3707431" y="3265888"/>
                </a:lnTo>
                <a:lnTo>
                  <a:pt x="3707422" y="3265888"/>
                </a:lnTo>
                <a:lnTo>
                  <a:pt x="3668548" y="3265888"/>
                </a:lnTo>
                <a:lnTo>
                  <a:pt x="3661115" y="3265888"/>
                </a:lnTo>
                <a:lnTo>
                  <a:pt x="3641811" y="3265888"/>
                </a:lnTo>
                <a:lnTo>
                  <a:pt x="3641229" y="3265888"/>
                </a:lnTo>
                <a:lnTo>
                  <a:pt x="3641220" y="3265888"/>
                </a:lnTo>
                <a:lnTo>
                  <a:pt x="3641210" y="3265888"/>
                </a:lnTo>
                <a:lnTo>
                  <a:pt x="3594904" y="3265888"/>
                </a:lnTo>
                <a:lnTo>
                  <a:pt x="3559339" y="3265888"/>
                </a:lnTo>
                <a:lnTo>
                  <a:pt x="3559339" y="3265890"/>
                </a:lnTo>
                <a:lnTo>
                  <a:pt x="3574921" y="3265890"/>
                </a:lnTo>
                <a:lnTo>
                  <a:pt x="3607197" y="3265890"/>
                </a:lnTo>
                <a:lnTo>
                  <a:pt x="3607836" y="3265890"/>
                </a:lnTo>
                <a:lnTo>
                  <a:pt x="3607845" y="3265889"/>
                </a:lnTo>
                <a:lnTo>
                  <a:pt x="3607855" y="3265890"/>
                </a:lnTo>
                <a:lnTo>
                  <a:pt x="3658753" y="3265890"/>
                </a:lnTo>
                <a:lnTo>
                  <a:pt x="3658753" y="3268571"/>
                </a:lnTo>
                <a:lnTo>
                  <a:pt x="3711215" y="3271301"/>
                </a:lnTo>
                <a:lnTo>
                  <a:pt x="3714398" y="3271802"/>
                </a:lnTo>
                <a:lnTo>
                  <a:pt x="3718640" y="3272037"/>
                </a:lnTo>
                <a:cubicBezTo>
                  <a:pt x="3782673" y="3279182"/>
                  <a:pt x="3845058" y="3292453"/>
                  <a:pt x="3905304" y="3311308"/>
                </a:cubicBezTo>
                <a:lnTo>
                  <a:pt x="3909694" y="3312912"/>
                </a:lnTo>
                <a:lnTo>
                  <a:pt x="3910452" y="3313112"/>
                </a:lnTo>
                <a:lnTo>
                  <a:pt x="3917986" y="3315942"/>
                </a:lnTo>
                <a:lnTo>
                  <a:pt x="3994003" y="3343710"/>
                </a:lnTo>
                <a:lnTo>
                  <a:pt x="4001805" y="3347410"/>
                </a:lnTo>
                <a:lnTo>
                  <a:pt x="4004771" y="3348524"/>
                </a:lnTo>
                <a:lnTo>
                  <a:pt x="4020801" y="3356422"/>
                </a:lnTo>
                <a:lnTo>
                  <a:pt x="4079119" y="3384083"/>
                </a:lnTo>
                <a:lnTo>
                  <a:pt x="4090003" y="3390510"/>
                </a:lnTo>
                <a:lnTo>
                  <a:pt x="4094957" y="3392950"/>
                </a:lnTo>
                <a:lnTo>
                  <a:pt x="4112351" y="3403709"/>
                </a:lnTo>
                <a:lnTo>
                  <a:pt x="4160286" y="3432019"/>
                </a:lnTo>
                <a:lnTo>
                  <a:pt x="4173870" y="3441758"/>
                </a:lnTo>
                <a:lnTo>
                  <a:pt x="4180562" y="3445896"/>
                </a:lnTo>
                <a:lnTo>
                  <a:pt x="4197126" y="3458431"/>
                </a:lnTo>
                <a:lnTo>
                  <a:pt x="4237129" y="3487112"/>
                </a:lnTo>
                <a:lnTo>
                  <a:pt x="4252979" y="3500699"/>
                </a:lnTo>
                <a:lnTo>
                  <a:pt x="4261138" y="3506870"/>
                </a:lnTo>
                <a:lnTo>
                  <a:pt x="4275993" y="3520422"/>
                </a:lnTo>
                <a:lnTo>
                  <a:pt x="4309284" y="3548954"/>
                </a:lnTo>
                <a:lnTo>
                  <a:pt x="4326916" y="3566877"/>
                </a:lnTo>
                <a:lnTo>
                  <a:pt x="4336234" y="3575376"/>
                </a:lnTo>
                <a:lnTo>
                  <a:pt x="4349015" y="3589336"/>
                </a:lnTo>
                <a:lnTo>
                  <a:pt x="4376377" y="3617142"/>
                </a:lnTo>
                <a:lnTo>
                  <a:pt x="4395261" y="3639845"/>
                </a:lnTo>
                <a:lnTo>
                  <a:pt x="4405403" y="3650923"/>
                </a:lnTo>
                <a:lnTo>
                  <a:pt x="4415995" y="3664770"/>
                </a:lnTo>
                <a:lnTo>
                  <a:pt x="4438037" y="3691269"/>
                </a:lnTo>
                <a:lnTo>
                  <a:pt x="4457599" y="3719164"/>
                </a:lnTo>
                <a:lnTo>
                  <a:pt x="4468193" y="3733015"/>
                </a:lnTo>
                <a:lnTo>
                  <a:pt x="4476623" y="3746294"/>
                </a:lnTo>
                <a:lnTo>
                  <a:pt x="4493900" y="3770927"/>
                </a:lnTo>
                <a:lnTo>
                  <a:pt x="4513522" y="3804408"/>
                </a:lnTo>
                <a:lnTo>
                  <a:pt x="4524158" y="3821161"/>
                </a:lnTo>
                <a:lnTo>
                  <a:pt x="4530550" y="3833462"/>
                </a:lnTo>
                <a:lnTo>
                  <a:pt x="4543589" y="3855710"/>
                </a:lnTo>
                <a:lnTo>
                  <a:pt x="4562617" y="3895180"/>
                </a:lnTo>
                <a:lnTo>
                  <a:pt x="4572847" y="3914866"/>
                </a:lnTo>
                <a:lnTo>
                  <a:pt x="4577389" y="3925819"/>
                </a:lnTo>
                <a:lnTo>
                  <a:pt x="4586740" y="3945212"/>
                </a:lnTo>
                <a:lnTo>
                  <a:pt x="4604487" y="3991153"/>
                </a:lnTo>
                <a:lnTo>
                  <a:pt x="4613813" y="4013638"/>
                </a:lnTo>
                <a:lnTo>
                  <a:pt x="4616753" y="4022906"/>
                </a:lnTo>
                <a:lnTo>
                  <a:pt x="4622981" y="4039027"/>
                </a:lnTo>
                <a:lnTo>
                  <a:pt x="4638724" y="4092151"/>
                </a:lnTo>
                <a:lnTo>
                  <a:pt x="4646603" y="4116982"/>
                </a:lnTo>
                <a:lnTo>
                  <a:pt x="4648243" y="4124267"/>
                </a:lnTo>
                <a:lnTo>
                  <a:pt x="4651941" y="4136749"/>
                </a:lnTo>
                <a:lnTo>
                  <a:pt x="4664931" y="4198450"/>
                </a:lnTo>
                <a:lnTo>
                  <a:pt x="4665187" y="4199586"/>
                </a:lnTo>
                <a:lnTo>
                  <a:pt x="4666897" y="4199586"/>
                </a:lnTo>
                <a:lnTo>
                  <a:pt x="4672481" y="4229994"/>
                </a:lnTo>
                <a:lnTo>
                  <a:pt x="4673165" y="4236155"/>
                </a:lnTo>
                <a:lnTo>
                  <a:pt x="4674963" y="4246612"/>
                </a:lnTo>
                <a:lnTo>
                  <a:pt x="4684421" y="4337551"/>
                </a:lnTo>
                <a:lnTo>
                  <a:pt x="4687579" y="4365998"/>
                </a:lnTo>
                <a:lnTo>
                  <a:pt x="4687689" y="4368991"/>
                </a:lnTo>
                <a:lnTo>
                  <a:pt x="4688255" y="4374414"/>
                </a:lnTo>
                <a:lnTo>
                  <a:pt x="4690473" y="4437487"/>
                </a:lnTo>
                <a:lnTo>
                  <a:pt x="4693177" y="4437487"/>
                </a:lnTo>
                <a:lnTo>
                  <a:pt x="4693177" y="4495636"/>
                </a:lnTo>
                <a:lnTo>
                  <a:pt x="4693177" y="4514355"/>
                </a:lnTo>
                <a:lnTo>
                  <a:pt x="4693177" y="4514790"/>
                </a:lnTo>
                <a:lnTo>
                  <a:pt x="4693177" y="4514792"/>
                </a:lnTo>
                <a:lnTo>
                  <a:pt x="4694471" y="4514792"/>
                </a:lnTo>
                <a:lnTo>
                  <a:pt x="4694471" y="4623176"/>
                </a:lnTo>
                <a:lnTo>
                  <a:pt x="4694471" y="4794177"/>
                </a:lnTo>
                <a:lnTo>
                  <a:pt x="4694471" y="4907381"/>
                </a:lnTo>
                <a:lnTo>
                  <a:pt x="4694471" y="5379129"/>
                </a:lnTo>
                <a:lnTo>
                  <a:pt x="4694471" y="5405390"/>
                </a:lnTo>
                <a:lnTo>
                  <a:pt x="4694471" y="5502425"/>
                </a:lnTo>
                <a:lnTo>
                  <a:pt x="4694471" y="5529139"/>
                </a:lnTo>
                <a:lnTo>
                  <a:pt x="4694471" y="5598155"/>
                </a:lnTo>
                <a:lnTo>
                  <a:pt x="4694471" y="5657026"/>
                </a:lnTo>
                <a:lnTo>
                  <a:pt x="4694471" y="5725229"/>
                </a:lnTo>
                <a:lnTo>
                  <a:pt x="4694471" y="5785115"/>
                </a:lnTo>
                <a:lnTo>
                  <a:pt x="4693189" y="5785115"/>
                </a:lnTo>
                <a:lnTo>
                  <a:pt x="4693189" y="6709336"/>
                </a:lnTo>
                <a:lnTo>
                  <a:pt x="4693189" y="6855583"/>
                </a:lnTo>
                <a:lnTo>
                  <a:pt x="4620412" y="6855583"/>
                </a:lnTo>
                <a:lnTo>
                  <a:pt x="3976799" y="6855583"/>
                </a:lnTo>
                <a:lnTo>
                  <a:pt x="3927731" y="6855583"/>
                </a:lnTo>
                <a:lnTo>
                  <a:pt x="3904023" y="6855583"/>
                </a:lnTo>
                <a:lnTo>
                  <a:pt x="3854954" y="6855583"/>
                </a:lnTo>
                <a:lnTo>
                  <a:pt x="3734645" y="6855583"/>
                </a:lnTo>
                <a:lnTo>
                  <a:pt x="3661868" y="6855583"/>
                </a:lnTo>
                <a:lnTo>
                  <a:pt x="3610218" y="6855583"/>
                </a:lnTo>
                <a:lnTo>
                  <a:pt x="3609578" y="6855583"/>
                </a:lnTo>
                <a:lnTo>
                  <a:pt x="3609569" y="6855583"/>
                </a:lnTo>
                <a:lnTo>
                  <a:pt x="3609558" y="6855583"/>
                </a:lnTo>
                <a:lnTo>
                  <a:pt x="3559339" y="6855583"/>
                </a:lnTo>
                <a:lnTo>
                  <a:pt x="3558661" y="6855583"/>
                </a:lnTo>
                <a:lnTo>
                  <a:pt x="3537440" y="6855583"/>
                </a:lnTo>
                <a:lnTo>
                  <a:pt x="3536802" y="6855583"/>
                </a:lnTo>
                <a:lnTo>
                  <a:pt x="3536793" y="6855583"/>
                </a:lnTo>
                <a:lnTo>
                  <a:pt x="3536782" y="6855583"/>
                </a:lnTo>
                <a:lnTo>
                  <a:pt x="3485884" y="6855583"/>
                </a:lnTo>
                <a:lnTo>
                  <a:pt x="3211343" y="6855583"/>
                </a:lnTo>
                <a:lnTo>
                  <a:pt x="3138565" y="6855583"/>
                </a:lnTo>
                <a:lnTo>
                  <a:pt x="3018255" y="6855583"/>
                </a:lnTo>
                <a:lnTo>
                  <a:pt x="2969187" y="6855583"/>
                </a:lnTo>
                <a:lnTo>
                  <a:pt x="2945479" y="6855583"/>
                </a:lnTo>
                <a:lnTo>
                  <a:pt x="2896410" y="6855583"/>
                </a:lnTo>
                <a:lnTo>
                  <a:pt x="2893829" y="6855583"/>
                </a:lnTo>
                <a:lnTo>
                  <a:pt x="2893189" y="6855583"/>
                </a:lnTo>
                <a:lnTo>
                  <a:pt x="2893179" y="6855583"/>
                </a:lnTo>
                <a:lnTo>
                  <a:pt x="2893168" y="6855583"/>
                </a:lnTo>
                <a:lnTo>
                  <a:pt x="2844760" y="6855583"/>
                </a:lnTo>
                <a:lnTo>
                  <a:pt x="2844120" y="6855583"/>
                </a:lnTo>
                <a:lnTo>
                  <a:pt x="2844111" y="6855583"/>
                </a:lnTo>
                <a:lnTo>
                  <a:pt x="2844100" y="6855583"/>
                </a:lnTo>
                <a:lnTo>
                  <a:pt x="2842271" y="6855583"/>
                </a:lnTo>
                <a:lnTo>
                  <a:pt x="2821051" y="6855583"/>
                </a:lnTo>
                <a:lnTo>
                  <a:pt x="2820413" y="6855583"/>
                </a:lnTo>
                <a:lnTo>
                  <a:pt x="2820403" y="6855583"/>
                </a:lnTo>
                <a:lnTo>
                  <a:pt x="2820392" y="6855583"/>
                </a:lnTo>
                <a:lnTo>
                  <a:pt x="2793202" y="6855583"/>
                </a:lnTo>
                <a:lnTo>
                  <a:pt x="2771983" y="6855583"/>
                </a:lnTo>
                <a:lnTo>
                  <a:pt x="2771344" y="6855583"/>
                </a:lnTo>
                <a:lnTo>
                  <a:pt x="2771334" y="6855583"/>
                </a:lnTo>
                <a:lnTo>
                  <a:pt x="2771323" y="6855583"/>
                </a:lnTo>
                <a:lnTo>
                  <a:pt x="2769494" y="6855583"/>
                </a:lnTo>
                <a:lnTo>
                  <a:pt x="2720426" y="6855583"/>
                </a:lnTo>
                <a:lnTo>
                  <a:pt x="2651674" y="6855583"/>
                </a:lnTo>
                <a:lnTo>
                  <a:pt x="2651034" y="6855583"/>
                </a:lnTo>
                <a:lnTo>
                  <a:pt x="2651025" y="6855583"/>
                </a:lnTo>
                <a:lnTo>
                  <a:pt x="2651014" y="6855583"/>
                </a:lnTo>
                <a:lnTo>
                  <a:pt x="2600795" y="6855583"/>
                </a:lnTo>
                <a:lnTo>
                  <a:pt x="2600117" y="6855583"/>
                </a:lnTo>
                <a:lnTo>
                  <a:pt x="2578896" y="6855583"/>
                </a:lnTo>
                <a:lnTo>
                  <a:pt x="2578258" y="6855583"/>
                </a:lnTo>
                <a:lnTo>
                  <a:pt x="2578249" y="6855583"/>
                </a:lnTo>
                <a:lnTo>
                  <a:pt x="2578238" y="6855583"/>
                </a:lnTo>
                <a:lnTo>
                  <a:pt x="2527340" y="6855583"/>
                </a:lnTo>
                <a:lnTo>
                  <a:pt x="2252799" y="6855583"/>
                </a:lnTo>
                <a:lnTo>
                  <a:pt x="2180021" y="6855583"/>
                </a:lnTo>
                <a:lnTo>
                  <a:pt x="2128371" y="6855583"/>
                </a:lnTo>
                <a:lnTo>
                  <a:pt x="2127731" y="6855583"/>
                </a:lnTo>
                <a:lnTo>
                  <a:pt x="2127721" y="6855583"/>
                </a:lnTo>
                <a:lnTo>
                  <a:pt x="2127710" y="6855583"/>
                </a:lnTo>
                <a:lnTo>
                  <a:pt x="2076812" y="6855583"/>
                </a:lnTo>
                <a:lnTo>
                  <a:pt x="2055593" y="6855583"/>
                </a:lnTo>
                <a:lnTo>
                  <a:pt x="2054955" y="6855583"/>
                </a:lnTo>
                <a:lnTo>
                  <a:pt x="2054944" y="6855583"/>
                </a:lnTo>
                <a:lnTo>
                  <a:pt x="2054933" y="6855583"/>
                </a:lnTo>
                <a:lnTo>
                  <a:pt x="2004036" y="6855583"/>
                </a:lnTo>
                <a:lnTo>
                  <a:pt x="1935285" y="6855583"/>
                </a:lnTo>
                <a:lnTo>
                  <a:pt x="1934645" y="6855583"/>
                </a:lnTo>
                <a:lnTo>
                  <a:pt x="1934635" y="6855583"/>
                </a:lnTo>
                <a:lnTo>
                  <a:pt x="1934624" y="6855583"/>
                </a:lnTo>
                <a:lnTo>
                  <a:pt x="1886216" y="6855583"/>
                </a:lnTo>
                <a:lnTo>
                  <a:pt x="1885576" y="6855583"/>
                </a:lnTo>
                <a:lnTo>
                  <a:pt x="1885567" y="6855583"/>
                </a:lnTo>
                <a:lnTo>
                  <a:pt x="1885556" y="6855583"/>
                </a:lnTo>
                <a:lnTo>
                  <a:pt x="1883727" y="6855583"/>
                </a:lnTo>
                <a:lnTo>
                  <a:pt x="1862507" y="6855583"/>
                </a:lnTo>
                <a:lnTo>
                  <a:pt x="1861869" y="6855583"/>
                </a:lnTo>
                <a:lnTo>
                  <a:pt x="1861859" y="6855583"/>
                </a:lnTo>
                <a:lnTo>
                  <a:pt x="1861848" y="6855583"/>
                </a:lnTo>
                <a:lnTo>
                  <a:pt x="1834658" y="6855583"/>
                </a:lnTo>
                <a:lnTo>
                  <a:pt x="1813439" y="6855583"/>
                </a:lnTo>
                <a:lnTo>
                  <a:pt x="1812800" y="6855583"/>
                </a:lnTo>
                <a:lnTo>
                  <a:pt x="1812790" y="6855583"/>
                </a:lnTo>
                <a:lnTo>
                  <a:pt x="1812779" y="6855583"/>
                </a:lnTo>
                <a:lnTo>
                  <a:pt x="1810950" y="6855583"/>
                </a:lnTo>
                <a:lnTo>
                  <a:pt x="1761882" y="6855583"/>
                </a:lnTo>
                <a:lnTo>
                  <a:pt x="1169827" y="6855583"/>
                </a:lnTo>
                <a:lnTo>
                  <a:pt x="1169187" y="6855583"/>
                </a:lnTo>
                <a:lnTo>
                  <a:pt x="1169177" y="6855583"/>
                </a:lnTo>
                <a:lnTo>
                  <a:pt x="1169166" y="6855583"/>
                </a:lnTo>
                <a:lnTo>
                  <a:pt x="1118268" y="6855583"/>
                </a:lnTo>
                <a:lnTo>
                  <a:pt x="1097049" y="6855583"/>
                </a:lnTo>
                <a:lnTo>
                  <a:pt x="1096411" y="6855583"/>
                </a:lnTo>
                <a:lnTo>
                  <a:pt x="1096400" y="6855583"/>
                </a:lnTo>
                <a:lnTo>
                  <a:pt x="1096389" y="6855583"/>
                </a:lnTo>
                <a:lnTo>
                  <a:pt x="1045492" y="6855583"/>
                </a:lnTo>
                <a:lnTo>
                  <a:pt x="961282" y="6855583"/>
                </a:lnTo>
                <a:lnTo>
                  <a:pt x="2738" y="6855583"/>
                </a:lnTo>
                <a:lnTo>
                  <a:pt x="2738" y="5657026"/>
                </a:lnTo>
                <a:lnTo>
                  <a:pt x="1722" y="5657026"/>
                </a:lnTo>
                <a:lnTo>
                  <a:pt x="1722" y="5612741"/>
                </a:lnTo>
                <a:lnTo>
                  <a:pt x="1722" y="5598486"/>
                </a:lnTo>
                <a:lnTo>
                  <a:pt x="1722" y="5598155"/>
                </a:lnTo>
                <a:lnTo>
                  <a:pt x="426" y="5598155"/>
                </a:lnTo>
                <a:lnTo>
                  <a:pt x="426" y="5405390"/>
                </a:lnTo>
                <a:lnTo>
                  <a:pt x="426" y="5379129"/>
                </a:lnTo>
                <a:lnTo>
                  <a:pt x="428" y="4794177"/>
                </a:lnTo>
                <a:lnTo>
                  <a:pt x="428" y="4514790"/>
                </a:lnTo>
                <a:lnTo>
                  <a:pt x="428" y="4437487"/>
                </a:lnTo>
                <a:lnTo>
                  <a:pt x="1710" y="4437487"/>
                </a:lnTo>
                <a:lnTo>
                  <a:pt x="1710" y="4199586"/>
                </a:lnTo>
                <a:lnTo>
                  <a:pt x="0" y="4199586"/>
                </a:lnTo>
                <a:lnTo>
                  <a:pt x="0" y="3265890"/>
                </a:lnTo>
                <a:lnTo>
                  <a:pt x="2738" y="326589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8548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94A58E8-F52F-4A44-B1EF-1CCF06E4E2C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429000" y="0"/>
            <a:ext cx="5130800" cy="6858000"/>
          </a:xfrm>
          <a:custGeom>
            <a:avLst/>
            <a:gdLst>
              <a:gd name="connsiteX0" fmla="*/ 0 w 5130800"/>
              <a:gd name="connsiteY0" fmla="*/ 0 h 6858000"/>
              <a:gd name="connsiteX1" fmla="*/ 2110503 w 5130800"/>
              <a:gd name="connsiteY1" fmla="*/ 0 h 6858000"/>
              <a:gd name="connsiteX2" fmla="*/ 5130800 w 5130800"/>
              <a:gd name="connsiteY2" fmla="*/ 6858000 h 6858000"/>
              <a:gd name="connsiteX3" fmla="*/ 3020297 w 5130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30800" h="6858000">
                <a:moveTo>
                  <a:pt x="0" y="0"/>
                </a:moveTo>
                <a:lnTo>
                  <a:pt x="2110503" y="0"/>
                </a:lnTo>
                <a:lnTo>
                  <a:pt x="5130800" y="6858000"/>
                </a:lnTo>
                <a:lnTo>
                  <a:pt x="3020297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69A26C0-BA85-43FA-9548-0A0F7A8D94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219200" y="0"/>
            <a:ext cx="5130800" cy="6858000"/>
          </a:xfrm>
          <a:custGeom>
            <a:avLst/>
            <a:gdLst>
              <a:gd name="connsiteX0" fmla="*/ 0 w 5130800"/>
              <a:gd name="connsiteY0" fmla="*/ 0 h 6858000"/>
              <a:gd name="connsiteX1" fmla="*/ 2110503 w 5130800"/>
              <a:gd name="connsiteY1" fmla="*/ 0 h 6858000"/>
              <a:gd name="connsiteX2" fmla="*/ 5130800 w 5130800"/>
              <a:gd name="connsiteY2" fmla="*/ 6858000 h 6858000"/>
              <a:gd name="connsiteX3" fmla="*/ 3020297 w 5130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30800" h="6858000">
                <a:moveTo>
                  <a:pt x="0" y="0"/>
                </a:moveTo>
                <a:lnTo>
                  <a:pt x="2110503" y="0"/>
                </a:lnTo>
                <a:lnTo>
                  <a:pt x="5130800" y="6858000"/>
                </a:lnTo>
                <a:lnTo>
                  <a:pt x="3020297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D6440D9-CD52-44B2-A4EA-17B834508E6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990600" y="0"/>
            <a:ext cx="5130800" cy="6858000"/>
          </a:xfrm>
          <a:custGeom>
            <a:avLst/>
            <a:gdLst>
              <a:gd name="connsiteX0" fmla="*/ 0 w 5130800"/>
              <a:gd name="connsiteY0" fmla="*/ 0 h 6858000"/>
              <a:gd name="connsiteX1" fmla="*/ 2110503 w 5130800"/>
              <a:gd name="connsiteY1" fmla="*/ 0 h 6858000"/>
              <a:gd name="connsiteX2" fmla="*/ 5130800 w 5130800"/>
              <a:gd name="connsiteY2" fmla="*/ 6858000 h 6858000"/>
              <a:gd name="connsiteX3" fmla="*/ 3020297 w 5130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30800" h="6858000">
                <a:moveTo>
                  <a:pt x="0" y="0"/>
                </a:moveTo>
                <a:lnTo>
                  <a:pt x="2110503" y="0"/>
                </a:lnTo>
                <a:lnTo>
                  <a:pt x="5130800" y="6858000"/>
                </a:lnTo>
                <a:lnTo>
                  <a:pt x="3020297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7954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E570EC-073C-4640-BFF5-772A5C70DB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2051049"/>
            <a:ext cx="12191999" cy="2570073"/>
          </a:xfrm>
          <a:custGeom>
            <a:avLst/>
            <a:gdLst>
              <a:gd name="connsiteX0" fmla="*/ 1126324 w 12191999"/>
              <a:gd name="connsiteY0" fmla="*/ 0 h 2570073"/>
              <a:gd name="connsiteX1" fmla="*/ 2454730 w 12191999"/>
              <a:gd name="connsiteY1" fmla="*/ 0 h 2570073"/>
              <a:gd name="connsiteX2" fmla="*/ 3481005 w 12191999"/>
              <a:gd name="connsiteY2" fmla="*/ 0 h 2570073"/>
              <a:gd name="connsiteX3" fmla="*/ 3540677 w 12191999"/>
              <a:gd name="connsiteY3" fmla="*/ 0 h 2570073"/>
              <a:gd name="connsiteX4" fmla="*/ 4809411 w 12191999"/>
              <a:gd name="connsiteY4" fmla="*/ 0 h 2570073"/>
              <a:gd name="connsiteX5" fmla="*/ 4869084 w 12191999"/>
              <a:gd name="connsiteY5" fmla="*/ 0 h 2570073"/>
              <a:gd name="connsiteX6" fmla="*/ 4869084 w 12191999"/>
              <a:gd name="connsiteY6" fmla="*/ 1332 h 2570073"/>
              <a:gd name="connsiteX7" fmla="*/ 5935733 w 12191999"/>
              <a:gd name="connsiteY7" fmla="*/ 1332 h 2570073"/>
              <a:gd name="connsiteX8" fmla="*/ 5935733 w 12191999"/>
              <a:gd name="connsiteY8" fmla="*/ 316755 h 2570073"/>
              <a:gd name="connsiteX9" fmla="*/ 5935733 w 12191999"/>
              <a:gd name="connsiteY9" fmla="*/ 1082676 h 2570073"/>
              <a:gd name="connsiteX10" fmla="*/ 5935736 w 12191999"/>
              <a:gd name="connsiteY10" fmla="*/ 1082676 h 2570073"/>
              <a:gd name="connsiteX11" fmla="*/ 5935736 w 12191999"/>
              <a:gd name="connsiteY11" fmla="*/ 1074434 h 2570073"/>
              <a:gd name="connsiteX12" fmla="*/ 5938272 w 12191999"/>
              <a:gd name="connsiteY12" fmla="*/ 1074434 h 2570073"/>
              <a:gd name="connsiteX13" fmla="*/ 5940853 w 12191999"/>
              <a:gd name="connsiteY13" fmla="*/ 1019920 h 2570073"/>
              <a:gd name="connsiteX14" fmla="*/ 5941325 w 12191999"/>
              <a:gd name="connsiteY14" fmla="*/ 1016613 h 2570073"/>
              <a:gd name="connsiteX15" fmla="*/ 5941548 w 12191999"/>
              <a:gd name="connsiteY15" fmla="*/ 1012207 h 2570073"/>
              <a:gd name="connsiteX16" fmla="*/ 5978687 w 12191999"/>
              <a:gd name="connsiteY16" fmla="*/ 818244 h 2570073"/>
              <a:gd name="connsiteX17" fmla="*/ 5980204 w 12191999"/>
              <a:gd name="connsiteY17" fmla="*/ 813682 h 2570073"/>
              <a:gd name="connsiteX18" fmla="*/ 5980394 w 12191999"/>
              <a:gd name="connsiteY18" fmla="*/ 812894 h 2570073"/>
              <a:gd name="connsiteX19" fmla="*/ 5983069 w 12191999"/>
              <a:gd name="connsiteY19" fmla="*/ 805066 h 2570073"/>
              <a:gd name="connsiteX20" fmla="*/ 6009331 w 12191999"/>
              <a:gd name="connsiteY20" fmla="*/ 726078 h 2570073"/>
              <a:gd name="connsiteX21" fmla="*/ 6012831 w 12191999"/>
              <a:gd name="connsiteY21" fmla="*/ 717971 h 2570073"/>
              <a:gd name="connsiteX22" fmla="*/ 6013884 w 12191999"/>
              <a:gd name="connsiteY22" fmla="*/ 714889 h 2570073"/>
              <a:gd name="connsiteX23" fmla="*/ 6021353 w 12191999"/>
              <a:gd name="connsiteY23" fmla="*/ 698231 h 2570073"/>
              <a:gd name="connsiteX24" fmla="*/ 6047512 w 12191999"/>
              <a:gd name="connsiteY24" fmla="*/ 637633 h 2570073"/>
              <a:gd name="connsiteX25" fmla="*/ 6053591 w 12191999"/>
              <a:gd name="connsiteY25" fmla="*/ 626323 h 2570073"/>
              <a:gd name="connsiteX26" fmla="*/ 6055898 w 12191999"/>
              <a:gd name="connsiteY26" fmla="*/ 621176 h 2570073"/>
              <a:gd name="connsiteX27" fmla="*/ 6066073 w 12191999"/>
              <a:gd name="connsiteY27" fmla="*/ 603101 h 2570073"/>
              <a:gd name="connsiteX28" fmla="*/ 6092845 w 12191999"/>
              <a:gd name="connsiteY28" fmla="*/ 553294 h 2570073"/>
              <a:gd name="connsiteX29" fmla="*/ 6102056 w 12191999"/>
              <a:gd name="connsiteY29" fmla="*/ 539178 h 2570073"/>
              <a:gd name="connsiteX30" fmla="*/ 6105971 w 12191999"/>
              <a:gd name="connsiteY30" fmla="*/ 532224 h 2570073"/>
              <a:gd name="connsiteX31" fmla="*/ 6117824 w 12191999"/>
              <a:gd name="connsiteY31" fmla="*/ 515013 h 2570073"/>
              <a:gd name="connsiteX32" fmla="*/ 6144948 w 12191999"/>
              <a:gd name="connsiteY32" fmla="*/ 473445 h 2570073"/>
              <a:gd name="connsiteX33" fmla="*/ 6157796 w 12191999"/>
              <a:gd name="connsiteY33" fmla="*/ 456974 h 2570073"/>
              <a:gd name="connsiteX34" fmla="*/ 6163633 w 12191999"/>
              <a:gd name="connsiteY34" fmla="*/ 448498 h 2570073"/>
              <a:gd name="connsiteX35" fmla="*/ 6176449 w 12191999"/>
              <a:gd name="connsiteY35" fmla="*/ 433062 h 2570073"/>
              <a:gd name="connsiteX36" fmla="*/ 6203434 w 12191999"/>
              <a:gd name="connsiteY36" fmla="*/ 398470 h 2570073"/>
              <a:gd name="connsiteX37" fmla="*/ 6220382 w 12191999"/>
              <a:gd name="connsiteY37" fmla="*/ 380147 h 2570073"/>
              <a:gd name="connsiteX38" fmla="*/ 6228421 w 12191999"/>
              <a:gd name="connsiteY38" fmla="*/ 370466 h 2570073"/>
              <a:gd name="connsiteX39" fmla="*/ 6241622 w 12191999"/>
              <a:gd name="connsiteY39" fmla="*/ 357186 h 2570073"/>
              <a:gd name="connsiteX40" fmla="*/ 6267920 w 12191999"/>
              <a:gd name="connsiteY40" fmla="*/ 328755 h 2570073"/>
              <a:gd name="connsiteX41" fmla="*/ 6289391 w 12191999"/>
              <a:gd name="connsiteY41" fmla="*/ 309131 h 2570073"/>
              <a:gd name="connsiteX42" fmla="*/ 6299866 w 12191999"/>
              <a:gd name="connsiteY42" fmla="*/ 298593 h 2570073"/>
              <a:gd name="connsiteX43" fmla="*/ 6312962 w 12191999"/>
              <a:gd name="connsiteY43" fmla="*/ 287587 h 2570073"/>
              <a:gd name="connsiteX44" fmla="*/ 6338022 w 12191999"/>
              <a:gd name="connsiteY44" fmla="*/ 264683 h 2570073"/>
              <a:gd name="connsiteX45" fmla="*/ 6364404 w 12191999"/>
              <a:gd name="connsiteY45" fmla="*/ 244356 h 2570073"/>
              <a:gd name="connsiteX46" fmla="*/ 6377502 w 12191999"/>
              <a:gd name="connsiteY46" fmla="*/ 233348 h 2570073"/>
              <a:gd name="connsiteX47" fmla="*/ 6390060 w 12191999"/>
              <a:gd name="connsiteY47" fmla="*/ 224587 h 2570073"/>
              <a:gd name="connsiteX48" fmla="*/ 6413355 w 12191999"/>
              <a:gd name="connsiteY48" fmla="*/ 206638 h 2570073"/>
              <a:gd name="connsiteX49" fmla="*/ 6445019 w 12191999"/>
              <a:gd name="connsiteY49" fmla="*/ 186248 h 2570073"/>
              <a:gd name="connsiteX50" fmla="*/ 6460863 w 12191999"/>
              <a:gd name="connsiteY50" fmla="*/ 175195 h 2570073"/>
              <a:gd name="connsiteX51" fmla="*/ 6472496 w 12191999"/>
              <a:gd name="connsiteY51" fmla="*/ 168554 h 2570073"/>
              <a:gd name="connsiteX52" fmla="*/ 6493536 w 12191999"/>
              <a:gd name="connsiteY52" fmla="*/ 155005 h 2570073"/>
              <a:gd name="connsiteX53" fmla="*/ 6530863 w 12191999"/>
              <a:gd name="connsiteY53" fmla="*/ 135232 h 2570073"/>
              <a:gd name="connsiteX54" fmla="*/ 6549482 w 12191999"/>
              <a:gd name="connsiteY54" fmla="*/ 124603 h 2570073"/>
              <a:gd name="connsiteX55" fmla="*/ 6559839 w 12191999"/>
              <a:gd name="connsiteY55" fmla="*/ 119882 h 2570073"/>
              <a:gd name="connsiteX56" fmla="*/ 6578180 w 12191999"/>
              <a:gd name="connsiteY56" fmla="*/ 110167 h 2570073"/>
              <a:gd name="connsiteX57" fmla="*/ 6621627 w 12191999"/>
              <a:gd name="connsiteY57" fmla="*/ 91726 h 2570073"/>
              <a:gd name="connsiteX58" fmla="*/ 6642891 w 12191999"/>
              <a:gd name="connsiteY58" fmla="*/ 82036 h 2570073"/>
              <a:gd name="connsiteX59" fmla="*/ 6651657 w 12191999"/>
              <a:gd name="connsiteY59" fmla="*/ 78980 h 2570073"/>
              <a:gd name="connsiteX60" fmla="*/ 6666902 w 12191999"/>
              <a:gd name="connsiteY60" fmla="*/ 72509 h 2570073"/>
              <a:gd name="connsiteX61" fmla="*/ 6717142 w 12191999"/>
              <a:gd name="connsiteY61" fmla="*/ 56150 h 2570073"/>
              <a:gd name="connsiteX62" fmla="*/ 6740626 w 12191999"/>
              <a:gd name="connsiteY62" fmla="*/ 47963 h 2570073"/>
              <a:gd name="connsiteX63" fmla="*/ 6747514 w 12191999"/>
              <a:gd name="connsiteY63" fmla="*/ 46260 h 2570073"/>
              <a:gd name="connsiteX64" fmla="*/ 6759319 w 12191999"/>
              <a:gd name="connsiteY64" fmla="*/ 42416 h 2570073"/>
              <a:gd name="connsiteX65" fmla="*/ 6817670 w 12191999"/>
              <a:gd name="connsiteY65" fmla="*/ 28918 h 2570073"/>
              <a:gd name="connsiteX66" fmla="*/ 6842218 w 12191999"/>
              <a:gd name="connsiteY66" fmla="*/ 22850 h 2570073"/>
              <a:gd name="connsiteX67" fmla="*/ 6846973 w 12191999"/>
              <a:gd name="connsiteY67" fmla="*/ 22139 h 2570073"/>
              <a:gd name="connsiteX68" fmla="*/ 6855046 w 12191999"/>
              <a:gd name="connsiteY68" fmla="*/ 20272 h 2570073"/>
              <a:gd name="connsiteX69" fmla="*/ 6925243 w 12191999"/>
              <a:gd name="connsiteY69" fmla="*/ 10445 h 2570073"/>
              <a:gd name="connsiteX70" fmla="*/ 6947201 w 12191999"/>
              <a:gd name="connsiteY70" fmla="*/ 7163 h 2570073"/>
              <a:gd name="connsiteX71" fmla="*/ 6949512 w 12191999"/>
              <a:gd name="connsiteY71" fmla="*/ 7047 h 2570073"/>
              <a:gd name="connsiteX72" fmla="*/ 6953699 w 12191999"/>
              <a:gd name="connsiteY72" fmla="*/ 6460 h 2570073"/>
              <a:gd name="connsiteX73" fmla="*/ 7002386 w 12191999"/>
              <a:gd name="connsiteY73" fmla="*/ 4155 h 2570073"/>
              <a:gd name="connsiteX74" fmla="*/ 7002386 w 12191999"/>
              <a:gd name="connsiteY74" fmla="*/ 1346 h 2570073"/>
              <a:gd name="connsiteX75" fmla="*/ 7047272 w 12191999"/>
              <a:gd name="connsiteY75" fmla="*/ 1346 h 2570073"/>
              <a:gd name="connsiteX76" fmla="*/ 7061721 w 12191999"/>
              <a:gd name="connsiteY76" fmla="*/ 1346 h 2570073"/>
              <a:gd name="connsiteX77" fmla="*/ 7062058 w 12191999"/>
              <a:gd name="connsiteY77" fmla="*/ 1346 h 2570073"/>
              <a:gd name="connsiteX78" fmla="*/ 7062058 w 12191999"/>
              <a:gd name="connsiteY78" fmla="*/ 0 h 2570073"/>
              <a:gd name="connsiteX79" fmla="*/ 9416738 w 12191999"/>
              <a:gd name="connsiteY79" fmla="*/ 0 h 2570073"/>
              <a:gd name="connsiteX80" fmla="*/ 9476411 w 12191999"/>
              <a:gd name="connsiteY80" fmla="*/ 0 h 2570073"/>
              <a:gd name="connsiteX81" fmla="*/ 9476411 w 12191999"/>
              <a:gd name="connsiteY81" fmla="*/ 1332 h 2570073"/>
              <a:gd name="connsiteX82" fmla="*/ 9621926 w 12191999"/>
              <a:gd name="connsiteY82" fmla="*/ 1332 h 2570073"/>
              <a:gd name="connsiteX83" fmla="*/ 9621926 w 12191999"/>
              <a:gd name="connsiteY83" fmla="*/ 1232695 h 2570073"/>
              <a:gd name="connsiteX84" fmla="*/ 9621927 w 12191999"/>
              <a:gd name="connsiteY84" fmla="*/ 1232695 h 2570073"/>
              <a:gd name="connsiteX85" fmla="*/ 9621927 w 12191999"/>
              <a:gd name="connsiteY85" fmla="*/ 1224666 h 2570073"/>
              <a:gd name="connsiteX86" fmla="*/ 9624974 w 12191999"/>
              <a:gd name="connsiteY86" fmla="*/ 1224666 h 2570073"/>
              <a:gd name="connsiteX87" fmla="*/ 9628560 w 12191999"/>
              <a:gd name="connsiteY87" fmla="*/ 1153649 h 2570073"/>
              <a:gd name="connsiteX88" fmla="*/ 10906963 w 12191999"/>
              <a:gd name="connsiteY88" fmla="*/ 0 h 2570073"/>
              <a:gd name="connsiteX89" fmla="*/ 12191999 w 12191999"/>
              <a:gd name="connsiteY89" fmla="*/ 1285037 h 2570073"/>
              <a:gd name="connsiteX90" fmla="*/ 11038350 w 12191999"/>
              <a:gd name="connsiteY90" fmla="*/ 2563438 h 2570073"/>
              <a:gd name="connsiteX91" fmla="*/ 10924212 w 12191999"/>
              <a:gd name="connsiteY91" fmla="*/ 2569202 h 2570073"/>
              <a:gd name="connsiteX92" fmla="*/ 10924212 w 12191999"/>
              <a:gd name="connsiteY92" fmla="*/ 2570073 h 2570073"/>
              <a:gd name="connsiteX93" fmla="*/ 10906963 w 12191999"/>
              <a:gd name="connsiteY93" fmla="*/ 2570073 h 2570073"/>
              <a:gd name="connsiteX94" fmla="*/ 10572749 w 12191999"/>
              <a:gd name="connsiteY94" fmla="*/ 2570073 h 2570073"/>
              <a:gd name="connsiteX95" fmla="*/ 9621927 w 12191999"/>
              <a:gd name="connsiteY95" fmla="*/ 2570073 h 2570073"/>
              <a:gd name="connsiteX96" fmla="*/ 9416738 w 12191999"/>
              <a:gd name="connsiteY96" fmla="*/ 2570073 h 2570073"/>
              <a:gd name="connsiteX97" fmla="*/ 7062058 w 12191999"/>
              <a:gd name="connsiteY97" fmla="*/ 2570073 h 2570073"/>
              <a:gd name="connsiteX98" fmla="*/ 7002386 w 12191999"/>
              <a:gd name="connsiteY98" fmla="*/ 2570073 h 2570073"/>
              <a:gd name="connsiteX99" fmla="*/ 6572249 w 12191999"/>
              <a:gd name="connsiteY99" fmla="*/ 2570073 h 2570073"/>
              <a:gd name="connsiteX100" fmla="*/ 6572249 w 12191999"/>
              <a:gd name="connsiteY100" fmla="*/ 2568741 h 2570073"/>
              <a:gd name="connsiteX101" fmla="*/ 5935736 w 12191999"/>
              <a:gd name="connsiteY101" fmla="*/ 2568741 h 2570073"/>
              <a:gd name="connsiteX102" fmla="*/ 5935736 w 12191999"/>
              <a:gd name="connsiteY102" fmla="*/ 2253318 h 2570073"/>
              <a:gd name="connsiteX103" fmla="*/ 5935736 w 12191999"/>
              <a:gd name="connsiteY103" fmla="*/ 1487489 h 2570073"/>
              <a:gd name="connsiteX104" fmla="*/ 5935733 w 12191999"/>
              <a:gd name="connsiteY104" fmla="*/ 1487489 h 2570073"/>
              <a:gd name="connsiteX105" fmla="*/ 5935733 w 12191999"/>
              <a:gd name="connsiteY105" fmla="*/ 1495639 h 2570073"/>
              <a:gd name="connsiteX106" fmla="*/ 5933197 w 12191999"/>
              <a:gd name="connsiteY106" fmla="*/ 1495639 h 2570073"/>
              <a:gd name="connsiteX107" fmla="*/ 5930616 w 12191999"/>
              <a:gd name="connsiteY107" fmla="*/ 1550153 h 2570073"/>
              <a:gd name="connsiteX108" fmla="*/ 5930144 w 12191999"/>
              <a:gd name="connsiteY108" fmla="*/ 1553460 h 2570073"/>
              <a:gd name="connsiteX109" fmla="*/ 5929922 w 12191999"/>
              <a:gd name="connsiteY109" fmla="*/ 1557867 h 2570073"/>
              <a:gd name="connsiteX110" fmla="*/ 5892782 w 12191999"/>
              <a:gd name="connsiteY110" fmla="*/ 1751829 h 2570073"/>
              <a:gd name="connsiteX111" fmla="*/ 5891264 w 12191999"/>
              <a:gd name="connsiteY111" fmla="*/ 1756392 h 2570073"/>
              <a:gd name="connsiteX112" fmla="*/ 5891075 w 12191999"/>
              <a:gd name="connsiteY112" fmla="*/ 1757179 h 2570073"/>
              <a:gd name="connsiteX113" fmla="*/ 5888400 w 12191999"/>
              <a:gd name="connsiteY113" fmla="*/ 1765008 h 2570073"/>
              <a:gd name="connsiteX114" fmla="*/ 5862137 w 12191999"/>
              <a:gd name="connsiteY114" fmla="*/ 1843996 h 2570073"/>
              <a:gd name="connsiteX115" fmla="*/ 5858638 w 12191999"/>
              <a:gd name="connsiteY115" fmla="*/ 1852103 h 2570073"/>
              <a:gd name="connsiteX116" fmla="*/ 5857585 w 12191999"/>
              <a:gd name="connsiteY116" fmla="*/ 1855185 h 2570073"/>
              <a:gd name="connsiteX117" fmla="*/ 5850118 w 12191999"/>
              <a:gd name="connsiteY117" fmla="*/ 1871843 h 2570073"/>
              <a:gd name="connsiteX118" fmla="*/ 5823957 w 12191999"/>
              <a:gd name="connsiteY118" fmla="*/ 1932441 h 2570073"/>
              <a:gd name="connsiteX119" fmla="*/ 5817877 w 12191999"/>
              <a:gd name="connsiteY119" fmla="*/ 1943751 h 2570073"/>
              <a:gd name="connsiteX120" fmla="*/ 5815570 w 12191999"/>
              <a:gd name="connsiteY120" fmla="*/ 1948897 h 2570073"/>
              <a:gd name="connsiteX121" fmla="*/ 5805396 w 12191999"/>
              <a:gd name="connsiteY121" fmla="*/ 1966972 h 2570073"/>
              <a:gd name="connsiteX122" fmla="*/ 5778623 w 12191999"/>
              <a:gd name="connsiteY122" fmla="*/ 2016780 h 2570073"/>
              <a:gd name="connsiteX123" fmla="*/ 5769413 w 12191999"/>
              <a:gd name="connsiteY123" fmla="*/ 2030895 h 2570073"/>
              <a:gd name="connsiteX124" fmla="*/ 5765499 w 12191999"/>
              <a:gd name="connsiteY124" fmla="*/ 2037850 h 2570073"/>
              <a:gd name="connsiteX125" fmla="*/ 5753645 w 12191999"/>
              <a:gd name="connsiteY125" fmla="*/ 2055061 h 2570073"/>
              <a:gd name="connsiteX126" fmla="*/ 5726521 w 12191999"/>
              <a:gd name="connsiteY126" fmla="*/ 2096629 h 2570073"/>
              <a:gd name="connsiteX127" fmla="*/ 5713673 w 12191999"/>
              <a:gd name="connsiteY127" fmla="*/ 2113099 h 2570073"/>
              <a:gd name="connsiteX128" fmla="*/ 5707835 w 12191999"/>
              <a:gd name="connsiteY128" fmla="*/ 2121576 h 2570073"/>
              <a:gd name="connsiteX129" fmla="*/ 5695020 w 12191999"/>
              <a:gd name="connsiteY129" fmla="*/ 2137011 h 2570073"/>
              <a:gd name="connsiteX130" fmla="*/ 5668036 w 12191999"/>
              <a:gd name="connsiteY130" fmla="*/ 2171603 h 2570073"/>
              <a:gd name="connsiteX131" fmla="*/ 5651086 w 12191999"/>
              <a:gd name="connsiteY131" fmla="*/ 2189926 h 2570073"/>
              <a:gd name="connsiteX132" fmla="*/ 5643047 w 12191999"/>
              <a:gd name="connsiteY132" fmla="*/ 2199608 h 2570073"/>
              <a:gd name="connsiteX133" fmla="*/ 5629847 w 12191999"/>
              <a:gd name="connsiteY133" fmla="*/ 2212888 h 2570073"/>
              <a:gd name="connsiteX134" fmla="*/ 5603549 w 12191999"/>
              <a:gd name="connsiteY134" fmla="*/ 2241318 h 2570073"/>
              <a:gd name="connsiteX135" fmla="*/ 5582078 w 12191999"/>
              <a:gd name="connsiteY135" fmla="*/ 2260943 h 2570073"/>
              <a:gd name="connsiteX136" fmla="*/ 5571603 w 12191999"/>
              <a:gd name="connsiteY136" fmla="*/ 2271480 h 2570073"/>
              <a:gd name="connsiteX137" fmla="*/ 5558506 w 12191999"/>
              <a:gd name="connsiteY137" fmla="*/ 2282487 h 2570073"/>
              <a:gd name="connsiteX138" fmla="*/ 5533446 w 12191999"/>
              <a:gd name="connsiteY138" fmla="*/ 2305391 h 2570073"/>
              <a:gd name="connsiteX139" fmla="*/ 5507066 w 12191999"/>
              <a:gd name="connsiteY139" fmla="*/ 2325718 h 2570073"/>
              <a:gd name="connsiteX140" fmla="*/ 5493966 w 12191999"/>
              <a:gd name="connsiteY140" fmla="*/ 2336726 h 2570073"/>
              <a:gd name="connsiteX141" fmla="*/ 5481407 w 12191999"/>
              <a:gd name="connsiteY141" fmla="*/ 2345487 h 2570073"/>
              <a:gd name="connsiteX142" fmla="*/ 5458113 w 12191999"/>
              <a:gd name="connsiteY142" fmla="*/ 2363435 h 2570073"/>
              <a:gd name="connsiteX143" fmla="*/ 5426450 w 12191999"/>
              <a:gd name="connsiteY143" fmla="*/ 2383826 h 2570073"/>
              <a:gd name="connsiteX144" fmla="*/ 5410605 w 12191999"/>
              <a:gd name="connsiteY144" fmla="*/ 2394879 h 2570073"/>
              <a:gd name="connsiteX145" fmla="*/ 5398974 w 12191999"/>
              <a:gd name="connsiteY145" fmla="*/ 2401520 h 2570073"/>
              <a:gd name="connsiteX146" fmla="*/ 5377932 w 12191999"/>
              <a:gd name="connsiteY146" fmla="*/ 2415069 h 2570073"/>
              <a:gd name="connsiteX147" fmla="*/ 5340606 w 12191999"/>
              <a:gd name="connsiteY147" fmla="*/ 2434842 h 2570073"/>
              <a:gd name="connsiteX148" fmla="*/ 5321988 w 12191999"/>
              <a:gd name="connsiteY148" fmla="*/ 2445471 h 2570073"/>
              <a:gd name="connsiteX149" fmla="*/ 5311629 w 12191999"/>
              <a:gd name="connsiteY149" fmla="*/ 2450191 h 2570073"/>
              <a:gd name="connsiteX150" fmla="*/ 5293289 w 12191999"/>
              <a:gd name="connsiteY150" fmla="*/ 2459906 h 2570073"/>
              <a:gd name="connsiteX151" fmla="*/ 5249843 w 12191999"/>
              <a:gd name="connsiteY151" fmla="*/ 2478347 h 2570073"/>
              <a:gd name="connsiteX152" fmla="*/ 5228578 w 12191999"/>
              <a:gd name="connsiteY152" fmla="*/ 2488037 h 2570073"/>
              <a:gd name="connsiteX153" fmla="*/ 5219811 w 12191999"/>
              <a:gd name="connsiteY153" fmla="*/ 2491093 h 2570073"/>
              <a:gd name="connsiteX154" fmla="*/ 5204566 w 12191999"/>
              <a:gd name="connsiteY154" fmla="*/ 2497564 h 2570073"/>
              <a:gd name="connsiteX155" fmla="*/ 5154326 w 12191999"/>
              <a:gd name="connsiteY155" fmla="*/ 2513923 h 2570073"/>
              <a:gd name="connsiteX156" fmla="*/ 5130842 w 12191999"/>
              <a:gd name="connsiteY156" fmla="*/ 2522110 h 2570073"/>
              <a:gd name="connsiteX157" fmla="*/ 5123955 w 12191999"/>
              <a:gd name="connsiteY157" fmla="*/ 2523813 h 2570073"/>
              <a:gd name="connsiteX158" fmla="*/ 5112149 w 12191999"/>
              <a:gd name="connsiteY158" fmla="*/ 2527657 h 2570073"/>
              <a:gd name="connsiteX159" fmla="*/ 5053798 w 12191999"/>
              <a:gd name="connsiteY159" fmla="*/ 2541156 h 2570073"/>
              <a:gd name="connsiteX160" fmla="*/ 5029250 w 12191999"/>
              <a:gd name="connsiteY160" fmla="*/ 2547223 h 2570073"/>
              <a:gd name="connsiteX161" fmla="*/ 5024496 w 12191999"/>
              <a:gd name="connsiteY161" fmla="*/ 2547934 h 2570073"/>
              <a:gd name="connsiteX162" fmla="*/ 5016422 w 12191999"/>
              <a:gd name="connsiteY162" fmla="*/ 2549802 h 2570073"/>
              <a:gd name="connsiteX163" fmla="*/ 4946225 w 12191999"/>
              <a:gd name="connsiteY163" fmla="*/ 2559629 h 2570073"/>
              <a:gd name="connsiteX164" fmla="*/ 4924267 w 12191999"/>
              <a:gd name="connsiteY164" fmla="*/ 2562910 h 2570073"/>
              <a:gd name="connsiteX165" fmla="*/ 4921957 w 12191999"/>
              <a:gd name="connsiteY165" fmla="*/ 2563027 h 2570073"/>
              <a:gd name="connsiteX166" fmla="*/ 4917769 w 12191999"/>
              <a:gd name="connsiteY166" fmla="*/ 2563613 h 2570073"/>
              <a:gd name="connsiteX167" fmla="*/ 4869084 w 12191999"/>
              <a:gd name="connsiteY167" fmla="*/ 2565918 h 2570073"/>
              <a:gd name="connsiteX168" fmla="*/ 4869084 w 12191999"/>
              <a:gd name="connsiteY168" fmla="*/ 2568728 h 2570073"/>
              <a:gd name="connsiteX169" fmla="*/ 4824196 w 12191999"/>
              <a:gd name="connsiteY169" fmla="*/ 2568728 h 2570073"/>
              <a:gd name="connsiteX170" fmla="*/ 4809749 w 12191999"/>
              <a:gd name="connsiteY170" fmla="*/ 2568728 h 2570073"/>
              <a:gd name="connsiteX171" fmla="*/ 4809411 w 12191999"/>
              <a:gd name="connsiteY171" fmla="*/ 2568728 h 2570073"/>
              <a:gd name="connsiteX172" fmla="*/ 4809411 w 12191999"/>
              <a:gd name="connsiteY172" fmla="*/ 2570073 h 2570073"/>
              <a:gd name="connsiteX173" fmla="*/ 3481005 w 12191999"/>
              <a:gd name="connsiteY173" fmla="*/ 2570073 h 2570073"/>
              <a:gd name="connsiteX174" fmla="*/ 2454730 w 12191999"/>
              <a:gd name="connsiteY174" fmla="*/ 2570073 h 2570073"/>
              <a:gd name="connsiteX175" fmla="*/ 2395058 w 12191999"/>
              <a:gd name="connsiteY175" fmla="*/ 2570073 h 2570073"/>
              <a:gd name="connsiteX176" fmla="*/ 1126324 w 12191999"/>
              <a:gd name="connsiteY176" fmla="*/ 2570073 h 2570073"/>
              <a:gd name="connsiteX177" fmla="*/ 1066652 w 12191999"/>
              <a:gd name="connsiteY177" fmla="*/ 2570073 h 2570073"/>
              <a:gd name="connsiteX178" fmla="*/ 1066652 w 12191999"/>
              <a:gd name="connsiteY178" fmla="*/ 2568741 h 2570073"/>
              <a:gd name="connsiteX179" fmla="*/ 1 w 12191999"/>
              <a:gd name="connsiteY179" fmla="*/ 2568741 h 2570073"/>
              <a:gd name="connsiteX180" fmla="*/ 1 w 12191999"/>
              <a:gd name="connsiteY180" fmla="*/ 2253318 h 2570073"/>
              <a:gd name="connsiteX181" fmla="*/ 1 w 12191999"/>
              <a:gd name="connsiteY181" fmla="*/ 1443429 h 2570073"/>
              <a:gd name="connsiteX182" fmla="*/ 1 w 12191999"/>
              <a:gd name="connsiteY182" fmla="*/ 1442766 h 2570073"/>
              <a:gd name="connsiteX183" fmla="*/ 0 w 12191999"/>
              <a:gd name="connsiteY183" fmla="*/ 1442755 h 2570073"/>
              <a:gd name="connsiteX184" fmla="*/ 1 w 12191999"/>
              <a:gd name="connsiteY184" fmla="*/ 1442744 h 2570073"/>
              <a:gd name="connsiteX185" fmla="*/ 1 w 12191999"/>
              <a:gd name="connsiteY185" fmla="*/ 1389857 h 2570073"/>
              <a:gd name="connsiteX186" fmla="*/ 1 w 12191999"/>
              <a:gd name="connsiteY186" fmla="*/ 1128007 h 2570073"/>
              <a:gd name="connsiteX187" fmla="*/ 1 w 12191999"/>
              <a:gd name="connsiteY187" fmla="*/ 1127343 h 2570073"/>
              <a:gd name="connsiteX188" fmla="*/ 0 w 12191999"/>
              <a:gd name="connsiteY188" fmla="*/ 1127332 h 2570073"/>
              <a:gd name="connsiteX189" fmla="*/ 1 w 12191999"/>
              <a:gd name="connsiteY189" fmla="*/ 1127322 h 2570073"/>
              <a:gd name="connsiteX190" fmla="*/ 1 w 12191999"/>
              <a:gd name="connsiteY190" fmla="*/ 1074434 h 2570073"/>
              <a:gd name="connsiteX191" fmla="*/ 2538 w 12191999"/>
              <a:gd name="connsiteY191" fmla="*/ 1074434 h 2570073"/>
              <a:gd name="connsiteX192" fmla="*/ 5119 w 12191999"/>
              <a:gd name="connsiteY192" fmla="*/ 1019920 h 2570073"/>
              <a:gd name="connsiteX193" fmla="*/ 5592 w 12191999"/>
              <a:gd name="connsiteY193" fmla="*/ 1016613 h 2570073"/>
              <a:gd name="connsiteX194" fmla="*/ 5814 w 12191999"/>
              <a:gd name="connsiteY194" fmla="*/ 1012207 h 2570073"/>
              <a:gd name="connsiteX195" fmla="*/ 42953 w 12191999"/>
              <a:gd name="connsiteY195" fmla="*/ 818244 h 2570073"/>
              <a:gd name="connsiteX196" fmla="*/ 44470 w 12191999"/>
              <a:gd name="connsiteY196" fmla="*/ 813682 h 2570073"/>
              <a:gd name="connsiteX197" fmla="*/ 44660 w 12191999"/>
              <a:gd name="connsiteY197" fmla="*/ 812894 h 2570073"/>
              <a:gd name="connsiteX198" fmla="*/ 47335 w 12191999"/>
              <a:gd name="connsiteY198" fmla="*/ 805066 h 2570073"/>
              <a:gd name="connsiteX199" fmla="*/ 73597 w 12191999"/>
              <a:gd name="connsiteY199" fmla="*/ 726078 h 2570073"/>
              <a:gd name="connsiteX200" fmla="*/ 77097 w 12191999"/>
              <a:gd name="connsiteY200" fmla="*/ 717971 h 2570073"/>
              <a:gd name="connsiteX201" fmla="*/ 78150 w 12191999"/>
              <a:gd name="connsiteY201" fmla="*/ 714889 h 2570073"/>
              <a:gd name="connsiteX202" fmla="*/ 85619 w 12191999"/>
              <a:gd name="connsiteY202" fmla="*/ 698231 h 2570073"/>
              <a:gd name="connsiteX203" fmla="*/ 111778 w 12191999"/>
              <a:gd name="connsiteY203" fmla="*/ 637633 h 2570073"/>
              <a:gd name="connsiteX204" fmla="*/ 117857 w 12191999"/>
              <a:gd name="connsiteY204" fmla="*/ 626323 h 2570073"/>
              <a:gd name="connsiteX205" fmla="*/ 120165 w 12191999"/>
              <a:gd name="connsiteY205" fmla="*/ 621176 h 2570073"/>
              <a:gd name="connsiteX206" fmla="*/ 130339 w 12191999"/>
              <a:gd name="connsiteY206" fmla="*/ 603101 h 2570073"/>
              <a:gd name="connsiteX207" fmla="*/ 157112 w 12191999"/>
              <a:gd name="connsiteY207" fmla="*/ 553294 h 2570073"/>
              <a:gd name="connsiteX208" fmla="*/ 166322 w 12191999"/>
              <a:gd name="connsiteY208" fmla="*/ 539178 h 2570073"/>
              <a:gd name="connsiteX209" fmla="*/ 170237 w 12191999"/>
              <a:gd name="connsiteY209" fmla="*/ 532224 h 2570073"/>
              <a:gd name="connsiteX210" fmla="*/ 182090 w 12191999"/>
              <a:gd name="connsiteY210" fmla="*/ 515013 h 2570073"/>
              <a:gd name="connsiteX211" fmla="*/ 209214 w 12191999"/>
              <a:gd name="connsiteY211" fmla="*/ 473445 h 2570073"/>
              <a:gd name="connsiteX212" fmla="*/ 222062 w 12191999"/>
              <a:gd name="connsiteY212" fmla="*/ 456974 h 2570073"/>
              <a:gd name="connsiteX213" fmla="*/ 227900 w 12191999"/>
              <a:gd name="connsiteY213" fmla="*/ 448498 h 2570073"/>
              <a:gd name="connsiteX214" fmla="*/ 240715 w 12191999"/>
              <a:gd name="connsiteY214" fmla="*/ 433062 h 2570073"/>
              <a:gd name="connsiteX215" fmla="*/ 267700 w 12191999"/>
              <a:gd name="connsiteY215" fmla="*/ 398470 h 2570073"/>
              <a:gd name="connsiteX216" fmla="*/ 284649 w 12191999"/>
              <a:gd name="connsiteY216" fmla="*/ 380147 h 2570073"/>
              <a:gd name="connsiteX217" fmla="*/ 292687 w 12191999"/>
              <a:gd name="connsiteY217" fmla="*/ 370466 h 2570073"/>
              <a:gd name="connsiteX218" fmla="*/ 305888 w 12191999"/>
              <a:gd name="connsiteY218" fmla="*/ 357186 h 2570073"/>
              <a:gd name="connsiteX219" fmla="*/ 332186 w 12191999"/>
              <a:gd name="connsiteY219" fmla="*/ 328755 h 2570073"/>
              <a:gd name="connsiteX220" fmla="*/ 353657 w 12191999"/>
              <a:gd name="connsiteY220" fmla="*/ 309131 h 2570073"/>
              <a:gd name="connsiteX221" fmla="*/ 364133 w 12191999"/>
              <a:gd name="connsiteY221" fmla="*/ 298593 h 2570073"/>
              <a:gd name="connsiteX222" fmla="*/ 377228 w 12191999"/>
              <a:gd name="connsiteY222" fmla="*/ 287587 h 2570073"/>
              <a:gd name="connsiteX223" fmla="*/ 402288 w 12191999"/>
              <a:gd name="connsiteY223" fmla="*/ 264683 h 2570073"/>
              <a:gd name="connsiteX224" fmla="*/ 428670 w 12191999"/>
              <a:gd name="connsiteY224" fmla="*/ 244356 h 2570073"/>
              <a:gd name="connsiteX225" fmla="*/ 441769 w 12191999"/>
              <a:gd name="connsiteY225" fmla="*/ 233348 h 2570073"/>
              <a:gd name="connsiteX226" fmla="*/ 454327 w 12191999"/>
              <a:gd name="connsiteY226" fmla="*/ 224587 h 2570073"/>
              <a:gd name="connsiteX227" fmla="*/ 477622 w 12191999"/>
              <a:gd name="connsiteY227" fmla="*/ 206638 h 2570073"/>
              <a:gd name="connsiteX228" fmla="*/ 509285 w 12191999"/>
              <a:gd name="connsiteY228" fmla="*/ 186248 h 2570073"/>
              <a:gd name="connsiteX229" fmla="*/ 525129 w 12191999"/>
              <a:gd name="connsiteY229" fmla="*/ 175195 h 2570073"/>
              <a:gd name="connsiteX230" fmla="*/ 536762 w 12191999"/>
              <a:gd name="connsiteY230" fmla="*/ 168554 h 2570073"/>
              <a:gd name="connsiteX231" fmla="*/ 557803 w 12191999"/>
              <a:gd name="connsiteY231" fmla="*/ 155005 h 2570073"/>
              <a:gd name="connsiteX232" fmla="*/ 595129 w 12191999"/>
              <a:gd name="connsiteY232" fmla="*/ 135232 h 2570073"/>
              <a:gd name="connsiteX233" fmla="*/ 613748 w 12191999"/>
              <a:gd name="connsiteY233" fmla="*/ 124603 h 2570073"/>
              <a:gd name="connsiteX234" fmla="*/ 624106 w 12191999"/>
              <a:gd name="connsiteY234" fmla="*/ 119882 h 2570073"/>
              <a:gd name="connsiteX235" fmla="*/ 642446 w 12191999"/>
              <a:gd name="connsiteY235" fmla="*/ 110167 h 2570073"/>
              <a:gd name="connsiteX236" fmla="*/ 685893 w 12191999"/>
              <a:gd name="connsiteY236" fmla="*/ 91726 h 2570073"/>
              <a:gd name="connsiteX237" fmla="*/ 707157 w 12191999"/>
              <a:gd name="connsiteY237" fmla="*/ 82036 h 2570073"/>
              <a:gd name="connsiteX238" fmla="*/ 715923 w 12191999"/>
              <a:gd name="connsiteY238" fmla="*/ 78980 h 2570073"/>
              <a:gd name="connsiteX239" fmla="*/ 731168 w 12191999"/>
              <a:gd name="connsiteY239" fmla="*/ 72509 h 2570073"/>
              <a:gd name="connsiteX240" fmla="*/ 781408 w 12191999"/>
              <a:gd name="connsiteY240" fmla="*/ 56150 h 2570073"/>
              <a:gd name="connsiteX241" fmla="*/ 804892 w 12191999"/>
              <a:gd name="connsiteY241" fmla="*/ 47963 h 2570073"/>
              <a:gd name="connsiteX242" fmla="*/ 811780 w 12191999"/>
              <a:gd name="connsiteY242" fmla="*/ 46260 h 2570073"/>
              <a:gd name="connsiteX243" fmla="*/ 823585 w 12191999"/>
              <a:gd name="connsiteY243" fmla="*/ 42416 h 2570073"/>
              <a:gd name="connsiteX244" fmla="*/ 881937 w 12191999"/>
              <a:gd name="connsiteY244" fmla="*/ 28918 h 2570073"/>
              <a:gd name="connsiteX245" fmla="*/ 906484 w 12191999"/>
              <a:gd name="connsiteY245" fmla="*/ 22850 h 2570073"/>
              <a:gd name="connsiteX246" fmla="*/ 911239 w 12191999"/>
              <a:gd name="connsiteY246" fmla="*/ 22139 h 2570073"/>
              <a:gd name="connsiteX247" fmla="*/ 919312 w 12191999"/>
              <a:gd name="connsiteY247" fmla="*/ 20272 h 2570073"/>
              <a:gd name="connsiteX248" fmla="*/ 989509 w 12191999"/>
              <a:gd name="connsiteY248" fmla="*/ 10445 h 2570073"/>
              <a:gd name="connsiteX249" fmla="*/ 1011467 w 12191999"/>
              <a:gd name="connsiteY249" fmla="*/ 7163 h 2570073"/>
              <a:gd name="connsiteX250" fmla="*/ 1013779 w 12191999"/>
              <a:gd name="connsiteY250" fmla="*/ 7047 h 2570073"/>
              <a:gd name="connsiteX251" fmla="*/ 1017965 w 12191999"/>
              <a:gd name="connsiteY251" fmla="*/ 6460 h 2570073"/>
              <a:gd name="connsiteX252" fmla="*/ 1066652 w 12191999"/>
              <a:gd name="connsiteY252" fmla="*/ 4155 h 2570073"/>
              <a:gd name="connsiteX253" fmla="*/ 1066652 w 12191999"/>
              <a:gd name="connsiteY253" fmla="*/ 1346 h 2570073"/>
              <a:gd name="connsiteX254" fmla="*/ 1111538 w 12191999"/>
              <a:gd name="connsiteY254" fmla="*/ 1346 h 2570073"/>
              <a:gd name="connsiteX255" fmla="*/ 1125987 w 12191999"/>
              <a:gd name="connsiteY255" fmla="*/ 1346 h 2570073"/>
              <a:gd name="connsiteX256" fmla="*/ 1126324 w 12191999"/>
              <a:gd name="connsiteY256" fmla="*/ 1346 h 2570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</a:cxnLst>
            <a:rect l="l" t="t" r="r" b="b"/>
            <a:pathLst>
              <a:path w="12191999" h="2570073">
                <a:moveTo>
                  <a:pt x="1126324" y="0"/>
                </a:moveTo>
                <a:lnTo>
                  <a:pt x="2454730" y="0"/>
                </a:lnTo>
                <a:lnTo>
                  <a:pt x="3481005" y="0"/>
                </a:lnTo>
                <a:lnTo>
                  <a:pt x="3540677" y="0"/>
                </a:lnTo>
                <a:lnTo>
                  <a:pt x="4809411" y="0"/>
                </a:lnTo>
                <a:lnTo>
                  <a:pt x="4869084" y="0"/>
                </a:lnTo>
                <a:lnTo>
                  <a:pt x="4869084" y="1332"/>
                </a:lnTo>
                <a:lnTo>
                  <a:pt x="5935733" y="1332"/>
                </a:lnTo>
                <a:lnTo>
                  <a:pt x="5935733" y="316755"/>
                </a:lnTo>
                <a:lnTo>
                  <a:pt x="5935733" y="1082676"/>
                </a:lnTo>
                <a:lnTo>
                  <a:pt x="5935736" y="1082676"/>
                </a:lnTo>
                <a:lnTo>
                  <a:pt x="5935736" y="1074434"/>
                </a:lnTo>
                <a:lnTo>
                  <a:pt x="5938272" y="1074434"/>
                </a:lnTo>
                <a:lnTo>
                  <a:pt x="5940853" y="1019920"/>
                </a:lnTo>
                <a:lnTo>
                  <a:pt x="5941325" y="1016613"/>
                </a:lnTo>
                <a:lnTo>
                  <a:pt x="5941548" y="1012207"/>
                </a:lnTo>
                <a:cubicBezTo>
                  <a:pt x="5948305" y="945669"/>
                  <a:pt x="5960856" y="880845"/>
                  <a:pt x="5978687" y="818244"/>
                </a:cubicBezTo>
                <a:lnTo>
                  <a:pt x="5980204" y="813682"/>
                </a:lnTo>
                <a:lnTo>
                  <a:pt x="5980394" y="812894"/>
                </a:lnTo>
                <a:lnTo>
                  <a:pt x="5983069" y="805066"/>
                </a:lnTo>
                <a:lnTo>
                  <a:pt x="6009331" y="726078"/>
                </a:lnTo>
                <a:lnTo>
                  <a:pt x="6012831" y="717971"/>
                </a:lnTo>
                <a:lnTo>
                  <a:pt x="6013884" y="714889"/>
                </a:lnTo>
                <a:lnTo>
                  <a:pt x="6021353" y="698231"/>
                </a:lnTo>
                <a:lnTo>
                  <a:pt x="6047512" y="637633"/>
                </a:lnTo>
                <a:lnTo>
                  <a:pt x="6053591" y="626323"/>
                </a:lnTo>
                <a:lnTo>
                  <a:pt x="6055898" y="621176"/>
                </a:lnTo>
                <a:lnTo>
                  <a:pt x="6066073" y="603101"/>
                </a:lnTo>
                <a:lnTo>
                  <a:pt x="6092845" y="553294"/>
                </a:lnTo>
                <a:lnTo>
                  <a:pt x="6102056" y="539178"/>
                </a:lnTo>
                <a:lnTo>
                  <a:pt x="6105971" y="532224"/>
                </a:lnTo>
                <a:lnTo>
                  <a:pt x="6117824" y="515013"/>
                </a:lnTo>
                <a:lnTo>
                  <a:pt x="6144948" y="473445"/>
                </a:lnTo>
                <a:lnTo>
                  <a:pt x="6157796" y="456974"/>
                </a:lnTo>
                <a:lnTo>
                  <a:pt x="6163633" y="448498"/>
                </a:lnTo>
                <a:lnTo>
                  <a:pt x="6176449" y="433062"/>
                </a:lnTo>
                <a:lnTo>
                  <a:pt x="6203434" y="398470"/>
                </a:lnTo>
                <a:lnTo>
                  <a:pt x="6220382" y="380147"/>
                </a:lnTo>
                <a:lnTo>
                  <a:pt x="6228421" y="370466"/>
                </a:lnTo>
                <a:lnTo>
                  <a:pt x="6241622" y="357186"/>
                </a:lnTo>
                <a:lnTo>
                  <a:pt x="6267920" y="328755"/>
                </a:lnTo>
                <a:lnTo>
                  <a:pt x="6289391" y="309131"/>
                </a:lnTo>
                <a:lnTo>
                  <a:pt x="6299866" y="298593"/>
                </a:lnTo>
                <a:lnTo>
                  <a:pt x="6312962" y="287587"/>
                </a:lnTo>
                <a:lnTo>
                  <a:pt x="6338022" y="264683"/>
                </a:lnTo>
                <a:lnTo>
                  <a:pt x="6364404" y="244356"/>
                </a:lnTo>
                <a:lnTo>
                  <a:pt x="6377502" y="233348"/>
                </a:lnTo>
                <a:lnTo>
                  <a:pt x="6390060" y="224587"/>
                </a:lnTo>
                <a:lnTo>
                  <a:pt x="6413355" y="206638"/>
                </a:lnTo>
                <a:lnTo>
                  <a:pt x="6445019" y="186248"/>
                </a:lnTo>
                <a:lnTo>
                  <a:pt x="6460863" y="175195"/>
                </a:lnTo>
                <a:lnTo>
                  <a:pt x="6472496" y="168554"/>
                </a:lnTo>
                <a:lnTo>
                  <a:pt x="6493536" y="155005"/>
                </a:lnTo>
                <a:lnTo>
                  <a:pt x="6530863" y="135232"/>
                </a:lnTo>
                <a:lnTo>
                  <a:pt x="6549482" y="124603"/>
                </a:lnTo>
                <a:lnTo>
                  <a:pt x="6559839" y="119882"/>
                </a:lnTo>
                <a:lnTo>
                  <a:pt x="6578180" y="110167"/>
                </a:lnTo>
                <a:lnTo>
                  <a:pt x="6621627" y="91726"/>
                </a:lnTo>
                <a:lnTo>
                  <a:pt x="6642891" y="82036"/>
                </a:lnTo>
                <a:lnTo>
                  <a:pt x="6651657" y="78980"/>
                </a:lnTo>
                <a:lnTo>
                  <a:pt x="6666902" y="72509"/>
                </a:lnTo>
                <a:lnTo>
                  <a:pt x="6717142" y="56150"/>
                </a:lnTo>
                <a:lnTo>
                  <a:pt x="6740626" y="47963"/>
                </a:lnTo>
                <a:lnTo>
                  <a:pt x="6747514" y="46260"/>
                </a:lnTo>
                <a:lnTo>
                  <a:pt x="6759319" y="42416"/>
                </a:lnTo>
                <a:lnTo>
                  <a:pt x="6817670" y="28918"/>
                </a:lnTo>
                <a:lnTo>
                  <a:pt x="6842218" y="22850"/>
                </a:lnTo>
                <a:lnTo>
                  <a:pt x="6846973" y="22139"/>
                </a:lnTo>
                <a:lnTo>
                  <a:pt x="6855046" y="20272"/>
                </a:lnTo>
                <a:lnTo>
                  <a:pt x="6925243" y="10445"/>
                </a:lnTo>
                <a:lnTo>
                  <a:pt x="6947201" y="7163"/>
                </a:lnTo>
                <a:lnTo>
                  <a:pt x="6949512" y="7047"/>
                </a:lnTo>
                <a:lnTo>
                  <a:pt x="6953699" y="6460"/>
                </a:lnTo>
                <a:lnTo>
                  <a:pt x="7002386" y="4155"/>
                </a:lnTo>
                <a:lnTo>
                  <a:pt x="7002386" y="1346"/>
                </a:lnTo>
                <a:lnTo>
                  <a:pt x="7047272" y="1346"/>
                </a:lnTo>
                <a:lnTo>
                  <a:pt x="7061721" y="1346"/>
                </a:lnTo>
                <a:lnTo>
                  <a:pt x="7062058" y="1346"/>
                </a:lnTo>
                <a:lnTo>
                  <a:pt x="7062058" y="0"/>
                </a:lnTo>
                <a:lnTo>
                  <a:pt x="9416738" y="0"/>
                </a:lnTo>
                <a:lnTo>
                  <a:pt x="9476411" y="0"/>
                </a:lnTo>
                <a:lnTo>
                  <a:pt x="9476411" y="1332"/>
                </a:lnTo>
                <a:lnTo>
                  <a:pt x="9621926" y="1332"/>
                </a:lnTo>
                <a:lnTo>
                  <a:pt x="9621926" y="1232695"/>
                </a:lnTo>
                <a:lnTo>
                  <a:pt x="9621927" y="1232695"/>
                </a:lnTo>
                <a:lnTo>
                  <a:pt x="9621927" y="1224666"/>
                </a:lnTo>
                <a:lnTo>
                  <a:pt x="9624974" y="1224666"/>
                </a:lnTo>
                <a:lnTo>
                  <a:pt x="9628560" y="1153649"/>
                </a:lnTo>
                <a:cubicBezTo>
                  <a:pt x="9694367" y="505662"/>
                  <a:pt x="10241613" y="0"/>
                  <a:pt x="10906963" y="0"/>
                </a:cubicBezTo>
                <a:cubicBezTo>
                  <a:pt x="11616669" y="0"/>
                  <a:pt x="12191999" y="575331"/>
                  <a:pt x="12191999" y="1285037"/>
                </a:cubicBezTo>
                <a:cubicBezTo>
                  <a:pt x="12191999" y="1950386"/>
                  <a:pt x="11686337" y="2497632"/>
                  <a:pt x="11038350" y="2563438"/>
                </a:cubicBezTo>
                <a:lnTo>
                  <a:pt x="10924212" y="2569202"/>
                </a:lnTo>
                <a:lnTo>
                  <a:pt x="10924212" y="2570073"/>
                </a:lnTo>
                <a:lnTo>
                  <a:pt x="10906963" y="2570073"/>
                </a:lnTo>
                <a:lnTo>
                  <a:pt x="10572749" y="2570073"/>
                </a:lnTo>
                <a:lnTo>
                  <a:pt x="9621927" y="2570073"/>
                </a:lnTo>
                <a:lnTo>
                  <a:pt x="9416738" y="2570073"/>
                </a:lnTo>
                <a:lnTo>
                  <a:pt x="7062058" y="2570073"/>
                </a:lnTo>
                <a:lnTo>
                  <a:pt x="7002386" y="2570073"/>
                </a:lnTo>
                <a:lnTo>
                  <a:pt x="6572249" y="2570073"/>
                </a:lnTo>
                <a:lnTo>
                  <a:pt x="6572249" y="2568741"/>
                </a:lnTo>
                <a:lnTo>
                  <a:pt x="5935736" y="2568741"/>
                </a:lnTo>
                <a:lnTo>
                  <a:pt x="5935736" y="2253318"/>
                </a:lnTo>
                <a:lnTo>
                  <a:pt x="5935736" y="1487489"/>
                </a:lnTo>
                <a:lnTo>
                  <a:pt x="5935733" y="1487489"/>
                </a:lnTo>
                <a:lnTo>
                  <a:pt x="5935733" y="1495639"/>
                </a:lnTo>
                <a:lnTo>
                  <a:pt x="5933197" y="1495639"/>
                </a:lnTo>
                <a:lnTo>
                  <a:pt x="5930616" y="1550153"/>
                </a:lnTo>
                <a:lnTo>
                  <a:pt x="5930144" y="1553460"/>
                </a:lnTo>
                <a:lnTo>
                  <a:pt x="5929922" y="1557867"/>
                </a:lnTo>
                <a:cubicBezTo>
                  <a:pt x="5923163" y="1624404"/>
                  <a:pt x="5910612" y="1689229"/>
                  <a:pt x="5892782" y="1751829"/>
                </a:cubicBezTo>
                <a:lnTo>
                  <a:pt x="5891264" y="1756392"/>
                </a:lnTo>
                <a:lnTo>
                  <a:pt x="5891075" y="1757179"/>
                </a:lnTo>
                <a:lnTo>
                  <a:pt x="5888400" y="1765008"/>
                </a:lnTo>
                <a:lnTo>
                  <a:pt x="5862137" y="1843996"/>
                </a:lnTo>
                <a:lnTo>
                  <a:pt x="5858638" y="1852103"/>
                </a:lnTo>
                <a:lnTo>
                  <a:pt x="5857585" y="1855185"/>
                </a:lnTo>
                <a:lnTo>
                  <a:pt x="5850118" y="1871843"/>
                </a:lnTo>
                <a:lnTo>
                  <a:pt x="5823957" y="1932441"/>
                </a:lnTo>
                <a:lnTo>
                  <a:pt x="5817877" y="1943751"/>
                </a:lnTo>
                <a:lnTo>
                  <a:pt x="5815570" y="1948897"/>
                </a:lnTo>
                <a:lnTo>
                  <a:pt x="5805396" y="1966972"/>
                </a:lnTo>
                <a:lnTo>
                  <a:pt x="5778623" y="2016780"/>
                </a:lnTo>
                <a:lnTo>
                  <a:pt x="5769413" y="2030895"/>
                </a:lnTo>
                <a:lnTo>
                  <a:pt x="5765499" y="2037850"/>
                </a:lnTo>
                <a:lnTo>
                  <a:pt x="5753645" y="2055061"/>
                </a:lnTo>
                <a:lnTo>
                  <a:pt x="5726521" y="2096629"/>
                </a:lnTo>
                <a:lnTo>
                  <a:pt x="5713673" y="2113099"/>
                </a:lnTo>
                <a:lnTo>
                  <a:pt x="5707835" y="2121576"/>
                </a:lnTo>
                <a:lnTo>
                  <a:pt x="5695020" y="2137011"/>
                </a:lnTo>
                <a:lnTo>
                  <a:pt x="5668036" y="2171603"/>
                </a:lnTo>
                <a:lnTo>
                  <a:pt x="5651086" y="2189926"/>
                </a:lnTo>
                <a:lnTo>
                  <a:pt x="5643047" y="2199608"/>
                </a:lnTo>
                <a:lnTo>
                  <a:pt x="5629847" y="2212888"/>
                </a:lnTo>
                <a:lnTo>
                  <a:pt x="5603549" y="2241318"/>
                </a:lnTo>
                <a:lnTo>
                  <a:pt x="5582078" y="2260943"/>
                </a:lnTo>
                <a:lnTo>
                  <a:pt x="5571603" y="2271480"/>
                </a:lnTo>
                <a:lnTo>
                  <a:pt x="5558506" y="2282487"/>
                </a:lnTo>
                <a:lnTo>
                  <a:pt x="5533446" y="2305391"/>
                </a:lnTo>
                <a:lnTo>
                  <a:pt x="5507066" y="2325718"/>
                </a:lnTo>
                <a:lnTo>
                  <a:pt x="5493966" y="2336726"/>
                </a:lnTo>
                <a:lnTo>
                  <a:pt x="5481407" y="2345487"/>
                </a:lnTo>
                <a:lnTo>
                  <a:pt x="5458113" y="2363435"/>
                </a:lnTo>
                <a:lnTo>
                  <a:pt x="5426450" y="2383826"/>
                </a:lnTo>
                <a:lnTo>
                  <a:pt x="5410605" y="2394879"/>
                </a:lnTo>
                <a:lnTo>
                  <a:pt x="5398974" y="2401520"/>
                </a:lnTo>
                <a:lnTo>
                  <a:pt x="5377932" y="2415069"/>
                </a:lnTo>
                <a:lnTo>
                  <a:pt x="5340606" y="2434842"/>
                </a:lnTo>
                <a:lnTo>
                  <a:pt x="5321988" y="2445471"/>
                </a:lnTo>
                <a:lnTo>
                  <a:pt x="5311629" y="2450191"/>
                </a:lnTo>
                <a:lnTo>
                  <a:pt x="5293289" y="2459906"/>
                </a:lnTo>
                <a:lnTo>
                  <a:pt x="5249843" y="2478347"/>
                </a:lnTo>
                <a:lnTo>
                  <a:pt x="5228578" y="2488037"/>
                </a:lnTo>
                <a:lnTo>
                  <a:pt x="5219811" y="2491093"/>
                </a:lnTo>
                <a:lnTo>
                  <a:pt x="5204566" y="2497564"/>
                </a:lnTo>
                <a:lnTo>
                  <a:pt x="5154326" y="2513923"/>
                </a:lnTo>
                <a:lnTo>
                  <a:pt x="5130842" y="2522110"/>
                </a:lnTo>
                <a:lnTo>
                  <a:pt x="5123955" y="2523813"/>
                </a:lnTo>
                <a:lnTo>
                  <a:pt x="5112149" y="2527657"/>
                </a:lnTo>
                <a:lnTo>
                  <a:pt x="5053798" y="2541156"/>
                </a:lnTo>
                <a:lnTo>
                  <a:pt x="5029250" y="2547223"/>
                </a:lnTo>
                <a:lnTo>
                  <a:pt x="5024496" y="2547934"/>
                </a:lnTo>
                <a:lnTo>
                  <a:pt x="5016422" y="2549802"/>
                </a:lnTo>
                <a:lnTo>
                  <a:pt x="4946225" y="2559629"/>
                </a:lnTo>
                <a:lnTo>
                  <a:pt x="4924267" y="2562910"/>
                </a:lnTo>
                <a:lnTo>
                  <a:pt x="4921957" y="2563027"/>
                </a:lnTo>
                <a:lnTo>
                  <a:pt x="4917769" y="2563613"/>
                </a:lnTo>
                <a:lnTo>
                  <a:pt x="4869084" y="2565918"/>
                </a:lnTo>
                <a:lnTo>
                  <a:pt x="4869084" y="2568728"/>
                </a:lnTo>
                <a:lnTo>
                  <a:pt x="4824196" y="2568728"/>
                </a:lnTo>
                <a:lnTo>
                  <a:pt x="4809749" y="2568728"/>
                </a:lnTo>
                <a:lnTo>
                  <a:pt x="4809411" y="2568728"/>
                </a:lnTo>
                <a:lnTo>
                  <a:pt x="4809411" y="2570073"/>
                </a:lnTo>
                <a:lnTo>
                  <a:pt x="3481005" y="2570073"/>
                </a:lnTo>
                <a:lnTo>
                  <a:pt x="2454730" y="2570073"/>
                </a:lnTo>
                <a:lnTo>
                  <a:pt x="2395058" y="2570073"/>
                </a:lnTo>
                <a:lnTo>
                  <a:pt x="1126324" y="2570073"/>
                </a:lnTo>
                <a:lnTo>
                  <a:pt x="1066652" y="2570073"/>
                </a:lnTo>
                <a:lnTo>
                  <a:pt x="1066652" y="2568741"/>
                </a:lnTo>
                <a:lnTo>
                  <a:pt x="1" y="2568741"/>
                </a:lnTo>
                <a:lnTo>
                  <a:pt x="1" y="2253318"/>
                </a:lnTo>
                <a:lnTo>
                  <a:pt x="1" y="1443429"/>
                </a:lnTo>
                <a:lnTo>
                  <a:pt x="1" y="1442766"/>
                </a:lnTo>
                <a:lnTo>
                  <a:pt x="0" y="1442755"/>
                </a:lnTo>
                <a:lnTo>
                  <a:pt x="1" y="1442744"/>
                </a:lnTo>
                <a:lnTo>
                  <a:pt x="1" y="1389857"/>
                </a:lnTo>
                <a:lnTo>
                  <a:pt x="1" y="1128007"/>
                </a:lnTo>
                <a:lnTo>
                  <a:pt x="1" y="1127343"/>
                </a:lnTo>
                <a:lnTo>
                  <a:pt x="0" y="1127332"/>
                </a:lnTo>
                <a:lnTo>
                  <a:pt x="1" y="1127322"/>
                </a:lnTo>
                <a:lnTo>
                  <a:pt x="1" y="1074434"/>
                </a:lnTo>
                <a:lnTo>
                  <a:pt x="2538" y="1074434"/>
                </a:lnTo>
                <a:lnTo>
                  <a:pt x="5119" y="1019920"/>
                </a:lnTo>
                <a:lnTo>
                  <a:pt x="5592" y="1016613"/>
                </a:lnTo>
                <a:lnTo>
                  <a:pt x="5814" y="1012207"/>
                </a:lnTo>
                <a:cubicBezTo>
                  <a:pt x="12572" y="945669"/>
                  <a:pt x="25122" y="880845"/>
                  <a:pt x="42953" y="818244"/>
                </a:cubicBezTo>
                <a:lnTo>
                  <a:pt x="44470" y="813682"/>
                </a:lnTo>
                <a:lnTo>
                  <a:pt x="44660" y="812894"/>
                </a:lnTo>
                <a:lnTo>
                  <a:pt x="47335" y="805066"/>
                </a:lnTo>
                <a:lnTo>
                  <a:pt x="73597" y="726078"/>
                </a:lnTo>
                <a:lnTo>
                  <a:pt x="77097" y="717971"/>
                </a:lnTo>
                <a:lnTo>
                  <a:pt x="78150" y="714889"/>
                </a:lnTo>
                <a:lnTo>
                  <a:pt x="85619" y="698231"/>
                </a:lnTo>
                <a:lnTo>
                  <a:pt x="111778" y="637633"/>
                </a:lnTo>
                <a:lnTo>
                  <a:pt x="117857" y="626323"/>
                </a:lnTo>
                <a:lnTo>
                  <a:pt x="120165" y="621176"/>
                </a:lnTo>
                <a:lnTo>
                  <a:pt x="130339" y="603101"/>
                </a:lnTo>
                <a:lnTo>
                  <a:pt x="157112" y="553294"/>
                </a:lnTo>
                <a:lnTo>
                  <a:pt x="166322" y="539178"/>
                </a:lnTo>
                <a:lnTo>
                  <a:pt x="170237" y="532224"/>
                </a:lnTo>
                <a:lnTo>
                  <a:pt x="182090" y="515013"/>
                </a:lnTo>
                <a:lnTo>
                  <a:pt x="209214" y="473445"/>
                </a:lnTo>
                <a:lnTo>
                  <a:pt x="222062" y="456974"/>
                </a:lnTo>
                <a:lnTo>
                  <a:pt x="227900" y="448498"/>
                </a:lnTo>
                <a:lnTo>
                  <a:pt x="240715" y="433062"/>
                </a:lnTo>
                <a:lnTo>
                  <a:pt x="267700" y="398470"/>
                </a:lnTo>
                <a:lnTo>
                  <a:pt x="284649" y="380147"/>
                </a:lnTo>
                <a:lnTo>
                  <a:pt x="292687" y="370466"/>
                </a:lnTo>
                <a:lnTo>
                  <a:pt x="305888" y="357186"/>
                </a:lnTo>
                <a:lnTo>
                  <a:pt x="332186" y="328755"/>
                </a:lnTo>
                <a:lnTo>
                  <a:pt x="353657" y="309131"/>
                </a:lnTo>
                <a:lnTo>
                  <a:pt x="364133" y="298593"/>
                </a:lnTo>
                <a:lnTo>
                  <a:pt x="377228" y="287587"/>
                </a:lnTo>
                <a:lnTo>
                  <a:pt x="402288" y="264683"/>
                </a:lnTo>
                <a:lnTo>
                  <a:pt x="428670" y="244356"/>
                </a:lnTo>
                <a:lnTo>
                  <a:pt x="441769" y="233348"/>
                </a:lnTo>
                <a:lnTo>
                  <a:pt x="454327" y="224587"/>
                </a:lnTo>
                <a:lnTo>
                  <a:pt x="477622" y="206638"/>
                </a:lnTo>
                <a:lnTo>
                  <a:pt x="509285" y="186248"/>
                </a:lnTo>
                <a:lnTo>
                  <a:pt x="525129" y="175195"/>
                </a:lnTo>
                <a:lnTo>
                  <a:pt x="536762" y="168554"/>
                </a:lnTo>
                <a:lnTo>
                  <a:pt x="557803" y="155005"/>
                </a:lnTo>
                <a:lnTo>
                  <a:pt x="595129" y="135232"/>
                </a:lnTo>
                <a:lnTo>
                  <a:pt x="613748" y="124603"/>
                </a:lnTo>
                <a:lnTo>
                  <a:pt x="624106" y="119882"/>
                </a:lnTo>
                <a:lnTo>
                  <a:pt x="642446" y="110167"/>
                </a:lnTo>
                <a:lnTo>
                  <a:pt x="685893" y="91726"/>
                </a:lnTo>
                <a:lnTo>
                  <a:pt x="707157" y="82036"/>
                </a:lnTo>
                <a:lnTo>
                  <a:pt x="715923" y="78980"/>
                </a:lnTo>
                <a:lnTo>
                  <a:pt x="731168" y="72509"/>
                </a:lnTo>
                <a:lnTo>
                  <a:pt x="781408" y="56150"/>
                </a:lnTo>
                <a:lnTo>
                  <a:pt x="804892" y="47963"/>
                </a:lnTo>
                <a:lnTo>
                  <a:pt x="811780" y="46260"/>
                </a:lnTo>
                <a:lnTo>
                  <a:pt x="823585" y="42416"/>
                </a:lnTo>
                <a:lnTo>
                  <a:pt x="881937" y="28918"/>
                </a:lnTo>
                <a:lnTo>
                  <a:pt x="906484" y="22850"/>
                </a:lnTo>
                <a:lnTo>
                  <a:pt x="911239" y="22139"/>
                </a:lnTo>
                <a:lnTo>
                  <a:pt x="919312" y="20272"/>
                </a:lnTo>
                <a:lnTo>
                  <a:pt x="989509" y="10445"/>
                </a:lnTo>
                <a:lnTo>
                  <a:pt x="1011467" y="7163"/>
                </a:lnTo>
                <a:lnTo>
                  <a:pt x="1013779" y="7047"/>
                </a:lnTo>
                <a:lnTo>
                  <a:pt x="1017965" y="6460"/>
                </a:lnTo>
                <a:lnTo>
                  <a:pt x="1066652" y="4155"/>
                </a:lnTo>
                <a:lnTo>
                  <a:pt x="1066652" y="1346"/>
                </a:lnTo>
                <a:lnTo>
                  <a:pt x="1111538" y="1346"/>
                </a:lnTo>
                <a:lnTo>
                  <a:pt x="1125987" y="1346"/>
                </a:lnTo>
                <a:lnTo>
                  <a:pt x="1126324" y="134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66678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7C4926E-FE39-4D92-B15E-E7E84687505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00496" y="3967737"/>
            <a:ext cx="2187798" cy="2187798"/>
          </a:xfrm>
          <a:custGeom>
            <a:avLst/>
            <a:gdLst>
              <a:gd name="connsiteX0" fmla="*/ 1079216 w 2187798"/>
              <a:gd name="connsiteY0" fmla="*/ 0 h 2187798"/>
              <a:gd name="connsiteX1" fmla="*/ 1093899 w 2187798"/>
              <a:gd name="connsiteY1" fmla="*/ 0 h 2187798"/>
              <a:gd name="connsiteX2" fmla="*/ 2187798 w 2187798"/>
              <a:gd name="connsiteY2" fmla="*/ 0 h 2187798"/>
              <a:gd name="connsiteX3" fmla="*/ 2187798 w 2187798"/>
              <a:gd name="connsiteY3" fmla="*/ 1093889 h 2187798"/>
              <a:gd name="connsiteX4" fmla="*/ 2187798 w 2187798"/>
              <a:gd name="connsiteY4" fmla="*/ 1093899 h 2187798"/>
              <a:gd name="connsiteX5" fmla="*/ 2187798 w 2187798"/>
              <a:gd name="connsiteY5" fmla="*/ 1093910 h 2187798"/>
              <a:gd name="connsiteX6" fmla="*/ 2187798 w 2187798"/>
              <a:gd name="connsiteY6" fmla="*/ 1145290 h 2187798"/>
              <a:gd name="connsiteX7" fmla="*/ 2185204 w 2187798"/>
              <a:gd name="connsiteY7" fmla="*/ 1145290 h 2187798"/>
              <a:gd name="connsiteX8" fmla="*/ 2182151 w 2187798"/>
              <a:gd name="connsiteY8" fmla="*/ 1205743 h 2187798"/>
              <a:gd name="connsiteX9" fmla="*/ 1093899 w 2187798"/>
              <a:gd name="connsiteY9" fmla="*/ 2187798 h 2187798"/>
              <a:gd name="connsiteX10" fmla="*/ 0 w 2187798"/>
              <a:gd name="connsiteY10" fmla="*/ 1093899 h 2187798"/>
              <a:gd name="connsiteX11" fmla="*/ 982055 w 2187798"/>
              <a:gd name="connsiteY11" fmla="*/ 5647 h 2187798"/>
              <a:gd name="connsiteX12" fmla="*/ 1079216 w 2187798"/>
              <a:gd name="connsiteY12" fmla="*/ 741 h 218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87798" h="2187798">
                <a:moveTo>
                  <a:pt x="1079216" y="0"/>
                </a:moveTo>
                <a:lnTo>
                  <a:pt x="1093899" y="0"/>
                </a:lnTo>
                <a:lnTo>
                  <a:pt x="2187798" y="0"/>
                </a:lnTo>
                <a:lnTo>
                  <a:pt x="2187798" y="1093889"/>
                </a:lnTo>
                <a:lnTo>
                  <a:pt x="2187798" y="1093899"/>
                </a:lnTo>
                <a:lnTo>
                  <a:pt x="2187798" y="1093910"/>
                </a:lnTo>
                <a:lnTo>
                  <a:pt x="2187798" y="1145290"/>
                </a:lnTo>
                <a:lnTo>
                  <a:pt x="2185204" y="1145290"/>
                </a:lnTo>
                <a:lnTo>
                  <a:pt x="2182151" y="1205743"/>
                </a:lnTo>
                <a:cubicBezTo>
                  <a:pt x="2126132" y="1757349"/>
                  <a:pt x="1660284" y="2187798"/>
                  <a:pt x="1093899" y="2187798"/>
                </a:cubicBezTo>
                <a:cubicBezTo>
                  <a:pt x="489755" y="2187798"/>
                  <a:pt x="0" y="1698043"/>
                  <a:pt x="0" y="1093899"/>
                </a:cubicBezTo>
                <a:cubicBezTo>
                  <a:pt x="0" y="527514"/>
                  <a:pt x="430449" y="61666"/>
                  <a:pt x="982055" y="5647"/>
                </a:cubicBezTo>
                <a:lnTo>
                  <a:pt x="1079216" y="74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267D55D-E2CE-493C-9AC4-CAFC21A6948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817164" y="722543"/>
            <a:ext cx="1892234" cy="3082398"/>
          </a:xfrm>
          <a:custGeom>
            <a:avLst/>
            <a:gdLst>
              <a:gd name="connsiteX0" fmla="*/ 946123 w 1892234"/>
              <a:gd name="connsiteY0" fmla="*/ 0 h 3082398"/>
              <a:gd name="connsiteX1" fmla="*/ 946132 w 1892234"/>
              <a:gd name="connsiteY1" fmla="*/ 1 h 3082398"/>
              <a:gd name="connsiteX2" fmla="*/ 946689 w 1892234"/>
              <a:gd name="connsiteY2" fmla="*/ 1 h 3082398"/>
              <a:gd name="connsiteX3" fmla="*/ 1891116 w 1892234"/>
              <a:gd name="connsiteY3" fmla="*/ 1 h 3082398"/>
              <a:gd name="connsiteX4" fmla="*/ 1891116 w 1892234"/>
              <a:gd name="connsiteY4" fmla="*/ 243844 h 3082398"/>
              <a:gd name="connsiteX5" fmla="*/ 1891116 w 1892234"/>
              <a:gd name="connsiteY5" fmla="*/ 880579 h 3082398"/>
              <a:gd name="connsiteX6" fmla="*/ 1891105 w 1892234"/>
              <a:gd name="connsiteY6" fmla="*/ 880579 h 3082398"/>
              <a:gd name="connsiteX7" fmla="*/ 1891105 w 1892234"/>
              <a:gd name="connsiteY7" fmla="*/ 881891 h 3082398"/>
              <a:gd name="connsiteX8" fmla="*/ 1888747 w 1892234"/>
              <a:gd name="connsiteY8" fmla="*/ 881891 h 3082398"/>
              <a:gd name="connsiteX9" fmla="*/ 1886812 w 1892234"/>
              <a:gd name="connsiteY9" fmla="*/ 922752 h 3082398"/>
              <a:gd name="connsiteX10" fmla="*/ 1886320 w 1892234"/>
              <a:gd name="connsiteY10" fmla="*/ 926265 h 3082398"/>
              <a:gd name="connsiteX11" fmla="*/ 1886222 w 1892234"/>
              <a:gd name="connsiteY11" fmla="*/ 928206 h 3082398"/>
              <a:gd name="connsiteX12" fmla="*/ 1883469 w 1892234"/>
              <a:gd name="connsiteY12" fmla="*/ 946634 h 3082398"/>
              <a:gd name="connsiteX13" fmla="*/ 1875221 w 1892234"/>
              <a:gd name="connsiteY13" fmla="*/ 1005547 h 3082398"/>
              <a:gd name="connsiteX14" fmla="*/ 1873654 w 1892234"/>
              <a:gd name="connsiteY14" fmla="*/ 1012323 h 3082398"/>
              <a:gd name="connsiteX15" fmla="*/ 1873058 w 1892234"/>
              <a:gd name="connsiteY15" fmla="*/ 1016314 h 3082398"/>
              <a:gd name="connsiteX16" fmla="*/ 1867964 w 1892234"/>
              <a:gd name="connsiteY16" fmla="*/ 1036915 h 3082398"/>
              <a:gd name="connsiteX17" fmla="*/ 1856636 w 1892234"/>
              <a:gd name="connsiteY17" fmla="*/ 1085888 h 3082398"/>
              <a:gd name="connsiteX18" fmla="*/ 1853410 w 1892234"/>
              <a:gd name="connsiteY18" fmla="*/ 1095794 h 3082398"/>
              <a:gd name="connsiteX19" fmla="*/ 1851981 w 1892234"/>
              <a:gd name="connsiteY19" fmla="*/ 1101576 h 3082398"/>
              <a:gd name="connsiteX20" fmla="*/ 1845110 w 1892234"/>
              <a:gd name="connsiteY20" fmla="*/ 1121285 h 3082398"/>
              <a:gd name="connsiteX21" fmla="*/ 1831381 w 1892234"/>
              <a:gd name="connsiteY21" fmla="*/ 1163449 h 3082398"/>
              <a:gd name="connsiteX22" fmla="*/ 1825950 w 1892234"/>
              <a:gd name="connsiteY22" fmla="*/ 1176243 h 3082398"/>
              <a:gd name="connsiteX23" fmla="*/ 1823385 w 1892234"/>
              <a:gd name="connsiteY23" fmla="*/ 1183600 h 3082398"/>
              <a:gd name="connsiteX24" fmla="*/ 1815252 w 1892234"/>
              <a:gd name="connsiteY24" fmla="*/ 1201446 h 3082398"/>
              <a:gd name="connsiteX25" fmla="*/ 1799775 w 1892234"/>
              <a:gd name="connsiteY25" fmla="*/ 1237910 h 3082398"/>
              <a:gd name="connsiteX26" fmla="*/ 1791622 w 1892234"/>
              <a:gd name="connsiteY26" fmla="*/ 1253302 h 3082398"/>
              <a:gd name="connsiteX27" fmla="*/ 1787661 w 1892234"/>
              <a:gd name="connsiteY27" fmla="*/ 1261995 h 3082398"/>
              <a:gd name="connsiteX28" fmla="*/ 1778740 w 1892234"/>
              <a:gd name="connsiteY28" fmla="*/ 1277620 h 3082398"/>
              <a:gd name="connsiteX29" fmla="*/ 1762146 w 1892234"/>
              <a:gd name="connsiteY29" fmla="*/ 1308948 h 3082398"/>
              <a:gd name="connsiteX30" fmla="*/ 1750774 w 1892234"/>
              <a:gd name="connsiteY30" fmla="*/ 1326606 h 3082398"/>
              <a:gd name="connsiteX31" fmla="*/ 1745201 w 1892234"/>
              <a:gd name="connsiteY31" fmla="*/ 1336369 h 3082398"/>
              <a:gd name="connsiteX32" fmla="*/ 1735924 w 1892234"/>
              <a:gd name="connsiteY32" fmla="*/ 1349666 h 3082398"/>
              <a:gd name="connsiteX33" fmla="*/ 1718812 w 1892234"/>
              <a:gd name="connsiteY33" fmla="*/ 1376240 h 3082398"/>
              <a:gd name="connsiteX34" fmla="*/ 1703748 w 1892234"/>
              <a:gd name="connsiteY34" fmla="*/ 1395790 h 3082398"/>
              <a:gd name="connsiteX35" fmla="*/ 1696396 w 1892234"/>
              <a:gd name="connsiteY35" fmla="*/ 1406330 h 3082398"/>
              <a:gd name="connsiteX36" fmla="*/ 1687157 w 1892234"/>
              <a:gd name="connsiteY36" fmla="*/ 1417324 h 3082398"/>
              <a:gd name="connsiteX37" fmla="*/ 1670097 w 1892234"/>
              <a:gd name="connsiteY37" fmla="*/ 1439464 h 3082398"/>
              <a:gd name="connsiteX38" fmla="*/ 1650874 w 1892234"/>
              <a:gd name="connsiteY38" fmla="*/ 1460496 h 3082398"/>
              <a:gd name="connsiteX39" fmla="*/ 1641638 w 1892234"/>
              <a:gd name="connsiteY39" fmla="*/ 1471486 h 3082398"/>
              <a:gd name="connsiteX40" fmla="*/ 1632794 w 1892234"/>
              <a:gd name="connsiteY40" fmla="*/ 1480278 h 3082398"/>
              <a:gd name="connsiteX41" fmla="*/ 1616324 w 1892234"/>
              <a:gd name="connsiteY41" fmla="*/ 1498298 h 3082398"/>
              <a:gd name="connsiteX42" fmla="*/ 1592464 w 1892234"/>
              <a:gd name="connsiteY42" fmla="*/ 1520368 h 3082398"/>
              <a:gd name="connsiteX43" fmla="*/ 1581318 w 1892234"/>
              <a:gd name="connsiteY43" fmla="*/ 1531448 h 3082398"/>
              <a:gd name="connsiteX44" fmla="*/ 1573192 w 1892234"/>
              <a:gd name="connsiteY44" fmla="*/ 1538194 h 3082398"/>
              <a:gd name="connsiteX45" fmla="*/ 1557815 w 1892234"/>
              <a:gd name="connsiteY45" fmla="*/ 1552419 h 3082398"/>
              <a:gd name="connsiteX46" fmla="*/ 1528783 w 1892234"/>
              <a:gd name="connsiteY46" fmla="*/ 1575065 h 3082398"/>
              <a:gd name="connsiteX47" fmla="*/ 1515829 w 1892234"/>
              <a:gd name="connsiteY47" fmla="*/ 1585822 h 3082398"/>
              <a:gd name="connsiteX48" fmla="*/ 1508716 w 1892234"/>
              <a:gd name="connsiteY48" fmla="*/ 1590720 h 3082398"/>
              <a:gd name="connsiteX49" fmla="*/ 1494892 w 1892234"/>
              <a:gd name="connsiteY49" fmla="*/ 1601503 h 3082398"/>
              <a:gd name="connsiteX50" fmla="*/ 1460006 w 1892234"/>
              <a:gd name="connsiteY50" fmla="*/ 1624267 h 3082398"/>
              <a:gd name="connsiteX51" fmla="*/ 1445562 w 1892234"/>
              <a:gd name="connsiteY51" fmla="*/ 1634216 h 3082398"/>
              <a:gd name="connsiteX52" fmla="*/ 1439724 w 1892234"/>
              <a:gd name="connsiteY52" fmla="*/ 1637500 h 3082398"/>
              <a:gd name="connsiteX53" fmla="*/ 1427878 w 1892234"/>
              <a:gd name="connsiteY53" fmla="*/ 1645231 h 3082398"/>
              <a:gd name="connsiteX54" fmla="*/ 1386077 w 1892234"/>
              <a:gd name="connsiteY54" fmla="*/ 1667699 h 3082398"/>
              <a:gd name="connsiteX55" fmla="*/ 1370907 w 1892234"/>
              <a:gd name="connsiteY55" fmla="*/ 1676239 h 3082398"/>
              <a:gd name="connsiteX56" fmla="*/ 1366588 w 1892234"/>
              <a:gd name="connsiteY56" fmla="*/ 1678176 h 3082398"/>
              <a:gd name="connsiteX57" fmla="*/ 1357095 w 1892234"/>
              <a:gd name="connsiteY57" fmla="*/ 1683278 h 3082398"/>
              <a:gd name="connsiteX58" fmla="*/ 1306238 w 1892234"/>
              <a:gd name="connsiteY58" fmla="*/ 1705232 h 3082398"/>
              <a:gd name="connsiteX59" fmla="*/ 1292258 w 1892234"/>
              <a:gd name="connsiteY59" fmla="*/ 1711500 h 3082398"/>
              <a:gd name="connsiteX60" fmla="*/ 1289672 w 1892234"/>
              <a:gd name="connsiteY60" fmla="*/ 1712383 h 3082398"/>
              <a:gd name="connsiteX61" fmla="*/ 1282867 w 1892234"/>
              <a:gd name="connsiteY61" fmla="*/ 1715321 h 3082398"/>
              <a:gd name="connsiteX62" fmla="*/ 1216576 w 1892234"/>
              <a:gd name="connsiteY62" fmla="*/ 1737360 h 3082398"/>
              <a:gd name="connsiteX63" fmla="*/ 1210005 w 1892234"/>
              <a:gd name="connsiteY63" fmla="*/ 1739607 h 3082398"/>
              <a:gd name="connsiteX64" fmla="*/ 1209346 w 1892234"/>
              <a:gd name="connsiteY64" fmla="*/ 1739766 h 3082398"/>
              <a:gd name="connsiteX65" fmla="*/ 1205516 w 1892234"/>
              <a:gd name="connsiteY65" fmla="*/ 1741039 h 3082398"/>
              <a:gd name="connsiteX66" fmla="*/ 1054134 w 1892234"/>
              <a:gd name="connsiteY66" fmla="*/ 1770025 h 3082398"/>
              <a:gd name="connsiteX67" fmla="*/ 1891117 w 1892234"/>
              <a:gd name="connsiteY67" fmla="*/ 1770025 h 3082398"/>
              <a:gd name="connsiteX68" fmla="*/ 1891117 w 1892234"/>
              <a:gd name="connsiteY68" fmla="*/ 1789112 h 3082398"/>
              <a:gd name="connsiteX69" fmla="*/ 1892234 w 1892234"/>
              <a:gd name="connsiteY69" fmla="*/ 1789112 h 3082398"/>
              <a:gd name="connsiteX70" fmla="*/ 1892234 w 1892234"/>
              <a:gd name="connsiteY70" fmla="*/ 1839193 h 3082398"/>
              <a:gd name="connsiteX71" fmla="*/ 1892234 w 1892234"/>
              <a:gd name="connsiteY71" fmla="*/ 1853486 h 3082398"/>
              <a:gd name="connsiteX72" fmla="*/ 1892234 w 1892234"/>
              <a:gd name="connsiteY72" fmla="*/ 1956126 h 3082398"/>
              <a:gd name="connsiteX73" fmla="*/ 1892234 w 1892234"/>
              <a:gd name="connsiteY73" fmla="*/ 2013863 h 3082398"/>
              <a:gd name="connsiteX74" fmla="*/ 1892234 w 1892234"/>
              <a:gd name="connsiteY74" fmla="*/ 2137122 h 3082398"/>
              <a:gd name="connsiteX75" fmla="*/ 1891105 w 1892234"/>
              <a:gd name="connsiteY75" fmla="*/ 2137122 h 3082398"/>
              <a:gd name="connsiteX76" fmla="*/ 1891105 w 1892234"/>
              <a:gd name="connsiteY76" fmla="*/ 2137122 h 3082398"/>
              <a:gd name="connsiteX77" fmla="*/ 1891105 w 1892234"/>
              <a:gd name="connsiteY77" fmla="*/ 2137404 h 3082398"/>
              <a:gd name="connsiteX78" fmla="*/ 1891105 w 1892234"/>
              <a:gd name="connsiteY78" fmla="*/ 2149531 h 3082398"/>
              <a:gd name="connsiteX79" fmla="*/ 1891105 w 1892234"/>
              <a:gd name="connsiteY79" fmla="*/ 2187202 h 3082398"/>
              <a:gd name="connsiteX80" fmla="*/ 1888748 w 1892234"/>
              <a:gd name="connsiteY80" fmla="*/ 2187202 h 3082398"/>
              <a:gd name="connsiteX81" fmla="*/ 1886812 w 1892234"/>
              <a:gd name="connsiteY81" fmla="*/ 2228063 h 3082398"/>
              <a:gd name="connsiteX82" fmla="*/ 1886321 w 1892234"/>
              <a:gd name="connsiteY82" fmla="*/ 2231576 h 3082398"/>
              <a:gd name="connsiteX83" fmla="*/ 1886223 w 1892234"/>
              <a:gd name="connsiteY83" fmla="*/ 2233517 h 3082398"/>
              <a:gd name="connsiteX84" fmla="*/ 1883469 w 1892234"/>
              <a:gd name="connsiteY84" fmla="*/ 2251944 h 3082398"/>
              <a:gd name="connsiteX85" fmla="*/ 1875221 w 1892234"/>
              <a:gd name="connsiteY85" fmla="*/ 2310858 h 3082398"/>
              <a:gd name="connsiteX86" fmla="*/ 1873654 w 1892234"/>
              <a:gd name="connsiteY86" fmla="*/ 2317633 h 3082398"/>
              <a:gd name="connsiteX87" fmla="*/ 1873058 w 1892234"/>
              <a:gd name="connsiteY87" fmla="*/ 2321625 h 3082398"/>
              <a:gd name="connsiteX88" fmla="*/ 1867964 w 1892234"/>
              <a:gd name="connsiteY88" fmla="*/ 2342225 h 3082398"/>
              <a:gd name="connsiteX89" fmla="*/ 1856636 w 1892234"/>
              <a:gd name="connsiteY89" fmla="*/ 2391197 h 3082398"/>
              <a:gd name="connsiteX90" fmla="*/ 1853410 w 1892234"/>
              <a:gd name="connsiteY90" fmla="*/ 2401106 h 3082398"/>
              <a:gd name="connsiteX91" fmla="*/ 1851981 w 1892234"/>
              <a:gd name="connsiteY91" fmla="*/ 2406886 h 3082398"/>
              <a:gd name="connsiteX92" fmla="*/ 1845110 w 1892234"/>
              <a:gd name="connsiteY92" fmla="*/ 2426596 h 3082398"/>
              <a:gd name="connsiteX93" fmla="*/ 1831381 w 1892234"/>
              <a:gd name="connsiteY93" fmla="*/ 2468760 h 3082398"/>
              <a:gd name="connsiteX94" fmla="*/ 1825950 w 1892234"/>
              <a:gd name="connsiteY94" fmla="*/ 2481555 h 3082398"/>
              <a:gd name="connsiteX95" fmla="*/ 1823386 w 1892234"/>
              <a:gd name="connsiteY95" fmla="*/ 2488910 h 3082398"/>
              <a:gd name="connsiteX96" fmla="*/ 1815252 w 1892234"/>
              <a:gd name="connsiteY96" fmla="*/ 2506756 h 3082398"/>
              <a:gd name="connsiteX97" fmla="*/ 1799776 w 1892234"/>
              <a:gd name="connsiteY97" fmla="*/ 2543220 h 3082398"/>
              <a:gd name="connsiteX98" fmla="*/ 1791622 w 1892234"/>
              <a:gd name="connsiteY98" fmla="*/ 2558613 h 3082398"/>
              <a:gd name="connsiteX99" fmla="*/ 1787661 w 1892234"/>
              <a:gd name="connsiteY99" fmla="*/ 2567306 h 3082398"/>
              <a:gd name="connsiteX100" fmla="*/ 1778740 w 1892234"/>
              <a:gd name="connsiteY100" fmla="*/ 2582931 h 3082398"/>
              <a:gd name="connsiteX101" fmla="*/ 1762146 w 1892234"/>
              <a:gd name="connsiteY101" fmla="*/ 2614258 h 3082398"/>
              <a:gd name="connsiteX102" fmla="*/ 1750775 w 1892234"/>
              <a:gd name="connsiteY102" fmla="*/ 2631917 h 3082398"/>
              <a:gd name="connsiteX103" fmla="*/ 1745202 w 1892234"/>
              <a:gd name="connsiteY103" fmla="*/ 2641680 h 3082398"/>
              <a:gd name="connsiteX104" fmla="*/ 1735924 w 1892234"/>
              <a:gd name="connsiteY104" fmla="*/ 2654977 h 3082398"/>
              <a:gd name="connsiteX105" fmla="*/ 1718812 w 1892234"/>
              <a:gd name="connsiteY105" fmla="*/ 2681551 h 3082398"/>
              <a:gd name="connsiteX106" fmla="*/ 1703748 w 1892234"/>
              <a:gd name="connsiteY106" fmla="*/ 2701101 h 3082398"/>
              <a:gd name="connsiteX107" fmla="*/ 1696396 w 1892234"/>
              <a:gd name="connsiteY107" fmla="*/ 2711641 h 3082398"/>
              <a:gd name="connsiteX108" fmla="*/ 1687157 w 1892234"/>
              <a:gd name="connsiteY108" fmla="*/ 2722633 h 3082398"/>
              <a:gd name="connsiteX109" fmla="*/ 1670098 w 1892234"/>
              <a:gd name="connsiteY109" fmla="*/ 2744774 h 3082398"/>
              <a:gd name="connsiteX110" fmla="*/ 1650874 w 1892234"/>
              <a:gd name="connsiteY110" fmla="*/ 2765807 h 3082398"/>
              <a:gd name="connsiteX111" fmla="*/ 1641638 w 1892234"/>
              <a:gd name="connsiteY111" fmla="*/ 2776797 h 3082398"/>
              <a:gd name="connsiteX112" fmla="*/ 1632794 w 1892234"/>
              <a:gd name="connsiteY112" fmla="*/ 2785589 h 3082398"/>
              <a:gd name="connsiteX113" fmla="*/ 1616324 w 1892234"/>
              <a:gd name="connsiteY113" fmla="*/ 2803608 h 3082398"/>
              <a:gd name="connsiteX114" fmla="*/ 1592464 w 1892234"/>
              <a:gd name="connsiteY114" fmla="*/ 2825679 h 3082398"/>
              <a:gd name="connsiteX115" fmla="*/ 1581318 w 1892234"/>
              <a:gd name="connsiteY115" fmla="*/ 2836758 h 3082398"/>
              <a:gd name="connsiteX116" fmla="*/ 1573192 w 1892234"/>
              <a:gd name="connsiteY116" fmla="*/ 2843504 h 3082398"/>
              <a:gd name="connsiteX117" fmla="*/ 1557815 w 1892234"/>
              <a:gd name="connsiteY117" fmla="*/ 2857728 h 3082398"/>
              <a:gd name="connsiteX118" fmla="*/ 1528783 w 1892234"/>
              <a:gd name="connsiteY118" fmla="*/ 2880377 h 3082398"/>
              <a:gd name="connsiteX119" fmla="*/ 1515829 w 1892234"/>
              <a:gd name="connsiteY119" fmla="*/ 2891132 h 3082398"/>
              <a:gd name="connsiteX120" fmla="*/ 1508715 w 1892234"/>
              <a:gd name="connsiteY120" fmla="*/ 2896031 h 3082398"/>
              <a:gd name="connsiteX121" fmla="*/ 1494892 w 1892234"/>
              <a:gd name="connsiteY121" fmla="*/ 2906814 h 3082398"/>
              <a:gd name="connsiteX122" fmla="*/ 1460006 w 1892234"/>
              <a:gd name="connsiteY122" fmla="*/ 2929578 h 3082398"/>
              <a:gd name="connsiteX123" fmla="*/ 1445562 w 1892234"/>
              <a:gd name="connsiteY123" fmla="*/ 2939527 h 3082398"/>
              <a:gd name="connsiteX124" fmla="*/ 1439724 w 1892234"/>
              <a:gd name="connsiteY124" fmla="*/ 2942811 h 3082398"/>
              <a:gd name="connsiteX125" fmla="*/ 1427878 w 1892234"/>
              <a:gd name="connsiteY125" fmla="*/ 2950541 h 3082398"/>
              <a:gd name="connsiteX126" fmla="*/ 1386077 w 1892234"/>
              <a:gd name="connsiteY126" fmla="*/ 2973010 h 3082398"/>
              <a:gd name="connsiteX127" fmla="*/ 1370907 w 1892234"/>
              <a:gd name="connsiteY127" fmla="*/ 2981550 h 3082398"/>
              <a:gd name="connsiteX128" fmla="*/ 1366588 w 1892234"/>
              <a:gd name="connsiteY128" fmla="*/ 2983486 h 3082398"/>
              <a:gd name="connsiteX129" fmla="*/ 1357095 w 1892234"/>
              <a:gd name="connsiteY129" fmla="*/ 2988588 h 3082398"/>
              <a:gd name="connsiteX130" fmla="*/ 1306238 w 1892234"/>
              <a:gd name="connsiteY130" fmla="*/ 3010542 h 3082398"/>
              <a:gd name="connsiteX131" fmla="*/ 1292258 w 1892234"/>
              <a:gd name="connsiteY131" fmla="*/ 3016810 h 3082398"/>
              <a:gd name="connsiteX132" fmla="*/ 1289672 w 1892234"/>
              <a:gd name="connsiteY132" fmla="*/ 3017694 h 3082398"/>
              <a:gd name="connsiteX133" fmla="*/ 1282867 w 1892234"/>
              <a:gd name="connsiteY133" fmla="*/ 3020632 h 3082398"/>
              <a:gd name="connsiteX134" fmla="*/ 1216576 w 1892234"/>
              <a:gd name="connsiteY134" fmla="*/ 3042672 h 3082398"/>
              <a:gd name="connsiteX135" fmla="*/ 1210005 w 1892234"/>
              <a:gd name="connsiteY135" fmla="*/ 3044917 h 3082398"/>
              <a:gd name="connsiteX136" fmla="*/ 1209346 w 1892234"/>
              <a:gd name="connsiteY136" fmla="*/ 3045077 h 3082398"/>
              <a:gd name="connsiteX137" fmla="*/ 1205516 w 1892234"/>
              <a:gd name="connsiteY137" fmla="*/ 3046349 h 3082398"/>
              <a:gd name="connsiteX138" fmla="*/ 1042731 w 1892234"/>
              <a:gd name="connsiteY138" fmla="*/ 3077519 h 3082398"/>
              <a:gd name="connsiteX139" fmla="*/ 1039034 w 1892234"/>
              <a:gd name="connsiteY139" fmla="*/ 3077705 h 3082398"/>
              <a:gd name="connsiteX140" fmla="*/ 1036258 w 1892234"/>
              <a:gd name="connsiteY140" fmla="*/ 3078102 h 3082398"/>
              <a:gd name="connsiteX141" fmla="*/ 990506 w 1892234"/>
              <a:gd name="connsiteY141" fmla="*/ 3080270 h 3082398"/>
              <a:gd name="connsiteX142" fmla="*/ 990506 w 1892234"/>
              <a:gd name="connsiteY142" fmla="*/ 3082397 h 3082398"/>
              <a:gd name="connsiteX143" fmla="*/ 946121 w 1892234"/>
              <a:gd name="connsiteY143" fmla="*/ 3082397 h 3082398"/>
              <a:gd name="connsiteX144" fmla="*/ 946111 w 1892234"/>
              <a:gd name="connsiteY144" fmla="*/ 3082398 h 3082398"/>
              <a:gd name="connsiteX145" fmla="*/ 946102 w 1892234"/>
              <a:gd name="connsiteY145" fmla="*/ 3082397 h 3082398"/>
              <a:gd name="connsiteX146" fmla="*/ 945545 w 1892234"/>
              <a:gd name="connsiteY146" fmla="*/ 3082397 h 3082398"/>
              <a:gd name="connsiteX147" fmla="*/ 1118 w 1892234"/>
              <a:gd name="connsiteY147" fmla="*/ 3082397 h 3082398"/>
              <a:gd name="connsiteX148" fmla="*/ 1118 w 1892234"/>
              <a:gd name="connsiteY148" fmla="*/ 2187202 h 3082398"/>
              <a:gd name="connsiteX149" fmla="*/ 0 w 1892234"/>
              <a:gd name="connsiteY149" fmla="*/ 2187202 h 3082398"/>
              <a:gd name="connsiteX150" fmla="*/ 0 w 1892234"/>
              <a:gd name="connsiteY150" fmla="*/ 2137122 h 3082398"/>
              <a:gd name="connsiteX151" fmla="*/ 0 w 1892234"/>
              <a:gd name="connsiteY151" fmla="*/ 2013863 h 3082398"/>
              <a:gd name="connsiteX152" fmla="*/ 0 w 1892234"/>
              <a:gd name="connsiteY152" fmla="*/ 1956126 h 3082398"/>
              <a:gd name="connsiteX153" fmla="*/ 0 w 1892234"/>
              <a:gd name="connsiteY153" fmla="*/ 1853486 h 3082398"/>
              <a:gd name="connsiteX154" fmla="*/ 0 w 1892234"/>
              <a:gd name="connsiteY154" fmla="*/ 1839193 h 3082398"/>
              <a:gd name="connsiteX155" fmla="*/ 1129 w 1892234"/>
              <a:gd name="connsiteY155" fmla="*/ 1839193 h 3082398"/>
              <a:gd name="connsiteX156" fmla="*/ 1129 w 1892234"/>
              <a:gd name="connsiteY156" fmla="*/ 1838909 h 3082398"/>
              <a:gd name="connsiteX157" fmla="*/ 1129 w 1892234"/>
              <a:gd name="connsiteY157" fmla="*/ 1826783 h 3082398"/>
              <a:gd name="connsiteX158" fmla="*/ 1129 w 1892234"/>
              <a:gd name="connsiteY158" fmla="*/ 1789112 h 3082398"/>
              <a:gd name="connsiteX159" fmla="*/ 3487 w 1892234"/>
              <a:gd name="connsiteY159" fmla="*/ 1789112 h 3082398"/>
              <a:gd name="connsiteX160" fmla="*/ 4057 w 1892234"/>
              <a:gd name="connsiteY160" fmla="*/ 1777087 h 3082398"/>
              <a:gd name="connsiteX161" fmla="*/ 1118 w 1892234"/>
              <a:gd name="connsiteY161" fmla="*/ 1777087 h 3082398"/>
              <a:gd name="connsiteX162" fmla="*/ 1118 w 1892234"/>
              <a:gd name="connsiteY162" fmla="*/ 1533244 h 3082398"/>
              <a:gd name="connsiteX163" fmla="*/ 1118 w 1892234"/>
              <a:gd name="connsiteY163" fmla="*/ 881891 h 3082398"/>
              <a:gd name="connsiteX164" fmla="*/ 0 w 1892234"/>
              <a:gd name="connsiteY164" fmla="*/ 881891 h 3082398"/>
              <a:gd name="connsiteX165" fmla="*/ 0 w 1892234"/>
              <a:gd name="connsiteY165" fmla="*/ 880579 h 3082398"/>
              <a:gd name="connsiteX166" fmla="*/ 4179 w 1892234"/>
              <a:gd name="connsiteY166" fmla="*/ 880579 h 3082398"/>
              <a:gd name="connsiteX167" fmla="*/ 5421 w 1892234"/>
              <a:gd name="connsiteY167" fmla="*/ 854335 h 3082398"/>
              <a:gd name="connsiteX168" fmla="*/ 5913 w 1892234"/>
              <a:gd name="connsiteY168" fmla="*/ 850822 h 3082398"/>
              <a:gd name="connsiteX169" fmla="*/ 6011 w 1892234"/>
              <a:gd name="connsiteY169" fmla="*/ 848881 h 3082398"/>
              <a:gd name="connsiteX170" fmla="*/ 8765 w 1892234"/>
              <a:gd name="connsiteY170" fmla="*/ 830453 h 3082398"/>
              <a:gd name="connsiteX171" fmla="*/ 17013 w 1892234"/>
              <a:gd name="connsiteY171" fmla="*/ 771540 h 3082398"/>
              <a:gd name="connsiteX172" fmla="*/ 18581 w 1892234"/>
              <a:gd name="connsiteY172" fmla="*/ 764764 h 3082398"/>
              <a:gd name="connsiteX173" fmla="*/ 19177 w 1892234"/>
              <a:gd name="connsiteY173" fmla="*/ 760774 h 3082398"/>
              <a:gd name="connsiteX174" fmla="*/ 24270 w 1892234"/>
              <a:gd name="connsiteY174" fmla="*/ 740172 h 3082398"/>
              <a:gd name="connsiteX175" fmla="*/ 35598 w 1892234"/>
              <a:gd name="connsiteY175" fmla="*/ 691201 h 3082398"/>
              <a:gd name="connsiteX176" fmla="*/ 38824 w 1892234"/>
              <a:gd name="connsiteY176" fmla="*/ 681293 h 3082398"/>
              <a:gd name="connsiteX177" fmla="*/ 40253 w 1892234"/>
              <a:gd name="connsiteY177" fmla="*/ 675511 h 3082398"/>
              <a:gd name="connsiteX178" fmla="*/ 47124 w 1892234"/>
              <a:gd name="connsiteY178" fmla="*/ 655802 h 3082398"/>
              <a:gd name="connsiteX179" fmla="*/ 60853 w 1892234"/>
              <a:gd name="connsiteY179" fmla="*/ 613639 h 3082398"/>
              <a:gd name="connsiteX180" fmla="*/ 66284 w 1892234"/>
              <a:gd name="connsiteY180" fmla="*/ 600844 h 3082398"/>
              <a:gd name="connsiteX181" fmla="*/ 68849 w 1892234"/>
              <a:gd name="connsiteY181" fmla="*/ 593488 h 3082398"/>
              <a:gd name="connsiteX182" fmla="*/ 76982 w 1892234"/>
              <a:gd name="connsiteY182" fmla="*/ 575641 h 3082398"/>
              <a:gd name="connsiteX183" fmla="*/ 92458 w 1892234"/>
              <a:gd name="connsiteY183" fmla="*/ 539178 h 3082398"/>
              <a:gd name="connsiteX184" fmla="*/ 100612 w 1892234"/>
              <a:gd name="connsiteY184" fmla="*/ 523785 h 3082398"/>
              <a:gd name="connsiteX185" fmla="*/ 104574 w 1892234"/>
              <a:gd name="connsiteY185" fmla="*/ 515093 h 3082398"/>
              <a:gd name="connsiteX186" fmla="*/ 113494 w 1892234"/>
              <a:gd name="connsiteY186" fmla="*/ 499467 h 3082398"/>
              <a:gd name="connsiteX187" fmla="*/ 130088 w 1892234"/>
              <a:gd name="connsiteY187" fmla="*/ 468140 h 3082398"/>
              <a:gd name="connsiteX188" fmla="*/ 141460 w 1892234"/>
              <a:gd name="connsiteY188" fmla="*/ 450482 h 3082398"/>
              <a:gd name="connsiteX189" fmla="*/ 147033 w 1892234"/>
              <a:gd name="connsiteY189" fmla="*/ 440718 h 3082398"/>
              <a:gd name="connsiteX190" fmla="*/ 156310 w 1892234"/>
              <a:gd name="connsiteY190" fmla="*/ 427422 h 3082398"/>
              <a:gd name="connsiteX191" fmla="*/ 173421 w 1892234"/>
              <a:gd name="connsiteY191" fmla="*/ 400847 h 3082398"/>
              <a:gd name="connsiteX192" fmla="*/ 188487 w 1892234"/>
              <a:gd name="connsiteY192" fmla="*/ 381297 h 3082398"/>
              <a:gd name="connsiteX193" fmla="*/ 195838 w 1892234"/>
              <a:gd name="connsiteY193" fmla="*/ 370757 h 3082398"/>
              <a:gd name="connsiteX194" fmla="*/ 205077 w 1892234"/>
              <a:gd name="connsiteY194" fmla="*/ 359764 h 3082398"/>
              <a:gd name="connsiteX195" fmla="*/ 222137 w 1892234"/>
              <a:gd name="connsiteY195" fmla="*/ 337623 h 3082398"/>
              <a:gd name="connsiteX196" fmla="*/ 241360 w 1892234"/>
              <a:gd name="connsiteY196" fmla="*/ 316591 h 3082398"/>
              <a:gd name="connsiteX197" fmla="*/ 250596 w 1892234"/>
              <a:gd name="connsiteY197" fmla="*/ 305601 h 3082398"/>
              <a:gd name="connsiteX198" fmla="*/ 259441 w 1892234"/>
              <a:gd name="connsiteY198" fmla="*/ 296809 h 3082398"/>
              <a:gd name="connsiteX199" fmla="*/ 275910 w 1892234"/>
              <a:gd name="connsiteY199" fmla="*/ 278790 h 3082398"/>
              <a:gd name="connsiteX200" fmla="*/ 299770 w 1892234"/>
              <a:gd name="connsiteY200" fmla="*/ 256718 h 3082398"/>
              <a:gd name="connsiteX201" fmla="*/ 310917 w 1892234"/>
              <a:gd name="connsiteY201" fmla="*/ 245640 h 3082398"/>
              <a:gd name="connsiteX202" fmla="*/ 319042 w 1892234"/>
              <a:gd name="connsiteY202" fmla="*/ 238894 h 3082398"/>
              <a:gd name="connsiteX203" fmla="*/ 334419 w 1892234"/>
              <a:gd name="connsiteY203" fmla="*/ 224670 h 3082398"/>
              <a:gd name="connsiteX204" fmla="*/ 363451 w 1892234"/>
              <a:gd name="connsiteY204" fmla="*/ 202021 h 3082398"/>
              <a:gd name="connsiteX205" fmla="*/ 376405 w 1892234"/>
              <a:gd name="connsiteY205" fmla="*/ 191265 h 3082398"/>
              <a:gd name="connsiteX206" fmla="*/ 383520 w 1892234"/>
              <a:gd name="connsiteY206" fmla="*/ 186367 h 3082398"/>
              <a:gd name="connsiteX207" fmla="*/ 397342 w 1892234"/>
              <a:gd name="connsiteY207" fmla="*/ 175584 h 3082398"/>
              <a:gd name="connsiteX208" fmla="*/ 432228 w 1892234"/>
              <a:gd name="connsiteY208" fmla="*/ 152820 h 3082398"/>
              <a:gd name="connsiteX209" fmla="*/ 446672 w 1892234"/>
              <a:gd name="connsiteY209" fmla="*/ 142871 h 3082398"/>
              <a:gd name="connsiteX210" fmla="*/ 452509 w 1892234"/>
              <a:gd name="connsiteY210" fmla="*/ 139587 h 3082398"/>
              <a:gd name="connsiteX211" fmla="*/ 464357 w 1892234"/>
              <a:gd name="connsiteY211" fmla="*/ 131856 h 3082398"/>
              <a:gd name="connsiteX212" fmla="*/ 506157 w 1892234"/>
              <a:gd name="connsiteY212" fmla="*/ 109388 h 3082398"/>
              <a:gd name="connsiteX213" fmla="*/ 521327 w 1892234"/>
              <a:gd name="connsiteY213" fmla="*/ 100848 h 3082398"/>
              <a:gd name="connsiteX214" fmla="*/ 525647 w 1892234"/>
              <a:gd name="connsiteY214" fmla="*/ 98911 h 3082398"/>
              <a:gd name="connsiteX215" fmla="*/ 535138 w 1892234"/>
              <a:gd name="connsiteY215" fmla="*/ 93810 h 3082398"/>
              <a:gd name="connsiteX216" fmla="*/ 585996 w 1892234"/>
              <a:gd name="connsiteY216" fmla="*/ 71856 h 3082398"/>
              <a:gd name="connsiteX217" fmla="*/ 599976 w 1892234"/>
              <a:gd name="connsiteY217" fmla="*/ 65587 h 3082398"/>
              <a:gd name="connsiteX218" fmla="*/ 602562 w 1892234"/>
              <a:gd name="connsiteY218" fmla="*/ 64704 h 3082398"/>
              <a:gd name="connsiteX219" fmla="*/ 609367 w 1892234"/>
              <a:gd name="connsiteY219" fmla="*/ 61766 h 3082398"/>
              <a:gd name="connsiteX220" fmla="*/ 675658 w 1892234"/>
              <a:gd name="connsiteY220" fmla="*/ 39725 h 3082398"/>
              <a:gd name="connsiteX221" fmla="*/ 682229 w 1892234"/>
              <a:gd name="connsiteY221" fmla="*/ 37481 h 3082398"/>
              <a:gd name="connsiteX222" fmla="*/ 682888 w 1892234"/>
              <a:gd name="connsiteY222" fmla="*/ 37321 h 3082398"/>
              <a:gd name="connsiteX223" fmla="*/ 686718 w 1892234"/>
              <a:gd name="connsiteY223" fmla="*/ 36049 h 3082398"/>
              <a:gd name="connsiteX224" fmla="*/ 849503 w 1892234"/>
              <a:gd name="connsiteY224" fmla="*/ 4878 h 3082398"/>
              <a:gd name="connsiteX225" fmla="*/ 853201 w 1892234"/>
              <a:gd name="connsiteY225" fmla="*/ 4692 h 3082398"/>
              <a:gd name="connsiteX226" fmla="*/ 855977 w 1892234"/>
              <a:gd name="connsiteY226" fmla="*/ 4296 h 3082398"/>
              <a:gd name="connsiteX227" fmla="*/ 901728 w 1892234"/>
              <a:gd name="connsiteY227" fmla="*/ 2129 h 3082398"/>
              <a:gd name="connsiteX228" fmla="*/ 901728 w 1892234"/>
              <a:gd name="connsiteY228" fmla="*/ 1 h 3082398"/>
              <a:gd name="connsiteX229" fmla="*/ 946114 w 1892234"/>
              <a:gd name="connsiteY229" fmla="*/ 1 h 308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2234" h="3082398">
                <a:moveTo>
                  <a:pt x="946123" y="0"/>
                </a:moveTo>
                <a:lnTo>
                  <a:pt x="946132" y="1"/>
                </a:lnTo>
                <a:lnTo>
                  <a:pt x="946689" y="1"/>
                </a:lnTo>
                <a:lnTo>
                  <a:pt x="1891116" y="1"/>
                </a:lnTo>
                <a:lnTo>
                  <a:pt x="1891116" y="243844"/>
                </a:lnTo>
                <a:lnTo>
                  <a:pt x="1891116" y="880579"/>
                </a:lnTo>
                <a:lnTo>
                  <a:pt x="1891105" y="880579"/>
                </a:lnTo>
                <a:lnTo>
                  <a:pt x="1891105" y="881891"/>
                </a:lnTo>
                <a:lnTo>
                  <a:pt x="1888747" y="881891"/>
                </a:lnTo>
                <a:lnTo>
                  <a:pt x="1886812" y="922752"/>
                </a:lnTo>
                <a:lnTo>
                  <a:pt x="1886320" y="926265"/>
                </a:lnTo>
                <a:lnTo>
                  <a:pt x="1886222" y="928206"/>
                </a:lnTo>
                <a:lnTo>
                  <a:pt x="1883469" y="946634"/>
                </a:lnTo>
                <a:lnTo>
                  <a:pt x="1875221" y="1005547"/>
                </a:lnTo>
                <a:lnTo>
                  <a:pt x="1873654" y="1012323"/>
                </a:lnTo>
                <a:lnTo>
                  <a:pt x="1873058" y="1016314"/>
                </a:lnTo>
                <a:lnTo>
                  <a:pt x="1867964" y="1036915"/>
                </a:lnTo>
                <a:lnTo>
                  <a:pt x="1856636" y="1085888"/>
                </a:lnTo>
                <a:lnTo>
                  <a:pt x="1853410" y="1095794"/>
                </a:lnTo>
                <a:lnTo>
                  <a:pt x="1851981" y="1101576"/>
                </a:lnTo>
                <a:lnTo>
                  <a:pt x="1845110" y="1121285"/>
                </a:lnTo>
                <a:lnTo>
                  <a:pt x="1831381" y="1163449"/>
                </a:lnTo>
                <a:lnTo>
                  <a:pt x="1825950" y="1176243"/>
                </a:lnTo>
                <a:lnTo>
                  <a:pt x="1823385" y="1183600"/>
                </a:lnTo>
                <a:lnTo>
                  <a:pt x="1815252" y="1201446"/>
                </a:lnTo>
                <a:lnTo>
                  <a:pt x="1799775" y="1237910"/>
                </a:lnTo>
                <a:lnTo>
                  <a:pt x="1791622" y="1253302"/>
                </a:lnTo>
                <a:lnTo>
                  <a:pt x="1787661" y="1261995"/>
                </a:lnTo>
                <a:lnTo>
                  <a:pt x="1778740" y="1277620"/>
                </a:lnTo>
                <a:lnTo>
                  <a:pt x="1762146" y="1308948"/>
                </a:lnTo>
                <a:lnTo>
                  <a:pt x="1750774" y="1326606"/>
                </a:lnTo>
                <a:lnTo>
                  <a:pt x="1745201" y="1336369"/>
                </a:lnTo>
                <a:lnTo>
                  <a:pt x="1735924" y="1349666"/>
                </a:lnTo>
                <a:lnTo>
                  <a:pt x="1718812" y="1376240"/>
                </a:lnTo>
                <a:lnTo>
                  <a:pt x="1703748" y="1395790"/>
                </a:lnTo>
                <a:lnTo>
                  <a:pt x="1696396" y="1406330"/>
                </a:lnTo>
                <a:lnTo>
                  <a:pt x="1687157" y="1417324"/>
                </a:lnTo>
                <a:lnTo>
                  <a:pt x="1670097" y="1439464"/>
                </a:lnTo>
                <a:lnTo>
                  <a:pt x="1650874" y="1460496"/>
                </a:lnTo>
                <a:lnTo>
                  <a:pt x="1641638" y="1471486"/>
                </a:lnTo>
                <a:lnTo>
                  <a:pt x="1632794" y="1480278"/>
                </a:lnTo>
                <a:lnTo>
                  <a:pt x="1616324" y="1498298"/>
                </a:lnTo>
                <a:lnTo>
                  <a:pt x="1592464" y="1520368"/>
                </a:lnTo>
                <a:lnTo>
                  <a:pt x="1581318" y="1531448"/>
                </a:lnTo>
                <a:lnTo>
                  <a:pt x="1573192" y="1538194"/>
                </a:lnTo>
                <a:lnTo>
                  <a:pt x="1557815" y="1552419"/>
                </a:lnTo>
                <a:lnTo>
                  <a:pt x="1528783" y="1575065"/>
                </a:lnTo>
                <a:lnTo>
                  <a:pt x="1515829" y="1585822"/>
                </a:lnTo>
                <a:lnTo>
                  <a:pt x="1508716" y="1590720"/>
                </a:lnTo>
                <a:lnTo>
                  <a:pt x="1494892" y="1601503"/>
                </a:lnTo>
                <a:lnTo>
                  <a:pt x="1460006" y="1624267"/>
                </a:lnTo>
                <a:lnTo>
                  <a:pt x="1445562" y="1634216"/>
                </a:lnTo>
                <a:lnTo>
                  <a:pt x="1439724" y="1637500"/>
                </a:lnTo>
                <a:lnTo>
                  <a:pt x="1427878" y="1645231"/>
                </a:lnTo>
                <a:lnTo>
                  <a:pt x="1386077" y="1667699"/>
                </a:lnTo>
                <a:lnTo>
                  <a:pt x="1370907" y="1676239"/>
                </a:lnTo>
                <a:lnTo>
                  <a:pt x="1366588" y="1678176"/>
                </a:lnTo>
                <a:lnTo>
                  <a:pt x="1357095" y="1683278"/>
                </a:lnTo>
                <a:lnTo>
                  <a:pt x="1306238" y="1705232"/>
                </a:lnTo>
                <a:lnTo>
                  <a:pt x="1292258" y="1711500"/>
                </a:lnTo>
                <a:lnTo>
                  <a:pt x="1289672" y="1712383"/>
                </a:lnTo>
                <a:lnTo>
                  <a:pt x="1282867" y="1715321"/>
                </a:lnTo>
                <a:lnTo>
                  <a:pt x="1216576" y="1737360"/>
                </a:lnTo>
                <a:lnTo>
                  <a:pt x="1210005" y="1739607"/>
                </a:lnTo>
                <a:lnTo>
                  <a:pt x="1209346" y="1739766"/>
                </a:lnTo>
                <a:lnTo>
                  <a:pt x="1205516" y="1741039"/>
                </a:lnTo>
                <a:lnTo>
                  <a:pt x="1054134" y="1770025"/>
                </a:lnTo>
                <a:lnTo>
                  <a:pt x="1891117" y="1770025"/>
                </a:lnTo>
                <a:lnTo>
                  <a:pt x="1891117" y="1789112"/>
                </a:lnTo>
                <a:lnTo>
                  <a:pt x="1892234" y="1789112"/>
                </a:lnTo>
                <a:lnTo>
                  <a:pt x="1892234" y="1839193"/>
                </a:lnTo>
                <a:lnTo>
                  <a:pt x="1892234" y="1853486"/>
                </a:lnTo>
                <a:lnTo>
                  <a:pt x="1892234" y="1956126"/>
                </a:lnTo>
                <a:lnTo>
                  <a:pt x="1892234" y="2013863"/>
                </a:lnTo>
                <a:lnTo>
                  <a:pt x="1892234" y="2137122"/>
                </a:lnTo>
                <a:lnTo>
                  <a:pt x="1891105" y="2137122"/>
                </a:lnTo>
                <a:lnTo>
                  <a:pt x="1891105" y="2137122"/>
                </a:lnTo>
                <a:lnTo>
                  <a:pt x="1891105" y="2137404"/>
                </a:lnTo>
                <a:lnTo>
                  <a:pt x="1891105" y="2149531"/>
                </a:lnTo>
                <a:lnTo>
                  <a:pt x="1891105" y="2187202"/>
                </a:lnTo>
                <a:lnTo>
                  <a:pt x="1888748" y="2187202"/>
                </a:lnTo>
                <a:lnTo>
                  <a:pt x="1886812" y="2228063"/>
                </a:lnTo>
                <a:lnTo>
                  <a:pt x="1886321" y="2231576"/>
                </a:lnTo>
                <a:lnTo>
                  <a:pt x="1886223" y="2233517"/>
                </a:lnTo>
                <a:lnTo>
                  <a:pt x="1883469" y="2251944"/>
                </a:lnTo>
                <a:lnTo>
                  <a:pt x="1875221" y="2310858"/>
                </a:lnTo>
                <a:lnTo>
                  <a:pt x="1873654" y="2317633"/>
                </a:lnTo>
                <a:lnTo>
                  <a:pt x="1873058" y="2321625"/>
                </a:lnTo>
                <a:lnTo>
                  <a:pt x="1867964" y="2342225"/>
                </a:lnTo>
                <a:lnTo>
                  <a:pt x="1856636" y="2391197"/>
                </a:lnTo>
                <a:lnTo>
                  <a:pt x="1853410" y="2401106"/>
                </a:lnTo>
                <a:lnTo>
                  <a:pt x="1851981" y="2406886"/>
                </a:lnTo>
                <a:lnTo>
                  <a:pt x="1845110" y="2426596"/>
                </a:lnTo>
                <a:lnTo>
                  <a:pt x="1831381" y="2468760"/>
                </a:lnTo>
                <a:lnTo>
                  <a:pt x="1825950" y="2481555"/>
                </a:lnTo>
                <a:lnTo>
                  <a:pt x="1823386" y="2488910"/>
                </a:lnTo>
                <a:lnTo>
                  <a:pt x="1815252" y="2506756"/>
                </a:lnTo>
                <a:lnTo>
                  <a:pt x="1799776" y="2543220"/>
                </a:lnTo>
                <a:lnTo>
                  <a:pt x="1791622" y="2558613"/>
                </a:lnTo>
                <a:lnTo>
                  <a:pt x="1787661" y="2567306"/>
                </a:lnTo>
                <a:lnTo>
                  <a:pt x="1778740" y="2582931"/>
                </a:lnTo>
                <a:lnTo>
                  <a:pt x="1762146" y="2614258"/>
                </a:lnTo>
                <a:lnTo>
                  <a:pt x="1750775" y="2631917"/>
                </a:lnTo>
                <a:lnTo>
                  <a:pt x="1745202" y="2641680"/>
                </a:lnTo>
                <a:lnTo>
                  <a:pt x="1735924" y="2654977"/>
                </a:lnTo>
                <a:lnTo>
                  <a:pt x="1718812" y="2681551"/>
                </a:lnTo>
                <a:lnTo>
                  <a:pt x="1703748" y="2701101"/>
                </a:lnTo>
                <a:lnTo>
                  <a:pt x="1696396" y="2711641"/>
                </a:lnTo>
                <a:lnTo>
                  <a:pt x="1687157" y="2722633"/>
                </a:lnTo>
                <a:lnTo>
                  <a:pt x="1670098" y="2744774"/>
                </a:lnTo>
                <a:lnTo>
                  <a:pt x="1650874" y="2765807"/>
                </a:lnTo>
                <a:lnTo>
                  <a:pt x="1641638" y="2776797"/>
                </a:lnTo>
                <a:lnTo>
                  <a:pt x="1632794" y="2785589"/>
                </a:lnTo>
                <a:lnTo>
                  <a:pt x="1616324" y="2803608"/>
                </a:lnTo>
                <a:lnTo>
                  <a:pt x="1592464" y="2825679"/>
                </a:lnTo>
                <a:lnTo>
                  <a:pt x="1581318" y="2836758"/>
                </a:lnTo>
                <a:lnTo>
                  <a:pt x="1573192" y="2843504"/>
                </a:lnTo>
                <a:lnTo>
                  <a:pt x="1557815" y="2857728"/>
                </a:lnTo>
                <a:lnTo>
                  <a:pt x="1528783" y="2880377"/>
                </a:lnTo>
                <a:lnTo>
                  <a:pt x="1515829" y="2891132"/>
                </a:lnTo>
                <a:lnTo>
                  <a:pt x="1508715" y="2896031"/>
                </a:lnTo>
                <a:lnTo>
                  <a:pt x="1494892" y="2906814"/>
                </a:lnTo>
                <a:lnTo>
                  <a:pt x="1460006" y="2929578"/>
                </a:lnTo>
                <a:lnTo>
                  <a:pt x="1445562" y="2939527"/>
                </a:lnTo>
                <a:lnTo>
                  <a:pt x="1439724" y="2942811"/>
                </a:lnTo>
                <a:lnTo>
                  <a:pt x="1427878" y="2950541"/>
                </a:lnTo>
                <a:lnTo>
                  <a:pt x="1386077" y="2973010"/>
                </a:lnTo>
                <a:lnTo>
                  <a:pt x="1370907" y="2981550"/>
                </a:lnTo>
                <a:lnTo>
                  <a:pt x="1366588" y="2983486"/>
                </a:lnTo>
                <a:lnTo>
                  <a:pt x="1357095" y="2988588"/>
                </a:lnTo>
                <a:lnTo>
                  <a:pt x="1306238" y="3010542"/>
                </a:lnTo>
                <a:lnTo>
                  <a:pt x="1292258" y="3016810"/>
                </a:lnTo>
                <a:lnTo>
                  <a:pt x="1289672" y="3017694"/>
                </a:lnTo>
                <a:lnTo>
                  <a:pt x="1282867" y="3020632"/>
                </a:lnTo>
                <a:lnTo>
                  <a:pt x="1216576" y="3042672"/>
                </a:lnTo>
                <a:lnTo>
                  <a:pt x="1210005" y="3044917"/>
                </a:lnTo>
                <a:lnTo>
                  <a:pt x="1209346" y="3045077"/>
                </a:lnTo>
                <a:lnTo>
                  <a:pt x="1205516" y="3046349"/>
                </a:lnTo>
                <a:cubicBezTo>
                  <a:pt x="1152978" y="3061315"/>
                  <a:pt x="1098574" y="3071848"/>
                  <a:pt x="1042731" y="3077519"/>
                </a:cubicBezTo>
                <a:lnTo>
                  <a:pt x="1039034" y="3077705"/>
                </a:lnTo>
                <a:lnTo>
                  <a:pt x="1036258" y="3078102"/>
                </a:lnTo>
                <a:lnTo>
                  <a:pt x="990506" y="3080270"/>
                </a:lnTo>
                <a:lnTo>
                  <a:pt x="990506" y="3082397"/>
                </a:lnTo>
                <a:lnTo>
                  <a:pt x="946121" y="3082397"/>
                </a:lnTo>
                <a:lnTo>
                  <a:pt x="946111" y="3082398"/>
                </a:lnTo>
                <a:lnTo>
                  <a:pt x="946102" y="3082397"/>
                </a:lnTo>
                <a:lnTo>
                  <a:pt x="945545" y="3082397"/>
                </a:lnTo>
                <a:lnTo>
                  <a:pt x="1118" y="3082397"/>
                </a:lnTo>
                <a:lnTo>
                  <a:pt x="1118" y="2187202"/>
                </a:lnTo>
                <a:lnTo>
                  <a:pt x="0" y="2187202"/>
                </a:lnTo>
                <a:lnTo>
                  <a:pt x="0" y="2137122"/>
                </a:lnTo>
                <a:lnTo>
                  <a:pt x="0" y="2013863"/>
                </a:lnTo>
                <a:lnTo>
                  <a:pt x="0" y="1956126"/>
                </a:lnTo>
                <a:lnTo>
                  <a:pt x="0" y="1853486"/>
                </a:lnTo>
                <a:lnTo>
                  <a:pt x="0" y="1839193"/>
                </a:lnTo>
                <a:lnTo>
                  <a:pt x="1129" y="1839193"/>
                </a:lnTo>
                <a:lnTo>
                  <a:pt x="1129" y="1838909"/>
                </a:lnTo>
                <a:lnTo>
                  <a:pt x="1129" y="1826783"/>
                </a:lnTo>
                <a:lnTo>
                  <a:pt x="1129" y="1789112"/>
                </a:lnTo>
                <a:lnTo>
                  <a:pt x="3487" y="1789112"/>
                </a:lnTo>
                <a:lnTo>
                  <a:pt x="4057" y="1777087"/>
                </a:lnTo>
                <a:lnTo>
                  <a:pt x="1118" y="1777087"/>
                </a:lnTo>
                <a:lnTo>
                  <a:pt x="1118" y="1533244"/>
                </a:lnTo>
                <a:lnTo>
                  <a:pt x="1118" y="881891"/>
                </a:lnTo>
                <a:lnTo>
                  <a:pt x="0" y="881891"/>
                </a:lnTo>
                <a:lnTo>
                  <a:pt x="0" y="880579"/>
                </a:lnTo>
                <a:lnTo>
                  <a:pt x="4179" y="880579"/>
                </a:lnTo>
                <a:lnTo>
                  <a:pt x="5421" y="854335"/>
                </a:lnTo>
                <a:lnTo>
                  <a:pt x="5913" y="850822"/>
                </a:lnTo>
                <a:lnTo>
                  <a:pt x="6011" y="848881"/>
                </a:lnTo>
                <a:lnTo>
                  <a:pt x="8765" y="830453"/>
                </a:lnTo>
                <a:lnTo>
                  <a:pt x="17013" y="771540"/>
                </a:lnTo>
                <a:lnTo>
                  <a:pt x="18581" y="764764"/>
                </a:lnTo>
                <a:lnTo>
                  <a:pt x="19177" y="760774"/>
                </a:lnTo>
                <a:lnTo>
                  <a:pt x="24270" y="740172"/>
                </a:lnTo>
                <a:lnTo>
                  <a:pt x="35598" y="691201"/>
                </a:lnTo>
                <a:lnTo>
                  <a:pt x="38824" y="681293"/>
                </a:lnTo>
                <a:lnTo>
                  <a:pt x="40253" y="675511"/>
                </a:lnTo>
                <a:lnTo>
                  <a:pt x="47124" y="655802"/>
                </a:lnTo>
                <a:lnTo>
                  <a:pt x="60853" y="613639"/>
                </a:lnTo>
                <a:lnTo>
                  <a:pt x="66284" y="600844"/>
                </a:lnTo>
                <a:lnTo>
                  <a:pt x="68849" y="593488"/>
                </a:lnTo>
                <a:lnTo>
                  <a:pt x="76982" y="575641"/>
                </a:lnTo>
                <a:lnTo>
                  <a:pt x="92458" y="539178"/>
                </a:lnTo>
                <a:lnTo>
                  <a:pt x="100612" y="523785"/>
                </a:lnTo>
                <a:lnTo>
                  <a:pt x="104574" y="515093"/>
                </a:lnTo>
                <a:lnTo>
                  <a:pt x="113494" y="499467"/>
                </a:lnTo>
                <a:lnTo>
                  <a:pt x="130088" y="468140"/>
                </a:lnTo>
                <a:lnTo>
                  <a:pt x="141460" y="450482"/>
                </a:lnTo>
                <a:lnTo>
                  <a:pt x="147033" y="440718"/>
                </a:lnTo>
                <a:lnTo>
                  <a:pt x="156310" y="427422"/>
                </a:lnTo>
                <a:lnTo>
                  <a:pt x="173421" y="400847"/>
                </a:lnTo>
                <a:lnTo>
                  <a:pt x="188487" y="381297"/>
                </a:lnTo>
                <a:lnTo>
                  <a:pt x="195838" y="370757"/>
                </a:lnTo>
                <a:lnTo>
                  <a:pt x="205077" y="359764"/>
                </a:lnTo>
                <a:lnTo>
                  <a:pt x="222137" y="337623"/>
                </a:lnTo>
                <a:lnTo>
                  <a:pt x="241360" y="316591"/>
                </a:lnTo>
                <a:lnTo>
                  <a:pt x="250596" y="305601"/>
                </a:lnTo>
                <a:lnTo>
                  <a:pt x="259441" y="296809"/>
                </a:lnTo>
                <a:lnTo>
                  <a:pt x="275910" y="278790"/>
                </a:lnTo>
                <a:lnTo>
                  <a:pt x="299770" y="256718"/>
                </a:lnTo>
                <a:lnTo>
                  <a:pt x="310917" y="245640"/>
                </a:lnTo>
                <a:lnTo>
                  <a:pt x="319042" y="238894"/>
                </a:lnTo>
                <a:lnTo>
                  <a:pt x="334419" y="224670"/>
                </a:lnTo>
                <a:lnTo>
                  <a:pt x="363451" y="202021"/>
                </a:lnTo>
                <a:lnTo>
                  <a:pt x="376405" y="191265"/>
                </a:lnTo>
                <a:lnTo>
                  <a:pt x="383520" y="186367"/>
                </a:lnTo>
                <a:lnTo>
                  <a:pt x="397342" y="175584"/>
                </a:lnTo>
                <a:lnTo>
                  <a:pt x="432228" y="152820"/>
                </a:lnTo>
                <a:lnTo>
                  <a:pt x="446672" y="142871"/>
                </a:lnTo>
                <a:lnTo>
                  <a:pt x="452509" y="139587"/>
                </a:lnTo>
                <a:lnTo>
                  <a:pt x="464357" y="131856"/>
                </a:lnTo>
                <a:lnTo>
                  <a:pt x="506157" y="109388"/>
                </a:lnTo>
                <a:lnTo>
                  <a:pt x="521327" y="100848"/>
                </a:lnTo>
                <a:lnTo>
                  <a:pt x="525647" y="98911"/>
                </a:lnTo>
                <a:lnTo>
                  <a:pt x="535138" y="93810"/>
                </a:lnTo>
                <a:lnTo>
                  <a:pt x="585996" y="71856"/>
                </a:lnTo>
                <a:lnTo>
                  <a:pt x="599976" y="65587"/>
                </a:lnTo>
                <a:lnTo>
                  <a:pt x="602562" y="64704"/>
                </a:lnTo>
                <a:lnTo>
                  <a:pt x="609367" y="61766"/>
                </a:lnTo>
                <a:lnTo>
                  <a:pt x="675658" y="39725"/>
                </a:lnTo>
                <a:lnTo>
                  <a:pt x="682229" y="37481"/>
                </a:lnTo>
                <a:lnTo>
                  <a:pt x="682888" y="37321"/>
                </a:lnTo>
                <a:lnTo>
                  <a:pt x="686718" y="36049"/>
                </a:lnTo>
                <a:cubicBezTo>
                  <a:pt x="739256" y="21083"/>
                  <a:pt x="793661" y="10550"/>
                  <a:pt x="849503" y="4878"/>
                </a:cubicBezTo>
                <a:lnTo>
                  <a:pt x="853201" y="4692"/>
                </a:lnTo>
                <a:lnTo>
                  <a:pt x="855977" y="4296"/>
                </a:lnTo>
                <a:lnTo>
                  <a:pt x="901728" y="2129"/>
                </a:lnTo>
                <a:lnTo>
                  <a:pt x="901728" y="1"/>
                </a:lnTo>
                <a:lnTo>
                  <a:pt x="946114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081BAE9-DA5F-4164-A88D-A73E8A30973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05896" y="740780"/>
            <a:ext cx="3082396" cy="3082397"/>
          </a:xfrm>
          <a:custGeom>
            <a:avLst/>
            <a:gdLst>
              <a:gd name="connsiteX0" fmla="*/ 1541197 w 3082396"/>
              <a:gd name="connsiteY0" fmla="*/ 0 h 3082397"/>
              <a:gd name="connsiteX1" fmla="*/ 3074439 w 3082396"/>
              <a:gd name="connsiteY1" fmla="*/ 1383621 h 3082397"/>
              <a:gd name="connsiteX2" fmla="*/ 3081351 w 3082396"/>
              <a:gd name="connsiteY2" fmla="*/ 1520511 h 3082397"/>
              <a:gd name="connsiteX3" fmla="*/ 3082396 w 3082396"/>
              <a:gd name="connsiteY3" fmla="*/ 1520511 h 3082397"/>
              <a:gd name="connsiteX4" fmla="*/ 3082396 w 3082396"/>
              <a:gd name="connsiteY4" fmla="*/ 1541199 h 3082397"/>
              <a:gd name="connsiteX5" fmla="*/ 3082396 w 3082396"/>
              <a:gd name="connsiteY5" fmla="*/ 3082396 h 3082397"/>
              <a:gd name="connsiteX6" fmla="*/ 1541212 w 3082396"/>
              <a:gd name="connsiteY6" fmla="*/ 3082396 h 3082397"/>
              <a:gd name="connsiteX7" fmla="*/ 1541198 w 3082396"/>
              <a:gd name="connsiteY7" fmla="*/ 3082397 h 3082397"/>
              <a:gd name="connsiteX8" fmla="*/ 1541183 w 3082396"/>
              <a:gd name="connsiteY8" fmla="*/ 3082396 h 3082397"/>
              <a:gd name="connsiteX9" fmla="*/ 1468793 w 3082396"/>
              <a:gd name="connsiteY9" fmla="*/ 3082396 h 3082397"/>
              <a:gd name="connsiteX10" fmla="*/ 1468793 w 3082396"/>
              <a:gd name="connsiteY10" fmla="*/ 3078741 h 3082397"/>
              <a:gd name="connsiteX11" fmla="*/ 1383621 w 3082396"/>
              <a:gd name="connsiteY11" fmla="*/ 3074441 h 3082397"/>
              <a:gd name="connsiteX12" fmla="*/ 0 w 3082396"/>
              <a:gd name="connsiteY12" fmla="*/ 1541198 h 3082397"/>
              <a:gd name="connsiteX13" fmla="*/ 1541197 w 3082396"/>
              <a:gd name="connsiteY13" fmla="*/ 0 h 308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082396" h="3082397">
                <a:moveTo>
                  <a:pt x="1541197" y="0"/>
                </a:moveTo>
                <a:cubicBezTo>
                  <a:pt x="2339179" y="0"/>
                  <a:pt x="2995514" y="606461"/>
                  <a:pt x="3074439" y="1383621"/>
                </a:cubicBezTo>
                <a:lnTo>
                  <a:pt x="3081351" y="1520511"/>
                </a:lnTo>
                <a:lnTo>
                  <a:pt x="3082396" y="1520511"/>
                </a:lnTo>
                <a:lnTo>
                  <a:pt x="3082396" y="1541199"/>
                </a:lnTo>
                <a:lnTo>
                  <a:pt x="3082396" y="3082396"/>
                </a:lnTo>
                <a:lnTo>
                  <a:pt x="1541212" y="3082396"/>
                </a:lnTo>
                <a:lnTo>
                  <a:pt x="1541198" y="3082397"/>
                </a:lnTo>
                <a:lnTo>
                  <a:pt x="1541183" y="3082396"/>
                </a:lnTo>
                <a:lnTo>
                  <a:pt x="1468793" y="3082396"/>
                </a:lnTo>
                <a:lnTo>
                  <a:pt x="1468793" y="3078741"/>
                </a:lnTo>
                <a:lnTo>
                  <a:pt x="1383621" y="3074441"/>
                </a:lnTo>
                <a:cubicBezTo>
                  <a:pt x="606461" y="2995515"/>
                  <a:pt x="0" y="2339180"/>
                  <a:pt x="0" y="1541198"/>
                </a:cubicBezTo>
                <a:cubicBezTo>
                  <a:pt x="0" y="690018"/>
                  <a:pt x="690017" y="0"/>
                  <a:pt x="154119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37608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C656358-89EF-4084-ADF6-0BE45ED82F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5410553" cy="6858000"/>
          </a:xfrm>
          <a:custGeom>
            <a:avLst/>
            <a:gdLst>
              <a:gd name="connsiteX0" fmla="*/ 0 w 5410553"/>
              <a:gd name="connsiteY0" fmla="*/ 0 h 6858000"/>
              <a:gd name="connsiteX1" fmla="*/ 1627873 w 5410553"/>
              <a:gd name="connsiteY1" fmla="*/ 0 h 6858000"/>
              <a:gd name="connsiteX2" fmla="*/ 2168929 w 5410553"/>
              <a:gd name="connsiteY2" fmla="*/ 0 h 6858000"/>
              <a:gd name="connsiteX3" fmla="*/ 3241609 w 5410553"/>
              <a:gd name="connsiteY3" fmla="*/ 0 h 6858000"/>
              <a:gd name="connsiteX4" fmla="*/ 3782664 w 5410553"/>
              <a:gd name="connsiteY4" fmla="*/ 0 h 6858000"/>
              <a:gd name="connsiteX5" fmla="*/ 3825750 w 5410553"/>
              <a:gd name="connsiteY5" fmla="*/ 0 h 6858000"/>
              <a:gd name="connsiteX6" fmla="*/ 3825750 w 5410553"/>
              <a:gd name="connsiteY6" fmla="*/ 1 h 6858000"/>
              <a:gd name="connsiteX7" fmla="*/ 3859050 w 5410553"/>
              <a:gd name="connsiteY7" fmla="*/ 1 h 6858000"/>
              <a:gd name="connsiteX8" fmla="*/ 3859050 w 5410553"/>
              <a:gd name="connsiteY8" fmla="*/ 3976 h 6858000"/>
              <a:gd name="connsiteX9" fmla="*/ 3937767 w 5410553"/>
              <a:gd name="connsiteY9" fmla="*/ 8022 h 6858000"/>
              <a:gd name="connsiteX10" fmla="*/ 3942543 w 5410553"/>
              <a:gd name="connsiteY10" fmla="*/ 8764 h 6858000"/>
              <a:gd name="connsiteX11" fmla="*/ 3948907 w 5410553"/>
              <a:gd name="connsiteY11" fmla="*/ 9111 h 6858000"/>
              <a:gd name="connsiteX12" fmla="*/ 4228992 w 5410553"/>
              <a:gd name="connsiteY12" fmla="*/ 67312 h 6858000"/>
              <a:gd name="connsiteX13" fmla="*/ 4235582 w 5410553"/>
              <a:gd name="connsiteY13" fmla="*/ 69688 h 6858000"/>
              <a:gd name="connsiteX14" fmla="*/ 4236717 w 5410553"/>
              <a:gd name="connsiteY14" fmla="*/ 69985 h 6858000"/>
              <a:gd name="connsiteX15" fmla="*/ 4248022 w 5410553"/>
              <a:gd name="connsiteY15" fmla="*/ 74178 h 6858000"/>
              <a:gd name="connsiteX16" fmla="*/ 4362084 w 5410553"/>
              <a:gd name="connsiteY16" fmla="*/ 115332 h 6858000"/>
              <a:gd name="connsiteX17" fmla="*/ 4373791 w 5410553"/>
              <a:gd name="connsiteY17" fmla="*/ 120816 h 6858000"/>
              <a:gd name="connsiteX18" fmla="*/ 4378240 w 5410553"/>
              <a:gd name="connsiteY18" fmla="*/ 122467 h 6858000"/>
              <a:gd name="connsiteX19" fmla="*/ 4402294 w 5410553"/>
              <a:gd name="connsiteY19" fmla="*/ 134171 h 6858000"/>
              <a:gd name="connsiteX20" fmla="*/ 4489799 w 5410553"/>
              <a:gd name="connsiteY20" fmla="*/ 175163 h 6858000"/>
              <a:gd name="connsiteX21" fmla="*/ 4506131 w 5410553"/>
              <a:gd name="connsiteY21" fmla="*/ 184690 h 6858000"/>
              <a:gd name="connsiteX22" fmla="*/ 4513564 w 5410553"/>
              <a:gd name="connsiteY22" fmla="*/ 188306 h 6858000"/>
              <a:gd name="connsiteX23" fmla="*/ 4539665 w 5410553"/>
              <a:gd name="connsiteY23" fmla="*/ 204251 h 6858000"/>
              <a:gd name="connsiteX24" fmla="*/ 4611586 w 5410553"/>
              <a:gd name="connsiteY24" fmla="*/ 246206 h 6858000"/>
              <a:gd name="connsiteX25" fmla="*/ 4631969 w 5410553"/>
              <a:gd name="connsiteY25" fmla="*/ 260639 h 6858000"/>
              <a:gd name="connsiteX26" fmla="*/ 4642014 w 5410553"/>
              <a:gd name="connsiteY26" fmla="*/ 266773 h 6858000"/>
              <a:gd name="connsiteX27" fmla="*/ 4666865 w 5410553"/>
              <a:gd name="connsiteY27" fmla="*/ 285348 h 6858000"/>
              <a:gd name="connsiteX28" fmla="*/ 4726890 w 5410553"/>
              <a:gd name="connsiteY28" fmla="*/ 327853 h 6858000"/>
              <a:gd name="connsiteX29" fmla="*/ 4750674 w 5410553"/>
              <a:gd name="connsiteY29" fmla="*/ 347987 h 6858000"/>
              <a:gd name="connsiteX30" fmla="*/ 4762915 w 5410553"/>
              <a:gd name="connsiteY30" fmla="*/ 357135 h 6858000"/>
              <a:gd name="connsiteX31" fmla="*/ 4785202 w 5410553"/>
              <a:gd name="connsiteY31" fmla="*/ 377217 h 6858000"/>
              <a:gd name="connsiteX32" fmla="*/ 4835155 w 5410553"/>
              <a:gd name="connsiteY32" fmla="*/ 419505 h 6858000"/>
              <a:gd name="connsiteX33" fmla="*/ 4861614 w 5410553"/>
              <a:gd name="connsiteY33" fmla="*/ 446067 h 6858000"/>
              <a:gd name="connsiteX34" fmla="*/ 4875593 w 5410553"/>
              <a:gd name="connsiteY34" fmla="*/ 458661 h 6858000"/>
              <a:gd name="connsiteX35" fmla="*/ 4894771 w 5410553"/>
              <a:gd name="connsiteY35" fmla="*/ 479349 h 6858000"/>
              <a:gd name="connsiteX36" fmla="*/ 4935827 w 5410553"/>
              <a:gd name="connsiteY36" fmla="*/ 520560 h 6858000"/>
              <a:gd name="connsiteX37" fmla="*/ 4964164 w 5410553"/>
              <a:gd name="connsiteY37" fmla="*/ 554208 h 6858000"/>
              <a:gd name="connsiteX38" fmla="*/ 4979380 w 5410553"/>
              <a:gd name="connsiteY38" fmla="*/ 570622 h 6858000"/>
              <a:gd name="connsiteX39" fmla="*/ 4995273 w 5410553"/>
              <a:gd name="connsiteY39" fmla="*/ 591145 h 6858000"/>
              <a:gd name="connsiteX40" fmla="*/ 5028346 w 5410553"/>
              <a:gd name="connsiteY40" fmla="*/ 630415 h 6858000"/>
              <a:gd name="connsiteX41" fmla="*/ 5057701 w 5410553"/>
              <a:gd name="connsiteY41" fmla="*/ 671758 h 6858000"/>
              <a:gd name="connsiteX42" fmla="*/ 5073596 w 5410553"/>
              <a:gd name="connsiteY42" fmla="*/ 692284 h 6858000"/>
              <a:gd name="connsiteX43" fmla="*/ 5086246 w 5410553"/>
              <a:gd name="connsiteY43" fmla="*/ 711964 h 6858000"/>
              <a:gd name="connsiteX44" fmla="*/ 5112165 w 5410553"/>
              <a:gd name="connsiteY44" fmla="*/ 748469 h 6858000"/>
              <a:gd name="connsiteX45" fmla="*/ 5141608 w 5410553"/>
              <a:gd name="connsiteY45" fmla="*/ 798086 h 6858000"/>
              <a:gd name="connsiteX46" fmla="*/ 5157568 w 5410553"/>
              <a:gd name="connsiteY46" fmla="*/ 822915 h 6858000"/>
              <a:gd name="connsiteX47" fmla="*/ 5167158 w 5410553"/>
              <a:gd name="connsiteY47" fmla="*/ 841145 h 6858000"/>
              <a:gd name="connsiteX48" fmla="*/ 5186726 w 5410553"/>
              <a:gd name="connsiteY48" fmla="*/ 874117 h 6858000"/>
              <a:gd name="connsiteX49" fmla="*/ 5215275 w 5410553"/>
              <a:gd name="connsiteY49" fmla="*/ 932612 h 6858000"/>
              <a:gd name="connsiteX50" fmla="*/ 5230626 w 5410553"/>
              <a:gd name="connsiteY50" fmla="*/ 961788 h 6858000"/>
              <a:gd name="connsiteX51" fmla="*/ 5237440 w 5410553"/>
              <a:gd name="connsiteY51" fmla="*/ 978019 h 6858000"/>
              <a:gd name="connsiteX52" fmla="*/ 5251470 w 5410553"/>
              <a:gd name="connsiteY52" fmla="*/ 1006759 h 6858000"/>
              <a:gd name="connsiteX53" fmla="*/ 5278100 w 5410553"/>
              <a:gd name="connsiteY53" fmla="*/ 1074845 h 6858000"/>
              <a:gd name="connsiteX54" fmla="*/ 5292092 w 5410553"/>
              <a:gd name="connsiteY54" fmla="*/ 1108170 h 6858000"/>
              <a:gd name="connsiteX55" fmla="*/ 5296506 w 5410553"/>
              <a:gd name="connsiteY55" fmla="*/ 1121904 h 6858000"/>
              <a:gd name="connsiteX56" fmla="*/ 5305849 w 5410553"/>
              <a:gd name="connsiteY56" fmla="*/ 1145796 h 6858000"/>
              <a:gd name="connsiteX57" fmla="*/ 5329473 w 5410553"/>
              <a:gd name="connsiteY57" fmla="*/ 1224524 h 6858000"/>
              <a:gd name="connsiteX58" fmla="*/ 5341296 w 5410553"/>
              <a:gd name="connsiteY58" fmla="*/ 1261324 h 6858000"/>
              <a:gd name="connsiteX59" fmla="*/ 5343755 w 5410553"/>
              <a:gd name="connsiteY59" fmla="*/ 1272119 h 6858000"/>
              <a:gd name="connsiteX60" fmla="*/ 5349304 w 5410553"/>
              <a:gd name="connsiteY60" fmla="*/ 1290618 h 6858000"/>
              <a:gd name="connsiteX61" fmla="*/ 5368796 w 5410553"/>
              <a:gd name="connsiteY61" fmla="*/ 1382061 h 6858000"/>
              <a:gd name="connsiteX62" fmla="*/ 5377559 w 5410553"/>
              <a:gd name="connsiteY62" fmla="*/ 1420528 h 6858000"/>
              <a:gd name="connsiteX63" fmla="*/ 5378584 w 5410553"/>
              <a:gd name="connsiteY63" fmla="*/ 1427980 h 6858000"/>
              <a:gd name="connsiteX64" fmla="*/ 5381281 w 5410553"/>
              <a:gd name="connsiteY64" fmla="*/ 1440629 h 6858000"/>
              <a:gd name="connsiteX65" fmla="*/ 5395472 w 5410553"/>
              <a:gd name="connsiteY65" fmla="*/ 1550634 h 6858000"/>
              <a:gd name="connsiteX66" fmla="*/ 5400211 w 5410553"/>
              <a:gd name="connsiteY66" fmla="*/ 1585042 h 6858000"/>
              <a:gd name="connsiteX67" fmla="*/ 5400379 w 5410553"/>
              <a:gd name="connsiteY67" fmla="*/ 1588666 h 6858000"/>
              <a:gd name="connsiteX68" fmla="*/ 5401224 w 5410553"/>
              <a:gd name="connsiteY68" fmla="*/ 1595226 h 6858000"/>
              <a:gd name="connsiteX69" fmla="*/ 5404555 w 5410553"/>
              <a:gd name="connsiteY69" fmla="*/ 1671522 h 6858000"/>
              <a:gd name="connsiteX70" fmla="*/ 5408611 w 5410553"/>
              <a:gd name="connsiteY70" fmla="*/ 1671522 h 6858000"/>
              <a:gd name="connsiteX71" fmla="*/ 5408611 w 5410553"/>
              <a:gd name="connsiteY71" fmla="*/ 1741862 h 6858000"/>
              <a:gd name="connsiteX72" fmla="*/ 5408611 w 5410553"/>
              <a:gd name="connsiteY72" fmla="*/ 1764504 h 6858000"/>
              <a:gd name="connsiteX73" fmla="*/ 5408611 w 5410553"/>
              <a:gd name="connsiteY73" fmla="*/ 1765033 h 6858000"/>
              <a:gd name="connsiteX74" fmla="*/ 5410553 w 5410553"/>
              <a:gd name="connsiteY74" fmla="*/ 1765033 h 6858000"/>
              <a:gd name="connsiteX75" fmla="*/ 5410553 w 5410553"/>
              <a:gd name="connsiteY75" fmla="*/ 1944433 h 6858000"/>
              <a:gd name="connsiteX76" fmla="*/ 3825750 w 5410553"/>
              <a:gd name="connsiteY76" fmla="*/ 1944433 h 6858000"/>
              <a:gd name="connsiteX77" fmla="*/ 3825750 w 5410553"/>
              <a:gd name="connsiteY77" fmla="*/ 1944434 h 6858000"/>
              <a:gd name="connsiteX78" fmla="*/ 3859049 w 5410553"/>
              <a:gd name="connsiteY78" fmla="*/ 1944434 h 6858000"/>
              <a:gd name="connsiteX79" fmla="*/ 3859049 w 5410553"/>
              <a:gd name="connsiteY79" fmla="*/ 1948409 h 6858000"/>
              <a:gd name="connsiteX80" fmla="*/ 3937767 w 5410553"/>
              <a:gd name="connsiteY80" fmla="*/ 1952454 h 6858000"/>
              <a:gd name="connsiteX81" fmla="*/ 3942543 w 5410553"/>
              <a:gd name="connsiteY81" fmla="*/ 1953195 h 6858000"/>
              <a:gd name="connsiteX82" fmla="*/ 3948906 w 5410553"/>
              <a:gd name="connsiteY82" fmla="*/ 1953545 h 6858000"/>
              <a:gd name="connsiteX83" fmla="*/ 4228992 w 5410553"/>
              <a:gd name="connsiteY83" fmla="*/ 2011744 h 6858000"/>
              <a:gd name="connsiteX84" fmla="*/ 4235581 w 5410553"/>
              <a:gd name="connsiteY84" fmla="*/ 2014120 h 6858000"/>
              <a:gd name="connsiteX85" fmla="*/ 4236717 w 5410553"/>
              <a:gd name="connsiteY85" fmla="*/ 2014418 h 6858000"/>
              <a:gd name="connsiteX86" fmla="*/ 4248022 w 5410553"/>
              <a:gd name="connsiteY86" fmla="*/ 2018611 h 6858000"/>
              <a:gd name="connsiteX87" fmla="*/ 4362083 w 5410553"/>
              <a:gd name="connsiteY87" fmla="*/ 2059764 h 6858000"/>
              <a:gd name="connsiteX88" fmla="*/ 4373790 w 5410553"/>
              <a:gd name="connsiteY88" fmla="*/ 2065249 h 6858000"/>
              <a:gd name="connsiteX89" fmla="*/ 4378239 w 5410553"/>
              <a:gd name="connsiteY89" fmla="*/ 2066899 h 6858000"/>
              <a:gd name="connsiteX90" fmla="*/ 4402293 w 5410553"/>
              <a:gd name="connsiteY90" fmla="*/ 2078604 h 6858000"/>
              <a:gd name="connsiteX91" fmla="*/ 4489798 w 5410553"/>
              <a:gd name="connsiteY91" fmla="*/ 2119596 h 6858000"/>
              <a:gd name="connsiteX92" fmla="*/ 4506130 w 5410553"/>
              <a:gd name="connsiteY92" fmla="*/ 2129123 h 6858000"/>
              <a:gd name="connsiteX93" fmla="*/ 4513563 w 5410553"/>
              <a:gd name="connsiteY93" fmla="*/ 2132739 h 6858000"/>
              <a:gd name="connsiteX94" fmla="*/ 4539663 w 5410553"/>
              <a:gd name="connsiteY94" fmla="*/ 2148684 h 6858000"/>
              <a:gd name="connsiteX95" fmla="*/ 4611586 w 5410553"/>
              <a:gd name="connsiteY95" fmla="*/ 2190639 h 6858000"/>
              <a:gd name="connsiteX96" fmla="*/ 4631969 w 5410553"/>
              <a:gd name="connsiteY96" fmla="*/ 2205072 h 6858000"/>
              <a:gd name="connsiteX97" fmla="*/ 4642011 w 5410553"/>
              <a:gd name="connsiteY97" fmla="*/ 2211205 h 6858000"/>
              <a:gd name="connsiteX98" fmla="*/ 4666865 w 5410553"/>
              <a:gd name="connsiteY98" fmla="*/ 2229781 h 6858000"/>
              <a:gd name="connsiteX99" fmla="*/ 4726888 w 5410553"/>
              <a:gd name="connsiteY99" fmla="*/ 2272285 h 6858000"/>
              <a:gd name="connsiteX100" fmla="*/ 4750674 w 5410553"/>
              <a:gd name="connsiteY100" fmla="*/ 2292420 h 6858000"/>
              <a:gd name="connsiteX101" fmla="*/ 4762912 w 5410553"/>
              <a:gd name="connsiteY101" fmla="*/ 2301568 h 6858000"/>
              <a:gd name="connsiteX102" fmla="*/ 4785201 w 5410553"/>
              <a:gd name="connsiteY102" fmla="*/ 2321651 h 6858000"/>
              <a:gd name="connsiteX103" fmla="*/ 4835155 w 5410553"/>
              <a:gd name="connsiteY103" fmla="*/ 2363938 h 6858000"/>
              <a:gd name="connsiteX104" fmla="*/ 4861613 w 5410553"/>
              <a:gd name="connsiteY104" fmla="*/ 2390499 h 6858000"/>
              <a:gd name="connsiteX105" fmla="*/ 4875593 w 5410553"/>
              <a:gd name="connsiteY105" fmla="*/ 2403094 h 6858000"/>
              <a:gd name="connsiteX106" fmla="*/ 4894769 w 5410553"/>
              <a:gd name="connsiteY106" fmla="*/ 2423782 h 6858000"/>
              <a:gd name="connsiteX107" fmla="*/ 4935824 w 5410553"/>
              <a:gd name="connsiteY107" fmla="*/ 2464992 h 6858000"/>
              <a:gd name="connsiteX108" fmla="*/ 4964163 w 5410553"/>
              <a:gd name="connsiteY108" fmla="*/ 2498639 h 6858000"/>
              <a:gd name="connsiteX109" fmla="*/ 4979380 w 5410553"/>
              <a:gd name="connsiteY109" fmla="*/ 2515055 h 6858000"/>
              <a:gd name="connsiteX110" fmla="*/ 4995273 w 5410553"/>
              <a:gd name="connsiteY110" fmla="*/ 2535578 h 6858000"/>
              <a:gd name="connsiteX111" fmla="*/ 5028344 w 5410553"/>
              <a:gd name="connsiteY111" fmla="*/ 2574846 h 6858000"/>
              <a:gd name="connsiteX112" fmla="*/ 5057698 w 5410553"/>
              <a:gd name="connsiteY112" fmla="*/ 2616189 h 6858000"/>
              <a:gd name="connsiteX113" fmla="*/ 5073596 w 5410553"/>
              <a:gd name="connsiteY113" fmla="*/ 2636717 h 6858000"/>
              <a:gd name="connsiteX114" fmla="*/ 5086244 w 5410553"/>
              <a:gd name="connsiteY114" fmla="*/ 2656395 h 6858000"/>
              <a:gd name="connsiteX115" fmla="*/ 5112164 w 5410553"/>
              <a:gd name="connsiteY115" fmla="*/ 2692902 h 6858000"/>
              <a:gd name="connsiteX116" fmla="*/ 5141608 w 5410553"/>
              <a:gd name="connsiteY116" fmla="*/ 2742519 h 6858000"/>
              <a:gd name="connsiteX117" fmla="*/ 5157568 w 5410553"/>
              <a:gd name="connsiteY117" fmla="*/ 2767348 h 6858000"/>
              <a:gd name="connsiteX118" fmla="*/ 5167158 w 5410553"/>
              <a:gd name="connsiteY118" fmla="*/ 2785577 h 6858000"/>
              <a:gd name="connsiteX119" fmla="*/ 5186724 w 5410553"/>
              <a:gd name="connsiteY119" fmla="*/ 2818550 h 6858000"/>
              <a:gd name="connsiteX120" fmla="*/ 5215275 w 5410553"/>
              <a:gd name="connsiteY120" fmla="*/ 2877044 h 6858000"/>
              <a:gd name="connsiteX121" fmla="*/ 5230624 w 5410553"/>
              <a:gd name="connsiteY121" fmla="*/ 2906220 h 6858000"/>
              <a:gd name="connsiteX122" fmla="*/ 5237439 w 5410553"/>
              <a:gd name="connsiteY122" fmla="*/ 2922452 h 6858000"/>
              <a:gd name="connsiteX123" fmla="*/ 5251470 w 5410553"/>
              <a:gd name="connsiteY123" fmla="*/ 2951192 h 6858000"/>
              <a:gd name="connsiteX124" fmla="*/ 5278100 w 5410553"/>
              <a:gd name="connsiteY124" fmla="*/ 3019278 h 6858000"/>
              <a:gd name="connsiteX125" fmla="*/ 5292092 w 5410553"/>
              <a:gd name="connsiteY125" fmla="*/ 3052600 h 6858000"/>
              <a:gd name="connsiteX126" fmla="*/ 5296504 w 5410553"/>
              <a:gd name="connsiteY126" fmla="*/ 3066337 h 6858000"/>
              <a:gd name="connsiteX127" fmla="*/ 5305849 w 5410553"/>
              <a:gd name="connsiteY127" fmla="*/ 3090227 h 6858000"/>
              <a:gd name="connsiteX128" fmla="*/ 5329471 w 5410553"/>
              <a:gd name="connsiteY128" fmla="*/ 3168956 h 6858000"/>
              <a:gd name="connsiteX129" fmla="*/ 5341293 w 5410553"/>
              <a:gd name="connsiteY129" fmla="*/ 3205756 h 6858000"/>
              <a:gd name="connsiteX130" fmla="*/ 5343751 w 5410553"/>
              <a:gd name="connsiteY130" fmla="*/ 3216552 h 6858000"/>
              <a:gd name="connsiteX131" fmla="*/ 5349304 w 5410553"/>
              <a:gd name="connsiteY131" fmla="*/ 3235051 h 6858000"/>
              <a:gd name="connsiteX132" fmla="*/ 5368795 w 5410553"/>
              <a:gd name="connsiteY132" fmla="*/ 3326492 h 6858000"/>
              <a:gd name="connsiteX133" fmla="*/ 5377557 w 5410553"/>
              <a:gd name="connsiteY133" fmla="*/ 3364959 h 6858000"/>
              <a:gd name="connsiteX134" fmla="*/ 5378582 w 5410553"/>
              <a:gd name="connsiteY134" fmla="*/ 3372411 h 6858000"/>
              <a:gd name="connsiteX135" fmla="*/ 5381281 w 5410553"/>
              <a:gd name="connsiteY135" fmla="*/ 3385062 h 6858000"/>
              <a:gd name="connsiteX136" fmla="*/ 5395472 w 5410553"/>
              <a:gd name="connsiteY136" fmla="*/ 3495066 h 6858000"/>
              <a:gd name="connsiteX137" fmla="*/ 5400210 w 5410553"/>
              <a:gd name="connsiteY137" fmla="*/ 3529474 h 6858000"/>
              <a:gd name="connsiteX138" fmla="*/ 5400377 w 5410553"/>
              <a:gd name="connsiteY138" fmla="*/ 3533097 h 6858000"/>
              <a:gd name="connsiteX139" fmla="*/ 5401224 w 5410553"/>
              <a:gd name="connsiteY139" fmla="*/ 3539659 h 6858000"/>
              <a:gd name="connsiteX140" fmla="*/ 5404554 w 5410553"/>
              <a:gd name="connsiteY140" fmla="*/ 3615954 h 6858000"/>
              <a:gd name="connsiteX141" fmla="*/ 5408611 w 5410553"/>
              <a:gd name="connsiteY141" fmla="*/ 3615954 h 6858000"/>
              <a:gd name="connsiteX142" fmla="*/ 5408611 w 5410553"/>
              <a:gd name="connsiteY142" fmla="*/ 3686294 h 6858000"/>
              <a:gd name="connsiteX143" fmla="*/ 5408611 w 5410553"/>
              <a:gd name="connsiteY143" fmla="*/ 3708935 h 6858000"/>
              <a:gd name="connsiteX144" fmla="*/ 5408611 w 5410553"/>
              <a:gd name="connsiteY144" fmla="*/ 3709464 h 6858000"/>
              <a:gd name="connsiteX145" fmla="*/ 5410552 w 5410553"/>
              <a:gd name="connsiteY145" fmla="*/ 3709464 h 6858000"/>
              <a:gd name="connsiteX146" fmla="*/ 5410552 w 5410553"/>
              <a:gd name="connsiteY146" fmla="*/ 4047423 h 6858000"/>
              <a:gd name="connsiteX147" fmla="*/ 5410552 w 5410553"/>
              <a:gd name="connsiteY147" fmla="*/ 4755011 h 6858000"/>
              <a:gd name="connsiteX148" fmla="*/ 5410552 w 5410553"/>
              <a:gd name="connsiteY148" fmla="*/ 5092970 h 6858000"/>
              <a:gd name="connsiteX149" fmla="*/ 5410552 w 5410553"/>
              <a:gd name="connsiteY149" fmla="*/ 5186482 h 6858000"/>
              <a:gd name="connsiteX150" fmla="*/ 5408629 w 5410553"/>
              <a:gd name="connsiteY150" fmla="*/ 5186482 h 6858000"/>
              <a:gd name="connsiteX151" fmla="*/ 5408629 w 5410553"/>
              <a:gd name="connsiteY151" fmla="*/ 6857999 h 6858000"/>
              <a:gd name="connsiteX152" fmla="*/ 4867572 w 5410553"/>
              <a:gd name="connsiteY152" fmla="*/ 6857999 h 6858000"/>
              <a:gd name="connsiteX153" fmla="*/ 3794895 w 5410553"/>
              <a:gd name="connsiteY153" fmla="*/ 6857999 h 6858000"/>
              <a:gd name="connsiteX154" fmla="*/ 3783656 w 5410553"/>
              <a:gd name="connsiteY154" fmla="*/ 6857999 h 6858000"/>
              <a:gd name="connsiteX155" fmla="*/ 3782698 w 5410553"/>
              <a:gd name="connsiteY155" fmla="*/ 6857999 h 6858000"/>
              <a:gd name="connsiteX156" fmla="*/ 3782682 w 5410553"/>
              <a:gd name="connsiteY156" fmla="*/ 6858000 h 6858000"/>
              <a:gd name="connsiteX157" fmla="*/ 3782667 w 5410553"/>
              <a:gd name="connsiteY157" fmla="*/ 6857999 h 6858000"/>
              <a:gd name="connsiteX158" fmla="*/ 3706296 w 5410553"/>
              <a:gd name="connsiteY158" fmla="*/ 6857999 h 6858000"/>
              <a:gd name="connsiteX159" fmla="*/ 3253837 w 5410553"/>
              <a:gd name="connsiteY159" fmla="*/ 6857999 h 6858000"/>
              <a:gd name="connsiteX160" fmla="*/ 3242599 w 5410553"/>
              <a:gd name="connsiteY160" fmla="*/ 6857999 h 6858000"/>
              <a:gd name="connsiteX161" fmla="*/ 3241641 w 5410553"/>
              <a:gd name="connsiteY161" fmla="*/ 6857999 h 6858000"/>
              <a:gd name="connsiteX162" fmla="*/ 3241626 w 5410553"/>
              <a:gd name="connsiteY162" fmla="*/ 6858000 h 6858000"/>
              <a:gd name="connsiteX163" fmla="*/ 3241609 w 5410553"/>
              <a:gd name="connsiteY163" fmla="*/ 6857999 h 6858000"/>
              <a:gd name="connsiteX164" fmla="*/ 3165240 w 5410553"/>
              <a:gd name="connsiteY164" fmla="*/ 6857999 h 6858000"/>
              <a:gd name="connsiteX165" fmla="*/ 2169922 w 5410553"/>
              <a:gd name="connsiteY165" fmla="*/ 6857999 h 6858000"/>
              <a:gd name="connsiteX166" fmla="*/ 2168963 w 5410553"/>
              <a:gd name="connsiteY166" fmla="*/ 6857999 h 6858000"/>
              <a:gd name="connsiteX167" fmla="*/ 2168947 w 5410553"/>
              <a:gd name="connsiteY167" fmla="*/ 6858000 h 6858000"/>
              <a:gd name="connsiteX168" fmla="*/ 2168931 w 5410553"/>
              <a:gd name="connsiteY168" fmla="*/ 6857999 h 6858000"/>
              <a:gd name="connsiteX169" fmla="*/ 2092561 w 5410553"/>
              <a:gd name="connsiteY169" fmla="*/ 6857999 h 6858000"/>
              <a:gd name="connsiteX170" fmla="*/ 1628865 w 5410553"/>
              <a:gd name="connsiteY170" fmla="*/ 6857999 h 6858000"/>
              <a:gd name="connsiteX171" fmla="*/ 1627906 w 5410553"/>
              <a:gd name="connsiteY171" fmla="*/ 6857999 h 6858000"/>
              <a:gd name="connsiteX172" fmla="*/ 1627892 w 5410553"/>
              <a:gd name="connsiteY172" fmla="*/ 6858000 h 6858000"/>
              <a:gd name="connsiteX173" fmla="*/ 1627875 w 5410553"/>
              <a:gd name="connsiteY173" fmla="*/ 6857999 h 6858000"/>
              <a:gd name="connsiteX174" fmla="*/ 1551506 w 5410553"/>
              <a:gd name="connsiteY174" fmla="*/ 6857999 h 6858000"/>
              <a:gd name="connsiteX175" fmla="*/ 1551506 w 5410553"/>
              <a:gd name="connsiteY175" fmla="*/ 6854025 h 6858000"/>
              <a:gd name="connsiteX176" fmla="*/ 1472786 w 5410553"/>
              <a:gd name="connsiteY176" fmla="*/ 6849979 h 6858000"/>
              <a:gd name="connsiteX177" fmla="*/ 1468010 w 5410553"/>
              <a:gd name="connsiteY177" fmla="*/ 6849239 h 6858000"/>
              <a:gd name="connsiteX178" fmla="*/ 1461647 w 5410553"/>
              <a:gd name="connsiteY178" fmla="*/ 6848892 h 6858000"/>
              <a:gd name="connsiteX179" fmla="*/ 1181563 w 5410553"/>
              <a:gd name="connsiteY179" fmla="*/ 6790692 h 6858000"/>
              <a:gd name="connsiteX180" fmla="*/ 1174972 w 5410553"/>
              <a:gd name="connsiteY180" fmla="*/ 6788314 h 6858000"/>
              <a:gd name="connsiteX181" fmla="*/ 1173836 w 5410553"/>
              <a:gd name="connsiteY181" fmla="*/ 6788017 h 6858000"/>
              <a:gd name="connsiteX182" fmla="*/ 1162533 w 5410553"/>
              <a:gd name="connsiteY182" fmla="*/ 6783825 h 6858000"/>
              <a:gd name="connsiteX183" fmla="*/ 1048471 w 5410553"/>
              <a:gd name="connsiteY183" fmla="*/ 6742670 h 6858000"/>
              <a:gd name="connsiteX184" fmla="*/ 1036764 w 5410553"/>
              <a:gd name="connsiteY184" fmla="*/ 6737186 h 6858000"/>
              <a:gd name="connsiteX185" fmla="*/ 1032314 w 5410553"/>
              <a:gd name="connsiteY185" fmla="*/ 6735535 h 6858000"/>
              <a:gd name="connsiteX186" fmla="*/ 1008260 w 5410553"/>
              <a:gd name="connsiteY186" fmla="*/ 6723832 h 6858000"/>
              <a:gd name="connsiteX187" fmla="*/ 920755 w 5410553"/>
              <a:gd name="connsiteY187" fmla="*/ 6682839 h 6858000"/>
              <a:gd name="connsiteX188" fmla="*/ 904423 w 5410553"/>
              <a:gd name="connsiteY188" fmla="*/ 6673313 h 6858000"/>
              <a:gd name="connsiteX189" fmla="*/ 896991 w 5410553"/>
              <a:gd name="connsiteY189" fmla="*/ 6669695 h 6858000"/>
              <a:gd name="connsiteX190" fmla="*/ 870891 w 5410553"/>
              <a:gd name="connsiteY190" fmla="*/ 6653750 h 6858000"/>
              <a:gd name="connsiteX191" fmla="*/ 798968 w 5410553"/>
              <a:gd name="connsiteY191" fmla="*/ 6611797 h 6858000"/>
              <a:gd name="connsiteX192" fmla="*/ 778585 w 5410553"/>
              <a:gd name="connsiteY192" fmla="*/ 6597363 h 6858000"/>
              <a:gd name="connsiteX193" fmla="*/ 768542 w 5410553"/>
              <a:gd name="connsiteY193" fmla="*/ 6591229 h 6858000"/>
              <a:gd name="connsiteX194" fmla="*/ 743688 w 5410553"/>
              <a:gd name="connsiteY194" fmla="*/ 6572653 h 6858000"/>
              <a:gd name="connsiteX195" fmla="*/ 683666 w 5410553"/>
              <a:gd name="connsiteY195" fmla="*/ 6530149 h 6858000"/>
              <a:gd name="connsiteX196" fmla="*/ 659881 w 5410553"/>
              <a:gd name="connsiteY196" fmla="*/ 6510014 h 6858000"/>
              <a:gd name="connsiteX197" fmla="*/ 647641 w 5410553"/>
              <a:gd name="connsiteY197" fmla="*/ 6500867 h 6858000"/>
              <a:gd name="connsiteX198" fmla="*/ 625351 w 5410553"/>
              <a:gd name="connsiteY198" fmla="*/ 6480784 h 6858000"/>
              <a:gd name="connsiteX199" fmla="*/ 575400 w 5410553"/>
              <a:gd name="connsiteY199" fmla="*/ 6438495 h 6858000"/>
              <a:gd name="connsiteX200" fmla="*/ 548941 w 5410553"/>
              <a:gd name="connsiteY200" fmla="*/ 6411937 h 6858000"/>
              <a:gd name="connsiteX201" fmla="*/ 534961 w 5410553"/>
              <a:gd name="connsiteY201" fmla="*/ 6399339 h 6858000"/>
              <a:gd name="connsiteX202" fmla="*/ 515783 w 5410553"/>
              <a:gd name="connsiteY202" fmla="*/ 6378653 h 6858000"/>
              <a:gd name="connsiteX203" fmla="*/ 474729 w 5410553"/>
              <a:gd name="connsiteY203" fmla="*/ 6337442 h 6858000"/>
              <a:gd name="connsiteX204" fmla="*/ 446391 w 5410553"/>
              <a:gd name="connsiteY204" fmla="*/ 6303796 h 6858000"/>
              <a:gd name="connsiteX205" fmla="*/ 431175 w 5410553"/>
              <a:gd name="connsiteY205" fmla="*/ 6287380 h 6858000"/>
              <a:gd name="connsiteX206" fmla="*/ 415281 w 5410553"/>
              <a:gd name="connsiteY206" fmla="*/ 6266857 h 6858000"/>
              <a:gd name="connsiteX207" fmla="*/ 382208 w 5410553"/>
              <a:gd name="connsiteY207" fmla="*/ 6227587 h 6858000"/>
              <a:gd name="connsiteX208" fmla="*/ 352856 w 5410553"/>
              <a:gd name="connsiteY208" fmla="*/ 6186244 h 6858000"/>
              <a:gd name="connsiteX209" fmla="*/ 336959 w 5410553"/>
              <a:gd name="connsiteY209" fmla="*/ 6165720 h 6858000"/>
              <a:gd name="connsiteX210" fmla="*/ 324308 w 5410553"/>
              <a:gd name="connsiteY210" fmla="*/ 6146039 h 6858000"/>
              <a:gd name="connsiteX211" fmla="*/ 298389 w 5410553"/>
              <a:gd name="connsiteY211" fmla="*/ 6109534 h 6858000"/>
              <a:gd name="connsiteX212" fmla="*/ 268946 w 5410553"/>
              <a:gd name="connsiteY212" fmla="*/ 6059914 h 6858000"/>
              <a:gd name="connsiteX213" fmla="*/ 252985 w 5410553"/>
              <a:gd name="connsiteY213" fmla="*/ 6035086 h 6858000"/>
              <a:gd name="connsiteX214" fmla="*/ 243395 w 5410553"/>
              <a:gd name="connsiteY214" fmla="*/ 6016857 h 6858000"/>
              <a:gd name="connsiteX215" fmla="*/ 223831 w 5410553"/>
              <a:gd name="connsiteY215" fmla="*/ 5983884 h 6858000"/>
              <a:gd name="connsiteX216" fmla="*/ 195278 w 5410553"/>
              <a:gd name="connsiteY216" fmla="*/ 5925391 h 6858000"/>
              <a:gd name="connsiteX217" fmla="*/ 179929 w 5410553"/>
              <a:gd name="connsiteY217" fmla="*/ 5896214 h 6858000"/>
              <a:gd name="connsiteX218" fmla="*/ 173113 w 5410553"/>
              <a:gd name="connsiteY218" fmla="*/ 5879983 h 6858000"/>
              <a:gd name="connsiteX219" fmla="*/ 159084 w 5410553"/>
              <a:gd name="connsiteY219" fmla="*/ 5851242 h 6858000"/>
              <a:gd name="connsiteX220" fmla="*/ 132456 w 5410553"/>
              <a:gd name="connsiteY220" fmla="*/ 5783156 h 6858000"/>
              <a:gd name="connsiteX221" fmla="*/ 118462 w 5410553"/>
              <a:gd name="connsiteY221" fmla="*/ 5749834 h 6858000"/>
              <a:gd name="connsiteX222" fmla="*/ 114051 w 5410553"/>
              <a:gd name="connsiteY222" fmla="*/ 5736099 h 6858000"/>
              <a:gd name="connsiteX223" fmla="*/ 104705 w 5410553"/>
              <a:gd name="connsiteY223" fmla="*/ 5712207 h 6858000"/>
              <a:gd name="connsiteX224" fmla="*/ 81084 w 5410553"/>
              <a:gd name="connsiteY224" fmla="*/ 5633479 h 6858000"/>
              <a:gd name="connsiteX225" fmla="*/ 69261 w 5410553"/>
              <a:gd name="connsiteY225" fmla="*/ 5596679 h 6858000"/>
              <a:gd name="connsiteX226" fmla="*/ 66802 w 5410553"/>
              <a:gd name="connsiteY226" fmla="*/ 5585881 h 6858000"/>
              <a:gd name="connsiteX227" fmla="*/ 61250 w 5410553"/>
              <a:gd name="connsiteY227" fmla="*/ 5567382 h 6858000"/>
              <a:gd name="connsiteX228" fmla="*/ 41759 w 5410553"/>
              <a:gd name="connsiteY228" fmla="*/ 5475943 h 6858000"/>
              <a:gd name="connsiteX229" fmla="*/ 32996 w 5410553"/>
              <a:gd name="connsiteY229" fmla="*/ 5437474 h 6858000"/>
              <a:gd name="connsiteX230" fmla="*/ 31970 w 5410553"/>
              <a:gd name="connsiteY230" fmla="*/ 5430024 h 6858000"/>
              <a:gd name="connsiteX231" fmla="*/ 29274 w 5410553"/>
              <a:gd name="connsiteY231" fmla="*/ 5417371 h 6858000"/>
              <a:gd name="connsiteX232" fmla="*/ 15083 w 5410553"/>
              <a:gd name="connsiteY232" fmla="*/ 5307370 h 6858000"/>
              <a:gd name="connsiteX233" fmla="*/ 10345 w 5410553"/>
              <a:gd name="connsiteY233" fmla="*/ 5272959 h 6858000"/>
              <a:gd name="connsiteX234" fmla="*/ 10177 w 5410553"/>
              <a:gd name="connsiteY234" fmla="*/ 5269337 h 6858000"/>
              <a:gd name="connsiteX235" fmla="*/ 9329 w 5410553"/>
              <a:gd name="connsiteY235" fmla="*/ 5262776 h 6858000"/>
              <a:gd name="connsiteX236" fmla="*/ 6002 w 5410553"/>
              <a:gd name="connsiteY236" fmla="*/ 5186482 h 6858000"/>
              <a:gd name="connsiteX237" fmla="*/ 1944 w 5410553"/>
              <a:gd name="connsiteY237" fmla="*/ 5186482 h 6858000"/>
              <a:gd name="connsiteX238" fmla="*/ 1944 w 5410553"/>
              <a:gd name="connsiteY238" fmla="*/ 5116140 h 6858000"/>
              <a:gd name="connsiteX239" fmla="*/ 1944 w 5410553"/>
              <a:gd name="connsiteY239" fmla="*/ 5093498 h 6858000"/>
              <a:gd name="connsiteX240" fmla="*/ 1944 w 5410553"/>
              <a:gd name="connsiteY240" fmla="*/ 5092970 h 6858000"/>
              <a:gd name="connsiteX241" fmla="*/ 0 w 5410553"/>
              <a:gd name="connsiteY241" fmla="*/ 5092970 h 6858000"/>
              <a:gd name="connsiteX242" fmla="*/ 0 w 5410553"/>
              <a:gd name="connsiteY242" fmla="*/ 4755011 h 6858000"/>
              <a:gd name="connsiteX243" fmla="*/ 0 w 5410553"/>
              <a:gd name="connsiteY243" fmla="*/ 4047423 h 6858000"/>
              <a:gd name="connsiteX244" fmla="*/ 0 w 5410553"/>
              <a:gd name="connsiteY244" fmla="*/ 3709464 h 6858000"/>
              <a:gd name="connsiteX245" fmla="*/ 0 w 5410553"/>
              <a:gd name="connsiteY245" fmla="*/ 3615954 h 6858000"/>
              <a:gd name="connsiteX246" fmla="*/ 1925 w 5410553"/>
              <a:gd name="connsiteY246" fmla="*/ 3615954 h 6858000"/>
              <a:gd name="connsiteX247" fmla="*/ 1925 w 5410553"/>
              <a:gd name="connsiteY247" fmla="*/ 3603350 h 6858000"/>
              <a:gd name="connsiteX248" fmla="*/ 0 w 5410553"/>
              <a:gd name="connsiteY248" fmla="*/ 3603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5410553" h="6858000">
                <a:moveTo>
                  <a:pt x="0" y="0"/>
                </a:moveTo>
                <a:lnTo>
                  <a:pt x="1627873" y="0"/>
                </a:lnTo>
                <a:lnTo>
                  <a:pt x="2168929" y="0"/>
                </a:lnTo>
                <a:lnTo>
                  <a:pt x="3241609" y="0"/>
                </a:lnTo>
                <a:lnTo>
                  <a:pt x="3782664" y="0"/>
                </a:lnTo>
                <a:lnTo>
                  <a:pt x="3825750" y="0"/>
                </a:lnTo>
                <a:lnTo>
                  <a:pt x="3825750" y="1"/>
                </a:lnTo>
                <a:lnTo>
                  <a:pt x="3859050" y="1"/>
                </a:lnTo>
                <a:lnTo>
                  <a:pt x="3859050" y="3976"/>
                </a:lnTo>
                <a:lnTo>
                  <a:pt x="3937767" y="8022"/>
                </a:lnTo>
                <a:lnTo>
                  <a:pt x="3942543" y="8764"/>
                </a:lnTo>
                <a:lnTo>
                  <a:pt x="3948907" y="9111"/>
                </a:lnTo>
                <a:cubicBezTo>
                  <a:pt x="4044989" y="19700"/>
                  <a:pt x="4138597" y="39368"/>
                  <a:pt x="4228992" y="67312"/>
                </a:cubicBezTo>
                <a:lnTo>
                  <a:pt x="4235582" y="69688"/>
                </a:lnTo>
                <a:lnTo>
                  <a:pt x="4236717" y="69985"/>
                </a:lnTo>
                <a:lnTo>
                  <a:pt x="4248022" y="74178"/>
                </a:lnTo>
                <a:lnTo>
                  <a:pt x="4362084" y="115332"/>
                </a:lnTo>
                <a:lnTo>
                  <a:pt x="4373791" y="120816"/>
                </a:lnTo>
                <a:lnTo>
                  <a:pt x="4378240" y="122467"/>
                </a:lnTo>
                <a:lnTo>
                  <a:pt x="4402294" y="134171"/>
                </a:lnTo>
                <a:lnTo>
                  <a:pt x="4489799" y="175163"/>
                </a:lnTo>
                <a:lnTo>
                  <a:pt x="4506131" y="184690"/>
                </a:lnTo>
                <a:lnTo>
                  <a:pt x="4513564" y="188306"/>
                </a:lnTo>
                <a:lnTo>
                  <a:pt x="4539665" y="204251"/>
                </a:lnTo>
                <a:lnTo>
                  <a:pt x="4611586" y="246206"/>
                </a:lnTo>
                <a:lnTo>
                  <a:pt x="4631969" y="260639"/>
                </a:lnTo>
                <a:lnTo>
                  <a:pt x="4642014" y="266773"/>
                </a:lnTo>
                <a:lnTo>
                  <a:pt x="4666865" y="285348"/>
                </a:lnTo>
                <a:lnTo>
                  <a:pt x="4726890" y="327853"/>
                </a:lnTo>
                <a:lnTo>
                  <a:pt x="4750674" y="347987"/>
                </a:lnTo>
                <a:lnTo>
                  <a:pt x="4762915" y="357135"/>
                </a:lnTo>
                <a:lnTo>
                  <a:pt x="4785202" y="377217"/>
                </a:lnTo>
                <a:lnTo>
                  <a:pt x="4835155" y="419505"/>
                </a:lnTo>
                <a:lnTo>
                  <a:pt x="4861614" y="446067"/>
                </a:lnTo>
                <a:lnTo>
                  <a:pt x="4875593" y="458661"/>
                </a:lnTo>
                <a:lnTo>
                  <a:pt x="4894771" y="479349"/>
                </a:lnTo>
                <a:lnTo>
                  <a:pt x="4935827" y="520560"/>
                </a:lnTo>
                <a:lnTo>
                  <a:pt x="4964164" y="554208"/>
                </a:lnTo>
                <a:lnTo>
                  <a:pt x="4979380" y="570622"/>
                </a:lnTo>
                <a:lnTo>
                  <a:pt x="4995273" y="591145"/>
                </a:lnTo>
                <a:lnTo>
                  <a:pt x="5028346" y="630415"/>
                </a:lnTo>
                <a:lnTo>
                  <a:pt x="5057701" y="671758"/>
                </a:lnTo>
                <a:lnTo>
                  <a:pt x="5073596" y="692284"/>
                </a:lnTo>
                <a:lnTo>
                  <a:pt x="5086246" y="711964"/>
                </a:lnTo>
                <a:lnTo>
                  <a:pt x="5112165" y="748469"/>
                </a:lnTo>
                <a:lnTo>
                  <a:pt x="5141608" y="798086"/>
                </a:lnTo>
                <a:lnTo>
                  <a:pt x="5157568" y="822915"/>
                </a:lnTo>
                <a:lnTo>
                  <a:pt x="5167158" y="841145"/>
                </a:lnTo>
                <a:lnTo>
                  <a:pt x="5186726" y="874117"/>
                </a:lnTo>
                <a:lnTo>
                  <a:pt x="5215275" y="932612"/>
                </a:lnTo>
                <a:lnTo>
                  <a:pt x="5230626" y="961788"/>
                </a:lnTo>
                <a:lnTo>
                  <a:pt x="5237440" y="978019"/>
                </a:lnTo>
                <a:lnTo>
                  <a:pt x="5251470" y="1006759"/>
                </a:lnTo>
                <a:lnTo>
                  <a:pt x="5278100" y="1074845"/>
                </a:lnTo>
                <a:lnTo>
                  <a:pt x="5292092" y="1108170"/>
                </a:lnTo>
                <a:lnTo>
                  <a:pt x="5296506" y="1121904"/>
                </a:lnTo>
                <a:lnTo>
                  <a:pt x="5305849" y="1145796"/>
                </a:lnTo>
                <a:lnTo>
                  <a:pt x="5329473" y="1224524"/>
                </a:lnTo>
                <a:lnTo>
                  <a:pt x="5341296" y="1261324"/>
                </a:lnTo>
                <a:lnTo>
                  <a:pt x="5343755" y="1272119"/>
                </a:lnTo>
                <a:lnTo>
                  <a:pt x="5349304" y="1290618"/>
                </a:lnTo>
                <a:lnTo>
                  <a:pt x="5368796" y="1382061"/>
                </a:lnTo>
                <a:lnTo>
                  <a:pt x="5377559" y="1420528"/>
                </a:lnTo>
                <a:lnTo>
                  <a:pt x="5378584" y="1427980"/>
                </a:lnTo>
                <a:lnTo>
                  <a:pt x="5381281" y="1440629"/>
                </a:lnTo>
                <a:lnTo>
                  <a:pt x="5395472" y="1550634"/>
                </a:lnTo>
                <a:lnTo>
                  <a:pt x="5400211" y="1585042"/>
                </a:lnTo>
                <a:lnTo>
                  <a:pt x="5400379" y="1588666"/>
                </a:lnTo>
                <a:lnTo>
                  <a:pt x="5401224" y="1595226"/>
                </a:lnTo>
                <a:lnTo>
                  <a:pt x="5404555" y="1671522"/>
                </a:lnTo>
                <a:lnTo>
                  <a:pt x="5408611" y="1671522"/>
                </a:lnTo>
                <a:lnTo>
                  <a:pt x="5408611" y="1741862"/>
                </a:lnTo>
                <a:lnTo>
                  <a:pt x="5408611" y="1764504"/>
                </a:lnTo>
                <a:lnTo>
                  <a:pt x="5408611" y="1765033"/>
                </a:lnTo>
                <a:lnTo>
                  <a:pt x="5410553" y="1765033"/>
                </a:lnTo>
                <a:lnTo>
                  <a:pt x="5410553" y="1944433"/>
                </a:lnTo>
                <a:lnTo>
                  <a:pt x="3825750" y="1944433"/>
                </a:lnTo>
                <a:lnTo>
                  <a:pt x="3825750" y="1944434"/>
                </a:lnTo>
                <a:lnTo>
                  <a:pt x="3859049" y="1944434"/>
                </a:lnTo>
                <a:lnTo>
                  <a:pt x="3859049" y="1948409"/>
                </a:lnTo>
                <a:lnTo>
                  <a:pt x="3937767" y="1952454"/>
                </a:lnTo>
                <a:lnTo>
                  <a:pt x="3942543" y="1953195"/>
                </a:lnTo>
                <a:lnTo>
                  <a:pt x="3948906" y="1953545"/>
                </a:lnTo>
                <a:cubicBezTo>
                  <a:pt x="4044987" y="1964132"/>
                  <a:pt x="4138597" y="1983799"/>
                  <a:pt x="4228992" y="2011744"/>
                </a:cubicBezTo>
                <a:lnTo>
                  <a:pt x="4235581" y="2014120"/>
                </a:lnTo>
                <a:lnTo>
                  <a:pt x="4236717" y="2014418"/>
                </a:lnTo>
                <a:lnTo>
                  <a:pt x="4248022" y="2018611"/>
                </a:lnTo>
                <a:lnTo>
                  <a:pt x="4362083" y="2059764"/>
                </a:lnTo>
                <a:lnTo>
                  <a:pt x="4373790" y="2065249"/>
                </a:lnTo>
                <a:lnTo>
                  <a:pt x="4378239" y="2066899"/>
                </a:lnTo>
                <a:lnTo>
                  <a:pt x="4402293" y="2078604"/>
                </a:lnTo>
                <a:lnTo>
                  <a:pt x="4489798" y="2119596"/>
                </a:lnTo>
                <a:lnTo>
                  <a:pt x="4506130" y="2129123"/>
                </a:lnTo>
                <a:lnTo>
                  <a:pt x="4513563" y="2132739"/>
                </a:lnTo>
                <a:lnTo>
                  <a:pt x="4539663" y="2148684"/>
                </a:lnTo>
                <a:lnTo>
                  <a:pt x="4611586" y="2190639"/>
                </a:lnTo>
                <a:lnTo>
                  <a:pt x="4631969" y="2205072"/>
                </a:lnTo>
                <a:lnTo>
                  <a:pt x="4642011" y="2211205"/>
                </a:lnTo>
                <a:lnTo>
                  <a:pt x="4666865" y="2229781"/>
                </a:lnTo>
                <a:lnTo>
                  <a:pt x="4726888" y="2272285"/>
                </a:lnTo>
                <a:lnTo>
                  <a:pt x="4750674" y="2292420"/>
                </a:lnTo>
                <a:lnTo>
                  <a:pt x="4762912" y="2301568"/>
                </a:lnTo>
                <a:lnTo>
                  <a:pt x="4785201" y="2321651"/>
                </a:lnTo>
                <a:lnTo>
                  <a:pt x="4835155" y="2363938"/>
                </a:lnTo>
                <a:lnTo>
                  <a:pt x="4861613" y="2390499"/>
                </a:lnTo>
                <a:lnTo>
                  <a:pt x="4875593" y="2403094"/>
                </a:lnTo>
                <a:lnTo>
                  <a:pt x="4894769" y="2423782"/>
                </a:lnTo>
                <a:lnTo>
                  <a:pt x="4935824" y="2464992"/>
                </a:lnTo>
                <a:lnTo>
                  <a:pt x="4964163" y="2498639"/>
                </a:lnTo>
                <a:lnTo>
                  <a:pt x="4979380" y="2515055"/>
                </a:lnTo>
                <a:lnTo>
                  <a:pt x="4995273" y="2535578"/>
                </a:lnTo>
                <a:lnTo>
                  <a:pt x="5028344" y="2574846"/>
                </a:lnTo>
                <a:lnTo>
                  <a:pt x="5057698" y="2616189"/>
                </a:lnTo>
                <a:lnTo>
                  <a:pt x="5073596" y="2636717"/>
                </a:lnTo>
                <a:lnTo>
                  <a:pt x="5086244" y="2656395"/>
                </a:lnTo>
                <a:lnTo>
                  <a:pt x="5112164" y="2692902"/>
                </a:lnTo>
                <a:lnTo>
                  <a:pt x="5141608" y="2742519"/>
                </a:lnTo>
                <a:lnTo>
                  <a:pt x="5157568" y="2767348"/>
                </a:lnTo>
                <a:lnTo>
                  <a:pt x="5167158" y="2785577"/>
                </a:lnTo>
                <a:lnTo>
                  <a:pt x="5186724" y="2818550"/>
                </a:lnTo>
                <a:lnTo>
                  <a:pt x="5215275" y="2877044"/>
                </a:lnTo>
                <a:lnTo>
                  <a:pt x="5230624" y="2906220"/>
                </a:lnTo>
                <a:lnTo>
                  <a:pt x="5237439" y="2922452"/>
                </a:lnTo>
                <a:lnTo>
                  <a:pt x="5251470" y="2951192"/>
                </a:lnTo>
                <a:lnTo>
                  <a:pt x="5278100" y="3019278"/>
                </a:lnTo>
                <a:lnTo>
                  <a:pt x="5292092" y="3052600"/>
                </a:lnTo>
                <a:lnTo>
                  <a:pt x="5296504" y="3066337"/>
                </a:lnTo>
                <a:lnTo>
                  <a:pt x="5305849" y="3090227"/>
                </a:lnTo>
                <a:lnTo>
                  <a:pt x="5329471" y="3168956"/>
                </a:lnTo>
                <a:lnTo>
                  <a:pt x="5341293" y="3205756"/>
                </a:lnTo>
                <a:lnTo>
                  <a:pt x="5343751" y="3216552"/>
                </a:lnTo>
                <a:lnTo>
                  <a:pt x="5349304" y="3235051"/>
                </a:lnTo>
                <a:lnTo>
                  <a:pt x="5368795" y="3326492"/>
                </a:lnTo>
                <a:lnTo>
                  <a:pt x="5377557" y="3364959"/>
                </a:lnTo>
                <a:lnTo>
                  <a:pt x="5378582" y="3372411"/>
                </a:lnTo>
                <a:lnTo>
                  <a:pt x="5381281" y="3385062"/>
                </a:lnTo>
                <a:lnTo>
                  <a:pt x="5395472" y="3495066"/>
                </a:lnTo>
                <a:lnTo>
                  <a:pt x="5400210" y="3529474"/>
                </a:lnTo>
                <a:lnTo>
                  <a:pt x="5400377" y="3533097"/>
                </a:lnTo>
                <a:lnTo>
                  <a:pt x="5401224" y="3539659"/>
                </a:lnTo>
                <a:lnTo>
                  <a:pt x="5404554" y="3615954"/>
                </a:lnTo>
                <a:lnTo>
                  <a:pt x="5408611" y="3615954"/>
                </a:lnTo>
                <a:lnTo>
                  <a:pt x="5408611" y="3686294"/>
                </a:lnTo>
                <a:lnTo>
                  <a:pt x="5408611" y="3708935"/>
                </a:lnTo>
                <a:lnTo>
                  <a:pt x="5408611" y="3709464"/>
                </a:lnTo>
                <a:lnTo>
                  <a:pt x="5410552" y="3709464"/>
                </a:lnTo>
                <a:lnTo>
                  <a:pt x="5410552" y="4047423"/>
                </a:lnTo>
                <a:lnTo>
                  <a:pt x="5410552" y="4755011"/>
                </a:lnTo>
                <a:lnTo>
                  <a:pt x="5410552" y="5092970"/>
                </a:lnTo>
                <a:lnTo>
                  <a:pt x="5410552" y="5186482"/>
                </a:lnTo>
                <a:lnTo>
                  <a:pt x="5408629" y="5186482"/>
                </a:lnTo>
                <a:lnTo>
                  <a:pt x="5408629" y="6857999"/>
                </a:lnTo>
                <a:lnTo>
                  <a:pt x="4867572" y="6857999"/>
                </a:lnTo>
                <a:lnTo>
                  <a:pt x="3794895" y="6857999"/>
                </a:lnTo>
                <a:lnTo>
                  <a:pt x="3783656" y="6857999"/>
                </a:lnTo>
                <a:lnTo>
                  <a:pt x="3782698" y="6857999"/>
                </a:lnTo>
                <a:lnTo>
                  <a:pt x="3782682" y="6858000"/>
                </a:lnTo>
                <a:lnTo>
                  <a:pt x="3782667" y="6857999"/>
                </a:lnTo>
                <a:lnTo>
                  <a:pt x="3706296" y="6857999"/>
                </a:lnTo>
                <a:lnTo>
                  <a:pt x="3253837" y="6857999"/>
                </a:lnTo>
                <a:lnTo>
                  <a:pt x="3242599" y="6857999"/>
                </a:lnTo>
                <a:lnTo>
                  <a:pt x="3241641" y="6857999"/>
                </a:lnTo>
                <a:lnTo>
                  <a:pt x="3241626" y="6858000"/>
                </a:lnTo>
                <a:lnTo>
                  <a:pt x="3241609" y="6857999"/>
                </a:lnTo>
                <a:lnTo>
                  <a:pt x="3165240" y="6857999"/>
                </a:lnTo>
                <a:lnTo>
                  <a:pt x="2169922" y="6857999"/>
                </a:lnTo>
                <a:lnTo>
                  <a:pt x="2168963" y="6857999"/>
                </a:lnTo>
                <a:lnTo>
                  <a:pt x="2168947" y="6858000"/>
                </a:lnTo>
                <a:lnTo>
                  <a:pt x="2168931" y="6857999"/>
                </a:lnTo>
                <a:lnTo>
                  <a:pt x="2092561" y="6857999"/>
                </a:lnTo>
                <a:lnTo>
                  <a:pt x="1628865" y="6857999"/>
                </a:lnTo>
                <a:lnTo>
                  <a:pt x="1627906" y="6857999"/>
                </a:lnTo>
                <a:lnTo>
                  <a:pt x="1627892" y="6858000"/>
                </a:lnTo>
                <a:lnTo>
                  <a:pt x="1627875" y="6857999"/>
                </a:lnTo>
                <a:lnTo>
                  <a:pt x="1551506" y="6857999"/>
                </a:lnTo>
                <a:lnTo>
                  <a:pt x="1551506" y="6854025"/>
                </a:lnTo>
                <a:lnTo>
                  <a:pt x="1472786" y="6849979"/>
                </a:lnTo>
                <a:lnTo>
                  <a:pt x="1468010" y="6849239"/>
                </a:lnTo>
                <a:lnTo>
                  <a:pt x="1461647" y="6848892"/>
                </a:lnTo>
                <a:cubicBezTo>
                  <a:pt x="1365566" y="6838301"/>
                  <a:pt x="1271960" y="6818634"/>
                  <a:pt x="1181563" y="6790692"/>
                </a:cubicBezTo>
                <a:lnTo>
                  <a:pt x="1174972" y="6788314"/>
                </a:lnTo>
                <a:lnTo>
                  <a:pt x="1173836" y="6788017"/>
                </a:lnTo>
                <a:lnTo>
                  <a:pt x="1162533" y="6783825"/>
                </a:lnTo>
                <a:lnTo>
                  <a:pt x="1048471" y="6742670"/>
                </a:lnTo>
                <a:lnTo>
                  <a:pt x="1036764" y="6737186"/>
                </a:lnTo>
                <a:lnTo>
                  <a:pt x="1032314" y="6735535"/>
                </a:lnTo>
                <a:lnTo>
                  <a:pt x="1008260" y="6723832"/>
                </a:lnTo>
                <a:lnTo>
                  <a:pt x="920755" y="6682839"/>
                </a:lnTo>
                <a:lnTo>
                  <a:pt x="904423" y="6673313"/>
                </a:lnTo>
                <a:lnTo>
                  <a:pt x="896991" y="6669695"/>
                </a:lnTo>
                <a:lnTo>
                  <a:pt x="870891" y="6653750"/>
                </a:lnTo>
                <a:lnTo>
                  <a:pt x="798968" y="6611797"/>
                </a:lnTo>
                <a:lnTo>
                  <a:pt x="778585" y="6597363"/>
                </a:lnTo>
                <a:lnTo>
                  <a:pt x="768542" y="6591229"/>
                </a:lnTo>
                <a:lnTo>
                  <a:pt x="743688" y="6572653"/>
                </a:lnTo>
                <a:lnTo>
                  <a:pt x="683666" y="6530149"/>
                </a:lnTo>
                <a:lnTo>
                  <a:pt x="659881" y="6510014"/>
                </a:lnTo>
                <a:lnTo>
                  <a:pt x="647641" y="6500867"/>
                </a:lnTo>
                <a:lnTo>
                  <a:pt x="625351" y="6480784"/>
                </a:lnTo>
                <a:lnTo>
                  <a:pt x="575400" y="6438495"/>
                </a:lnTo>
                <a:lnTo>
                  <a:pt x="548941" y="6411937"/>
                </a:lnTo>
                <a:lnTo>
                  <a:pt x="534961" y="6399339"/>
                </a:lnTo>
                <a:lnTo>
                  <a:pt x="515783" y="6378653"/>
                </a:lnTo>
                <a:lnTo>
                  <a:pt x="474729" y="6337442"/>
                </a:lnTo>
                <a:lnTo>
                  <a:pt x="446391" y="6303796"/>
                </a:lnTo>
                <a:lnTo>
                  <a:pt x="431175" y="6287380"/>
                </a:lnTo>
                <a:lnTo>
                  <a:pt x="415281" y="6266857"/>
                </a:lnTo>
                <a:lnTo>
                  <a:pt x="382208" y="6227587"/>
                </a:lnTo>
                <a:lnTo>
                  <a:pt x="352856" y="6186244"/>
                </a:lnTo>
                <a:lnTo>
                  <a:pt x="336959" y="6165720"/>
                </a:lnTo>
                <a:lnTo>
                  <a:pt x="324308" y="6146039"/>
                </a:lnTo>
                <a:lnTo>
                  <a:pt x="298389" y="6109534"/>
                </a:lnTo>
                <a:lnTo>
                  <a:pt x="268946" y="6059914"/>
                </a:lnTo>
                <a:lnTo>
                  <a:pt x="252985" y="6035086"/>
                </a:lnTo>
                <a:lnTo>
                  <a:pt x="243395" y="6016857"/>
                </a:lnTo>
                <a:lnTo>
                  <a:pt x="223831" y="5983884"/>
                </a:lnTo>
                <a:lnTo>
                  <a:pt x="195278" y="5925391"/>
                </a:lnTo>
                <a:lnTo>
                  <a:pt x="179929" y="5896214"/>
                </a:lnTo>
                <a:lnTo>
                  <a:pt x="173113" y="5879983"/>
                </a:lnTo>
                <a:lnTo>
                  <a:pt x="159084" y="5851242"/>
                </a:lnTo>
                <a:lnTo>
                  <a:pt x="132456" y="5783156"/>
                </a:lnTo>
                <a:lnTo>
                  <a:pt x="118462" y="5749834"/>
                </a:lnTo>
                <a:lnTo>
                  <a:pt x="114051" y="5736099"/>
                </a:lnTo>
                <a:lnTo>
                  <a:pt x="104705" y="5712207"/>
                </a:lnTo>
                <a:lnTo>
                  <a:pt x="81084" y="5633479"/>
                </a:lnTo>
                <a:lnTo>
                  <a:pt x="69261" y="5596679"/>
                </a:lnTo>
                <a:lnTo>
                  <a:pt x="66802" y="5585881"/>
                </a:lnTo>
                <a:lnTo>
                  <a:pt x="61250" y="5567382"/>
                </a:lnTo>
                <a:lnTo>
                  <a:pt x="41759" y="5475943"/>
                </a:lnTo>
                <a:lnTo>
                  <a:pt x="32996" y="5437474"/>
                </a:lnTo>
                <a:lnTo>
                  <a:pt x="31970" y="5430024"/>
                </a:lnTo>
                <a:lnTo>
                  <a:pt x="29274" y="5417371"/>
                </a:lnTo>
                <a:lnTo>
                  <a:pt x="15083" y="5307370"/>
                </a:lnTo>
                <a:lnTo>
                  <a:pt x="10345" y="5272959"/>
                </a:lnTo>
                <a:lnTo>
                  <a:pt x="10177" y="5269337"/>
                </a:lnTo>
                <a:lnTo>
                  <a:pt x="9329" y="5262776"/>
                </a:lnTo>
                <a:lnTo>
                  <a:pt x="6002" y="5186482"/>
                </a:lnTo>
                <a:lnTo>
                  <a:pt x="1944" y="5186482"/>
                </a:lnTo>
                <a:lnTo>
                  <a:pt x="1944" y="5116140"/>
                </a:lnTo>
                <a:lnTo>
                  <a:pt x="1944" y="5093498"/>
                </a:lnTo>
                <a:lnTo>
                  <a:pt x="1944" y="5092970"/>
                </a:lnTo>
                <a:lnTo>
                  <a:pt x="0" y="5092970"/>
                </a:lnTo>
                <a:lnTo>
                  <a:pt x="0" y="4755011"/>
                </a:lnTo>
                <a:lnTo>
                  <a:pt x="0" y="4047423"/>
                </a:lnTo>
                <a:lnTo>
                  <a:pt x="0" y="3709464"/>
                </a:lnTo>
                <a:lnTo>
                  <a:pt x="0" y="3615954"/>
                </a:lnTo>
                <a:lnTo>
                  <a:pt x="1925" y="3615954"/>
                </a:lnTo>
                <a:lnTo>
                  <a:pt x="1925" y="3603350"/>
                </a:lnTo>
                <a:lnTo>
                  <a:pt x="0" y="360335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64438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9A901EF-4FE4-4A53-865E-60C6E33C45A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9387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4EF0C10-64E7-4AC4-8106-3BEAF12FB06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15086" y="659946"/>
            <a:ext cx="3035892" cy="3573476"/>
          </a:xfrm>
          <a:custGeom>
            <a:avLst/>
            <a:gdLst>
              <a:gd name="connsiteX0" fmla="*/ 1517955 w 3035892"/>
              <a:gd name="connsiteY0" fmla="*/ 0 h 3573476"/>
              <a:gd name="connsiteX1" fmla="*/ 1517970 w 3035892"/>
              <a:gd name="connsiteY1" fmla="*/ 1 h 3573476"/>
              <a:gd name="connsiteX2" fmla="*/ 1518863 w 3035892"/>
              <a:gd name="connsiteY2" fmla="*/ 1 h 3573476"/>
              <a:gd name="connsiteX3" fmla="*/ 3034099 w 3035892"/>
              <a:gd name="connsiteY3" fmla="*/ 1 h 3573476"/>
              <a:gd name="connsiteX4" fmla="*/ 3034099 w 3035892"/>
              <a:gd name="connsiteY4" fmla="*/ 1215642 h 3573476"/>
              <a:gd name="connsiteX5" fmla="*/ 3035892 w 3035892"/>
              <a:gd name="connsiteY5" fmla="*/ 1215642 h 3573476"/>
              <a:gd name="connsiteX6" fmla="*/ 3035892 w 3035892"/>
              <a:gd name="connsiteY6" fmla="*/ 1283649 h 3573476"/>
              <a:gd name="connsiteX7" fmla="*/ 3035892 w 3035892"/>
              <a:gd name="connsiteY7" fmla="*/ 1529436 h 3573476"/>
              <a:gd name="connsiteX8" fmla="*/ 3035892 w 3035892"/>
              <a:gd name="connsiteY8" fmla="*/ 2044041 h 3573476"/>
              <a:gd name="connsiteX9" fmla="*/ 3035892 w 3035892"/>
              <a:gd name="connsiteY9" fmla="*/ 2289827 h 3573476"/>
              <a:gd name="connsiteX10" fmla="*/ 3034081 w 3035892"/>
              <a:gd name="connsiteY10" fmla="*/ 2289827 h 3573476"/>
              <a:gd name="connsiteX11" fmla="*/ 3034081 w 3035892"/>
              <a:gd name="connsiteY11" fmla="*/ 2289827 h 3573476"/>
              <a:gd name="connsiteX12" fmla="*/ 3034081 w 3035892"/>
              <a:gd name="connsiteY12" fmla="*/ 2290211 h 3573476"/>
              <a:gd name="connsiteX13" fmla="*/ 3034081 w 3035892"/>
              <a:gd name="connsiteY13" fmla="*/ 2306678 h 3573476"/>
              <a:gd name="connsiteX14" fmla="*/ 3034081 w 3035892"/>
              <a:gd name="connsiteY14" fmla="*/ 2357834 h 3573476"/>
              <a:gd name="connsiteX15" fmla="*/ 3030297 w 3035892"/>
              <a:gd name="connsiteY15" fmla="*/ 2357834 h 3573476"/>
              <a:gd name="connsiteX16" fmla="*/ 3027194 w 3035892"/>
              <a:gd name="connsiteY16" fmla="*/ 2413321 h 3573476"/>
              <a:gd name="connsiteX17" fmla="*/ 3026404 w 3035892"/>
              <a:gd name="connsiteY17" fmla="*/ 2418092 h 3573476"/>
              <a:gd name="connsiteX18" fmla="*/ 3026247 w 3035892"/>
              <a:gd name="connsiteY18" fmla="*/ 2420727 h 3573476"/>
              <a:gd name="connsiteX19" fmla="*/ 3021829 w 3035892"/>
              <a:gd name="connsiteY19" fmla="*/ 2445752 h 3573476"/>
              <a:gd name="connsiteX20" fmla="*/ 3008596 w 3035892"/>
              <a:gd name="connsiteY20" fmla="*/ 2525754 h 3573476"/>
              <a:gd name="connsiteX21" fmla="*/ 3006082 w 3035892"/>
              <a:gd name="connsiteY21" fmla="*/ 2534955 h 3573476"/>
              <a:gd name="connsiteX22" fmla="*/ 3005125 w 3035892"/>
              <a:gd name="connsiteY22" fmla="*/ 2540374 h 3573476"/>
              <a:gd name="connsiteX23" fmla="*/ 2996954 w 3035892"/>
              <a:gd name="connsiteY23" fmla="*/ 2568350 h 3573476"/>
              <a:gd name="connsiteX24" fmla="*/ 2978779 w 3035892"/>
              <a:gd name="connsiteY24" fmla="*/ 2634852 h 3573476"/>
              <a:gd name="connsiteX25" fmla="*/ 2973603 w 3035892"/>
              <a:gd name="connsiteY25" fmla="*/ 2648306 h 3573476"/>
              <a:gd name="connsiteX26" fmla="*/ 2971310 w 3035892"/>
              <a:gd name="connsiteY26" fmla="*/ 2656157 h 3573476"/>
              <a:gd name="connsiteX27" fmla="*/ 2960286 w 3035892"/>
              <a:gd name="connsiteY27" fmla="*/ 2682921 h 3573476"/>
              <a:gd name="connsiteX28" fmla="*/ 2938258 w 3035892"/>
              <a:gd name="connsiteY28" fmla="*/ 2740178 h 3573476"/>
              <a:gd name="connsiteX29" fmla="*/ 2929546 w 3035892"/>
              <a:gd name="connsiteY29" fmla="*/ 2757553 h 3573476"/>
              <a:gd name="connsiteX30" fmla="*/ 2925431 w 3035892"/>
              <a:gd name="connsiteY30" fmla="*/ 2767542 h 3573476"/>
              <a:gd name="connsiteX31" fmla="*/ 2912383 w 3035892"/>
              <a:gd name="connsiteY31" fmla="*/ 2791777 h 3573476"/>
              <a:gd name="connsiteX32" fmla="*/ 2887552 w 3035892"/>
              <a:gd name="connsiteY32" fmla="*/ 2841293 h 3573476"/>
              <a:gd name="connsiteX33" fmla="*/ 2874470 w 3035892"/>
              <a:gd name="connsiteY33" fmla="*/ 2862196 h 3573476"/>
              <a:gd name="connsiteX34" fmla="*/ 2868115 w 3035892"/>
              <a:gd name="connsiteY34" fmla="*/ 2874000 h 3573476"/>
              <a:gd name="connsiteX35" fmla="*/ 2853802 w 3035892"/>
              <a:gd name="connsiteY35" fmla="*/ 2895219 h 3573476"/>
              <a:gd name="connsiteX36" fmla="*/ 2827179 w 3035892"/>
              <a:gd name="connsiteY36" fmla="*/ 2937760 h 3573476"/>
              <a:gd name="connsiteX37" fmla="*/ 2808935 w 3035892"/>
              <a:gd name="connsiteY37" fmla="*/ 2961740 h 3573476"/>
              <a:gd name="connsiteX38" fmla="*/ 2799992 w 3035892"/>
              <a:gd name="connsiteY38" fmla="*/ 2974997 h 3573476"/>
              <a:gd name="connsiteX39" fmla="*/ 2785109 w 3035892"/>
              <a:gd name="connsiteY39" fmla="*/ 2993054 h 3573476"/>
              <a:gd name="connsiteX40" fmla="*/ 2757655 w 3035892"/>
              <a:gd name="connsiteY40" fmla="*/ 3029140 h 3573476"/>
              <a:gd name="connsiteX41" fmla="*/ 2733486 w 3035892"/>
              <a:gd name="connsiteY41" fmla="*/ 3055689 h 3573476"/>
              <a:gd name="connsiteX42" fmla="*/ 2721690 w 3035892"/>
              <a:gd name="connsiteY42" fmla="*/ 3070002 h 3573476"/>
              <a:gd name="connsiteX43" fmla="*/ 2706867 w 3035892"/>
              <a:gd name="connsiteY43" fmla="*/ 3084930 h 3573476"/>
              <a:gd name="connsiteX44" fmla="*/ 2679496 w 3035892"/>
              <a:gd name="connsiteY44" fmla="*/ 3114997 h 3573476"/>
              <a:gd name="connsiteX45" fmla="*/ 2648656 w 3035892"/>
              <a:gd name="connsiteY45" fmla="*/ 3143557 h 3573476"/>
              <a:gd name="connsiteX46" fmla="*/ 2633836 w 3035892"/>
              <a:gd name="connsiteY46" fmla="*/ 3158482 h 3573476"/>
              <a:gd name="connsiteX47" fmla="*/ 2619647 w 3035892"/>
              <a:gd name="connsiteY47" fmla="*/ 3170420 h 3573476"/>
              <a:gd name="connsiteX48" fmla="*/ 2593223 w 3035892"/>
              <a:gd name="connsiteY48" fmla="*/ 3194890 h 3573476"/>
              <a:gd name="connsiteX49" fmla="*/ 2554942 w 3035892"/>
              <a:gd name="connsiteY49" fmla="*/ 3224862 h 3573476"/>
              <a:gd name="connsiteX50" fmla="*/ 2537060 w 3035892"/>
              <a:gd name="connsiteY50" fmla="*/ 3239907 h 3573476"/>
              <a:gd name="connsiteX51" fmla="*/ 2524023 w 3035892"/>
              <a:gd name="connsiteY51" fmla="*/ 3249067 h 3573476"/>
              <a:gd name="connsiteX52" fmla="*/ 2499351 w 3035892"/>
              <a:gd name="connsiteY52" fmla="*/ 3268384 h 3573476"/>
              <a:gd name="connsiteX53" fmla="*/ 2452772 w 3035892"/>
              <a:gd name="connsiteY53" fmla="*/ 3299138 h 3573476"/>
              <a:gd name="connsiteX54" fmla="*/ 2431989 w 3035892"/>
              <a:gd name="connsiteY54" fmla="*/ 3313744 h 3573476"/>
              <a:gd name="connsiteX55" fmla="*/ 2420575 w 3035892"/>
              <a:gd name="connsiteY55" fmla="*/ 3320397 h 3573476"/>
              <a:gd name="connsiteX56" fmla="*/ 2398398 w 3035892"/>
              <a:gd name="connsiteY56" fmla="*/ 3335040 h 3573476"/>
              <a:gd name="connsiteX57" fmla="*/ 2342427 w 3035892"/>
              <a:gd name="connsiteY57" fmla="*/ 3365951 h 3573476"/>
              <a:gd name="connsiteX58" fmla="*/ 2319252 w 3035892"/>
              <a:gd name="connsiteY58" fmla="*/ 3379461 h 3573476"/>
              <a:gd name="connsiteX59" fmla="*/ 2309888 w 3035892"/>
              <a:gd name="connsiteY59" fmla="*/ 3383922 h 3573476"/>
              <a:gd name="connsiteX60" fmla="*/ 2290881 w 3035892"/>
              <a:gd name="connsiteY60" fmla="*/ 3394420 h 3573476"/>
              <a:gd name="connsiteX61" fmla="*/ 2223815 w 3035892"/>
              <a:gd name="connsiteY61" fmla="*/ 3424932 h 3573476"/>
              <a:gd name="connsiteX62" fmla="*/ 2199478 w 3035892"/>
              <a:gd name="connsiteY62" fmla="*/ 3436528 h 3573476"/>
              <a:gd name="connsiteX63" fmla="*/ 2192547 w 3035892"/>
              <a:gd name="connsiteY63" fmla="*/ 3439158 h 3573476"/>
              <a:gd name="connsiteX64" fmla="*/ 2177319 w 3035892"/>
              <a:gd name="connsiteY64" fmla="*/ 3446086 h 3573476"/>
              <a:gd name="connsiteX65" fmla="*/ 2095723 w 3035892"/>
              <a:gd name="connsiteY65" fmla="*/ 3475899 h 3573476"/>
              <a:gd name="connsiteX66" fmla="*/ 2073293 w 3035892"/>
              <a:gd name="connsiteY66" fmla="*/ 3484410 h 3573476"/>
              <a:gd name="connsiteX67" fmla="*/ 2069144 w 3035892"/>
              <a:gd name="connsiteY67" fmla="*/ 3485611 h 3573476"/>
              <a:gd name="connsiteX68" fmla="*/ 2058227 w 3035892"/>
              <a:gd name="connsiteY68" fmla="*/ 3489600 h 3573476"/>
              <a:gd name="connsiteX69" fmla="*/ 1951868 w 3035892"/>
              <a:gd name="connsiteY69" fmla="*/ 3519529 h 3573476"/>
              <a:gd name="connsiteX70" fmla="*/ 1941328 w 3035892"/>
              <a:gd name="connsiteY70" fmla="*/ 3522579 h 3573476"/>
              <a:gd name="connsiteX71" fmla="*/ 1940269 w 3035892"/>
              <a:gd name="connsiteY71" fmla="*/ 3522794 h 3573476"/>
              <a:gd name="connsiteX72" fmla="*/ 1934124 w 3035892"/>
              <a:gd name="connsiteY72" fmla="*/ 3524523 h 3573476"/>
              <a:gd name="connsiteX73" fmla="*/ 1672953 w 3035892"/>
              <a:gd name="connsiteY73" fmla="*/ 3566851 h 3573476"/>
              <a:gd name="connsiteX74" fmla="*/ 1667021 w 3035892"/>
              <a:gd name="connsiteY74" fmla="*/ 3567104 h 3573476"/>
              <a:gd name="connsiteX75" fmla="*/ 1662567 w 3035892"/>
              <a:gd name="connsiteY75" fmla="*/ 3567643 h 3573476"/>
              <a:gd name="connsiteX76" fmla="*/ 1589164 w 3035892"/>
              <a:gd name="connsiteY76" fmla="*/ 3570585 h 3573476"/>
              <a:gd name="connsiteX77" fmla="*/ 1589164 w 3035892"/>
              <a:gd name="connsiteY77" fmla="*/ 3573476 h 3573476"/>
              <a:gd name="connsiteX78" fmla="*/ 1517952 w 3035892"/>
              <a:gd name="connsiteY78" fmla="*/ 3573476 h 3573476"/>
              <a:gd name="connsiteX79" fmla="*/ 1517937 w 3035892"/>
              <a:gd name="connsiteY79" fmla="*/ 3573476 h 3573476"/>
              <a:gd name="connsiteX80" fmla="*/ 1517922 w 3035892"/>
              <a:gd name="connsiteY80" fmla="*/ 3573476 h 3573476"/>
              <a:gd name="connsiteX81" fmla="*/ 1517029 w 3035892"/>
              <a:gd name="connsiteY81" fmla="*/ 3573476 h 3573476"/>
              <a:gd name="connsiteX82" fmla="*/ 1794 w 3035892"/>
              <a:gd name="connsiteY82" fmla="*/ 3573476 h 3573476"/>
              <a:gd name="connsiteX83" fmla="*/ 1794 w 3035892"/>
              <a:gd name="connsiteY83" fmla="*/ 2357835 h 3573476"/>
              <a:gd name="connsiteX84" fmla="*/ 0 w 3035892"/>
              <a:gd name="connsiteY84" fmla="*/ 2357835 h 3573476"/>
              <a:gd name="connsiteX85" fmla="*/ 0 w 3035892"/>
              <a:gd name="connsiteY85" fmla="*/ 2289827 h 3573476"/>
              <a:gd name="connsiteX86" fmla="*/ 0 w 3035892"/>
              <a:gd name="connsiteY86" fmla="*/ 2044041 h 3573476"/>
              <a:gd name="connsiteX87" fmla="*/ 0 w 3035892"/>
              <a:gd name="connsiteY87" fmla="*/ 1529436 h 3573476"/>
              <a:gd name="connsiteX88" fmla="*/ 0 w 3035892"/>
              <a:gd name="connsiteY88" fmla="*/ 1283650 h 3573476"/>
              <a:gd name="connsiteX89" fmla="*/ 1811 w 3035892"/>
              <a:gd name="connsiteY89" fmla="*/ 1283650 h 3573476"/>
              <a:gd name="connsiteX90" fmla="*/ 1811 w 3035892"/>
              <a:gd name="connsiteY90" fmla="*/ 1283649 h 3573476"/>
              <a:gd name="connsiteX91" fmla="*/ 1811 w 3035892"/>
              <a:gd name="connsiteY91" fmla="*/ 1283265 h 3573476"/>
              <a:gd name="connsiteX92" fmla="*/ 1811 w 3035892"/>
              <a:gd name="connsiteY92" fmla="*/ 1266798 h 3573476"/>
              <a:gd name="connsiteX93" fmla="*/ 1811 w 3035892"/>
              <a:gd name="connsiteY93" fmla="*/ 1215642 h 3573476"/>
              <a:gd name="connsiteX94" fmla="*/ 5595 w 3035892"/>
              <a:gd name="connsiteY94" fmla="*/ 1215642 h 3573476"/>
              <a:gd name="connsiteX95" fmla="*/ 8698 w 3035892"/>
              <a:gd name="connsiteY95" fmla="*/ 1160155 h 3573476"/>
              <a:gd name="connsiteX96" fmla="*/ 9488 w 3035892"/>
              <a:gd name="connsiteY96" fmla="*/ 1155383 h 3573476"/>
              <a:gd name="connsiteX97" fmla="*/ 9645 w 3035892"/>
              <a:gd name="connsiteY97" fmla="*/ 1152749 h 3573476"/>
              <a:gd name="connsiteX98" fmla="*/ 14063 w 3035892"/>
              <a:gd name="connsiteY98" fmla="*/ 1127724 h 3573476"/>
              <a:gd name="connsiteX99" fmla="*/ 27296 w 3035892"/>
              <a:gd name="connsiteY99" fmla="*/ 1047722 h 3573476"/>
              <a:gd name="connsiteX100" fmla="*/ 29811 w 3035892"/>
              <a:gd name="connsiteY100" fmla="*/ 1038521 h 3573476"/>
              <a:gd name="connsiteX101" fmla="*/ 30767 w 3035892"/>
              <a:gd name="connsiteY101" fmla="*/ 1033102 h 3573476"/>
              <a:gd name="connsiteX102" fmla="*/ 38938 w 3035892"/>
              <a:gd name="connsiteY102" fmla="*/ 1005126 h 3573476"/>
              <a:gd name="connsiteX103" fmla="*/ 57113 w 3035892"/>
              <a:gd name="connsiteY103" fmla="*/ 938624 h 3573476"/>
              <a:gd name="connsiteX104" fmla="*/ 62289 w 3035892"/>
              <a:gd name="connsiteY104" fmla="*/ 925170 h 3573476"/>
              <a:gd name="connsiteX105" fmla="*/ 64582 w 3035892"/>
              <a:gd name="connsiteY105" fmla="*/ 917319 h 3573476"/>
              <a:gd name="connsiteX106" fmla="*/ 75606 w 3035892"/>
              <a:gd name="connsiteY106" fmla="*/ 890555 h 3573476"/>
              <a:gd name="connsiteX107" fmla="*/ 97634 w 3035892"/>
              <a:gd name="connsiteY107" fmla="*/ 833298 h 3573476"/>
              <a:gd name="connsiteX108" fmla="*/ 106347 w 3035892"/>
              <a:gd name="connsiteY108" fmla="*/ 815923 h 3573476"/>
              <a:gd name="connsiteX109" fmla="*/ 110461 w 3035892"/>
              <a:gd name="connsiteY109" fmla="*/ 805934 h 3573476"/>
              <a:gd name="connsiteX110" fmla="*/ 123509 w 3035892"/>
              <a:gd name="connsiteY110" fmla="*/ 781699 h 3573476"/>
              <a:gd name="connsiteX111" fmla="*/ 148340 w 3035892"/>
              <a:gd name="connsiteY111" fmla="*/ 732182 h 3573476"/>
              <a:gd name="connsiteX112" fmla="*/ 161422 w 3035892"/>
              <a:gd name="connsiteY112" fmla="*/ 711281 h 3573476"/>
              <a:gd name="connsiteX113" fmla="*/ 167777 w 3035892"/>
              <a:gd name="connsiteY113" fmla="*/ 699476 h 3573476"/>
              <a:gd name="connsiteX114" fmla="*/ 182090 w 3035892"/>
              <a:gd name="connsiteY114" fmla="*/ 678257 h 3573476"/>
              <a:gd name="connsiteX115" fmla="*/ 208713 w 3035892"/>
              <a:gd name="connsiteY115" fmla="*/ 635717 h 3573476"/>
              <a:gd name="connsiteX116" fmla="*/ 226957 w 3035892"/>
              <a:gd name="connsiteY116" fmla="*/ 611737 h 3573476"/>
              <a:gd name="connsiteX117" fmla="*/ 235900 w 3035892"/>
              <a:gd name="connsiteY117" fmla="*/ 598479 h 3573476"/>
              <a:gd name="connsiteX118" fmla="*/ 250783 w 3035892"/>
              <a:gd name="connsiteY118" fmla="*/ 580422 h 3573476"/>
              <a:gd name="connsiteX119" fmla="*/ 278237 w 3035892"/>
              <a:gd name="connsiteY119" fmla="*/ 544336 h 3573476"/>
              <a:gd name="connsiteX120" fmla="*/ 302406 w 3035892"/>
              <a:gd name="connsiteY120" fmla="*/ 517787 h 3573476"/>
              <a:gd name="connsiteX121" fmla="*/ 314202 w 3035892"/>
              <a:gd name="connsiteY121" fmla="*/ 503474 h 3573476"/>
              <a:gd name="connsiteX122" fmla="*/ 329025 w 3035892"/>
              <a:gd name="connsiteY122" fmla="*/ 488547 h 3573476"/>
              <a:gd name="connsiteX123" fmla="*/ 356396 w 3035892"/>
              <a:gd name="connsiteY123" fmla="*/ 458480 h 3573476"/>
              <a:gd name="connsiteX124" fmla="*/ 387236 w 3035892"/>
              <a:gd name="connsiteY124" fmla="*/ 429920 h 3573476"/>
              <a:gd name="connsiteX125" fmla="*/ 402056 w 3035892"/>
              <a:gd name="connsiteY125" fmla="*/ 414994 h 3573476"/>
              <a:gd name="connsiteX126" fmla="*/ 416245 w 3035892"/>
              <a:gd name="connsiteY126" fmla="*/ 403056 h 3573476"/>
              <a:gd name="connsiteX127" fmla="*/ 442669 w 3035892"/>
              <a:gd name="connsiteY127" fmla="*/ 378585 h 3573476"/>
              <a:gd name="connsiteX128" fmla="*/ 480950 w 3035892"/>
              <a:gd name="connsiteY128" fmla="*/ 348615 h 3573476"/>
              <a:gd name="connsiteX129" fmla="*/ 498832 w 3035892"/>
              <a:gd name="connsiteY129" fmla="*/ 333570 h 3573476"/>
              <a:gd name="connsiteX130" fmla="*/ 511869 w 3035892"/>
              <a:gd name="connsiteY130" fmla="*/ 324408 h 3573476"/>
              <a:gd name="connsiteX131" fmla="*/ 536541 w 3035892"/>
              <a:gd name="connsiteY131" fmla="*/ 305092 h 3573476"/>
              <a:gd name="connsiteX132" fmla="*/ 583119 w 3035892"/>
              <a:gd name="connsiteY132" fmla="*/ 274338 h 3573476"/>
              <a:gd name="connsiteX133" fmla="*/ 603903 w 3035892"/>
              <a:gd name="connsiteY133" fmla="*/ 259732 h 3573476"/>
              <a:gd name="connsiteX134" fmla="*/ 615316 w 3035892"/>
              <a:gd name="connsiteY134" fmla="*/ 253079 h 3573476"/>
              <a:gd name="connsiteX135" fmla="*/ 637495 w 3035892"/>
              <a:gd name="connsiteY135" fmla="*/ 238436 h 3573476"/>
              <a:gd name="connsiteX136" fmla="*/ 693465 w 3035892"/>
              <a:gd name="connsiteY136" fmla="*/ 207524 h 3573476"/>
              <a:gd name="connsiteX137" fmla="*/ 716640 w 3035892"/>
              <a:gd name="connsiteY137" fmla="*/ 194015 h 3573476"/>
              <a:gd name="connsiteX138" fmla="*/ 726004 w 3035892"/>
              <a:gd name="connsiteY138" fmla="*/ 189554 h 3573476"/>
              <a:gd name="connsiteX139" fmla="*/ 745011 w 3035892"/>
              <a:gd name="connsiteY139" fmla="*/ 179057 h 3573476"/>
              <a:gd name="connsiteX140" fmla="*/ 812077 w 3035892"/>
              <a:gd name="connsiteY140" fmla="*/ 148545 h 3573476"/>
              <a:gd name="connsiteX141" fmla="*/ 836414 w 3035892"/>
              <a:gd name="connsiteY141" fmla="*/ 136949 h 3573476"/>
              <a:gd name="connsiteX142" fmla="*/ 843345 w 3035892"/>
              <a:gd name="connsiteY142" fmla="*/ 134319 h 3573476"/>
              <a:gd name="connsiteX143" fmla="*/ 858574 w 3035892"/>
              <a:gd name="connsiteY143" fmla="*/ 127390 h 3573476"/>
              <a:gd name="connsiteX144" fmla="*/ 940169 w 3035892"/>
              <a:gd name="connsiteY144" fmla="*/ 97577 h 3573476"/>
              <a:gd name="connsiteX145" fmla="*/ 962599 w 3035892"/>
              <a:gd name="connsiteY145" fmla="*/ 89065 h 3573476"/>
              <a:gd name="connsiteX146" fmla="*/ 966748 w 3035892"/>
              <a:gd name="connsiteY146" fmla="*/ 87866 h 3573476"/>
              <a:gd name="connsiteX147" fmla="*/ 977665 w 3035892"/>
              <a:gd name="connsiteY147" fmla="*/ 83877 h 3573476"/>
              <a:gd name="connsiteX148" fmla="*/ 1084024 w 3035892"/>
              <a:gd name="connsiteY148" fmla="*/ 53947 h 3573476"/>
              <a:gd name="connsiteX149" fmla="*/ 1094564 w 3035892"/>
              <a:gd name="connsiteY149" fmla="*/ 50897 h 3573476"/>
              <a:gd name="connsiteX150" fmla="*/ 1095623 w 3035892"/>
              <a:gd name="connsiteY150" fmla="*/ 50681 h 3573476"/>
              <a:gd name="connsiteX151" fmla="*/ 1101768 w 3035892"/>
              <a:gd name="connsiteY151" fmla="*/ 48953 h 3573476"/>
              <a:gd name="connsiteX152" fmla="*/ 1362938 w 3035892"/>
              <a:gd name="connsiteY152" fmla="*/ 6625 h 3573476"/>
              <a:gd name="connsiteX153" fmla="*/ 1368872 w 3035892"/>
              <a:gd name="connsiteY153" fmla="*/ 6373 h 3573476"/>
              <a:gd name="connsiteX154" fmla="*/ 1373325 w 3035892"/>
              <a:gd name="connsiteY154" fmla="*/ 5833 h 3573476"/>
              <a:gd name="connsiteX155" fmla="*/ 1446728 w 3035892"/>
              <a:gd name="connsiteY155" fmla="*/ 2891 h 3573476"/>
              <a:gd name="connsiteX156" fmla="*/ 1446728 w 3035892"/>
              <a:gd name="connsiteY156" fmla="*/ 1 h 3573476"/>
              <a:gd name="connsiteX157" fmla="*/ 1517940 w 3035892"/>
              <a:gd name="connsiteY157" fmla="*/ 1 h 357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3035892" h="3573476">
                <a:moveTo>
                  <a:pt x="1517955" y="0"/>
                </a:moveTo>
                <a:lnTo>
                  <a:pt x="1517970" y="1"/>
                </a:lnTo>
                <a:lnTo>
                  <a:pt x="1518863" y="1"/>
                </a:lnTo>
                <a:lnTo>
                  <a:pt x="3034099" y="1"/>
                </a:lnTo>
                <a:lnTo>
                  <a:pt x="3034099" y="1215642"/>
                </a:lnTo>
                <a:lnTo>
                  <a:pt x="3035892" y="1215642"/>
                </a:lnTo>
                <a:lnTo>
                  <a:pt x="3035892" y="1283649"/>
                </a:lnTo>
                <a:lnTo>
                  <a:pt x="3035892" y="1529436"/>
                </a:lnTo>
                <a:lnTo>
                  <a:pt x="3035892" y="2044041"/>
                </a:lnTo>
                <a:lnTo>
                  <a:pt x="3035892" y="2289827"/>
                </a:lnTo>
                <a:lnTo>
                  <a:pt x="3034081" y="2289827"/>
                </a:lnTo>
                <a:lnTo>
                  <a:pt x="3034081" y="2289827"/>
                </a:lnTo>
                <a:lnTo>
                  <a:pt x="3034081" y="2290211"/>
                </a:lnTo>
                <a:lnTo>
                  <a:pt x="3034081" y="2306678"/>
                </a:lnTo>
                <a:lnTo>
                  <a:pt x="3034081" y="2357834"/>
                </a:lnTo>
                <a:lnTo>
                  <a:pt x="3030297" y="2357834"/>
                </a:lnTo>
                <a:lnTo>
                  <a:pt x="3027194" y="2413321"/>
                </a:lnTo>
                <a:lnTo>
                  <a:pt x="3026404" y="2418092"/>
                </a:lnTo>
                <a:lnTo>
                  <a:pt x="3026247" y="2420727"/>
                </a:lnTo>
                <a:lnTo>
                  <a:pt x="3021829" y="2445752"/>
                </a:lnTo>
                <a:lnTo>
                  <a:pt x="3008596" y="2525754"/>
                </a:lnTo>
                <a:lnTo>
                  <a:pt x="3006082" y="2534955"/>
                </a:lnTo>
                <a:lnTo>
                  <a:pt x="3005125" y="2540374"/>
                </a:lnTo>
                <a:lnTo>
                  <a:pt x="2996954" y="2568350"/>
                </a:lnTo>
                <a:lnTo>
                  <a:pt x="2978779" y="2634852"/>
                </a:lnTo>
                <a:lnTo>
                  <a:pt x="2973603" y="2648306"/>
                </a:lnTo>
                <a:lnTo>
                  <a:pt x="2971310" y="2656157"/>
                </a:lnTo>
                <a:lnTo>
                  <a:pt x="2960286" y="2682921"/>
                </a:lnTo>
                <a:lnTo>
                  <a:pt x="2938258" y="2740178"/>
                </a:lnTo>
                <a:lnTo>
                  <a:pt x="2929546" y="2757553"/>
                </a:lnTo>
                <a:lnTo>
                  <a:pt x="2925431" y="2767542"/>
                </a:lnTo>
                <a:lnTo>
                  <a:pt x="2912383" y="2791777"/>
                </a:lnTo>
                <a:lnTo>
                  <a:pt x="2887552" y="2841293"/>
                </a:lnTo>
                <a:lnTo>
                  <a:pt x="2874470" y="2862196"/>
                </a:lnTo>
                <a:lnTo>
                  <a:pt x="2868115" y="2874000"/>
                </a:lnTo>
                <a:lnTo>
                  <a:pt x="2853802" y="2895219"/>
                </a:lnTo>
                <a:lnTo>
                  <a:pt x="2827179" y="2937760"/>
                </a:lnTo>
                <a:lnTo>
                  <a:pt x="2808935" y="2961740"/>
                </a:lnTo>
                <a:lnTo>
                  <a:pt x="2799992" y="2974997"/>
                </a:lnTo>
                <a:lnTo>
                  <a:pt x="2785109" y="2993054"/>
                </a:lnTo>
                <a:lnTo>
                  <a:pt x="2757655" y="3029140"/>
                </a:lnTo>
                <a:lnTo>
                  <a:pt x="2733486" y="3055689"/>
                </a:lnTo>
                <a:lnTo>
                  <a:pt x="2721690" y="3070002"/>
                </a:lnTo>
                <a:lnTo>
                  <a:pt x="2706867" y="3084930"/>
                </a:lnTo>
                <a:lnTo>
                  <a:pt x="2679496" y="3114997"/>
                </a:lnTo>
                <a:lnTo>
                  <a:pt x="2648656" y="3143557"/>
                </a:lnTo>
                <a:lnTo>
                  <a:pt x="2633836" y="3158482"/>
                </a:lnTo>
                <a:lnTo>
                  <a:pt x="2619647" y="3170420"/>
                </a:lnTo>
                <a:lnTo>
                  <a:pt x="2593223" y="3194890"/>
                </a:lnTo>
                <a:lnTo>
                  <a:pt x="2554942" y="3224862"/>
                </a:lnTo>
                <a:lnTo>
                  <a:pt x="2537060" y="3239907"/>
                </a:lnTo>
                <a:lnTo>
                  <a:pt x="2524023" y="3249067"/>
                </a:lnTo>
                <a:lnTo>
                  <a:pt x="2499351" y="3268384"/>
                </a:lnTo>
                <a:lnTo>
                  <a:pt x="2452772" y="3299138"/>
                </a:lnTo>
                <a:lnTo>
                  <a:pt x="2431989" y="3313744"/>
                </a:lnTo>
                <a:lnTo>
                  <a:pt x="2420575" y="3320397"/>
                </a:lnTo>
                <a:lnTo>
                  <a:pt x="2398398" y="3335040"/>
                </a:lnTo>
                <a:lnTo>
                  <a:pt x="2342427" y="3365951"/>
                </a:lnTo>
                <a:lnTo>
                  <a:pt x="2319252" y="3379461"/>
                </a:lnTo>
                <a:lnTo>
                  <a:pt x="2309888" y="3383922"/>
                </a:lnTo>
                <a:lnTo>
                  <a:pt x="2290881" y="3394420"/>
                </a:lnTo>
                <a:lnTo>
                  <a:pt x="2223815" y="3424932"/>
                </a:lnTo>
                <a:lnTo>
                  <a:pt x="2199478" y="3436528"/>
                </a:lnTo>
                <a:lnTo>
                  <a:pt x="2192547" y="3439158"/>
                </a:lnTo>
                <a:lnTo>
                  <a:pt x="2177319" y="3446086"/>
                </a:lnTo>
                <a:lnTo>
                  <a:pt x="2095723" y="3475899"/>
                </a:lnTo>
                <a:lnTo>
                  <a:pt x="2073293" y="3484410"/>
                </a:lnTo>
                <a:lnTo>
                  <a:pt x="2069144" y="3485611"/>
                </a:lnTo>
                <a:lnTo>
                  <a:pt x="2058227" y="3489600"/>
                </a:lnTo>
                <a:lnTo>
                  <a:pt x="1951868" y="3519529"/>
                </a:lnTo>
                <a:lnTo>
                  <a:pt x="1941328" y="3522579"/>
                </a:lnTo>
                <a:lnTo>
                  <a:pt x="1940269" y="3522794"/>
                </a:lnTo>
                <a:lnTo>
                  <a:pt x="1934124" y="3524523"/>
                </a:lnTo>
                <a:cubicBezTo>
                  <a:pt x="1849832" y="3544846"/>
                  <a:pt x="1762546" y="3559149"/>
                  <a:pt x="1672953" y="3566851"/>
                </a:cubicBezTo>
                <a:lnTo>
                  <a:pt x="1667021" y="3567104"/>
                </a:lnTo>
                <a:lnTo>
                  <a:pt x="1662567" y="3567643"/>
                </a:lnTo>
                <a:lnTo>
                  <a:pt x="1589164" y="3570585"/>
                </a:lnTo>
                <a:lnTo>
                  <a:pt x="1589164" y="3573476"/>
                </a:lnTo>
                <a:lnTo>
                  <a:pt x="1517952" y="3573476"/>
                </a:lnTo>
                <a:lnTo>
                  <a:pt x="1517937" y="3573476"/>
                </a:lnTo>
                <a:lnTo>
                  <a:pt x="1517922" y="3573476"/>
                </a:lnTo>
                <a:lnTo>
                  <a:pt x="1517029" y="3573476"/>
                </a:lnTo>
                <a:lnTo>
                  <a:pt x="1794" y="3573476"/>
                </a:lnTo>
                <a:lnTo>
                  <a:pt x="1794" y="2357835"/>
                </a:lnTo>
                <a:lnTo>
                  <a:pt x="0" y="2357835"/>
                </a:lnTo>
                <a:lnTo>
                  <a:pt x="0" y="2289827"/>
                </a:lnTo>
                <a:lnTo>
                  <a:pt x="0" y="2044041"/>
                </a:lnTo>
                <a:lnTo>
                  <a:pt x="0" y="1529436"/>
                </a:lnTo>
                <a:lnTo>
                  <a:pt x="0" y="1283650"/>
                </a:lnTo>
                <a:lnTo>
                  <a:pt x="1811" y="1283650"/>
                </a:lnTo>
                <a:lnTo>
                  <a:pt x="1811" y="1283649"/>
                </a:lnTo>
                <a:lnTo>
                  <a:pt x="1811" y="1283265"/>
                </a:lnTo>
                <a:lnTo>
                  <a:pt x="1811" y="1266798"/>
                </a:lnTo>
                <a:lnTo>
                  <a:pt x="1811" y="1215642"/>
                </a:lnTo>
                <a:lnTo>
                  <a:pt x="5595" y="1215642"/>
                </a:lnTo>
                <a:lnTo>
                  <a:pt x="8698" y="1160155"/>
                </a:lnTo>
                <a:lnTo>
                  <a:pt x="9488" y="1155383"/>
                </a:lnTo>
                <a:lnTo>
                  <a:pt x="9645" y="1152749"/>
                </a:lnTo>
                <a:lnTo>
                  <a:pt x="14063" y="1127724"/>
                </a:lnTo>
                <a:lnTo>
                  <a:pt x="27296" y="1047722"/>
                </a:lnTo>
                <a:lnTo>
                  <a:pt x="29811" y="1038521"/>
                </a:lnTo>
                <a:lnTo>
                  <a:pt x="30767" y="1033102"/>
                </a:lnTo>
                <a:lnTo>
                  <a:pt x="38938" y="1005126"/>
                </a:lnTo>
                <a:lnTo>
                  <a:pt x="57113" y="938624"/>
                </a:lnTo>
                <a:lnTo>
                  <a:pt x="62289" y="925170"/>
                </a:lnTo>
                <a:lnTo>
                  <a:pt x="64582" y="917319"/>
                </a:lnTo>
                <a:lnTo>
                  <a:pt x="75606" y="890555"/>
                </a:lnTo>
                <a:lnTo>
                  <a:pt x="97634" y="833298"/>
                </a:lnTo>
                <a:lnTo>
                  <a:pt x="106347" y="815923"/>
                </a:lnTo>
                <a:lnTo>
                  <a:pt x="110461" y="805934"/>
                </a:lnTo>
                <a:lnTo>
                  <a:pt x="123509" y="781699"/>
                </a:lnTo>
                <a:lnTo>
                  <a:pt x="148340" y="732182"/>
                </a:lnTo>
                <a:lnTo>
                  <a:pt x="161422" y="711281"/>
                </a:lnTo>
                <a:lnTo>
                  <a:pt x="167777" y="699476"/>
                </a:lnTo>
                <a:lnTo>
                  <a:pt x="182090" y="678257"/>
                </a:lnTo>
                <a:lnTo>
                  <a:pt x="208713" y="635717"/>
                </a:lnTo>
                <a:lnTo>
                  <a:pt x="226957" y="611737"/>
                </a:lnTo>
                <a:lnTo>
                  <a:pt x="235900" y="598479"/>
                </a:lnTo>
                <a:lnTo>
                  <a:pt x="250783" y="580422"/>
                </a:lnTo>
                <a:lnTo>
                  <a:pt x="278237" y="544336"/>
                </a:lnTo>
                <a:lnTo>
                  <a:pt x="302406" y="517787"/>
                </a:lnTo>
                <a:lnTo>
                  <a:pt x="314202" y="503474"/>
                </a:lnTo>
                <a:lnTo>
                  <a:pt x="329025" y="488547"/>
                </a:lnTo>
                <a:lnTo>
                  <a:pt x="356396" y="458480"/>
                </a:lnTo>
                <a:lnTo>
                  <a:pt x="387236" y="429920"/>
                </a:lnTo>
                <a:lnTo>
                  <a:pt x="402056" y="414994"/>
                </a:lnTo>
                <a:lnTo>
                  <a:pt x="416245" y="403056"/>
                </a:lnTo>
                <a:lnTo>
                  <a:pt x="442669" y="378585"/>
                </a:lnTo>
                <a:lnTo>
                  <a:pt x="480950" y="348615"/>
                </a:lnTo>
                <a:lnTo>
                  <a:pt x="498832" y="333570"/>
                </a:lnTo>
                <a:lnTo>
                  <a:pt x="511869" y="324408"/>
                </a:lnTo>
                <a:lnTo>
                  <a:pt x="536541" y="305092"/>
                </a:lnTo>
                <a:lnTo>
                  <a:pt x="583119" y="274338"/>
                </a:lnTo>
                <a:lnTo>
                  <a:pt x="603903" y="259732"/>
                </a:lnTo>
                <a:lnTo>
                  <a:pt x="615316" y="253079"/>
                </a:lnTo>
                <a:lnTo>
                  <a:pt x="637495" y="238436"/>
                </a:lnTo>
                <a:lnTo>
                  <a:pt x="693465" y="207524"/>
                </a:lnTo>
                <a:lnTo>
                  <a:pt x="716640" y="194015"/>
                </a:lnTo>
                <a:lnTo>
                  <a:pt x="726004" y="189554"/>
                </a:lnTo>
                <a:lnTo>
                  <a:pt x="745011" y="179057"/>
                </a:lnTo>
                <a:lnTo>
                  <a:pt x="812077" y="148545"/>
                </a:lnTo>
                <a:lnTo>
                  <a:pt x="836414" y="136949"/>
                </a:lnTo>
                <a:lnTo>
                  <a:pt x="843345" y="134319"/>
                </a:lnTo>
                <a:lnTo>
                  <a:pt x="858574" y="127390"/>
                </a:lnTo>
                <a:lnTo>
                  <a:pt x="940169" y="97577"/>
                </a:lnTo>
                <a:lnTo>
                  <a:pt x="962599" y="89065"/>
                </a:lnTo>
                <a:lnTo>
                  <a:pt x="966748" y="87866"/>
                </a:lnTo>
                <a:lnTo>
                  <a:pt x="977665" y="83877"/>
                </a:lnTo>
                <a:lnTo>
                  <a:pt x="1084024" y="53947"/>
                </a:lnTo>
                <a:lnTo>
                  <a:pt x="1094564" y="50897"/>
                </a:lnTo>
                <a:lnTo>
                  <a:pt x="1095623" y="50681"/>
                </a:lnTo>
                <a:lnTo>
                  <a:pt x="1101768" y="48953"/>
                </a:lnTo>
                <a:cubicBezTo>
                  <a:pt x="1186059" y="28631"/>
                  <a:pt x="1273346" y="14327"/>
                  <a:pt x="1362938" y="6625"/>
                </a:cubicBezTo>
                <a:lnTo>
                  <a:pt x="1368872" y="6373"/>
                </a:lnTo>
                <a:lnTo>
                  <a:pt x="1373325" y="5833"/>
                </a:lnTo>
                <a:lnTo>
                  <a:pt x="1446728" y="2891"/>
                </a:lnTo>
                <a:lnTo>
                  <a:pt x="1446728" y="1"/>
                </a:lnTo>
                <a:lnTo>
                  <a:pt x="1517940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BBF648B-8662-41BD-ABD9-3FC10ADCB0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2728" y="-1"/>
            <a:ext cx="3329446" cy="3963752"/>
          </a:xfrm>
          <a:custGeom>
            <a:avLst/>
            <a:gdLst>
              <a:gd name="connsiteX0" fmla="*/ 0 w 3329446"/>
              <a:gd name="connsiteY0" fmla="*/ 0 h 3963752"/>
              <a:gd name="connsiteX1" fmla="*/ 3323772 w 3329446"/>
              <a:gd name="connsiteY1" fmla="*/ 0 h 3963752"/>
              <a:gd name="connsiteX2" fmla="*/ 3323772 w 3329446"/>
              <a:gd name="connsiteY2" fmla="*/ 1835849 h 3963752"/>
              <a:gd name="connsiteX3" fmla="*/ 3329446 w 3329446"/>
              <a:gd name="connsiteY3" fmla="*/ 1835849 h 3963752"/>
              <a:gd name="connsiteX4" fmla="*/ 3329446 w 3329446"/>
              <a:gd name="connsiteY4" fmla="*/ 2289287 h 3963752"/>
              <a:gd name="connsiteX5" fmla="*/ 3329446 w 3329446"/>
              <a:gd name="connsiteY5" fmla="*/ 2558380 h 3963752"/>
              <a:gd name="connsiteX6" fmla="*/ 3327463 w 3329446"/>
              <a:gd name="connsiteY6" fmla="*/ 2558380 h 3963752"/>
              <a:gd name="connsiteX7" fmla="*/ 3327463 w 3329446"/>
              <a:gd name="connsiteY7" fmla="*/ 2558800 h 3963752"/>
              <a:gd name="connsiteX8" fmla="*/ 3327463 w 3329446"/>
              <a:gd name="connsiteY8" fmla="*/ 2576829 h 3963752"/>
              <a:gd name="connsiteX9" fmla="*/ 3327463 w 3329446"/>
              <a:gd name="connsiteY9" fmla="*/ 2632836 h 3963752"/>
              <a:gd name="connsiteX10" fmla="*/ 3323321 w 3329446"/>
              <a:gd name="connsiteY10" fmla="*/ 2632836 h 3963752"/>
              <a:gd name="connsiteX11" fmla="*/ 3319923 w 3329446"/>
              <a:gd name="connsiteY11" fmla="*/ 2693585 h 3963752"/>
              <a:gd name="connsiteX12" fmla="*/ 3319059 w 3329446"/>
              <a:gd name="connsiteY12" fmla="*/ 2698808 h 3963752"/>
              <a:gd name="connsiteX13" fmla="*/ 3318887 w 3329446"/>
              <a:gd name="connsiteY13" fmla="*/ 2701693 h 3963752"/>
              <a:gd name="connsiteX14" fmla="*/ 3314050 w 3329446"/>
              <a:gd name="connsiteY14" fmla="*/ 2729091 h 3963752"/>
              <a:gd name="connsiteX15" fmla="*/ 3299562 w 3329446"/>
              <a:gd name="connsiteY15" fmla="*/ 2816679 h 3963752"/>
              <a:gd name="connsiteX16" fmla="*/ 3296809 w 3329446"/>
              <a:gd name="connsiteY16" fmla="*/ 2826752 h 3963752"/>
              <a:gd name="connsiteX17" fmla="*/ 3295762 w 3329446"/>
              <a:gd name="connsiteY17" fmla="*/ 2832686 h 3963752"/>
              <a:gd name="connsiteX18" fmla="*/ 3286816 w 3329446"/>
              <a:gd name="connsiteY18" fmla="*/ 2863315 h 3963752"/>
              <a:gd name="connsiteX19" fmla="*/ 3266917 w 3329446"/>
              <a:gd name="connsiteY19" fmla="*/ 2936122 h 3963752"/>
              <a:gd name="connsiteX20" fmla="*/ 3261251 w 3329446"/>
              <a:gd name="connsiteY20" fmla="*/ 2950852 h 3963752"/>
              <a:gd name="connsiteX21" fmla="*/ 3258740 w 3329446"/>
              <a:gd name="connsiteY21" fmla="*/ 2959448 h 3963752"/>
              <a:gd name="connsiteX22" fmla="*/ 3246671 w 3329446"/>
              <a:gd name="connsiteY22" fmla="*/ 2988749 h 3963752"/>
              <a:gd name="connsiteX23" fmla="*/ 3222555 w 3329446"/>
              <a:gd name="connsiteY23" fmla="*/ 3051436 h 3963752"/>
              <a:gd name="connsiteX24" fmla="*/ 3213015 w 3329446"/>
              <a:gd name="connsiteY24" fmla="*/ 3070459 h 3963752"/>
              <a:gd name="connsiteX25" fmla="*/ 3208511 w 3329446"/>
              <a:gd name="connsiteY25" fmla="*/ 3081395 h 3963752"/>
              <a:gd name="connsiteX26" fmla="*/ 3194225 w 3329446"/>
              <a:gd name="connsiteY26" fmla="*/ 3107928 h 3963752"/>
              <a:gd name="connsiteX27" fmla="*/ 3167040 w 3329446"/>
              <a:gd name="connsiteY27" fmla="*/ 3162139 h 3963752"/>
              <a:gd name="connsiteX28" fmla="*/ 3152717 w 3329446"/>
              <a:gd name="connsiteY28" fmla="*/ 3185024 h 3963752"/>
              <a:gd name="connsiteX29" fmla="*/ 3145760 w 3329446"/>
              <a:gd name="connsiteY29" fmla="*/ 3197948 h 3963752"/>
              <a:gd name="connsiteX30" fmla="*/ 3130089 w 3329446"/>
              <a:gd name="connsiteY30" fmla="*/ 3221179 h 3963752"/>
              <a:gd name="connsiteX31" fmla="*/ 3100942 w 3329446"/>
              <a:gd name="connsiteY31" fmla="*/ 3267753 h 3963752"/>
              <a:gd name="connsiteX32" fmla="*/ 3080967 w 3329446"/>
              <a:gd name="connsiteY32" fmla="*/ 3294007 h 3963752"/>
              <a:gd name="connsiteX33" fmla="*/ 3071177 w 3329446"/>
              <a:gd name="connsiteY33" fmla="*/ 3308521 h 3963752"/>
              <a:gd name="connsiteX34" fmla="*/ 3054883 w 3329446"/>
              <a:gd name="connsiteY34" fmla="*/ 3328291 h 3963752"/>
              <a:gd name="connsiteX35" fmla="*/ 3024825 w 3329446"/>
              <a:gd name="connsiteY35" fmla="*/ 3367799 h 3963752"/>
              <a:gd name="connsiteX36" fmla="*/ 2998364 w 3329446"/>
              <a:gd name="connsiteY36" fmla="*/ 3396866 h 3963752"/>
              <a:gd name="connsiteX37" fmla="*/ 2985450 w 3329446"/>
              <a:gd name="connsiteY37" fmla="*/ 3412536 h 3963752"/>
              <a:gd name="connsiteX38" fmla="*/ 2969221 w 3329446"/>
              <a:gd name="connsiteY38" fmla="*/ 3428879 h 3963752"/>
              <a:gd name="connsiteX39" fmla="*/ 2939255 w 3329446"/>
              <a:gd name="connsiteY39" fmla="*/ 3461797 h 3963752"/>
              <a:gd name="connsiteX40" fmla="*/ 2905490 w 3329446"/>
              <a:gd name="connsiteY40" fmla="*/ 3493065 h 3963752"/>
              <a:gd name="connsiteX41" fmla="*/ 2889265 w 3329446"/>
              <a:gd name="connsiteY41" fmla="*/ 3509406 h 3963752"/>
              <a:gd name="connsiteX42" fmla="*/ 2873730 w 3329446"/>
              <a:gd name="connsiteY42" fmla="*/ 3522476 h 3963752"/>
              <a:gd name="connsiteX43" fmla="*/ 2844801 w 3329446"/>
              <a:gd name="connsiteY43" fmla="*/ 3549267 h 3963752"/>
              <a:gd name="connsiteX44" fmla="*/ 2802889 w 3329446"/>
              <a:gd name="connsiteY44" fmla="*/ 3582080 h 3963752"/>
              <a:gd name="connsiteX45" fmla="*/ 2783312 w 3329446"/>
              <a:gd name="connsiteY45" fmla="*/ 3598552 h 3963752"/>
              <a:gd name="connsiteX46" fmla="*/ 2769039 w 3329446"/>
              <a:gd name="connsiteY46" fmla="*/ 3608581 h 3963752"/>
              <a:gd name="connsiteX47" fmla="*/ 2742027 w 3329446"/>
              <a:gd name="connsiteY47" fmla="*/ 3629729 h 3963752"/>
              <a:gd name="connsiteX48" fmla="*/ 2691032 w 3329446"/>
              <a:gd name="connsiteY48" fmla="*/ 3663400 h 3963752"/>
              <a:gd name="connsiteX49" fmla="*/ 2668278 w 3329446"/>
              <a:gd name="connsiteY49" fmla="*/ 3679391 h 3963752"/>
              <a:gd name="connsiteX50" fmla="*/ 2655781 w 3329446"/>
              <a:gd name="connsiteY50" fmla="*/ 3686674 h 3963752"/>
              <a:gd name="connsiteX51" fmla="*/ 2631501 w 3329446"/>
              <a:gd name="connsiteY51" fmla="*/ 3702706 h 3963752"/>
              <a:gd name="connsiteX52" fmla="*/ 2570223 w 3329446"/>
              <a:gd name="connsiteY52" fmla="*/ 3736549 h 3963752"/>
              <a:gd name="connsiteX53" fmla="*/ 2544851 w 3329446"/>
              <a:gd name="connsiteY53" fmla="*/ 3751340 h 3963752"/>
              <a:gd name="connsiteX54" fmla="*/ 2534598 w 3329446"/>
              <a:gd name="connsiteY54" fmla="*/ 3756224 h 3963752"/>
              <a:gd name="connsiteX55" fmla="*/ 2513789 w 3329446"/>
              <a:gd name="connsiteY55" fmla="*/ 3767716 h 3963752"/>
              <a:gd name="connsiteX56" fmla="*/ 2440364 w 3329446"/>
              <a:gd name="connsiteY56" fmla="*/ 3801122 h 3963752"/>
              <a:gd name="connsiteX57" fmla="*/ 2413718 w 3329446"/>
              <a:gd name="connsiteY57" fmla="*/ 3813817 h 3963752"/>
              <a:gd name="connsiteX58" fmla="*/ 2406131 w 3329446"/>
              <a:gd name="connsiteY58" fmla="*/ 3816697 h 3963752"/>
              <a:gd name="connsiteX59" fmla="*/ 2389458 w 3329446"/>
              <a:gd name="connsiteY59" fmla="*/ 3824282 h 3963752"/>
              <a:gd name="connsiteX60" fmla="*/ 2300125 w 3329446"/>
              <a:gd name="connsiteY60" fmla="*/ 3856922 h 3963752"/>
              <a:gd name="connsiteX61" fmla="*/ 2275568 w 3329446"/>
              <a:gd name="connsiteY61" fmla="*/ 3866241 h 3963752"/>
              <a:gd name="connsiteX62" fmla="*/ 2271026 w 3329446"/>
              <a:gd name="connsiteY62" fmla="*/ 3867555 h 3963752"/>
              <a:gd name="connsiteX63" fmla="*/ 2259074 w 3329446"/>
              <a:gd name="connsiteY63" fmla="*/ 3871922 h 3963752"/>
              <a:gd name="connsiteX64" fmla="*/ 2142630 w 3329446"/>
              <a:gd name="connsiteY64" fmla="*/ 3904690 h 3963752"/>
              <a:gd name="connsiteX65" fmla="*/ 2131089 w 3329446"/>
              <a:gd name="connsiteY65" fmla="*/ 3908028 h 3963752"/>
              <a:gd name="connsiteX66" fmla="*/ 2129930 w 3329446"/>
              <a:gd name="connsiteY66" fmla="*/ 3908264 h 3963752"/>
              <a:gd name="connsiteX67" fmla="*/ 2123202 w 3329446"/>
              <a:gd name="connsiteY67" fmla="*/ 3910157 h 3963752"/>
              <a:gd name="connsiteX68" fmla="*/ 1837266 w 3329446"/>
              <a:gd name="connsiteY68" fmla="*/ 3956499 h 3963752"/>
              <a:gd name="connsiteX69" fmla="*/ 1830771 w 3329446"/>
              <a:gd name="connsiteY69" fmla="*/ 3956775 h 3963752"/>
              <a:gd name="connsiteX70" fmla="*/ 1825895 w 3329446"/>
              <a:gd name="connsiteY70" fmla="*/ 3957365 h 3963752"/>
              <a:gd name="connsiteX71" fmla="*/ 1745532 w 3329446"/>
              <a:gd name="connsiteY71" fmla="*/ 3960587 h 3963752"/>
              <a:gd name="connsiteX72" fmla="*/ 1745532 w 3329446"/>
              <a:gd name="connsiteY72" fmla="*/ 3963751 h 3963752"/>
              <a:gd name="connsiteX73" fmla="*/ 1667566 w 3329446"/>
              <a:gd name="connsiteY73" fmla="*/ 3963751 h 3963752"/>
              <a:gd name="connsiteX74" fmla="*/ 1667550 w 3329446"/>
              <a:gd name="connsiteY74" fmla="*/ 3963752 h 3963752"/>
              <a:gd name="connsiteX75" fmla="*/ 1667534 w 3329446"/>
              <a:gd name="connsiteY75" fmla="*/ 3963751 h 3963752"/>
              <a:gd name="connsiteX76" fmla="*/ 1666556 w 3329446"/>
              <a:gd name="connsiteY76" fmla="*/ 3963751 h 3963752"/>
              <a:gd name="connsiteX77" fmla="*/ 7638 w 3329446"/>
              <a:gd name="connsiteY77" fmla="*/ 3963751 h 3963752"/>
              <a:gd name="connsiteX78" fmla="*/ 7638 w 3329446"/>
              <a:gd name="connsiteY78" fmla="*/ 2632836 h 3963752"/>
              <a:gd name="connsiteX79" fmla="*/ 5674 w 3329446"/>
              <a:gd name="connsiteY79" fmla="*/ 2632836 h 3963752"/>
              <a:gd name="connsiteX80" fmla="*/ 5674 w 3329446"/>
              <a:gd name="connsiteY80" fmla="*/ 2558380 h 3963752"/>
              <a:gd name="connsiteX81" fmla="*/ 5674 w 3329446"/>
              <a:gd name="connsiteY81" fmla="*/ 2289287 h 3963752"/>
              <a:gd name="connsiteX82" fmla="*/ 5674 w 3329446"/>
              <a:gd name="connsiteY82" fmla="*/ 1861477 h 3963752"/>
              <a:gd name="connsiteX83" fmla="*/ 0 w 3329446"/>
              <a:gd name="connsiteY83" fmla="*/ 1861477 h 3963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3329446" h="3963752">
                <a:moveTo>
                  <a:pt x="0" y="0"/>
                </a:moveTo>
                <a:lnTo>
                  <a:pt x="3323772" y="0"/>
                </a:lnTo>
                <a:lnTo>
                  <a:pt x="3323772" y="1835849"/>
                </a:lnTo>
                <a:lnTo>
                  <a:pt x="3329446" y="1835849"/>
                </a:lnTo>
                <a:lnTo>
                  <a:pt x="3329446" y="2289287"/>
                </a:lnTo>
                <a:lnTo>
                  <a:pt x="3329446" y="2558380"/>
                </a:lnTo>
                <a:lnTo>
                  <a:pt x="3327463" y="2558380"/>
                </a:lnTo>
                <a:lnTo>
                  <a:pt x="3327463" y="2558800"/>
                </a:lnTo>
                <a:lnTo>
                  <a:pt x="3327463" y="2576829"/>
                </a:lnTo>
                <a:lnTo>
                  <a:pt x="3327463" y="2632836"/>
                </a:lnTo>
                <a:lnTo>
                  <a:pt x="3323321" y="2632836"/>
                </a:lnTo>
                <a:lnTo>
                  <a:pt x="3319923" y="2693585"/>
                </a:lnTo>
                <a:lnTo>
                  <a:pt x="3319059" y="2698808"/>
                </a:lnTo>
                <a:lnTo>
                  <a:pt x="3318887" y="2701693"/>
                </a:lnTo>
                <a:lnTo>
                  <a:pt x="3314050" y="2729091"/>
                </a:lnTo>
                <a:lnTo>
                  <a:pt x="3299562" y="2816679"/>
                </a:lnTo>
                <a:lnTo>
                  <a:pt x="3296809" y="2826752"/>
                </a:lnTo>
                <a:lnTo>
                  <a:pt x="3295762" y="2832686"/>
                </a:lnTo>
                <a:lnTo>
                  <a:pt x="3286816" y="2863315"/>
                </a:lnTo>
                <a:lnTo>
                  <a:pt x="3266917" y="2936122"/>
                </a:lnTo>
                <a:lnTo>
                  <a:pt x="3261251" y="2950852"/>
                </a:lnTo>
                <a:lnTo>
                  <a:pt x="3258740" y="2959448"/>
                </a:lnTo>
                <a:lnTo>
                  <a:pt x="3246671" y="2988749"/>
                </a:lnTo>
                <a:lnTo>
                  <a:pt x="3222555" y="3051436"/>
                </a:lnTo>
                <a:lnTo>
                  <a:pt x="3213015" y="3070459"/>
                </a:lnTo>
                <a:lnTo>
                  <a:pt x="3208511" y="3081395"/>
                </a:lnTo>
                <a:lnTo>
                  <a:pt x="3194225" y="3107928"/>
                </a:lnTo>
                <a:lnTo>
                  <a:pt x="3167040" y="3162139"/>
                </a:lnTo>
                <a:lnTo>
                  <a:pt x="3152717" y="3185024"/>
                </a:lnTo>
                <a:lnTo>
                  <a:pt x="3145760" y="3197948"/>
                </a:lnTo>
                <a:lnTo>
                  <a:pt x="3130089" y="3221179"/>
                </a:lnTo>
                <a:lnTo>
                  <a:pt x="3100942" y="3267753"/>
                </a:lnTo>
                <a:lnTo>
                  <a:pt x="3080967" y="3294007"/>
                </a:lnTo>
                <a:lnTo>
                  <a:pt x="3071177" y="3308521"/>
                </a:lnTo>
                <a:lnTo>
                  <a:pt x="3054883" y="3328291"/>
                </a:lnTo>
                <a:lnTo>
                  <a:pt x="3024825" y="3367799"/>
                </a:lnTo>
                <a:lnTo>
                  <a:pt x="2998364" y="3396866"/>
                </a:lnTo>
                <a:lnTo>
                  <a:pt x="2985450" y="3412536"/>
                </a:lnTo>
                <a:lnTo>
                  <a:pt x="2969221" y="3428879"/>
                </a:lnTo>
                <a:lnTo>
                  <a:pt x="2939255" y="3461797"/>
                </a:lnTo>
                <a:lnTo>
                  <a:pt x="2905490" y="3493065"/>
                </a:lnTo>
                <a:lnTo>
                  <a:pt x="2889265" y="3509406"/>
                </a:lnTo>
                <a:lnTo>
                  <a:pt x="2873730" y="3522476"/>
                </a:lnTo>
                <a:lnTo>
                  <a:pt x="2844801" y="3549267"/>
                </a:lnTo>
                <a:lnTo>
                  <a:pt x="2802889" y="3582080"/>
                </a:lnTo>
                <a:lnTo>
                  <a:pt x="2783312" y="3598552"/>
                </a:lnTo>
                <a:lnTo>
                  <a:pt x="2769039" y="3608581"/>
                </a:lnTo>
                <a:lnTo>
                  <a:pt x="2742027" y="3629729"/>
                </a:lnTo>
                <a:lnTo>
                  <a:pt x="2691032" y="3663400"/>
                </a:lnTo>
                <a:lnTo>
                  <a:pt x="2668278" y="3679391"/>
                </a:lnTo>
                <a:lnTo>
                  <a:pt x="2655781" y="3686674"/>
                </a:lnTo>
                <a:lnTo>
                  <a:pt x="2631501" y="3702706"/>
                </a:lnTo>
                <a:lnTo>
                  <a:pt x="2570223" y="3736549"/>
                </a:lnTo>
                <a:lnTo>
                  <a:pt x="2544851" y="3751340"/>
                </a:lnTo>
                <a:lnTo>
                  <a:pt x="2534598" y="3756224"/>
                </a:lnTo>
                <a:lnTo>
                  <a:pt x="2513789" y="3767716"/>
                </a:lnTo>
                <a:lnTo>
                  <a:pt x="2440364" y="3801122"/>
                </a:lnTo>
                <a:lnTo>
                  <a:pt x="2413718" y="3813817"/>
                </a:lnTo>
                <a:lnTo>
                  <a:pt x="2406131" y="3816697"/>
                </a:lnTo>
                <a:lnTo>
                  <a:pt x="2389458" y="3824282"/>
                </a:lnTo>
                <a:lnTo>
                  <a:pt x="2300125" y="3856922"/>
                </a:lnTo>
                <a:lnTo>
                  <a:pt x="2275568" y="3866241"/>
                </a:lnTo>
                <a:lnTo>
                  <a:pt x="2271026" y="3867555"/>
                </a:lnTo>
                <a:lnTo>
                  <a:pt x="2259074" y="3871922"/>
                </a:lnTo>
                <a:lnTo>
                  <a:pt x="2142630" y="3904690"/>
                </a:lnTo>
                <a:lnTo>
                  <a:pt x="2131089" y="3908028"/>
                </a:lnTo>
                <a:lnTo>
                  <a:pt x="2129930" y="3908264"/>
                </a:lnTo>
                <a:lnTo>
                  <a:pt x="2123202" y="3910157"/>
                </a:lnTo>
                <a:cubicBezTo>
                  <a:pt x="2030918" y="3932407"/>
                  <a:pt x="1935355" y="3948066"/>
                  <a:pt x="1837266" y="3956499"/>
                </a:cubicBezTo>
                <a:lnTo>
                  <a:pt x="1830771" y="3956775"/>
                </a:lnTo>
                <a:lnTo>
                  <a:pt x="1825895" y="3957365"/>
                </a:lnTo>
                <a:lnTo>
                  <a:pt x="1745532" y="3960587"/>
                </a:lnTo>
                <a:lnTo>
                  <a:pt x="1745532" y="3963751"/>
                </a:lnTo>
                <a:lnTo>
                  <a:pt x="1667566" y="3963751"/>
                </a:lnTo>
                <a:lnTo>
                  <a:pt x="1667550" y="3963752"/>
                </a:lnTo>
                <a:lnTo>
                  <a:pt x="1667534" y="3963751"/>
                </a:lnTo>
                <a:lnTo>
                  <a:pt x="1666556" y="3963751"/>
                </a:lnTo>
                <a:lnTo>
                  <a:pt x="7638" y="3963751"/>
                </a:lnTo>
                <a:lnTo>
                  <a:pt x="7638" y="2632836"/>
                </a:lnTo>
                <a:lnTo>
                  <a:pt x="5674" y="2632836"/>
                </a:lnTo>
                <a:lnTo>
                  <a:pt x="5674" y="2558380"/>
                </a:lnTo>
                <a:lnTo>
                  <a:pt x="5674" y="2289287"/>
                </a:lnTo>
                <a:lnTo>
                  <a:pt x="5674" y="1861477"/>
                </a:lnTo>
                <a:lnTo>
                  <a:pt x="0" y="186147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09944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428CA49-FBDD-41D9-BB48-8148C5F0D6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10485" y="1250622"/>
            <a:ext cx="3418030" cy="4878949"/>
          </a:xfrm>
          <a:custGeom>
            <a:avLst/>
            <a:gdLst>
              <a:gd name="connsiteX0" fmla="*/ 1191331 w 3418030"/>
              <a:gd name="connsiteY0" fmla="*/ 0 h 4878949"/>
              <a:gd name="connsiteX1" fmla="*/ 1294432 w 3418030"/>
              <a:gd name="connsiteY1" fmla="*/ 0 h 4878949"/>
              <a:gd name="connsiteX2" fmla="*/ 1457098 w 3418030"/>
              <a:gd name="connsiteY2" fmla="*/ 0 h 4878949"/>
              <a:gd name="connsiteX3" fmla="*/ 1564784 w 3418030"/>
              <a:gd name="connsiteY3" fmla="*/ 0 h 4878949"/>
              <a:gd name="connsiteX4" fmla="*/ 2013538 w 3418030"/>
              <a:gd name="connsiteY4" fmla="*/ 0 h 4878949"/>
              <a:gd name="connsiteX5" fmla="*/ 2038520 w 3418030"/>
              <a:gd name="connsiteY5" fmla="*/ 0 h 4878949"/>
              <a:gd name="connsiteX6" fmla="*/ 2130825 w 3418030"/>
              <a:gd name="connsiteY6" fmla="*/ 0 h 4878949"/>
              <a:gd name="connsiteX7" fmla="*/ 2156238 w 3418030"/>
              <a:gd name="connsiteY7" fmla="*/ 0 h 4878949"/>
              <a:gd name="connsiteX8" fmla="*/ 2221889 w 3418030"/>
              <a:gd name="connsiteY8" fmla="*/ 0 h 4878949"/>
              <a:gd name="connsiteX9" fmla="*/ 2277890 w 3418030"/>
              <a:gd name="connsiteY9" fmla="*/ 0 h 4878949"/>
              <a:gd name="connsiteX10" fmla="*/ 2342770 w 3418030"/>
              <a:gd name="connsiteY10" fmla="*/ 0 h 4878949"/>
              <a:gd name="connsiteX11" fmla="*/ 2399737 w 3418030"/>
              <a:gd name="connsiteY11" fmla="*/ 0 h 4878949"/>
              <a:gd name="connsiteX12" fmla="*/ 2399737 w 3418030"/>
              <a:gd name="connsiteY12" fmla="*/ 1224 h 4878949"/>
              <a:gd name="connsiteX13" fmla="*/ 3278911 w 3418030"/>
              <a:gd name="connsiteY13" fmla="*/ 1224 h 4878949"/>
              <a:gd name="connsiteX14" fmla="*/ 3418030 w 3418030"/>
              <a:gd name="connsiteY14" fmla="*/ 1224 h 4878949"/>
              <a:gd name="connsiteX15" fmla="*/ 3418030 w 3418030"/>
              <a:gd name="connsiteY15" fmla="*/ 70784 h 4878949"/>
              <a:gd name="connsiteX16" fmla="*/ 3418030 w 3418030"/>
              <a:gd name="connsiteY16" fmla="*/ 685938 h 4878949"/>
              <a:gd name="connsiteX17" fmla="*/ 3418030 w 3418030"/>
              <a:gd name="connsiteY17" fmla="*/ 732837 h 4878949"/>
              <a:gd name="connsiteX18" fmla="*/ 3418030 w 3418030"/>
              <a:gd name="connsiteY18" fmla="*/ 755498 h 4878949"/>
              <a:gd name="connsiteX19" fmla="*/ 3418030 w 3418030"/>
              <a:gd name="connsiteY19" fmla="*/ 802397 h 4878949"/>
              <a:gd name="connsiteX20" fmla="*/ 3418030 w 3418030"/>
              <a:gd name="connsiteY20" fmla="*/ 1036312 h 4878949"/>
              <a:gd name="connsiteX21" fmla="*/ 3418030 w 3418030"/>
              <a:gd name="connsiteY21" fmla="*/ 1036923 h 4878949"/>
              <a:gd name="connsiteX22" fmla="*/ 3418030 w 3418030"/>
              <a:gd name="connsiteY22" fmla="*/ 1036933 h 4878949"/>
              <a:gd name="connsiteX23" fmla="*/ 3418030 w 3418030"/>
              <a:gd name="connsiteY23" fmla="*/ 1036943 h 4878949"/>
              <a:gd name="connsiteX24" fmla="*/ 3418030 w 3418030"/>
              <a:gd name="connsiteY24" fmla="*/ 1085589 h 4878949"/>
              <a:gd name="connsiteX25" fmla="*/ 3418030 w 3418030"/>
              <a:gd name="connsiteY25" fmla="*/ 1105871 h 4878949"/>
              <a:gd name="connsiteX26" fmla="*/ 3418030 w 3418030"/>
              <a:gd name="connsiteY26" fmla="*/ 1106482 h 4878949"/>
              <a:gd name="connsiteX27" fmla="*/ 3418030 w 3418030"/>
              <a:gd name="connsiteY27" fmla="*/ 1106491 h 4878949"/>
              <a:gd name="connsiteX28" fmla="*/ 3418030 w 3418030"/>
              <a:gd name="connsiteY28" fmla="*/ 1106501 h 4878949"/>
              <a:gd name="connsiteX29" fmla="*/ 3418030 w 3418030"/>
              <a:gd name="connsiteY29" fmla="*/ 1155149 h 4878949"/>
              <a:gd name="connsiteX30" fmla="*/ 3418030 w 3418030"/>
              <a:gd name="connsiteY30" fmla="*/ 1417551 h 4878949"/>
              <a:gd name="connsiteX31" fmla="*/ 3418030 w 3418030"/>
              <a:gd name="connsiteY31" fmla="*/ 1487111 h 4878949"/>
              <a:gd name="connsiteX32" fmla="*/ 3418030 w 3418030"/>
              <a:gd name="connsiteY32" fmla="*/ 1721026 h 4878949"/>
              <a:gd name="connsiteX33" fmla="*/ 3418030 w 3418030"/>
              <a:gd name="connsiteY33" fmla="*/ 1721637 h 4878949"/>
              <a:gd name="connsiteX34" fmla="*/ 3418030 w 3418030"/>
              <a:gd name="connsiteY34" fmla="*/ 1721646 h 4878949"/>
              <a:gd name="connsiteX35" fmla="*/ 3418030 w 3418030"/>
              <a:gd name="connsiteY35" fmla="*/ 1721657 h 4878949"/>
              <a:gd name="connsiteX36" fmla="*/ 3418030 w 3418030"/>
              <a:gd name="connsiteY36" fmla="*/ 1767925 h 4878949"/>
              <a:gd name="connsiteX37" fmla="*/ 3418030 w 3418030"/>
              <a:gd name="connsiteY37" fmla="*/ 1768536 h 4878949"/>
              <a:gd name="connsiteX38" fmla="*/ 3418030 w 3418030"/>
              <a:gd name="connsiteY38" fmla="*/ 1768546 h 4878949"/>
              <a:gd name="connsiteX39" fmla="*/ 3418030 w 3418030"/>
              <a:gd name="connsiteY39" fmla="*/ 1768556 h 4878949"/>
              <a:gd name="connsiteX40" fmla="*/ 3418030 w 3418030"/>
              <a:gd name="connsiteY40" fmla="*/ 1770303 h 4878949"/>
              <a:gd name="connsiteX41" fmla="*/ 3418030 w 3418030"/>
              <a:gd name="connsiteY41" fmla="*/ 1790585 h 4878949"/>
              <a:gd name="connsiteX42" fmla="*/ 3418030 w 3418030"/>
              <a:gd name="connsiteY42" fmla="*/ 1791196 h 4878949"/>
              <a:gd name="connsiteX43" fmla="*/ 3418030 w 3418030"/>
              <a:gd name="connsiteY43" fmla="*/ 1791205 h 4878949"/>
              <a:gd name="connsiteX44" fmla="*/ 3418030 w 3418030"/>
              <a:gd name="connsiteY44" fmla="*/ 1791215 h 4878949"/>
              <a:gd name="connsiteX45" fmla="*/ 3418030 w 3418030"/>
              <a:gd name="connsiteY45" fmla="*/ 1817203 h 4878949"/>
              <a:gd name="connsiteX46" fmla="*/ 3418030 w 3418030"/>
              <a:gd name="connsiteY46" fmla="*/ 1837484 h 4878949"/>
              <a:gd name="connsiteX47" fmla="*/ 3418030 w 3418030"/>
              <a:gd name="connsiteY47" fmla="*/ 1838095 h 4878949"/>
              <a:gd name="connsiteX48" fmla="*/ 3418030 w 3418030"/>
              <a:gd name="connsiteY48" fmla="*/ 1838105 h 4878949"/>
              <a:gd name="connsiteX49" fmla="*/ 3418030 w 3418030"/>
              <a:gd name="connsiteY49" fmla="*/ 1838115 h 4878949"/>
              <a:gd name="connsiteX50" fmla="*/ 3418030 w 3418030"/>
              <a:gd name="connsiteY50" fmla="*/ 1839863 h 4878949"/>
              <a:gd name="connsiteX51" fmla="*/ 3418030 w 3418030"/>
              <a:gd name="connsiteY51" fmla="*/ 1886762 h 4878949"/>
              <a:gd name="connsiteX52" fmla="*/ 3418030 w 3418030"/>
              <a:gd name="connsiteY52" fmla="*/ 2452639 h 4878949"/>
              <a:gd name="connsiteX53" fmla="*/ 3418030 w 3418030"/>
              <a:gd name="connsiteY53" fmla="*/ 2453250 h 4878949"/>
              <a:gd name="connsiteX54" fmla="*/ 3418030 w 3418030"/>
              <a:gd name="connsiteY54" fmla="*/ 2453260 h 4878949"/>
              <a:gd name="connsiteX55" fmla="*/ 3418030 w 3418030"/>
              <a:gd name="connsiteY55" fmla="*/ 2453270 h 4878949"/>
              <a:gd name="connsiteX56" fmla="*/ 3418030 w 3418030"/>
              <a:gd name="connsiteY56" fmla="*/ 2501917 h 4878949"/>
              <a:gd name="connsiteX57" fmla="*/ 3418030 w 3418030"/>
              <a:gd name="connsiteY57" fmla="*/ 2522198 h 4878949"/>
              <a:gd name="connsiteX58" fmla="*/ 3418030 w 3418030"/>
              <a:gd name="connsiteY58" fmla="*/ 2522809 h 4878949"/>
              <a:gd name="connsiteX59" fmla="*/ 3418030 w 3418030"/>
              <a:gd name="connsiteY59" fmla="*/ 2522819 h 4878949"/>
              <a:gd name="connsiteX60" fmla="*/ 3418030 w 3418030"/>
              <a:gd name="connsiteY60" fmla="*/ 2522830 h 4878949"/>
              <a:gd name="connsiteX61" fmla="*/ 3418030 w 3418030"/>
              <a:gd name="connsiteY61" fmla="*/ 2571476 h 4878949"/>
              <a:gd name="connsiteX62" fmla="*/ 3415609 w 3418030"/>
              <a:gd name="connsiteY62" fmla="*/ 2571476 h 4878949"/>
              <a:gd name="connsiteX63" fmla="*/ 3413143 w 3418030"/>
              <a:gd name="connsiteY63" fmla="*/ 2621619 h 4878949"/>
              <a:gd name="connsiteX64" fmla="*/ 3412693 w 3418030"/>
              <a:gd name="connsiteY64" fmla="*/ 2624661 h 4878949"/>
              <a:gd name="connsiteX65" fmla="*/ 3412480 w 3418030"/>
              <a:gd name="connsiteY65" fmla="*/ 2628713 h 4878949"/>
              <a:gd name="connsiteX66" fmla="*/ 3377025 w 3418030"/>
              <a:gd name="connsiteY66" fmla="*/ 2807125 h 4878949"/>
              <a:gd name="connsiteX67" fmla="*/ 3375576 w 3418030"/>
              <a:gd name="connsiteY67" fmla="*/ 2811322 h 4878949"/>
              <a:gd name="connsiteX68" fmla="*/ 3375395 w 3418030"/>
              <a:gd name="connsiteY68" fmla="*/ 2812045 h 4878949"/>
              <a:gd name="connsiteX69" fmla="*/ 3372842 w 3418030"/>
              <a:gd name="connsiteY69" fmla="*/ 2819247 h 4878949"/>
              <a:gd name="connsiteX70" fmla="*/ 3347771 w 3418030"/>
              <a:gd name="connsiteY70" fmla="*/ 2891903 h 4878949"/>
              <a:gd name="connsiteX71" fmla="*/ 3344429 w 3418030"/>
              <a:gd name="connsiteY71" fmla="*/ 2899360 h 4878949"/>
              <a:gd name="connsiteX72" fmla="*/ 3343424 w 3418030"/>
              <a:gd name="connsiteY72" fmla="*/ 2902194 h 4878949"/>
              <a:gd name="connsiteX73" fmla="*/ 3336294 w 3418030"/>
              <a:gd name="connsiteY73" fmla="*/ 2917516 h 4878949"/>
              <a:gd name="connsiteX74" fmla="*/ 3311321 w 3418030"/>
              <a:gd name="connsiteY74" fmla="*/ 2973257 h 4878949"/>
              <a:gd name="connsiteX75" fmla="*/ 3305517 w 3418030"/>
              <a:gd name="connsiteY75" fmla="*/ 2983659 h 4878949"/>
              <a:gd name="connsiteX76" fmla="*/ 3303314 w 3418030"/>
              <a:gd name="connsiteY76" fmla="*/ 2988394 h 4878949"/>
              <a:gd name="connsiteX77" fmla="*/ 3293601 w 3418030"/>
              <a:gd name="connsiteY77" fmla="*/ 3005019 h 4878949"/>
              <a:gd name="connsiteX78" fmla="*/ 3268042 w 3418030"/>
              <a:gd name="connsiteY78" fmla="*/ 3050833 h 4878949"/>
              <a:gd name="connsiteX79" fmla="*/ 3259248 w 3418030"/>
              <a:gd name="connsiteY79" fmla="*/ 3063817 h 4878949"/>
              <a:gd name="connsiteX80" fmla="*/ 3255513 w 3418030"/>
              <a:gd name="connsiteY80" fmla="*/ 3070215 h 4878949"/>
              <a:gd name="connsiteX81" fmla="*/ 3244196 w 3418030"/>
              <a:gd name="connsiteY81" fmla="*/ 3086045 h 4878949"/>
              <a:gd name="connsiteX82" fmla="*/ 3218302 w 3418030"/>
              <a:gd name="connsiteY82" fmla="*/ 3124280 h 4878949"/>
              <a:gd name="connsiteX83" fmla="*/ 3206037 w 3418030"/>
              <a:gd name="connsiteY83" fmla="*/ 3139430 h 4878949"/>
              <a:gd name="connsiteX84" fmla="*/ 3200464 w 3418030"/>
              <a:gd name="connsiteY84" fmla="*/ 3147227 h 4878949"/>
              <a:gd name="connsiteX85" fmla="*/ 3188229 w 3418030"/>
              <a:gd name="connsiteY85" fmla="*/ 3161424 h 4878949"/>
              <a:gd name="connsiteX86" fmla="*/ 3162468 w 3418030"/>
              <a:gd name="connsiteY86" fmla="*/ 3193243 h 4878949"/>
              <a:gd name="connsiteX87" fmla="*/ 3146287 w 3418030"/>
              <a:gd name="connsiteY87" fmla="*/ 3210097 h 4878949"/>
              <a:gd name="connsiteX88" fmla="*/ 3138613 w 3418030"/>
              <a:gd name="connsiteY88" fmla="*/ 3219003 h 4878949"/>
              <a:gd name="connsiteX89" fmla="*/ 3126010 w 3418030"/>
              <a:gd name="connsiteY89" fmla="*/ 3231219 h 4878949"/>
              <a:gd name="connsiteX90" fmla="*/ 3100905 w 3418030"/>
              <a:gd name="connsiteY90" fmla="*/ 3257369 h 4878949"/>
              <a:gd name="connsiteX91" fmla="*/ 3080407 w 3418030"/>
              <a:gd name="connsiteY91" fmla="*/ 3275420 h 4878949"/>
              <a:gd name="connsiteX92" fmla="*/ 3070407 w 3418030"/>
              <a:gd name="connsiteY92" fmla="*/ 3285113 h 4878949"/>
              <a:gd name="connsiteX93" fmla="*/ 3057904 w 3418030"/>
              <a:gd name="connsiteY93" fmla="*/ 3295236 h 4878949"/>
              <a:gd name="connsiteX94" fmla="*/ 3033981 w 3418030"/>
              <a:gd name="connsiteY94" fmla="*/ 3316304 h 4878949"/>
              <a:gd name="connsiteX95" fmla="*/ 3008795 w 3418030"/>
              <a:gd name="connsiteY95" fmla="*/ 3335002 h 4878949"/>
              <a:gd name="connsiteX96" fmla="*/ 2996290 w 3418030"/>
              <a:gd name="connsiteY96" fmla="*/ 3345128 h 4878949"/>
              <a:gd name="connsiteX97" fmla="*/ 2984301 w 3418030"/>
              <a:gd name="connsiteY97" fmla="*/ 3353185 h 4878949"/>
              <a:gd name="connsiteX98" fmla="*/ 2962062 w 3418030"/>
              <a:gd name="connsiteY98" fmla="*/ 3369695 h 4878949"/>
              <a:gd name="connsiteX99" fmla="*/ 2931835 w 3418030"/>
              <a:gd name="connsiteY99" fmla="*/ 3388450 h 4878949"/>
              <a:gd name="connsiteX100" fmla="*/ 2916709 w 3418030"/>
              <a:gd name="connsiteY100" fmla="*/ 3398618 h 4878949"/>
              <a:gd name="connsiteX101" fmla="*/ 2905603 w 3418030"/>
              <a:gd name="connsiteY101" fmla="*/ 3404726 h 4878949"/>
              <a:gd name="connsiteX102" fmla="*/ 2885517 w 3418030"/>
              <a:gd name="connsiteY102" fmla="*/ 3417189 h 4878949"/>
              <a:gd name="connsiteX103" fmla="*/ 2849882 w 3418030"/>
              <a:gd name="connsiteY103" fmla="*/ 3435375 h 4878949"/>
              <a:gd name="connsiteX104" fmla="*/ 2832108 w 3418030"/>
              <a:gd name="connsiteY104" fmla="*/ 3445153 h 4878949"/>
              <a:gd name="connsiteX105" fmla="*/ 2822219 w 3418030"/>
              <a:gd name="connsiteY105" fmla="*/ 3449494 h 4878949"/>
              <a:gd name="connsiteX106" fmla="*/ 2804710 w 3418030"/>
              <a:gd name="connsiteY106" fmla="*/ 3458432 h 4878949"/>
              <a:gd name="connsiteX107" fmla="*/ 2763233 w 3418030"/>
              <a:gd name="connsiteY107" fmla="*/ 3475393 h 4878949"/>
              <a:gd name="connsiteX108" fmla="*/ 2742933 w 3418030"/>
              <a:gd name="connsiteY108" fmla="*/ 3484308 h 4878949"/>
              <a:gd name="connsiteX109" fmla="*/ 2734565 w 3418030"/>
              <a:gd name="connsiteY109" fmla="*/ 3487117 h 4878949"/>
              <a:gd name="connsiteX110" fmla="*/ 2720010 w 3418030"/>
              <a:gd name="connsiteY110" fmla="*/ 3493070 h 4878949"/>
              <a:gd name="connsiteX111" fmla="*/ 2672049 w 3418030"/>
              <a:gd name="connsiteY111" fmla="*/ 3508117 h 4878949"/>
              <a:gd name="connsiteX112" fmla="*/ 2649630 w 3418030"/>
              <a:gd name="connsiteY112" fmla="*/ 3515648 h 4878949"/>
              <a:gd name="connsiteX113" fmla="*/ 2643052 w 3418030"/>
              <a:gd name="connsiteY113" fmla="*/ 3517214 h 4878949"/>
              <a:gd name="connsiteX114" fmla="*/ 2631783 w 3418030"/>
              <a:gd name="connsiteY114" fmla="*/ 3520749 h 4878949"/>
              <a:gd name="connsiteX115" fmla="*/ 2576079 w 3418030"/>
              <a:gd name="connsiteY115" fmla="*/ 3533167 h 4878949"/>
              <a:gd name="connsiteX116" fmla="*/ 2552643 w 3418030"/>
              <a:gd name="connsiteY116" fmla="*/ 3538747 h 4878949"/>
              <a:gd name="connsiteX117" fmla="*/ 2548104 w 3418030"/>
              <a:gd name="connsiteY117" fmla="*/ 3539401 h 4878949"/>
              <a:gd name="connsiteX118" fmla="*/ 2540397 w 3418030"/>
              <a:gd name="connsiteY118" fmla="*/ 3541118 h 4878949"/>
              <a:gd name="connsiteX119" fmla="*/ 2473383 w 3418030"/>
              <a:gd name="connsiteY119" fmla="*/ 3550158 h 4878949"/>
              <a:gd name="connsiteX120" fmla="*/ 2452420 w 3418030"/>
              <a:gd name="connsiteY120" fmla="*/ 3553176 h 4878949"/>
              <a:gd name="connsiteX121" fmla="*/ 2450212 w 3418030"/>
              <a:gd name="connsiteY121" fmla="*/ 3553284 h 4878949"/>
              <a:gd name="connsiteX122" fmla="*/ 2446216 w 3418030"/>
              <a:gd name="connsiteY122" fmla="*/ 3553824 h 4878949"/>
              <a:gd name="connsiteX123" fmla="*/ 2399737 w 3418030"/>
              <a:gd name="connsiteY123" fmla="*/ 3555943 h 4878949"/>
              <a:gd name="connsiteX124" fmla="*/ 2399737 w 3418030"/>
              <a:gd name="connsiteY124" fmla="*/ 3558529 h 4878949"/>
              <a:gd name="connsiteX125" fmla="*/ 2366297 w 3418030"/>
              <a:gd name="connsiteY125" fmla="*/ 3558529 h 4878949"/>
              <a:gd name="connsiteX126" fmla="*/ 2350286 w 3418030"/>
              <a:gd name="connsiteY126" fmla="*/ 3560726 h 4878949"/>
              <a:gd name="connsiteX127" fmla="*/ 2329679 w 3418030"/>
              <a:gd name="connsiteY127" fmla="*/ 3563743 h 4878949"/>
              <a:gd name="connsiteX128" fmla="*/ 2327509 w 3418030"/>
              <a:gd name="connsiteY128" fmla="*/ 3563851 h 4878949"/>
              <a:gd name="connsiteX129" fmla="*/ 2323580 w 3418030"/>
              <a:gd name="connsiteY129" fmla="*/ 3564391 h 4878949"/>
              <a:gd name="connsiteX130" fmla="*/ 2277890 w 3418030"/>
              <a:gd name="connsiteY130" fmla="*/ 3566510 h 4878949"/>
              <a:gd name="connsiteX131" fmla="*/ 2277890 w 3418030"/>
              <a:gd name="connsiteY131" fmla="*/ 3569096 h 4878949"/>
              <a:gd name="connsiteX132" fmla="*/ 2235765 w 3418030"/>
              <a:gd name="connsiteY132" fmla="*/ 3569096 h 4878949"/>
              <a:gd name="connsiteX133" fmla="*/ 2222205 w 3418030"/>
              <a:gd name="connsiteY133" fmla="*/ 3569096 h 4878949"/>
              <a:gd name="connsiteX134" fmla="*/ 2221889 w 3418030"/>
              <a:gd name="connsiteY134" fmla="*/ 3569096 h 4878949"/>
              <a:gd name="connsiteX135" fmla="*/ 2221889 w 3418030"/>
              <a:gd name="connsiteY135" fmla="*/ 3570333 h 4878949"/>
              <a:gd name="connsiteX136" fmla="*/ 2038520 w 3418030"/>
              <a:gd name="connsiteY136" fmla="*/ 3570333 h 4878949"/>
              <a:gd name="connsiteX137" fmla="*/ 2013539 w 3418030"/>
              <a:gd name="connsiteY137" fmla="*/ 3570333 h 4878949"/>
              <a:gd name="connsiteX138" fmla="*/ 1650818 w 3418030"/>
              <a:gd name="connsiteY138" fmla="*/ 3570333 h 4878949"/>
              <a:gd name="connsiteX139" fmla="*/ 1650818 w 3418030"/>
              <a:gd name="connsiteY139" fmla="*/ 3570744 h 4878949"/>
              <a:gd name="connsiteX140" fmla="*/ 1652012 w 3418030"/>
              <a:gd name="connsiteY140" fmla="*/ 3570744 h 4878949"/>
              <a:gd name="connsiteX141" fmla="*/ 1652012 w 3418030"/>
              <a:gd name="connsiteY141" fmla="*/ 3571721 h 4878949"/>
              <a:gd name="connsiteX142" fmla="*/ 1671221 w 3418030"/>
              <a:gd name="connsiteY142" fmla="*/ 3572716 h 4878949"/>
              <a:gd name="connsiteX143" fmla="*/ 1672387 w 3418030"/>
              <a:gd name="connsiteY143" fmla="*/ 3572898 h 4878949"/>
              <a:gd name="connsiteX144" fmla="*/ 1673940 w 3418030"/>
              <a:gd name="connsiteY144" fmla="*/ 3572984 h 4878949"/>
              <a:gd name="connsiteX145" fmla="*/ 1742290 w 3418030"/>
              <a:gd name="connsiteY145" fmla="*/ 3587296 h 4878949"/>
              <a:gd name="connsiteX146" fmla="*/ 1743898 w 3418030"/>
              <a:gd name="connsiteY146" fmla="*/ 3587880 h 4878949"/>
              <a:gd name="connsiteX147" fmla="*/ 1744176 w 3418030"/>
              <a:gd name="connsiteY147" fmla="*/ 3587953 h 4878949"/>
              <a:gd name="connsiteX148" fmla="*/ 1746934 w 3418030"/>
              <a:gd name="connsiteY148" fmla="*/ 3588984 h 4878949"/>
              <a:gd name="connsiteX149" fmla="*/ 1774769 w 3418030"/>
              <a:gd name="connsiteY149" fmla="*/ 3599104 h 4878949"/>
              <a:gd name="connsiteX150" fmla="*/ 1777626 w 3418030"/>
              <a:gd name="connsiteY150" fmla="*/ 3600453 h 4878949"/>
              <a:gd name="connsiteX151" fmla="*/ 1778712 w 3418030"/>
              <a:gd name="connsiteY151" fmla="*/ 3600858 h 4878949"/>
              <a:gd name="connsiteX152" fmla="*/ 1784582 w 3418030"/>
              <a:gd name="connsiteY152" fmla="*/ 3603737 h 4878949"/>
              <a:gd name="connsiteX153" fmla="*/ 1805936 w 3418030"/>
              <a:gd name="connsiteY153" fmla="*/ 3613817 h 4878949"/>
              <a:gd name="connsiteX154" fmla="*/ 1809922 w 3418030"/>
              <a:gd name="connsiteY154" fmla="*/ 3616160 h 4878949"/>
              <a:gd name="connsiteX155" fmla="*/ 1811736 w 3418030"/>
              <a:gd name="connsiteY155" fmla="*/ 3617049 h 4878949"/>
              <a:gd name="connsiteX156" fmla="*/ 1818105 w 3418030"/>
              <a:gd name="connsiteY156" fmla="*/ 3620970 h 4878949"/>
              <a:gd name="connsiteX157" fmla="*/ 1835657 w 3418030"/>
              <a:gd name="connsiteY157" fmla="*/ 3631287 h 4878949"/>
              <a:gd name="connsiteX158" fmla="*/ 1840631 w 3418030"/>
              <a:gd name="connsiteY158" fmla="*/ 3634836 h 4878949"/>
              <a:gd name="connsiteX159" fmla="*/ 1843082 w 3418030"/>
              <a:gd name="connsiteY159" fmla="*/ 3636344 h 4878949"/>
              <a:gd name="connsiteX160" fmla="*/ 1849146 w 3418030"/>
              <a:gd name="connsiteY160" fmla="*/ 3640912 h 4878949"/>
              <a:gd name="connsiteX161" fmla="*/ 1863794 w 3418030"/>
              <a:gd name="connsiteY161" fmla="*/ 3651364 h 4878949"/>
              <a:gd name="connsiteX162" fmla="*/ 1869598 w 3418030"/>
              <a:gd name="connsiteY162" fmla="*/ 3656316 h 4878949"/>
              <a:gd name="connsiteX163" fmla="*/ 1872586 w 3418030"/>
              <a:gd name="connsiteY163" fmla="*/ 3658565 h 4878949"/>
              <a:gd name="connsiteX164" fmla="*/ 1878025 w 3418030"/>
              <a:gd name="connsiteY164" fmla="*/ 3663504 h 4878949"/>
              <a:gd name="connsiteX165" fmla="*/ 1890215 w 3418030"/>
              <a:gd name="connsiteY165" fmla="*/ 3673902 h 4878949"/>
              <a:gd name="connsiteX166" fmla="*/ 1896672 w 3418030"/>
              <a:gd name="connsiteY166" fmla="*/ 3680434 h 4878949"/>
              <a:gd name="connsiteX167" fmla="*/ 1900084 w 3418030"/>
              <a:gd name="connsiteY167" fmla="*/ 3683531 h 4878949"/>
              <a:gd name="connsiteX168" fmla="*/ 1904763 w 3418030"/>
              <a:gd name="connsiteY168" fmla="*/ 3688618 h 4878949"/>
              <a:gd name="connsiteX169" fmla="*/ 1914782 w 3418030"/>
              <a:gd name="connsiteY169" fmla="*/ 3698752 h 4878949"/>
              <a:gd name="connsiteX170" fmla="*/ 1921697 w 3418030"/>
              <a:gd name="connsiteY170" fmla="*/ 3707026 h 4878949"/>
              <a:gd name="connsiteX171" fmla="*/ 1925411 w 3418030"/>
              <a:gd name="connsiteY171" fmla="*/ 3711062 h 4878949"/>
              <a:gd name="connsiteX172" fmla="*/ 1929289 w 3418030"/>
              <a:gd name="connsiteY172" fmla="*/ 3716109 h 4878949"/>
              <a:gd name="connsiteX173" fmla="*/ 1937360 w 3418030"/>
              <a:gd name="connsiteY173" fmla="*/ 3725766 h 4878949"/>
              <a:gd name="connsiteX174" fmla="*/ 1944523 w 3418030"/>
              <a:gd name="connsiteY174" fmla="*/ 3735932 h 4878949"/>
              <a:gd name="connsiteX175" fmla="*/ 1948403 w 3418030"/>
              <a:gd name="connsiteY175" fmla="*/ 3740980 h 4878949"/>
              <a:gd name="connsiteX176" fmla="*/ 1951490 w 3418030"/>
              <a:gd name="connsiteY176" fmla="*/ 3745819 h 4878949"/>
              <a:gd name="connsiteX177" fmla="*/ 1957815 w 3418030"/>
              <a:gd name="connsiteY177" fmla="*/ 3754796 h 4878949"/>
              <a:gd name="connsiteX178" fmla="*/ 1965000 w 3418030"/>
              <a:gd name="connsiteY178" fmla="*/ 3766998 h 4878949"/>
              <a:gd name="connsiteX179" fmla="*/ 1968895 w 3418030"/>
              <a:gd name="connsiteY179" fmla="*/ 3773103 h 4878949"/>
              <a:gd name="connsiteX180" fmla="*/ 1971236 w 3418030"/>
              <a:gd name="connsiteY180" fmla="*/ 3777586 h 4878949"/>
              <a:gd name="connsiteX181" fmla="*/ 1976010 w 3418030"/>
              <a:gd name="connsiteY181" fmla="*/ 3785694 h 4878949"/>
              <a:gd name="connsiteX182" fmla="*/ 1982978 w 3418030"/>
              <a:gd name="connsiteY182" fmla="*/ 3800078 h 4878949"/>
              <a:gd name="connsiteX183" fmla="*/ 1986724 w 3418030"/>
              <a:gd name="connsiteY183" fmla="*/ 3807252 h 4878949"/>
              <a:gd name="connsiteX184" fmla="*/ 1988387 w 3418030"/>
              <a:gd name="connsiteY184" fmla="*/ 3811244 h 4878949"/>
              <a:gd name="connsiteX185" fmla="*/ 1991811 w 3418030"/>
              <a:gd name="connsiteY185" fmla="*/ 3818312 h 4878949"/>
              <a:gd name="connsiteX186" fmla="*/ 1998309 w 3418030"/>
              <a:gd name="connsiteY186" fmla="*/ 3835054 h 4878949"/>
              <a:gd name="connsiteX187" fmla="*/ 2001724 w 3418030"/>
              <a:gd name="connsiteY187" fmla="*/ 3843248 h 4878949"/>
              <a:gd name="connsiteX188" fmla="*/ 2002801 w 3418030"/>
              <a:gd name="connsiteY188" fmla="*/ 3846626 h 4878949"/>
              <a:gd name="connsiteX189" fmla="*/ 2005081 w 3418030"/>
              <a:gd name="connsiteY189" fmla="*/ 3852501 h 4878949"/>
              <a:gd name="connsiteX190" fmla="*/ 2010846 w 3418030"/>
              <a:gd name="connsiteY190" fmla="*/ 3871861 h 4878949"/>
              <a:gd name="connsiteX191" fmla="*/ 2013730 w 3418030"/>
              <a:gd name="connsiteY191" fmla="*/ 3880910 h 4878949"/>
              <a:gd name="connsiteX192" fmla="*/ 2014331 w 3418030"/>
              <a:gd name="connsiteY192" fmla="*/ 3883565 h 4878949"/>
              <a:gd name="connsiteX193" fmla="*/ 2015685 w 3418030"/>
              <a:gd name="connsiteY193" fmla="*/ 3888114 h 4878949"/>
              <a:gd name="connsiteX194" fmla="*/ 2020442 w 3418030"/>
              <a:gd name="connsiteY194" fmla="*/ 3910600 h 4878949"/>
              <a:gd name="connsiteX195" fmla="*/ 2020535 w 3418030"/>
              <a:gd name="connsiteY195" fmla="*/ 3911014 h 4878949"/>
              <a:gd name="connsiteX196" fmla="*/ 2021162 w 3418030"/>
              <a:gd name="connsiteY196" fmla="*/ 3911014 h 4878949"/>
              <a:gd name="connsiteX197" fmla="*/ 2023207 w 3418030"/>
              <a:gd name="connsiteY197" fmla="*/ 3922096 h 4878949"/>
              <a:gd name="connsiteX198" fmla="*/ 2023457 w 3418030"/>
              <a:gd name="connsiteY198" fmla="*/ 3924341 h 4878949"/>
              <a:gd name="connsiteX199" fmla="*/ 2024115 w 3418030"/>
              <a:gd name="connsiteY199" fmla="*/ 3928152 h 4878949"/>
              <a:gd name="connsiteX200" fmla="*/ 2027578 w 3418030"/>
              <a:gd name="connsiteY200" fmla="*/ 3961293 h 4878949"/>
              <a:gd name="connsiteX201" fmla="*/ 2028734 w 3418030"/>
              <a:gd name="connsiteY201" fmla="*/ 3971660 h 4878949"/>
              <a:gd name="connsiteX202" fmla="*/ 2028775 w 3418030"/>
              <a:gd name="connsiteY202" fmla="*/ 3972751 h 4878949"/>
              <a:gd name="connsiteX203" fmla="*/ 2028982 w 3418030"/>
              <a:gd name="connsiteY203" fmla="*/ 3974727 h 4878949"/>
              <a:gd name="connsiteX204" fmla="*/ 2029794 w 3418030"/>
              <a:gd name="connsiteY204" fmla="*/ 3997713 h 4878949"/>
              <a:gd name="connsiteX205" fmla="*/ 2030784 w 3418030"/>
              <a:gd name="connsiteY205" fmla="*/ 3997713 h 4878949"/>
              <a:gd name="connsiteX206" fmla="*/ 2030784 w 3418030"/>
              <a:gd name="connsiteY206" fmla="*/ 4018905 h 4878949"/>
              <a:gd name="connsiteX207" fmla="*/ 2030784 w 3418030"/>
              <a:gd name="connsiteY207" fmla="*/ 4025726 h 4878949"/>
              <a:gd name="connsiteX208" fmla="*/ 2030784 w 3418030"/>
              <a:gd name="connsiteY208" fmla="*/ 4025885 h 4878949"/>
              <a:gd name="connsiteX209" fmla="*/ 2030784 w 3418030"/>
              <a:gd name="connsiteY209" fmla="*/ 4025886 h 4878949"/>
              <a:gd name="connsiteX210" fmla="*/ 2031258 w 3418030"/>
              <a:gd name="connsiteY210" fmla="*/ 4025886 h 4878949"/>
              <a:gd name="connsiteX211" fmla="*/ 2031258 w 3418030"/>
              <a:gd name="connsiteY211" fmla="*/ 4065384 h 4878949"/>
              <a:gd name="connsiteX212" fmla="*/ 2031258 w 3418030"/>
              <a:gd name="connsiteY212" fmla="*/ 4127703 h 4878949"/>
              <a:gd name="connsiteX213" fmla="*/ 2031258 w 3418030"/>
              <a:gd name="connsiteY213" fmla="*/ 4168958 h 4878949"/>
              <a:gd name="connsiteX214" fmla="*/ 2031258 w 3418030"/>
              <a:gd name="connsiteY214" fmla="*/ 4340879 h 4878949"/>
              <a:gd name="connsiteX215" fmla="*/ 2031258 w 3418030"/>
              <a:gd name="connsiteY215" fmla="*/ 4350450 h 4878949"/>
              <a:gd name="connsiteX216" fmla="*/ 2031258 w 3418030"/>
              <a:gd name="connsiteY216" fmla="*/ 4385812 h 4878949"/>
              <a:gd name="connsiteX217" fmla="*/ 2031258 w 3418030"/>
              <a:gd name="connsiteY217" fmla="*/ 4395548 h 4878949"/>
              <a:gd name="connsiteX218" fmla="*/ 2031258 w 3418030"/>
              <a:gd name="connsiteY218" fmla="*/ 4420700 h 4878949"/>
              <a:gd name="connsiteX219" fmla="*/ 2031258 w 3418030"/>
              <a:gd name="connsiteY219" fmla="*/ 4442154 h 4878949"/>
              <a:gd name="connsiteX220" fmla="*/ 2031258 w 3418030"/>
              <a:gd name="connsiteY220" fmla="*/ 4467010 h 4878949"/>
              <a:gd name="connsiteX221" fmla="*/ 2031258 w 3418030"/>
              <a:gd name="connsiteY221" fmla="*/ 4488834 h 4878949"/>
              <a:gd name="connsiteX222" fmla="*/ 2030789 w 3418030"/>
              <a:gd name="connsiteY222" fmla="*/ 4488834 h 4878949"/>
              <a:gd name="connsiteX223" fmla="*/ 2030789 w 3418030"/>
              <a:gd name="connsiteY223" fmla="*/ 4825652 h 4878949"/>
              <a:gd name="connsiteX224" fmla="*/ 2030789 w 3418030"/>
              <a:gd name="connsiteY224" fmla="*/ 4878949 h 4878949"/>
              <a:gd name="connsiteX225" fmla="*/ 2004140 w 3418030"/>
              <a:gd name="connsiteY225" fmla="*/ 4878949 h 4878949"/>
              <a:gd name="connsiteX226" fmla="*/ 1768470 w 3418030"/>
              <a:gd name="connsiteY226" fmla="*/ 4878949 h 4878949"/>
              <a:gd name="connsiteX227" fmla="*/ 1750503 w 3418030"/>
              <a:gd name="connsiteY227" fmla="*/ 4878949 h 4878949"/>
              <a:gd name="connsiteX228" fmla="*/ 1741822 w 3418030"/>
              <a:gd name="connsiteY228" fmla="*/ 4878949 h 4878949"/>
              <a:gd name="connsiteX229" fmla="*/ 1723854 w 3418030"/>
              <a:gd name="connsiteY229" fmla="*/ 4878949 h 4878949"/>
              <a:gd name="connsiteX230" fmla="*/ 1634240 w 3418030"/>
              <a:gd name="connsiteY230" fmla="*/ 4878949 h 4878949"/>
              <a:gd name="connsiteX231" fmla="*/ 1634005 w 3418030"/>
              <a:gd name="connsiteY231" fmla="*/ 4878949 h 4878949"/>
              <a:gd name="connsiteX232" fmla="*/ 1634002 w 3418030"/>
              <a:gd name="connsiteY232" fmla="*/ 4878949 h 4878949"/>
              <a:gd name="connsiteX233" fmla="*/ 1633998 w 3418030"/>
              <a:gd name="connsiteY233" fmla="*/ 4878949 h 4878949"/>
              <a:gd name="connsiteX234" fmla="*/ 1615361 w 3418030"/>
              <a:gd name="connsiteY234" fmla="*/ 4878949 h 4878949"/>
              <a:gd name="connsiteX235" fmla="*/ 1607591 w 3418030"/>
              <a:gd name="connsiteY235" fmla="*/ 4878949 h 4878949"/>
              <a:gd name="connsiteX236" fmla="*/ 1607357 w 3418030"/>
              <a:gd name="connsiteY236" fmla="*/ 4878949 h 4878949"/>
              <a:gd name="connsiteX237" fmla="*/ 1607354 w 3418030"/>
              <a:gd name="connsiteY237" fmla="*/ 4878949 h 4878949"/>
              <a:gd name="connsiteX238" fmla="*/ 1607350 w 3418030"/>
              <a:gd name="connsiteY238" fmla="*/ 4878949 h 4878949"/>
              <a:gd name="connsiteX239" fmla="*/ 1588712 w 3418030"/>
              <a:gd name="connsiteY239" fmla="*/ 4878949 h 4878949"/>
              <a:gd name="connsiteX240" fmla="*/ 1488184 w 3418030"/>
              <a:gd name="connsiteY240" fmla="*/ 4878949 h 4878949"/>
              <a:gd name="connsiteX241" fmla="*/ 1461535 w 3418030"/>
              <a:gd name="connsiteY241" fmla="*/ 4878949 h 4878949"/>
              <a:gd name="connsiteX242" fmla="*/ 1371921 w 3418030"/>
              <a:gd name="connsiteY242" fmla="*/ 4878949 h 4878949"/>
              <a:gd name="connsiteX243" fmla="*/ 1371687 w 3418030"/>
              <a:gd name="connsiteY243" fmla="*/ 4878949 h 4878949"/>
              <a:gd name="connsiteX244" fmla="*/ 1371683 w 3418030"/>
              <a:gd name="connsiteY244" fmla="*/ 4878949 h 4878949"/>
              <a:gd name="connsiteX245" fmla="*/ 1371679 w 3418030"/>
              <a:gd name="connsiteY245" fmla="*/ 4878949 h 4878949"/>
              <a:gd name="connsiteX246" fmla="*/ 1367507 w 3418030"/>
              <a:gd name="connsiteY246" fmla="*/ 4878949 h 4878949"/>
              <a:gd name="connsiteX247" fmla="*/ 1353954 w 3418030"/>
              <a:gd name="connsiteY247" fmla="*/ 4878949 h 4878949"/>
              <a:gd name="connsiteX248" fmla="*/ 1353719 w 3418030"/>
              <a:gd name="connsiteY248" fmla="*/ 4878949 h 4878949"/>
              <a:gd name="connsiteX249" fmla="*/ 1353716 w 3418030"/>
              <a:gd name="connsiteY249" fmla="*/ 4878949 h 4878949"/>
              <a:gd name="connsiteX250" fmla="*/ 1353712 w 3418030"/>
              <a:gd name="connsiteY250" fmla="*/ 4878949 h 4878949"/>
              <a:gd name="connsiteX251" fmla="*/ 1353043 w 3418030"/>
              <a:gd name="connsiteY251" fmla="*/ 4878949 h 4878949"/>
              <a:gd name="connsiteX252" fmla="*/ 1345272 w 3418030"/>
              <a:gd name="connsiteY252" fmla="*/ 4878949 h 4878949"/>
              <a:gd name="connsiteX253" fmla="*/ 1345038 w 3418030"/>
              <a:gd name="connsiteY253" fmla="*/ 4878949 h 4878949"/>
              <a:gd name="connsiteX254" fmla="*/ 1345035 w 3418030"/>
              <a:gd name="connsiteY254" fmla="*/ 4878949 h 4878949"/>
              <a:gd name="connsiteX255" fmla="*/ 1345031 w 3418030"/>
              <a:gd name="connsiteY255" fmla="*/ 4878949 h 4878949"/>
              <a:gd name="connsiteX256" fmla="*/ 1340858 w 3418030"/>
              <a:gd name="connsiteY256" fmla="*/ 4878949 h 4878949"/>
              <a:gd name="connsiteX257" fmla="*/ 1335075 w 3418030"/>
              <a:gd name="connsiteY257" fmla="*/ 4878949 h 4878949"/>
              <a:gd name="connsiteX258" fmla="*/ 1327305 w 3418030"/>
              <a:gd name="connsiteY258" fmla="*/ 4878949 h 4878949"/>
              <a:gd name="connsiteX259" fmla="*/ 1327071 w 3418030"/>
              <a:gd name="connsiteY259" fmla="*/ 4878949 h 4878949"/>
              <a:gd name="connsiteX260" fmla="*/ 1327067 w 3418030"/>
              <a:gd name="connsiteY260" fmla="*/ 4878949 h 4878949"/>
              <a:gd name="connsiteX261" fmla="*/ 1327063 w 3418030"/>
              <a:gd name="connsiteY261" fmla="*/ 4878949 h 4878949"/>
              <a:gd name="connsiteX262" fmla="*/ 1326394 w 3418030"/>
              <a:gd name="connsiteY262" fmla="*/ 4878949 h 4878949"/>
              <a:gd name="connsiteX263" fmla="*/ 1308426 w 3418030"/>
              <a:gd name="connsiteY263" fmla="*/ 4878949 h 4878949"/>
              <a:gd name="connsiteX264" fmla="*/ 1105188 w 3418030"/>
              <a:gd name="connsiteY264" fmla="*/ 4878949 h 4878949"/>
              <a:gd name="connsiteX265" fmla="*/ 1091635 w 3418030"/>
              <a:gd name="connsiteY265" fmla="*/ 4878949 h 4878949"/>
              <a:gd name="connsiteX266" fmla="*/ 1091401 w 3418030"/>
              <a:gd name="connsiteY266" fmla="*/ 4878949 h 4878949"/>
              <a:gd name="connsiteX267" fmla="*/ 1091397 w 3418030"/>
              <a:gd name="connsiteY267" fmla="*/ 4878949 h 4878949"/>
              <a:gd name="connsiteX268" fmla="*/ 1091393 w 3418030"/>
              <a:gd name="connsiteY268" fmla="*/ 4878949 h 4878949"/>
              <a:gd name="connsiteX269" fmla="*/ 1087221 w 3418030"/>
              <a:gd name="connsiteY269" fmla="*/ 4878949 h 4878949"/>
              <a:gd name="connsiteX270" fmla="*/ 1078540 w 3418030"/>
              <a:gd name="connsiteY270" fmla="*/ 4878949 h 4878949"/>
              <a:gd name="connsiteX271" fmla="*/ 1072756 w 3418030"/>
              <a:gd name="connsiteY271" fmla="*/ 4878949 h 4878949"/>
              <a:gd name="connsiteX272" fmla="*/ 1064986 w 3418030"/>
              <a:gd name="connsiteY272" fmla="*/ 4878949 h 4878949"/>
              <a:gd name="connsiteX273" fmla="*/ 1064752 w 3418030"/>
              <a:gd name="connsiteY273" fmla="*/ 4878949 h 4878949"/>
              <a:gd name="connsiteX274" fmla="*/ 1064748 w 3418030"/>
              <a:gd name="connsiteY274" fmla="*/ 4878949 h 4878949"/>
              <a:gd name="connsiteX275" fmla="*/ 1064745 w 3418030"/>
              <a:gd name="connsiteY275" fmla="*/ 4878949 h 4878949"/>
              <a:gd name="connsiteX276" fmla="*/ 1060572 w 3418030"/>
              <a:gd name="connsiteY276" fmla="*/ 4878949 h 4878949"/>
              <a:gd name="connsiteX277" fmla="*/ 1046108 w 3418030"/>
              <a:gd name="connsiteY277" fmla="*/ 4878949 h 4878949"/>
              <a:gd name="connsiteX278" fmla="*/ 970958 w 3418030"/>
              <a:gd name="connsiteY278" fmla="*/ 4878949 h 4878949"/>
              <a:gd name="connsiteX279" fmla="*/ 970723 w 3418030"/>
              <a:gd name="connsiteY279" fmla="*/ 4878949 h 4878949"/>
              <a:gd name="connsiteX280" fmla="*/ 970720 w 3418030"/>
              <a:gd name="connsiteY280" fmla="*/ 4878949 h 4878949"/>
              <a:gd name="connsiteX281" fmla="*/ 970716 w 3418030"/>
              <a:gd name="connsiteY281" fmla="*/ 4878949 h 4878949"/>
              <a:gd name="connsiteX282" fmla="*/ 952079 w 3418030"/>
              <a:gd name="connsiteY282" fmla="*/ 4878949 h 4878949"/>
              <a:gd name="connsiteX283" fmla="*/ 944309 w 3418030"/>
              <a:gd name="connsiteY283" fmla="*/ 4878949 h 4878949"/>
              <a:gd name="connsiteX284" fmla="*/ 944075 w 3418030"/>
              <a:gd name="connsiteY284" fmla="*/ 4878949 h 4878949"/>
              <a:gd name="connsiteX285" fmla="*/ 944072 w 3418030"/>
              <a:gd name="connsiteY285" fmla="*/ 4878949 h 4878949"/>
              <a:gd name="connsiteX286" fmla="*/ 944068 w 3418030"/>
              <a:gd name="connsiteY286" fmla="*/ 4878949 h 4878949"/>
              <a:gd name="connsiteX287" fmla="*/ 925430 w 3418030"/>
              <a:gd name="connsiteY287" fmla="*/ 4878949 h 4878949"/>
              <a:gd name="connsiteX288" fmla="*/ 824902 w 3418030"/>
              <a:gd name="connsiteY288" fmla="*/ 4878949 h 4878949"/>
              <a:gd name="connsiteX289" fmla="*/ 798253 w 3418030"/>
              <a:gd name="connsiteY289" fmla="*/ 4878949 h 4878949"/>
              <a:gd name="connsiteX290" fmla="*/ 708639 w 3418030"/>
              <a:gd name="connsiteY290" fmla="*/ 4878949 h 4878949"/>
              <a:gd name="connsiteX291" fmla="*/ 708405 w 3418030"/>
              <a:gd name="connsiteY291" fmla="*/ 4878949 h 4878949"/>
              <a:gd name="connsiteX292" fmla="*/ 708401 w 3418030"/>
              <a:gd name="connsiteY292" fmla="*/ 4878949 h 4878949"/>
              <a:gd name="connsiteX293" fmla="*/ 708397 w 3418030"/>
              <a:gd name="connsiteY293" fmla="*/ 4878949 h 4878949"/>
              <a:gd name="connsiteX294" fmla="*/ 690672 w 3418030"/>
              <a:gd name="connsiteY294" fmla="*/ 4878949 h 4878949"/>
              <a:gd name="connsiteX295" fmla="*/ 690437 w 3418030"/>
              <a:gd name="connsiteY295" fmla="*/ 4878949 h 4878949"/>
              <a:gd name="connsiteX296" fmla="*/ 690434 w 3418030"/>
              <a:gd name="connsiteY296" fmla="*/ 4878949 h 4878949"/>
              <a:gd name="connsiteX297" fmla="*/ 690430 w 3418030"/>
              <a:gd name="connsiteY297" fmla="*/ 4878949 h 4878949"/>
              <a:gd name="connsiteX298" fmla="*/ 689761 w 3418030"/>
              <a:gd name="connsiteY298" fmla="*/ 4878949 h 4878949"/>
              <a:gd name="connsiteX299" fmla="*/ 681990 w 3418030"/>
              <a:gd name="connsiteY299" fmla="*/ 4878949 h 4878949"/>
              <a:gd name="connsiteX300" fmla="*/ 681756 w 3418030"/>
              <a:gd name="connsiteY300" fmla="*/ 4878949 h 4878949"/>
              <a:gd name="connsiteX301" fmla="*/ 681753 w 3418030"/>
              <a:gd name="connsiteY301" fmla="*/ 4878949 h 4878949"/>
              <a:gd name="connsiteX302" fmla="*/ 681749 w 3418030"/>
              <a:gd name="connsiteY302" fmla="*/ 4878949 h 4878949"/>
              <a:gd name="connsiteX303" fmla="*/ 671793 w 3418030"/>
              <a:gd name="connsiteY303" fmla="*/ 4878949 h 4878949"/>
              <a:gd name="connsiteX304" fmla="*/ 664023 w 3418030"/>
              <a:gd name="connsiteY304" fmla="*/ 4878949 h 4878949"/>
              <a:gd name="connsiteX305" fmla="*/ 663789 w 3418030"/>
              <a:gd name="connsiteY305" fmla="*/ 4878949 h 4878949"/>
              <a:gd name="connsiteX306" fmla="*/ 663785 w 3418030"/>
              <a:gd name="connsiteY306" fmla="*/ 4878949 h 4878949"/>
              <a:gd name="connsiteX307" fmla="*/ 663781 w 3418030"/>
              <a:gd name="connsiteY307" fmla="*/ 4878949 h 4878949"/>
              <a:gd name="connsiteX308" fmla="*/ 663112 w 3418030"/>
              <a:gd name="connsiteY308" fmla="*/ 4878949 h 4878949"/>
              <a:gd name="connsiteX309" fmla="*/ 645144 w 3418030"/>
              <a:gd name="connsiteY309" fmla="*/ 4878949 h 4878949"/>
              <a:gd name="connsiteX310" fmla="*/ 428353 w 3418030"/>
              <a:gd name="connsiteY310" fmla="*/ 4878949 h 4878949"/>
              <a:gd name="connsiteX311" fmla="*/ 428119 w 3418030"/>
              <a:gd name="connsiteY311" fmla="*/ 4878949 h 4878949"/>
              <a:gd name="connsiteX312" fmla="*/ 428115 w 3418030"/>
              <a:gd name="connsiteY312" fmla="*/ 4878949 h 4878949"/>
              <a:gd name="connsiteX313" fmla="*/ 428111 w 3418030"/>
              <a:gd name="connsiteY313" fmla="*/ 4878949 h 4878949"/>
              <a:gd name="connsiteX314" fmla="*/ 409474 w 3418030"/>
              <a:gd name="connsiteY314" fmla="*/ 4878949 h 4878949"/>
              <a:gd name="connsiteX315" fmla="*/ 401704 w 3418030"/>
              <a:gd name="connsiteY315" fmla="*/ 4878949 h 4878949"/>
              <a:gd name="connsiteX316" fmla="*/ 401470 w 3418030"/>
              <a:gd name="connsiteY316" fmla="*/ 4878949 h 4878949"/>
              <a:gd name="connsiteX317" fmla="*/ 401466 w 3418030"/>
              <a:gd name="connsiteY317" fmla="*/ 4878949 h 4878949"/>
              <a:gd name="connsiteX318" fmla="*/ 401462 w 3418030"/>
              <a:gd name="connsiteY318" fmla="*/ 4878949 h 4878949"/>
              <a:gd name="connsiteX319" fmla="*/ 382826 w 3418030"/>
              <a:gd name="connsiteY319" fmla="*/ 4878949 h 4878949"/>
              <a:gd name="connsiteX320" fmla="*/ 382826 w 3418030"/>
              <a:gd name="connsiteY320" fmla="*/ 4878022 h 4878949"/>
              <a:gd name="connsiteX321" fmla="*/ 363616 w 3418030"/>
              <a:gd name="connsiteY321" fmla="*/ 4877077 h 4878949"/>
              <a:gd name="connsiteX322" fmla="*/ 362450 w 3418030"/>
              <a:gd name="connsiteY322" fmla="*/ 4876905 h 4878949"/>
              <a:gd name="connsiteX323" fmla="*/ 360898 w 3418030"/>
              <a:gd name="connsiteY323" fmla="*/ 4876823 h 4878949"/>
              <a:gd name="connsiteX324" fmla="*/ 292547 w 3418030"/>
              <a:gd name="connsiteY324" fmla="*/ 4863240 h 4878949"/>
              <a:gd name="connsiteX325" fmla="*/ 290939 w 3418030"/>
              <a:gd name="connsiteY325" fmla="*/ 4862685 h 4878949"/>
              <a:gd name="connsiteX326" fmla="*/ 290662 w 3418030"/>
              <a:gd name="connsiteY326" fmla="*/ 4862616 h 4878949"/>
              <a:gd name="connsiteX327" fmla="*/ 287903 w 3418030"/>
              <a:gd name="connsiteY327" fmla="*/ 4861637 h 4878949"/>
              <a:gd name="connsiteX328" fmla="*/ 260068 w 3418030"/>
              <a:gd name="connsiteY328" fmla="*/ 4852032 h 4878949"/>
              <a:gd name="connsiteX329" fmla="*/ 257211 w 3418030"/>
              <a:gd name="connsiteY329" fmla="*/ 4850752 h 4878949"/>
              <a:gd name="connsiteX330" fmla="*/ 256125 w 3418030"/>
              <a:gd name="connsiteY330" fmla="*/ 4850367 h 4878949"/>
              <a:gd name="connsiteX331" fmla="*/ 250255 w 3418030"/>
              <a:gd name="connsiteY331" fmla="*/ 4847636 h 4878949"/>
              <a:gd name="connsiteX332" fmla="*/ 228901 w 3418030"/>
              <a:gd name="connsiteY332" fmla="*/ 4838068 h 4878949"/>
              <a:gd name="connsiteX333" fmla="*/ 224915 w 3418030"/>
              <a:gd name="connsiteY333" fmla="*/ 4835845 h 4878949"/>
              <a:gd name="connsiteX334" fmla="*/ 223101 w 3418030"/>
              <a:gd name="connsiteY334" fmla="*/ 4835001 h 4878949"/>
              <a:gd name="connsiteX335" fmla="*/ 216732 w 3418030"/>
              <a:gd name="connsiteY335" fmla="*/ 4831280 h 4878949"/>
              <a:gd name="connsiteX336" fmla="*/ 199181 w 3418030"/>
              <a:gd name="connsiteY336" fmla="*/ 4821488 h 4878949"/>
              <a:gd name="connsiteX337" fmla="*/ 194206 w 3418030"/>
              <a:gd name="connsiteY337" fmla="*/ 4818119 h 4878949"/>
              <a:gd name="connsiteX338" fmla="*/ 191756 w 3418030"/>
              <a:gd name="connsiteY338" fmla="*/ 4816688 h 4878949"/>
              <a:gd name="connsiteX339" fmla="*/ 185691 w 3418030"/>
              <a:gd name="connsiteY339" fmla="*/ 4812352 h 4878949"/>
              <a:gd name="connsiteX340" fmla="*/ 171043 w 3418030"/>
              <a:gd name="connsiteY340" fmla="*/ 4802432 h 4878949"/>
              <a:gd name="connsiteX341" fmla="*/ 165239 w 3418030"/>
              <a:gd name="connsiteY341" fmla="*/ 4797733 h 4878949"/>
              <a:gd name="connsiteX342" fmla="*/ 162251 w 3418030"/>
              <a:gd name="connsiteY342" fmla="*/ 4795598 h 4878949"/>
              <a:gd name="connsiteX343" fmla="*/ 156813 w 3418030"/>
              <a:gd name="connsiteY343" fmla="*/ 4790911 h 4878949"/>
              <a:gd name="connsiteX344" fmla="*/ 144622 w 3418030"/>
              <a:gd name="connsiteY344" fmla="*/ 4781042 h 4878949"/>
              <a:gd name="connsiteX345" fmla="*/ 138166 w 3418030"/>
              <a:gd name="connsiteY345" fmla="*/ 4774843 h 4878949"/>
              <a:gd name="connsiteX346" fmla="*/ 134753 w 3418030"/>
              <a:gd name="connsiteY346" fmla="*/ 4771903 h 4878949"/>
              <a:gd name="connsiteX347" fmla="*/ 130074 w 3418030"/>
              <a:gd name="connsiteY347" fmla="*/ 4767074 h 4878949"/>
              <a:gd name="connsiteX348" fmla="*/ 120055 w 3418030"/>
              <a:gd name="connsiteY348" fmla="*/ 4757456 h 4878949"/>
              <a:gd name="connsiteX349" fmla="*/ 113141 w 3418030"/>
              <a:gd name="connsiteY349" fmla="*/ 4749604 h 4878949"/>
              <a:gd name="connsiteX350" fmla="*/ 109426 w 3418030"/>
              <a:gd name="connsiteY350" fmla="*/ 4745772 h 4878949"/>
              <a:gd name="connsiteX351" fmla="*/ 105549 w 3418030"/>
              <a:gd name="connsiteY351" fmla="*/ 4740983 h 4878949"/>
              <a:gd name="connsiteX352" fmla="*/ 97477 w 3418030"/>
              <a:gd name="connsiteY352" fmla="*/ 4731817 h 4878949"/>
              <a:gd name="connsiteX353" fmla="*/ 90315 w 3418030"/>
              <a:gd name="connsiteY353" fmla="*/ 4722168 h 4878949"/>
              <a:gd name="connsiteX354" fmla="*/ 86434 w 3418030"/>
              <a:gd name="connsiteY354" fmla="*/ 4717378 h 4878949"/>
              <a:gd name="connsiteX355" fmla="*/ 83347 w 3418030"/>
              <a:gd name="connsiteY355" fmla="*/ 4712785 h 4878949"/>
              <a:gd name="connsiteX356" fmla="*/ 77022 w 3418030"/>
              <a:gd name="connsiteY356" fmla="*/ 4704265 h 4878949"/>
              <a:gd name="connsiteX357" fmla="*/ 69837 w 3418030"/>
              <a:gd name="connsiteY357" fmla="*/ 4692685 h 4878949"/>
              <a:gd name="connsiteX358" fmla="*/ 65942 w 3418030"/>
              <a:gd name="connsiteY358" fmla="*/ 4686890 h 4878949"/>
              <a:gd name="connsiteX359" fmla="*/ 63602 w 3418030"/>
              <a:gd name="connsiteY359" fmla="*/ 4682635 h 4878949"/>
              <a:gd name="connsiteX360" fmla="*/ 58828 w 3418030"/>
              <a:gd name="connsiteY360" fmla="*/ 4674940 h 4878949"/>
              <a:gd name="connsiteX361" fmla="*/ 51860 w 3418030"/>
              <a:gd name="connsiteY361" fmla="*/ 4661288 h 4878949"/>
              <a:gd name="connsiteX362" fmla="*/ 48115 w 3418030"/>
              <a:gd name="connsiteY362" fmla="*/ 4654479 h 4878949"/>
              <a:gd name="connsiteX363" fmla="*/ 46451 w 3418030"/>
              <a:gd name="connsiteY363" fmla="*/ 4650690 h 4878949"/>
              <a:gd name="connsiteX364" fmla="*/ 43027 w 3418030"/>
              <a:gd name="connsiteY364" fmla="*/ 4643982 h 4878949"/>
              <a:gd name="connsiteX365" fmla="*/ 36529 w 3418030"/>
              <a:gd name="connsiteY365" fmla="*/ 4628092 h 4878949"/>
              <a:gd name="connsiteX366" fmla="*/ 33115 w 3418030"/>
              <a:gd name="connsiteY366" fmla="*/ 4620315 h 4878949"/>
              <a:gd name="connsiteX367" fmla="*/ 32037 w 3418030"/>
              <a:gd name="connsiteY367" fmla="*/ 4617109 h 4878949"/>
              <a:gd name="connsiteX368" fmla="*/ 29757 w 3418030"/>
              <a:gd name="connsiteY368" fmla="*/ 4611533 h 4878949"/>
              <a:gd name="connsiteX369" fmla="*/ 23992 w 3418030"/>
              <a:gd name="connsiteY369" fmla="*/ 4593159 h 4878949"/>
              <a:gd name="connsiteX370" fmla="*/ 21107 w 3418030"/>
              <a:gd name="connsiteY370" fmla="*/ 4584570 h 4878949"/>
              <a:gd name="connsiteX371" fmla="*/ 20507 w 3418030"/>
              <a:gd name="connsiteY371" fmla="*/ 4582050 h 4878949"/>
              <a:gd name="connsiteX372" fmla="*/ 19153 w 3418030"/>
              <a:gd name="connsiteY372" fmla="*/ 4577733 h 4878949"/>
              <a:gd name="connsiteX373" fmla="*/ 14395 w 3418030"/>
              <a:gd name="connsiteY373" fmla="*/ 4556392 h 4878949"/>
              <a:gd name="connsiteX374" fmla="*/ 12258 w 3418030"/>
              <a:gd name="connsiteY374" fmla="*/ 4547414 h 4878949"/>
              <a:gd name="connsiteX375" fmla="*/ 12008 w 3418030"/>
              <a:gd name="connsiteY375" fmla="*/ 4545675 h 4878949"/>
              <a:gd name="connsiteX376" fmla="*/ 11349 w 3418030"/>
              <a:gd name="connsiteY376" fmla="*/ 4542722 h 4878949"/>
              <a:gd name="connsiteX377" fmla="*/ 7886 w 3418030"/>
              <a:gd name="connsiteY377" fmla="*/ 4517048 h 4878949"/>
              <a:gd name="connsiteX378" fmla="*/ 6730 w 3418030"/>
              <a:gd name="connsiteY378" fmla="*/ 4509017 h 4878949"/>
              <a:gd name="connsiteX379" fmla="*/ 6688 w 3418030"/>
              <a:gd name="connsiteY379" fmla="*/ 4508172 h 4878949"/>
              <a:gd name="connsiteX380" fmla="*/ 6482 w 3418030"/>
              <a:gd name="connsiteY380" fmla="*/ 4506641 h 4878949"/>
              <a:gd name="connsiteX381" fmla="*/ 5671 w 3418030"/>
              <a:gd name="connsiteY381" fmla="*/ 4488834 h 4878949"/>
              <a:gd name="connsiteX382" fmla="*/ 4679 w 3418030"/>
              <a:gd name="connsiteY382" fmla="*/ 4488834 h 4878949"/>
              <a:gd name="connsiteX383" fmla="*/ 4679 w 3418030"/>
              <a:gd name="connsiteY383" fmla="*/ 4476023 h 4878949"/>
              <a:gd name="connsiteX384" fmla="*/ 3837 w 3418030"/>
              <a:gd name="connsiteY384" fmla="*/ 4469889 h 4878949"/>
              <a:gd name="connsiteX385" fmla="*/ 2681 w 3418030"/>
              <a:gd name="connsiteY385" fmla="*/ 4461995 h 4878949"/>
              <a:gd name="connsiteX386" fmla="*/ 2640 w 3418030"/>
              <a:gd name="connsiteY386" fmla="*/ 4461163 h 4878949"/>
              <a:gd name="connsiteX387" fmla="*/ 2433 w 3418030"/>
              <a:gd name="connsiteY387" fmla="*/ 4459658 h 4878949"/>
              <a:gd name="connsiteX388" fmla="*/ 1621 w 3418030"/>
              <a:gd name="connsiteY388" fmla="*/ 4442154 h 4878949"/>
              <a:gd name="connsiteX389" fmla="*/ 631 w 3418030"/>
              <a:gd name="connsiteY389" fmla="*/ 4442154 h 4878949"/>
              <a:gd name="connsiteX390" fmla="*/ 631 w 3418030"/>
              <a:gd name="connsiteY390" fmla="*/ 4426015 h 4878949"/>
              <a:gd name="connsiteX391" fmla="*/ 631 w 3418030"/>
              <a:gd name="connsiteY391" fmla="*/ 4420821 h 4878949"/>
              <a:gd name="connsiteX392" fmla="*/ 631 w 3418030"/>
              <a:gd name="connsiteY392" fmla="*/ 4420700 h 4878949"/>
              <a:gd name="connsiteX393" fmla="*/ 157 w 3418030"/>
              <a:gd name="connsiteY393" fmla="*/ 4420700 h 4878949"/>
              <a:gd name="connsiteX394" fmla="*/ 157 w 3418030"/>
              <a:gd name="connsiteY394" fmla="*/ 4350450 h 4878949"/>
              <a:gd name="connsiteX395" fmla="*/ 157 w 3418030"/>
              <a:gd name="connsiteY395" fmla="*/ 4340879 h 4878949"/>
              <a:gd name="connsiteX396" fmla="*/ 157 w 3418030"/>
              <a:gd name="connsiteY396" fmla="*/ 4127703 h 4878949"/>
              <a:gd name="connsiteX397" fmla="*/ 157 w 3418030"/>
              <a:gd name="connsiteY397" fmla="*/ 4025885 h 4878949"/>
              <a:gd name="connsiteX398" fmla="*/ 157 w 3418030"/>
              <a:gd name="connsiteY398" fmla="*/ 3997713 h 4878949"/>
              <a:gd name="connsiteX399" fmla="*/ 626 w 3418030"/>
              <a:gd name="connsiteY399" fmla="*/ 3997713 h 4878949"/>
              <a:gd name="connsiteX400" fmla="*/ 626 w 3418030"/>
              <a:gd name="connsiteY400" fmla="*/ 3911014 h 4878949"/>
              <a:gd name="connsiteX401" fmla="*/ 0 w 3418030"/>
              <a:gd name="connsiteY401" fmla="*/ 3911014 h 4878949"/>
              <a:gd name="connsiteX402" fmla="*/ 0 w 3418030"/>
              <a:gd name="connsiteY402" fmla="*/ 3908592 h 4878949"/>
              <a:gd name="connsiteX403" fmla="*/ 0 w 3418030"/>
              <a:gd name="connsiteY403" fmla="*/ 3570744 h 4878949"/>
              <a:gd name="connsiteX404" fmla="*/ 0 w 3418030"/>
              <a:gd name="connsiteY404" fmla="*/ 2076617 h 4878949"/>
              <a:gd name="connsiteX405" fmla="*/ 3302 w 3418030"/>
              <a:gd name="connsiteY405" fmla="*/ 2076617 h 4878949"/>
              <a:gd name="connsiteX406" fmla="*/ 3302 w 3418030"/>
              <a:gd name="connsiteY406" fmla="*/ 2074287 h 4878949"/>
              <a:gd name="connsiteX407" fmla="*/ 3302 w 3418030"/>
              <a:gd name="connsiteY407" fmla="*/ 1850939 h 4878949"/>
              <a:gd name="connsiteX408" fmla="*/ 3302 w 3418030"/>
              <a:gd name="connsiteY408" fmla="*/ 1850328 h 4878949"/>
              <a:gd name="connsiteX409" fmla="*/ 3301 w 3418030"/>
              <a:gd name="connsiteY409" fmla="*/ 1850319 h 4878949"/>
              <a:gd name="connsiteX410" fmla="*/ 3302 w 3418030"/>
              <a:gd name="connsiteY410" fmla="*/ 1850309 h 4878949"/>
              <a:gd name="connsiteX411" fmla="*/ 3302 w 3418030"/>
              <a:gd name="connsiteY411" fmla="*/ 1804040 h 4878949"/>
              <a:gd name="connsiteX412" fmla="*/ 3302 w 3418030"/>
              <a:gd name="connsiteY412" fmla="*/ 1803429 h 4878949"/>
              <a:gd name="connsiteX413" fmla="*/ 3301 w 3418030"/>
              <a:gd name="connsiteY413" fmla="*/ 1803419 h 4878949"/>
              <a:gd name="connsiteX414" fmla="*/ 3302 w 3418030"/>
              <a:gd name="connsiteY414" fmla="*/ 1803409 h 4878949"/>
              <a:gd name="connsiteX415" fmla="*/ 3302 w 3418030"/>
              <a:gd name="connsiteY415" fmla="*/ 1801662 h 4878949"/>
              <a:gd name="connsiteX416" fmla="*/ 3302 w 3418030"/>
              <a:gd name="connsiteY416" fmla="*/ 1770814 h 4878949"/>
              <a:gd name="connsiteX417" fmla="*/ 3302 w 3418030"/>
              <a:gd name="connsiteY417" fmla="*/ 1770203 h 4878949"/>
              <a:gd name="connsiteX418" fmla="*/ 3301 w 3418030"/>
              <a:gd name="connsiteY418" fmla="*/ 1770192 h 4878949"/>
              <a:gd name="connsiteX419" fmla="*/ 3302 w 3418030"/>
              <a:gd name="connsiteY419" fmla="*/ 1770183 h 4878949"/>
              <a:gd name="connsiteX420" fmla="*/ 3302 w 3418030"/>
              <a:gd name="connsiteY420" fmla="*/ 1754762 h 4878949"/>
              <a:gd name="connsiteX421" fmla="*/ 3302 w 3418030"/>
              <a:gd name="connsiteY421" fmla="*/ 1723914 h 4878949"/>
              <a:gd name="connsiteX422" fmla="*/ 3302 w 3418030"/>
              <a:gd name="connsiteY422" fmla="*/ 1723304 h 4878949"/>
              <a:gd name="connsiteX423" fmla="*/ 3301 w 3418030"/>
              <a:gd name="connsiteY423" fmla="*/ 1723293 h 4878949"/>
              <a:gd name="connsiteX424" fmla="*/ 3302 w 3418030"/>
              <a:gd name="connsiteY424" fmla="*/ 1723284 h 4878949"/>
              <a:gd name="connsiteX425" fmla="*/ 3302 w 3418030"/>
              <a:gd name="connsiteY425" fmla="*/ 1721537 h 4878949"/>
              <a:gd name="connsiteX426" fmla="*/ 3302 w 3418030"/>
              <a:gd name="connsiteY426" fmla="*/ 1674636 h 4878949"/>
              <a:gd name="connsiteX427" fmla="*/ 3302 w 3418030"/>
              <a:gd name="connsiteY427" fmla="*/ 1119326 h 4878949"/>
              <a:gd name="connsiteX428" fmla="*/ 3302 w 3418030"/>
              <a:gd name="connsiteY428" fmla="*/ 1118715 h 4878949"/>
              <a:gd name="connsiteX429" fmla="*/ 3301 w 3418030"/>
              <a:gd name="connsiteY429" fmla="*/ 1118705 h 4878949"/>
              <a:gd name="connsiteX430" fmla="*/ 3302 w 3418030"/>
              <a:gd name="connsiteY430" fmla="*/ 1118695 h 4878949"/>
              <a:gd name="connsiteX431" fmla="*/ 3302 w 3418030"/>
              <a:gd name="connsiteY431" fmla="*/ 1070048 h 4878949"/>
              <a:gd name="connsiteX432" fmla="*/ 3302 w 3418030"/>
              <a:gd name="connsiteY432" fmla="*/ 1039200 h 4878949"/>
              <a:gd name="connsiteX433" fmla="*/ 3302 w 3418030"/>
              <a:gd name="connsiteY433" fmla="*/ 1038590 h 4878949"/>
              <a:gd name="connsiteX434" fmla="*/ 3301 w 3418030"/>
              <a:gd name="connsiteY434" fmla="*/ 1038579 h 4878949"/>
              <a:gd name="connsiteX435" fmla="*/ 3302 w 3418030"/>
              <a:gd name="connsiteY435" fmla="*/ 1038570 h 4878949"/>
              <a:gd name="connsiteX436" fmla="*/ 3302 w 3418030"/>
              <a:gd name="connsiteY436" fmla="*/ 989923 h 4878949"/>
              <a:gd name="connsiteX437" fmla="*/ 5852 w 3418030"/>
              <a:gd name="connsiteY437" fmla="*/ 989923 h 4878949"/>
              <a:gd name="connsiteX438" fmla="*/ 8449 w 3418030"/>
              <a:gd name="connsiteY438" fmla="*/ 939781 h 4878949"/>
              <a:gd name="connsiteX439" fmla="*/ 8925 w 3418030"/>
              <a:gd name="connsiteY439" fmla="*/ 936738 h 4878949"/>
              <a:gd name="connsiteX440" fmla="*/ 9149 w 3418030"/>
              <a:gd name="connsiteY440" fmla="*/ 932684 h 4878949"/>
              <a:gd name="connsiteX441" fmla="*/ 46507 w 3418030"/>
              <a:gd name="connsiteY441" fmla="*/ 754274 h 4878949"/>
              <a:gd name="connsiteX442" fmla="*/ 48032 w 3418030"/>
              <a:gd name="connsiteY442" fmla="*/ 750077 h 4878949"/>
              <a:gd name="connsiteX443" fmla="*/ 48222 w 3418030"/>
              <a:gd name="connsiteY443" fmla="*/ 749353 h 4878949"/>
              <a:gd name="connsiteX444" fmla="*/ 50914 w 3418030"/>
              <a:gd name="connsiteY444" fmla="*/ 742152 h 4878949"/>
              <a:gd name="connsiteX445" fmla="*/ 77329 w 3418030"/>
              <a:gd name="connsiteY445" fmla="*/ 669497 h 4878949"/>
              <a:gd name="connsiteX446" fmla="*/ 80849 w 3418030"/>
              <a:gd name="connsiteY446" fmla="*/ 662039 h 4878949"/>
              <a:gd name="connsiteX447" fmla="*/ 81908 w 3418030"/>
              <a:gd name="connsiteY447" fmla="*/ 659204 h 4878949"/>
              <a:gd name="connsiteX448" fmla="*/ 89422 w 3418030"/>
              <a:gd name="connsiteY448" fmla="*/ 643883 h 4878949"/>
              <a:gd name="connsiteX449" fmla="*/ 115734 w 3418030"/>
              <a:gd name="connsiteY449" fmla="*/ 588143 h 4878949"/>
              <a:gd name="connsiteX450" fmla="*/ 121848 w 3418030"/>
              <a:gd name="connsiteY450" fmla="*/ 577740 h 4878949"/>
              <a:gd name="connsiteX451" fmla="*/ 124169 w 3418030"/>
              <a:gd name="connsiteY451" fmla="*/ 573005 h 4878949"/>
              <a:gd name="connsiteX452" fmla="*/ 134403 w 3418030"/>
              <a:gd name="connsiteY452" fmla="*/ 556381 h 4878949"/>
              <a:gd name="connsiteX453" fmla="*/ 161333 w 3418030"/>
              <a:gd name="connsiteY453" fmla="*/ 510566 h 4878949"/>
              <a:gd name="connsiteX454" fmla="*/ 170598 w 3418030"/>
              <a:gd name="connsiteY454" fmla="*/ 497582 h 4878949"/>
              <a:gd name="connsiteX455" fmla="*/ 174534 w 3418030"/>
              <a:gd name="connsiteY455" fmla="*/ 491185 h 4878949"/>
              <a:gd name="connsiteX456" fmla="*/ 186458 w 3418030"/>
              <a:gd name="connsiteY456" fmla="*/ 475354 h 4878949"/>
              <a:gd name="connsiteX457" fmla="*/ 213741 w 3418030"/>
              <a:gd name="connsiteY457" fmla="*/ 437120 h 4878949"/>
              <a:gd name="connsiteX458" fmla="*/ 226666 w 3418030"/>
              <a:gd name="connsiteY458" fmla="*/ 421970 h 4878949"/>
              <a:gd name="connsiteX459" fmla="*/ 232537 w 3418030"/>
              <a:gd name="connsiteY459" fmla="*/ 414172 h 4878949"/>
              <a:gd name="connsiteX460" fmla="*/ 245428 w 3418030"/>
              <a:gd name="connsiteY460" fmla="*/ 399975 h 4878949"/>
              <a:gd name="connsiteX461" fmla="*/ 272569 w 3418030"/>
              <a:gd name="connsiteY461" fmla="*/ 368155 h 4878949"/>
              <a:gd name="connsiteX462" fmla="*/ 289619 w 3418030"/>
              <a:gd name="connsiteY462" fmla="*/ 351302 h 4878949"/>
              <a:gd name="connsiteX463" fmla="*/ 297703 w 3418030"/>
              <a:gd name="connsiteY463" fmla="*/ 342396 h 4878949"/>
              <a:gd name="connsiteX464" fmla="*/ 310983 w 3418030"/>
              <a:gd name="connsiteY464" fmla="*/ 330181 h 4878949"/>
              <a:gd name="connsiteX465" fmla="*/ 337434 w 3418030"/>
              <a:gd name="connsiteY465" fmla="*/ 304029 h 4878949"/>
              <a:gd name="connsiteX466" fmla="*/ 359031 w 3418030"/>
              <a:gd name="connsiteY466" fmla="*/ 285980 h 4878949"/>
              <a:gd name="connsiteX467" fmla="*/ 369567 w 3418030"/>
              <a:gd name="connsiteY467" fmla="*/ 276286 h 4878949"/>
              <a:gd name="connsiteX468" fmla="*/ 382740 w 3418030"/>
              <a:gd name="connsiteY468" fmla="*/ 266163 h 4878949"/>
              <a:gd name="connsiteX469" fmla="*/ 407948 w 3418030"/>
              <a:gd name="connsiteY469" fmla="*/ 245095 h 4878949"/>
              <a:gd name="connsiteX470" fmla="*/ 434483 w 3418030"/>
              <a:gd name="connsiteY470" fmla="*/ 226398 h 4878949"/>
              <a:gd name="connsiteX471" fmla="*/ 447659 w 3418030"/>
              <a:gd name="connsiteY471" fmla="*/ 216272 h 4878949"/>
              <a:gd name="connsiteX472" fmla="*/ 460291 w 3418030"/>
              <a:gd name="connsiteY472" fmla="*/ 208214 h 4878949"/>
              <a:gd name="connsiteX473" fmla="*/ 483722 w 3418030"/>
              <a:gd name="connsiteY473" fmla="*/ 191703 h 4878949"/>
              <a:gd name="connsiteX474" fmla="*/ 515572 w 3418030"/>
              <a:gd name="connsiteY474" fmla="*/ 172948 h 4878949"/>
              <a:gd name="connsiteX475" fmla="*/ 531508 w 3418030"/>
              <a:gd name="connsiteY475" fmla="*/ 162782 h 4878949"/>
              <a:gd name="connsiteX476" fmla="*/ 543209 w 3418030"/>
              <a:gd name="connsiteY476" fmla="*/ 156673 h 4878949"/>
              <a:gd name="connsiteX477" fmla="*/ 564373 w 3418030"/>
              <a:gd name="connsiteY477" fmla="*/ 144210 h 4878949"/>
              <a:gd name="connsiteX478" fmla="*/ 601919 w 3418030"/>
              <a:gd name="connsiteY478" fmla="*/ 126023 h 4878949"/>
              <a:gd name="connsiteX479" fmla="*/ 620646 w 3418030"/>
              <a:gd name="connsiteY479" fmla="*/ 116246 h 4878949"/>
              <a:gd name="connsiteX480" fmla="*/ 631065 w 3418030"/>
              <a:gd name="connsiteY480" fmla="*/ 111905 h 4878949"/>
              <a:gd name="connsiteX481" fmla="*/ 649513 w 3418030"/>
              <a:gd name="connsiteY481" fmla="*/ 102967 h 4878949"/>
              <a:gd name="connsiteX482" fmla="*/ 693215 w 3418030"/>
              <a:gd name="connsiteY482" fmla="*/ 86005 h 4878949"/>
              <a:gd name="connsiteX483" fmla="*/ 714604 w 3418030"/>
              <a:gd name="connsiteY483" fmla="*/ 77091 h 4878949"/>
              <a:gd name="connsiteX484" fmla="*/ 723421 w 3418030"/>
              <a:gd name="connsiteY484" fmla="*/ 74281 h 4878949"/>
              <a:gd name="connsiteX485" fmla="*/ 738755 w 3418030"/>
              <a:gd name="connsiteY485" fmla="*/ 68329 h 4878949"/>
              <a:gd name="connsiteX486" fmla="*/ 789290 w 3418030"/>
              <a:gd name="connsiteY486" fmla="*/ 53281 h 4878949"/>
              <a:gd name="connsiteX487" fmla="*/ 812911 w 3418030"/>
              <a:gd name="connsiteY487" fmla="*/ 45751 h 4878949"/>
              <a:gd name="connsiteX488" fmla="*/ 819840 w 3418030"/>
              <a:gd name="connsiteY488" fmla="*/ 44184 h 4878949"/>
              <a:gd name="connsiteX489" fmla="*/ 831714 w 3418030"/>
              <a:gd name="connsiteY489" fmla="*/ 40649 h 4878949"/>
              <a:gd name="connsiteX490" fmla="*/ 890408 w 3418030"/>
              <a:gd name="connsiteY490" fmla="*/ 28233 h 4878949"/>
              <a:gd name="connsiteX491" fmla="*/ 891488 w 3418030"/>
              <a:gd name="connsiteY491" fmla="*/ 27989 h 4878949"/>
              <a:gd name="connsiteX492" fmla="*/ 891488 w 3418030"/>
              <a:gd name="connsiteY492" fmla="*/ 26353 h 4878949"/>
              <a:gd name="connsiteX493" fmla="*/ 920414 w 3418030"/>
              <a:gd name="connsiteY493" fmla="*/ 21016 h 4878949"/>
              <a:gd name="connsiteX494" fmla="*/ 926275 w 3418030"/>
              <a:gd name="connsiteY494" fmla="*/ 20363 h 4878949"/>
              <a:gd name="connsiteX495" fmla="*/ 936223 w 3418030"/>
              <a:gd name="connsiteY495" fmla="*/ 18645 h 4878949"/>
              <a:gd name="connsiteX496" fmla="*/ 1022729 w 3418030"/>
              <a:gd name="connsiteY496" fmla="*/ 9605 h 4878949"/>
              <a:gd name="connsiteX497" fmla="*/ 1049789 w 3418030"/>
              <a:gd name="connsiteY497" fmla="*/ 6588 h 4878949"/>
              <a:gd name="connsiteX498" fmla="*/ 1052637 w 3418030"/>
              <a:gd name="connsiteY498" fmla="*/ 6482 h 4878949"/>
              <a:gd name="connsiteX499" fmla="*/ 1057795 w 3418030"/>
              <a:gd name="connsiteY499" fmla="*/ 5941 h 4878949"/>
              <a:gd name="connsiteX500" fmla="*/ 1117794 w 3418030"/>
              <a:gd name="connsiteY500" fmla="*/ 3821 h 4878949"/>
              <a:gd name="connsiteX501" fmla="*/ 1117794 w 3418030"/>
              <a:gd name="connsiteY501" fmla="*/ 1237 h 4878949"/>
              <a:gd name="connsiteX502" fmla="*/ 1173109 w 3418030"/>
              <a:gd name="connsiteY502" fmla="*/ 1237 h 4878949"/>
              <a:gd name="connsiteX503" fmla="*/ 1190915 w 3418030"/>
              <a:gd name="connsiteY503" fmla="*/ 1237 h 4878949"/>
              <a:gd name="connsiteX504" fmla="*/ 1191329 w 3418030"/>
              <a:gd name="connsiteY504" fmla="*/ 1237 h 4878949"/>
              <a:gd name="connsiteX505" fmla="*/ 1191331 w 3418030"/>
              <a:gd name="connsiteY505" fmla="*/ 1237 h 487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</a:cxnLst>
            <a:rect l="l" t="t" r="r" b="b"/>
            <a:pathLst>
              <a:path w="3418030" h="4878949">
                <a:moveTo>
                  <a:pt x="1191331" y="0"/>
                </a:moveTo>
                <a:lnTo>
                  <a:pt x="1294432" y="0"/>
                </a:lnTo>
                <a:lnTo>
                  <a:pt x="1457098" y="0"/>
                </a:lnTo>
                <a:lnTo>
                  <a:pt x="1564784" y="0"/>
                </a:lnTo>
                <a:lnTo>
                  <a:pt x="2013538" y="0"/>
                </a:lnTo>
                <a:lnTo>
                  <a:pt x="2038520" y="0"/>
                </a:lnTo>
                <a:lnTo>
                  <a:pt x="2130825" y="0"/>
                </a:lnTo>
                <a:lnTo>
                  <a:pt x="2156238" y="0"/>
                </a:lnTo>
                <a:lnTo>
                  <a:pt x="2221889" y="0"/>
                </a:lnTo>
                <a:lnTo>
                  <a:pt x="2277890" y="0"/>
                </a:lnTo>
                <a:lnTo>
                  <a:pt x="2342770" y="0"/>
                </a:lnTo>
                <a:lnTo>
                  <a:pt x="2399737" y="0"/>
                </a:lnTo>
                <a:lnTo>
                  <a:pt x="2399737" y="1224"/>
                </a:lnTo>
                <a:lnTo>
                  <a:pt x="3278911" y="1224"/>
                </a:lnTo>
                <a:lnTo>
                  <a:pt x="3418030" y="1224"/>
                </a:lnTo>
                <a:lnTo>
                  <a:pt x="3418030" y="70784"/>
                </a:lnTo>
                <a:lnTo>
                  <a:pt x="3418030" y="685938"/>
                </a:lnTo>
                <a:lnTo>
                  <a:pt x="3418030" y="732837"/>
                </a:lnTo>
                <a:lnTo>
                  <a:pt x="3418030" y="755498"/>
                </a:lnTo>
                <a:lnTo>
                  <a:pt x="3418030" y="802397"/>
                </a:lnTo>
                <a:lnTo>
                  <a:pt x="3418030" y="1036312"/>
                </a:lnTo>
                <a:lnTo>
                  <a:pt x="3418030" y="1036923"/>
                </a:lnTo>
                <a:lnTo>
                  <a:pt x="3418030" y="1036933"/>
                </a:lnTo>
                <a:lnTo>
                  <a:pt x="3418030" y="1036943"/>
                </a:lnTo>
                <a:lnTo>
                  <a:pt x="3418030" y="1085589"/>
                </a:lnTo>
                <a:lnTo>
                  <a:pt x="3418030" y="1105871"/>
                </a:lnTo>
                <a:lnTo>
                  <a:pt x="3418030" y="1106482"/>
                </a:lnTo>
                <a:lnTo>
                  <a:pt x="3418030" y="1106491"/>
                </a:lnTo>
                <a:lnTo>
                  <a:pt x="3418030" y="1106501"/>
                </a:lnTo>
                <a:lnTo>
                  <a:pt x="3418030" y="1155149"/>
                </a:lnTo>
                <a:lnTo>
                  <a:pt x="3418030" y="1417551"/>
                </a:lnTo>
                <a:lnTo>
                  <a:pt x="3418030" y="1487111"/>
                </a:lnTo>
                <a:lnTo>
                  <a:pt x="3418030" y="1721026"/>
                </a:lnTo>
                <a:lnTo>
                  <a:pt x="3418030" y="1721637"/>
                </a:lnTo>
                <a:lnTo>
                  <a:pt x="3418030" y="1721646"/>
                </a:lnTo>
                <a:lnTo>
                  <a:pt x="3418030" y="1721657"/>
                </a:lnTo>
                <a:lnTo>
                  <a:pt x="3418030" y="1767925"/>
                </a:lnTo>
                <a:lnTo>
                  <a:pt x="3418030" y="1768536"/>
                </a:lnTo>
                <a:lnTo>
                  <a:pt x="3418030" y="1768546"/>
                </a:lnTo>
                <a:lnTo>
                  <a:pt x="3418030" y="1768556"/>
                </a:lnTo>
                <a:lnTo>
                  <a:pt x="3418030" y="1770303"/>
                </a:lnTo>
                <a:lnTo>
                  <a:pt x="3418030" y="1790585"/>
                </a:lnTo>
                <a:lnTo>
                  <a:pt x="3418030" y="1791196"/>
                </a:lnTo>
                <a:lnTo>
                  <a:pt x="3418030" y="1791205"/>
                </a:lnTo>
                <a:lnTo>
                  <a:pt x="3418030" y="1791215"/>
                </a:lnTo>
                <a:lnTo>
                  <a:pt x="3418030" y="1817203"/>
                </a:lnTo>
                <a:lnTo>
                  <a:pt x="3418030" y="1837484"/>
                </a:lnTo>
                <a:lnTo>
                  <a:pt x="3418030" y="1838095"/>
                </a:lnTo>
                <a:lnTo>
                  <a:pt x="3418030" y="1838105"/>
                </a:lnTo>
                <a:lnTo>
                  <a:pt x="3418030" y="1838115"/>
                </a:lnTo>
                <a:lnTo>
                  <a:pt x="3418030" y="1839863"/>
                </a:lnTo>
                <a:lnTo>
                  <a:pt x="3418030" y="1886762"/>
                </a:lnTo>
                <a:lnTo>
                  <a:pt x="3418030" y="2452639"/>
                </a:lnTo>
                <a:lnTo>
                  <a:pt x="3418030" y="2453250"/>
                </a:lnTo>
                <a:lnTo>
                  <a:pt x="3418030" y="2453260"/>
                </a:lnTo>
                <a:lnTo>
                  <a:pt x="3418030" y="2453270"/>
                </a:lnTo>
                <a:lnTo>
                  <a:pt x="3418030" y="2501917"/>
                </a:lnTo>
                <a:lnTo>
                  <a:pt x="3418030" y="2522198"/>
                </a:lnTo>
                <a:lnTo>
                  <a:pt x="3418030" y="2522809"/>
                </a:lnTo>
                <a:lnTo>
                  <a:pt x="3418030" y="2522819"/>
                </a:lnTo>
                <a:lnTo>
                  <a:pt x="3418030" y="2522830"/>
                </a:lnTo>
                <a:lnTo>
                  <a:pt x="3418030" y="2571476"/>
                </a:lnTo>
                <a:lnTo>
                  <a:pt x="3415609" y="2571476"/>
                </a:lnTo>
                <a:lnTo>
                  <a:pt x="3413143" y="2621619"/>
                </a:lnTo>
                <a:lnTo>
                  <a:pt x="3412693" y="2624661"/>
                </a:lnTo>
                <a:lnTo>
                  <a:pt x="3412480" y="2628713"/>
                </a:lnTo>
                <a:cubicBezTo>
                  <a:pt x="3406029" y="2689917"/>
                  <a:pt x="3394048" y="2749544"/>
                  <a:pt x="3377025" y="2807125"/>
                </a:cubicBezTo>
                <a:lnTo>
                  <a:pt x="3375576" y="2811322"/>
                </a:lnTo>
                <a:lnTo>
                  <a:pt x="3375395" y="2812045"/>
                </a:lnTo>
                <a:lnTo>
                  <a:pt x="3372842" y="2819247"/>
                </a:lnTo>
                <a:lnTo>
                  <a:pt x="3347771" y="2891903"/>
                </a:lnTo>
                <a:lnTo>
                  <a:pt x="3344429" y="2899360"/>
                </a:lnTo>
                <a:lnTo>
                  <a:pt x="3343424" y="2902194"/>
                </a:lnTo>
                <a:lnTo>
                  <a:pt x="3336294" y="2917516"/>
                </a:lnTo>
                <a:lnTo>
                  <a:pt x="3311321" y="2973257"/>
                </a:lnTo>
                <a:lnTo>
                  <a:pt x="3305517" y="2983659"/>
                </a:lnTo>
                <a:lnTo>
                  <a:pt x="3303314" y="2988394"/>
                </a:lnTo>
                <a:lnTo>
                  <a:pt x="3293601" y="3005019"/>
                </a:lnTo>
                <a:lnTo>
                  <a:pt x="3268042" y="3050833"/>
                </a:lnTo>
                <a:lnTo>
                  <a:pt x="3259248" y="3063817"/>
                </a:lnTo>
                <a:lnTo>
                  <a:pt x="3255513" y="3070215"/>
                </a:lnTo>
                <a:lnTo>
                  <a:pt x="3244196" y="3086045"/>
                </a:lnTo>
                <a:lnTo>
                  <a:pt x="3218302" y="3124280"/>
                </a:lnTo>
                <a:lnTo>
                  <a:pt x="3206037" y="3139430"/>
                </a:lnTo>
                <a:lnTo>
                  <a:pt x="3200464" y="3147227"/>
                </a:lnTo>
                <a:lnTo>
                  <a:pt x="3188229" y="3161424"/>
                </a:lnTo>
                <a:lnTo>
                  <a:pt x="3162468" y="3193243"/>
                </a:lnTo>
                <a:lnTo>
                  <a:pt x="3146287" y="3210097"/>
                </a:lnTo>
                <a:lnTo>
                  <a:pt x="3138613" y="3219003"/>
                </a:lnTo>
                <a:lnTo>
                  <a:pt x="3126010" y="3231219"/>
                </a:lnTo>
                <a:lnTo>
                  <a:pt x="3100905" y="3257369"/>
                </a:lnTo>
                <a:lnTo>
                  <a:pt x="3080407" y="3275420"/>
                </a:lnTo>
                <a:lnTo>
                  <a:pt x="3070407" y="3285113"/>
                </a:lnTo>
                <a:lnTo>
                  <a:pt x="3057904" y="3295236"/>
                </a:lnTo>
                <a:lnTo>
                  <a:pt x="3033981" y="3316304"/>
                </a:lnTo>
                <a:lnTo>
                  <a:pt x="3008795" y="3335002"/>
                </a:lnTo>
                <a:lnTo>
                  <a:pt x="2996290" y="3345128"/>
                </a:lnTo>
                <a:lnTo>
                  <a:pt x="2984301" y="3353185"/>
                </a:lnTo>
                <a:lnTo>
                  <a:pt x="2962062" y="3369695"/>
                </a:lnTo>
                <a:lnTo>
                  <a:pt x="2931835" y="3388450"/>
                </a:lnTo>
                <a:lnTo>
                  <a:pt x="2916709" y="3398618"/>
                </a:lnTo>
                <a:lnTo>
                  <a:pt x="2905603" y="3404726"/>
                </a:lnTo>
                <a:lnTo>
                  <a:pt x="2885517" y="3417189"/>
                </a:lnTo>
                <a:lnTo>
                  <a:pt x="2849882" y="3435375"/>
                </a:lnTo>
                <a:lnTo>
                  <a:pt x="2832108" y="3445153"/>
                </a:lnTo>
                <a:lnTo>
                  <a:pt x="2822219" y="3449494"/>
                </a:lnTo>
                <a:lnTo>
                  <a:pt x="2804710" y="3458432"/>
                </a:lnTo>
                <a:lnTo>
                  <a:pt x="2763233" y="3475393"/>
                </a:lnTo>
                <a:lnTo>
                  <a:pt x="2742933" y="3484308"/>
                </a:lnTo>
                <a:lnTo>
                  <a:pt x="2734565" y="3487117"/>
                </a:lnTo>
                <a:lnTo>
                  <a:pt x="2720010" y="3493070"/>
                </a:lnTo>
                <a:lnTo>
                  <a:pt x="2672049" y="3508117"/>
                </a:lnTo>
                <a:lnTo>
                  <a:pt x="2649630" y="3515648"/>
                </a:lnTo>
                <a:lnTo>
                  <a:pt x="2643052" y="3517214"/>
                </a:lnTo>
                <a:lnTo>
                  <a:pt x="2631783" y="3520749"/>
                </a:lnTo>
                <a:lnTo>
                  <a:pt x="2576079" y="3533167"/>
                </a:lnTo>
                <a:lnTo>
                  <a:pt x="2552643" y="3538747"/>
                </a:lnTo>
                <a:lnTo>
                  <a:pt x="2548104" y="3539401"/>
                </a:lnTo>
                <a:lnTo>
                  <a:pt x="2540397" y="3541118"/>
                </a:lnTo>
                <a:lnTo>
                  <a:pt x="2473383" y="3550158"/>
                </a:lnTo>
                <a:lnTo>
                  <a:pt x="2452420" y="3553176"/>
                </a:lnTo>
                <a:lnTo>
                  <a:pt x="2450212" y="3553284"/>
                </a:lnTo>
                <a:lnTo>
                  <a:pt x="2446216" y="3553824"/>
                </a:lnTo>
                <a:lnTo>
                  <a:pt x="2399737" y="3555943"/>
                </a:lnTo>
                <a:lnTo>
                  <a:pt x="2399737" y="3558529"/>
                </a:lnTo>
                <a:lnTo>
                  <a:pt x="2366297" y="3558529"/>
                </a:lnTo>
                <a:lnTo>
                  <a:pt x="2350286" y="3560726"/>
                </a:lnTo>
                <a:lnTo>
                  <a:pt x="2329679" y="3563743"/>
                </a:lnTo>
                <a:lnTo>
                  <a:pt x="2327509" y="3563851"/>
                </a:lnTo>
                <a:lnTo>
                  <a:pt x="2323580" y="3564391"/>
                </a:lnTo>
                <a:lnTo>
                  <a:pt x="2277890" y="3566510"/>
                </a:lnTo>
                <a:lnTo>
                  <a:pt x="2277890" y="3569096"/>
                </a:lnTo>
                <a:lnTo>
                  <a:pt x="2235765" y="3569096"/>
                </a:lnTo>
                <a:lnTo>
                  <a:pt x="2222205" y="3569096"/>
                </a:lnTo>
                <a:lnTo>
                  <a:pt x="2221889" y="3569096"/>
                </a:lnTo>
                <a:lnTo>
                  <a:pt x="2221889" y="3570333"/>
                </a:lnTo>
                <a:lnTo>
                  <a:pt x="2038520" y="3570333"/>
                </a:lnTo>
                <a:lnTo>
                  <a:pt x="2013539" y="3570333"/>
                </a:lnTo>
                <a:lnTo>
                  <a:pt x="1650818" y="3570333"/>
                </a:lnTo>
                <a:lnTo>
                  <a:pt x="1650818" y="3570744"/>
                </a:lnTo>
                <a:lnTo>
                  <a:pt x="1652012" y="3570744"/>
                </a:lnTo>
                <a:lnTo>
                  <a:pt x="1652012" y="3571721"/>
                </a:lnTo>
                <a:lnTo>
                  <a:pt x="1671221" y="3572716"/>
                </a:lnTo>
                <a:lnTo>
                  <a:pt x="1672387" y="3572898"/>
                </a:lnTo>
                <a:lnTo>
                  <a:pt x="1673940" y="3572984"/>
                </a:lnTo>
                <a:cubicBezTo>
                  <a:pt x="1697387" y="3575588"/>
                  <a:pt x="1720231" y="3580424"/>
                  <a:pt x="1742290" y="3587296"/>
                </a:cubicBezTo>
                <a:lnTo>
                  <a:pt x="1743898" y="3587880"/>
                </a:lnTo>
                <a:lnTo>
                  <a:pt x="1744176" y="3587953"/>
                </a:lnTo>
                <a:lnTo>
                  <a:pt x="1746934" y="3588984"/>
                </a:lnTo>
                <a:lnTo>
                  <a:pt x="1774769" y="3599104"/>
                </a:lnTo>
                <a:lnTo>
                  <a:pt x="1777626" y="3600453"/>
                </a:lnTo>
                <a:lnTo>
                  <a:pt x="1778712" y="3600858"/>
                </a:lnTo>
                <a:lnTo>
                  <a:pt x="1784582" y="3603737"/>
                </a:lnTo>
                <a:lnTo>
                  <a:pt x="1805936" y="3613817"/>
                </a:lnTo>
                <a:lnTo>
                  <a:pt x="1809922" y="3616160"/>
                </a:lnTo>
                <a:lnTo>
                  <a:pt x="1811736" y="3617049"/>
                </a:lnTo>
                <a:lnTo>
                  <a:pt x="1818105" y="3620970"/>
                </a:lnTo>
                <a:lnTo>
                  <a:pt x="1835657" y="3631287"/>
                </a:lnTo>
                <a:lnTo>
                  <a:pt x="1840631" y="3634836"/>
                </a:lnTo>
                <a:lnTo>
                  <a:pt x="1843082" y="3636344"/>
                </a:lnTo>
                <a:lnTo>
                  <a:pt x="1849146" y="3640912"/>
                </a:lnTo>
                <a:lnTo>
                  <a:pt x="1863794" y="3651364"/>
                </a:lnTo>
                <a:lnTo>
                  <a:pt x="1869598" y="3656316"/>
                </a:lnTo>
                <a:lnTo>
                  <a:pt x="1872586" y="3658565"/>
                </a:lnTo>
                <a:lnTo>
                  <a:pt x="1878025" y="3663504"/>
                </a:lnTo>
                <a:lnTo>
                  <a:pt x="1890215" y="3673902"/>
                </a:lnTo>
                <a:lnTo>
                  <a:pt x="1896672" y="3680434"/>
                </a:lnTo>
                <a:lnTo>
                  <a:pt x="1900084" y="3683531"/>
                </a:lnTo>
                <a:lnTo>
                  <a:pt x="1904763" y="3688618"/>
                </a:lnTo>
                <a:lnTo>
                  <a:pt x="1914782" y="3698752"/>
                </a:lnTo>
                <a:lnTo>
                  <a:pt x="1921697" y="3707026"/>
                </a:lnTo>
                <a:lnTo>
                  <a:pt x="1925411" y="3711062"/>
                </a:lnTo>
                <a:lnTo>
                  <a:pt x="1929289" y="3716109"/>
                </a:lnTo>
                <a:lnTo>
                  <a:pt x="1937360" y="3725766"/>
                </a:lnTo>
                <a:lnTo>
                  <a:pt x="1944523" y="3735932"/>
                </a:lnTo>
                <a:lnTo>
                  <a:pt x="1948403" y="3740980"/>
                </a:lnTo>
                <a:lnTo>
                  <a:pt x="1951490" y="3745819"/>
                </a:lnTo>
                <a:lnTo>
                  <a:pt x="1957815" y="3754796"/>
                </a:lnTo>
                <a:lnTo>
                  <a:pt x="1965000" y="3766998"/>
                </a:lnTo>
                <a:lnTo>
                  <a:pt x="1968895" y="3773103"/>
                </a:lnTo>
                <a:lnTo>
                  <a:pt x="1971236" y="3777586"/>
                </a:lnTo>
                <a:lnTo>
                  <a:pt x="1976010" y="3785694"/>
                </a:lnTo>
                <a:lnTo>
                  <a:pt x="1982978" y="3800078"/>
                </a:lnTo>
                <a:lnTo>
                  <a:pt x="1986724" y="3807252"/>
                </a:lnTo>
                <a:lnTo>
                  <a:pt x="1988387" y="3811244"/>
                </a:lnTo>
                <a:lnTo>
                  <a:pt x="1991811" y="3818312"/>
                </a:lnTo>
                <a:lnTo>
                  <a:pt x="1998309" y="3835054"/>
                </a:lnTo>
                <a:lnTo>
                  <a:pt x="2001724" y="3843248"/>
                </a:lnTo>
                <a:lnTo>
                  <a:pt x="2002801" y="3846626"/>
                </a:lnTo>
                <a:lnTo>
                  <a:pt x="2005081" y="3852501"/>
                </a:lnTo>
                <a:lnTo>
                  <a:pt x="2010846" y="3871861"/>
                </a:lnTo>
                <a:lnTo>
                  <a:pt x="2013730" y="3880910"/>
                </a:lnTo>
                <a:lnTo>
                  <a:pt x="2014331" y="3883565"/>
                </a:lnTo>
                <a:lnTo>
                  <a:pt x="2015685" y="3888114"/>
                </a:lnTo>
                <a:lnTo>
                  <a:pt x="2020442" y="3910600"/>
                </a:lnTo>
                <a:lnTo>
                  <a:pt x="2020535" y="3911014"/>
                </a:lnTo>
                <a:lnTo>
                  <a:pt x="2021162" y="3911014"/>
                </a:lnTo>
                <a:lnTo>
                  <a:pt x="2023207" y="3922096"/>
                </a:lnTo>
                <a:lnTo>
                  <a:pt x="2023457" y="3924341"/>
                </a:lnTo>
                <a:lnTo>
                  <a:pt x="2024115" y="3928152"/>
                </a:lnTo>
                <a:lnTo>
                  <a:pt x="2027578" y="3961293"/>
                </a:lnTo>
                <a:lnTo>
                  <a:pt x="2028734" y="3971660"/>
                </a:lnTo>
                <a:lnTo>
                  <a:pt x="2028775" y="3972751"/>
                </a:lnTo>
                <a:lnTo>
                  <a:pt x="2028982" y="3974727"/>
                </a:lnTo>
                <a:lnTo>
                  <a:pt x="2029794" y="3997713"/>
                </a:lnTo>
                <a:lnTo>
                  <a:pt x="2030784" y="3997713"/>
                </a:lnTo>
                <a:lnTo>
                  <a:pt x="2030784" y="4018905"/>
                </a:lnTo>
                <a:lnTo>
                  <a:pt x="2030784" y="4025726"/>
                </a:lnTo>
                <a:lnTo>
                  <a:pt x="2030784" y="4025885"/>
                </a:lnTo>
                <a:lnTo>
                  <a:pt x="2030784" y="4025886"/>
                </a:lnTo>
                <a:lnTo>
                  <a:pt x="2031258" y="4025886"/>
                </a:lnTo>
                <a:lnTo>
                  <a:pt x="2031258" y="4065384"/>
                </a:lnTo>
                <a:lnTo>
                  <a:pt x="2031258" y="4127703"/>
                </a:lnTo>
                <a:lnTo>
                  <a:pt x="2031258" y="4168958"/>
                </a:lnTo>
                <a:lnTo>
                  <a:pt x="2031258" y="4340879"/>
                </a:lnTo>
                <a:lnTo>
                  <a:pt x="2031258" y="4350450"/>
                </a:lnTo>
                <a:lnTo>
                  <a:pt x="2031258" y="4385812"/>
                </a:lnTo>
                <a:lnTo>
                  <a:pt x="2031258" y="4395548"/>
                </a:lnTo>
                <a:lnTo>
                  <a:pt x="2031258" y="4420700"/>
                </a:lnTo>
                <a:lnTo>
                  <a:pt x="2031258" y="4442154"/>
                </a:lnTo>
                <a:lnTo>
                  <a:pt x="2031258" y="4467010"/>
                </a:lnTo>
                <a:lnTo>
                  <a:pt x="2031258" y="4488834"/>
                </a:lnTo>
                <a:lnTo>
                  <a:pt x="2030789" y="4488834"/>
                </a:lnTo>
                <a:lnTo>
                  <a:pt x="2030789" y="4825652"/>
                </a:lnTo>
                <a:lnTo>
                  <a:pt x="2030789" y="4878949"/>
                </a:lnTo>
                <a:lnTo>
                  <a:pt x="2004140" y="4878949"/>
                </a:lnTo>
                <a:lnTo>
                  <a:pt x="1768470" y="4878949"/>
                </a:lnTo>
                <a:lnTo>
                  <a:pt x="1750503" y="4878949"/>
                </a:lnTo>
                <a:lnTo>
                  <a:pt x="1741822" y="4878949"/>
                </a:lnTo>
                <a:lnTo>
                  <a:pt x="1723854" y="4878949"/>
                </a:lnTo>
                <a:lnTo>
                  <a:pt x="1634240" y="4878949"/>
                </a:lnTo>
                <a:lnTo>
                  <a:pt x="1634005" y="4878949"/>
                </a:lnTo>
                <a:lnTo>
                  <a:pt x="1634002" y="4878949"/>
                </a:lnTo>
                <a:lnTo>
                  <a:pt x="1633998" y="4878949"/>
                </a:lnTo>
                <a:lnTo>
                  <a:pt x="1615361" y="4878949"/>
                </a:lnTo>
                <a:lnTo>
                  <a:pt x="1607591" y="4878949"/>
                </a:lnTo>
                <a:lnTo>
                  <a:pt x="1607357" y="4878949"/>
                </a:lnTo>
                <a:lnTo>
                  <a:pt x="1607354" y="4878949"/>
                </a:lnTo>
                <a:lnTo>
                  <a:pt x="1607350" y="4878949"/>
                </a:lnTo>
                <a:lnTo>
                  <a:pt x="1588712" y="4878949"/>
                </a:lnTo>
                <a:lnTo>
                  <a:pt x="1488184" y="4878949"/>
                </a:lnTo>
                <a:lnTo>
                  <a:pt x="1461535" y="4878949"/>
                </a:lnTo>
                <a:lnTo>
                  <a:pt x="1371921" y="4878949"/>
                </a:lnTo>
                <a:lnTo>
                  <a:pt x="1371687" y="4878949"/>
                </a:lnTo>
                <a:lnTo>
                  <a:pt x="1371683" y="4878949"/>
                </a:lnTo>
                <a:lnTo>
                  <a:pt x="1371679" y="4878949"/>
                </a:lnTo>
                <a:lnTo>
                  <a:pt x="1367507" y="4878949"/>
                </a:lnTo>
                <a:lnTo>
                  <a:pt x="1353954" y="4878949"/>
                </a:lnTo>
                <a:lnTo>
                  <a:pt x="1353719" y="4878949"/>
                </a:lnTo>
                <a:lnTo>
                  <a:pt x="1353716" y="4878949"/>
                </a:lnTo>
                <a:lnTo>
                  <a:pt x="1353712" y="4878949"/>
                </a:lnTo>
                <a:lnTo>
                  <a:pt x="1353043" y="4878949"/>
                </a:lnTo>
                <a:lnTo>
                  <a:pt x="1345272" y="4878949"/>
                </a:lnTo>
                <a:lnTo>
                  <a:pt x="1345038" y="4878949"/>
                </a:lnTo>
                <a:lnTo>
                  <a:pt x="1345035" y="4878949"/>
                </a:lnTo>
                <a:lnTo>
                  <a:pt x="1345031" y="4878949"/>
                </a:lnTo>
                <a:lnTo>
                  <a:pt x="1340858" y="4878949"/>
                </a:lnTo>
                <a:lnTo>
                  <a:pt x="1335075" y="4878949"/>
                </a:lnTo>
                <a:lnTo>
                  <a:pt x="1327305" y="4878949"/>
                </a:lnTo>
                <a:lnTo>
                  <a:pt x="1327071" y="4878949"/>
                </a:lnTo>
                <a:lnTo>
                  <a:pt x="1327067" y="4878949"/>
                </a:lnTo>
                <a:lnTo>
                  <a:pt x="1327063" y="4878949"/>
                </a:lnTo>
                <a:lnTo>
                  <a:pt x="1326394" y="4878949"/>
                </a:lnTo>
                <a:lnTo>
                  <a:pt x="1308426" y="4878949"/>
                </a:lnTo>
                <a:lnTo>
                  <a:pt x="1105188" y="4878949"/>
                </a:lnTo>
                <a:lnTo>
                  <a:pt x="1091635" y="4878949"/>
                </a:lnTo>
                <a:lnTo>
                  <a:pt x="1091401" y="4878949"/>
                </a:lnTo>
                <a:lnTo>
                  <a:pt x="1091397" y="4878949"/>
                </a:lnTo>
                <a:lnTo>
                  <a:pt x="1091393" y="4878949"/>
                </a:lnTo>
                <a:lnTo>
                  <a:pt x="1087221" y="4878949"/>
                </a:lnTo>
                <a:lnTo>
                  <a:pt x="1078540" y="4878949"/>
                </a:lnTo>
                <a:lnTo>
                  <a:pt x="1072756" y="4878949"/>
                </a:lnTo>
                <a:lnTo>
                  <a:pt x="1064986" y="4878949"/>
                </a:lnTo>
                <a:lnTo>
                  <a:pt x="1064752" y="4878949"/>
                </a:lnTo>
                <a:lnTo>
                  <a:pt x="1064748" y="4878949"/>
                </a:lnTo>
                <a:lnTo>
                  <a:pt x="1064745" y="4878949"/>
                </a:lnTo>
                <a:lnTo>
                  <a:pt x="1060572" y="4878949"/>
                </a:lnTo>
                <a:lnTo>
                  <a:pt x="1046108" y="4878949"/>
                </a:lnTo>
                <a:lnTo>
                  <a:pt x="970958" y="4878949"/>
                </a:lnTo>
                <a:lnTo>
                  <a:pt x="970723" y="4878949"/>
                </a:lnTo>
                <a:lnTo>
                  <a:pt x="970720" y="4878949"/>
                </a:lnTo>
                <a:lnTo>
                  <a:pt x="970716" y="4878949"/>
                </a:lnTo>
                <a:lnTo>
                  <a:pt x="952079" y="4878949"/>
                </a:lnTo>
                <a:lnTo>
                  <a:pt x="944309" y="4878949"/>
                </a:lnTo>
                <a:lnTo>
                  <a:pt x="944075" y="4878949"/>
                </a:lnTo>
                <a:lnTo>
                  <a:pt x="944072" y="4878949"/>
                </a:lnTo>
                <a:lnTo>
                  <a:pt x="944068" y="4878949"/>
                </a:lnTo>
                <a:lnTo>
                  <a:pt x="925430" y="4878949"/>
                </a:lnTo>
                <a:lnTo>
                  <a:pt x="824902" y="4878949"/>
                </a:lnTo>
                <a:lnTo>
                  <a:pt x="798253" y="4878949"/>
                </a:lnTo>
                <a:lnTo>
                  <a:pt x="708639" y="4878949"/>
                </a:lnTo>
                <a:lnTo>
                  <a:pt x="708405" y="4878949"/>
                </a:lnTo>
                <a:lnTo>
                  <a:pt x="708401" y="4878949"/>
                </a:lnTo>
                <a:lnTo>
                  <a:pt x="708397" y="4878949"/>
                </a:lnTo>
                <a:lnTo>
                  <a:pt x="690672" y="4878949"/>
                </a:lnTo>
                <a:lnTo>
                  <a:pt x="690437" y="4878949"/>
                </a:lnTo>
                <a:lnTo>
                  <a:pt x="690434" y="4878949"/>
                </a:lnTo>
                <a:lnTo>
                  <a:pt x="690430" y="4878949"/>
                </a:lnTo>
                <a:lnTo>
                  <a:pt x="689761" y="4878949"/>
                </a:lnTo>
                <a:lnTo>
                  <a:pt x="681990" y="4878949"/>
                </a:lnTo>
                <a:lnTo>
                  <a:pt x="681756" y="4878949"/>
                </a:lnTo>
                <a:lnTo>
                  <a:pt x="681753" y="4878949"/>
                </a:lnTo>
                <a:lnTo>
                  <a:pt x="681749" y="4878949"/>
                </a:lnTo>
                <a:lnTo>
                  <a:pt x="671793" y="4878949"/>
                </a:lnTo>
                <a:lnTo>
                  <a:pt x="664023" y="4878949"/>
                </a:lnTo>
                <a:lnTo>
                  <a:pt x="663789" y="4878949"/>
                </a:lnTo>
                <a:lnTo>
                  <a:pt x="663785" y="4878949"/>
                </a:lnTo>
                <a:lnTo>
                  <a:pt x="663781" y="4878949"/>
                </a:lnTo>
                <a:lnTo>
                  <a:pt x="663112" y="4878949"/>
                </a:lnTo>
                <a:lnTo>
                  <a:pt x="645144" y="4878949"/>
                </a:lnTo>
                <a:lnTo>
                  <a:pt x="428353" y="4878949"/>
                </a:lnTo>
                <a:lnTo>
                  <a:pt x="428119" y="4878949"/>
                </a:lnTo>
                <a:lnTo>
                  <a:pt x="428115" y="4878949"/>
                </a:lnTo>
                <a:lnTo>
                  <a:pt x="428111" y="4878949"/>
                </a:lnTo>
                <a:lnTo>
                  <a:pt x="409474" y="4878949"/>
                </a:lnTo>
                <a:lnTo>
                  <a:pt x="401704" y="4878949"/>
                </a:lnTo>
                <a:lnTo>
                  <a:pt x="401470" y="4878949"/>
                </a:lnTo>
                <a:lnTo>
                  <a:pt x="401466" y="4878949"/>
                </a:lnTo>
                <a:lnTo>
                  <a:pt x="401462" y="4878949"/>
                </a:lnTo>
                <a:lnTo>
                  <a:pt x="382826" y="4878949"/>
                </a:lnTo>
                <a:lnTo>
                  <a:pt x="382826" y="4878022"/>
                </a:lnTo>
                <a:lnTo>
                  <a:pt x="363616" y="4877077"/>
                </a:lnTo>
                <a:lnTo>
                  <a:pt x="362450" y="4876905"/>
                </a:lnTo>
                <a:lnTo>
                  <a:pt x="360898" y="4876823"/>
                </a:lnTo>
                <a:cubicBezTo>
                  <a:pt x="337450" y="4874352"/>
                  <a:pt x="314607" y="4869762"/>
                  <a:pt x="292547" y="4863240"/>
                </a:cubicBezTo>
                <a:lnTo>
                  <a:pt x="290939" y="4862685"/>
                </a:lnTo>
                <a:lnTo>
                  <a:pt x="290662" y="4862616"/>
                </a:lnTo>
                <a:lnTo>
                  <a:pt x="287903" y="4861637"/>
                </a:lnTo>
                <a:lnTo>
                  <a:pt x="260068" y="4852032"/>
                </a:lnTo>
                <a:lnTo>
                  <a:pt x="257211" y="4850752"/>
                </a:lnTo>
                <a:lnTo>
                  <a:pt x="256125" y="4850367"/>
                </a:lnTo>
                <a:lnTo>
                  <a:pt x="250255" y="4847636"/>
                </a:lnTo>
                <a:lnTo>
                  <a:pt x="228901" y="4838068"/>
                </a:lnTo>
                <a:lnTo>
                  <a:pt x="224915" y="4835845"/>
                </a:lnTo>
                <a:lnTo>
                  <a:pt x="223101" y="4835001"/>
                </a:lnTo>
                <a:lnTo>
                  <a:pt x="216732" y="4831280"/>
                </a:lnTo>
                <a:lnTo>
                  <a:pt x="199181" y="4821488"/>
                </a:lnTo>
                <a:lnTo>
                  <a:pt x="194206" y="4818119"/>
                </a:lnTo>
                <a:lnTo>
                  <a:pt x="191756" y="4816688"/>
                </a:lnTo>
                <a:lnTo>
                  <a:pt x="185691" y="4812352"/>
                </a:lnTo>
                <a:lnTo>
                  <a:pt x="171043" y="4802432"/>
                </a:lnTo>
                <a:lnTo>
                  <a:pt x="165239" y="4797733"/>
                </a:lnTo>
                <a:lnTo>
                  <a:pt x="162251" y="4795598"/>
                </a:lnTo>
                <a:lnTo>
                  <a:pt x="156813" y="4790911"/>
                </a:lnTo>
                <a:lnTo>
                  <a:pt x="144622" y="4781042"/>
                </a:lnTo>
                <a:lnTo>
                  <a:pt x="138166" y="4774843"/>
                </a:lnTo>
                <a:lnTo>
                  <a:pt x="134753" y="4771903"/>
                </a:lnTo>
                <a:lnTo>
                  <a:pt x="130074" y="4767074"/>
                </a:lnTo>
                <a:lnTo>
                  <a:pt x="120055" y="4757456"/>
                </a:lnTo>
                <a:lnTo>
                  <a:pt x="113141" y="4749604"/>
                </a:lnTo>
                <a:lnTo>
                  <a:pt x="109426" y="4745772"/>
                </a:lnTo>
                <a:lnTo>
                  <a:pt x="105549" y="4740983"/>
                </a:lnTo>
                <a:lnTo>
                  <a:pt x="97477" y="4731817"/>
                </a:lnTo>
                <a:lnTo>
                  <a:pt x="90315" y="4722168"/>
                </a:lnTo>
                <a:lnTo>
                  <a:pt x="86434" y="4717378"/>
                </a:lnTo>
                <a:lnTo>
                  <a:pt x="83347" y="4712785"/>
                </a:lnTo>
                <a:lnTo>
                  <a:pt x="77022" y="4704265"/>
                </a:lnTo>
                <a:lnTo>
                  <a:pt x="69837" y="4692685"/>
                </a:lnTo>
                <a:lnTo>
                  <a:pt x="65942" y="4686890"/>
                </a:lnTo>
                <a:lnTo>
                  <a:pt x="63602" y="4682635"/>
                </a:lnTo>
                <a:lnTo>
                  <a:pt x="58828" y="4674940"/>
                </a:lnTo>
                <a:lnTo>
                  <a:pt x="51860" y="4661288"/>
                </a:lnTo>
                <a:lnTo>
                  <a:pt x="48115" y="4654479"/>
                </a:lnTo>
                <a:lnTo>
                  <a:pt x="46451" y="4650690"/>
                </a:lnTo>
                <a:lnTo>
                  <a:pt x="43027" y="4643982"/>
                </a:lnTo>
                <a:lnTo>
                  <a:pt x="36529" y="4628092"/>
                </a:lnTo>
                <a:lnTo>
                  <a:pt x="33115" y="4620315"/>
                </a:lnTo>
                <a:lnTo>
                  <a:pt x="32037" y="4617109"/>
                </a:lnTo>
                <a:lnTo>
                  <a:pt x="29757" y="4611533"/>
                </a:lnTo>
                <a:lnTo>
                  <a:pt x="23992" y="4593159"/>
                </a:lnTo>
                <a:lnTo>
                  <a:pt x="21107" y="4584570"/>
                </a:lnTo>
                <a:lnTo>
                  <a:pt x="20507" y="4582050"/>
                </a:lnTo>
                <a:lnTo>
                  <a:pt x="19153" y="4577733"/>
                </a:lnTo>
                <a:lnTo>
                  <a:pt x="14395" y="4556392"/>
                </a:lnTo>
                <a:lnTo>
                  <a:pt x="12258" y="4547414"/>
                </a:lnTo>
                <a:lnTo>
                  <a:pt x="12008" y="4545675"/>
                </a:lnTo>
                <a:lnTo>
                  <a:pt x="11349" y="4542722"/>
                </a:lnTo>
                <a:lnTo>
                  <a:pt x="7886" y="4517048"/>
                </a:lnTo>
                <a:lnTo>
                  <a:pt x="6730" y="4509017"/>
                </a:lnTo>
                <a:lnTo>
                  <a:pt x="6688" y="4508172"/>
                </a:lnTo>
                <a:lnTo>
                  <a:pt x="6482" y="4506641"/>
                </a:lnTo>
                <a:lnTo>
                  <a:pt x="5671" y="4488834"/>
                </a:lnTo>
                <a:lnTo>
                  <a:pt x="4679" y="4488834"/>
                </a:lnTo>
                <a:lnTo>
                  <a:pt x="4679" y="4476023"/>
                </a:lnTo>
                <a:lnTo>
                  <a:pt x="3837" y="4469889"/>
                </a:lnTo>
                <a:lnTo>
                  <a:pt x="2681" y="4461995"/>
                </a:lnTo>
                <a:lnTo>
                  <a:pt x="2640" y="4461163"/>
                </a:lnTo>
                <a:lnTo>
                  <a:pt x="2433" y="4459658"/>
                </a:lnTo>
                <a:lnTo>
                  <a:pt x="1621" y="4442154"/>
                </a:lnTo>
                <a:lnTo>
                  <a:pt x="631" y="4442154"/>
                </a:lnTo>
                <a:lnTo>
                  <a:pt x="631" y="4426015"/>
                </a:lnTo>
                <a:lnTo>
                  <a:pt x="631" y="4420821"/>
                </a:lnTo>
                <a:lnTo>
                  <a:pt x="631" y="4420700"/>
                </a:lnTo>
                <a:lnTo>
                  <a:pt x="157" y="4420700"/>
                </a:lnTo>
                <a:lnTo>
                  <a:pt x="157" y="4350450"/>
                </a:lnTo>
                <a:lnTo>
                  <a:pt x="157" y="4340879"/>
                </a:lnTo>
                <a:lnTo>
                  <a:pt x="157" y="4127703"/>
                </a:lnTo>
                <a:lnTo>
                  <a:pt x="157" y="4025885"/>
                </a:lnTo>
                <a:lnTo>
                  <a:pt x="157" y="3997713"/>
                </a:lnTo>
                <a:lnTo>
                  <a:pt x="626" y="3997713"/>
                </a:lnTo>
                <a:lnTo>
                  <a:pt x="626" y="3911014"/>
                </a:lnTo>
                <a:lnTo>
                  <a:pt x="0" y="3911014"/>
                </a:lnTo>
                <a:lnTo>
                  <a:pt x="0" y="3908592"/>
                </a:lnTo>
                <a:lnTo>
                  <a:pt x="0" y="3570744"/>
                </a:lnTo>
                <a:lnTo>
                  <a:pt x="0" y="2076617"/>
                </a:lnTo>
                <a:lnTo>
                  <a:pt x="3302" y="2076617"/>
                </a:lnTo>
                <a:lnTo>
                  <a:pt x="3302" y="2074287"/>
                </a:lnTo>
                <a:lnTo>
                  <a:pt x="3302" y="1850939"/>
                </a:lnTo>
                <a:lnTo>
                  <a:pt x="3302" y="1850328"/>
                </a:lnTo>
                <a:lnTo>
                  <a:pt x="3301" y="1850319"/>
                </a:lnTo>
                <a:lnTo>
                  <a:pt x="3302" y="1850309"/>
                </a:lnTo>
                <a:lnTo>
                  <a:pt x="3302" y="1804040"/>
                </a:lnTo>
                <a:lnTo>
                  <a:pt x="3302" y="1803429"/>
                </a:lnTo>
                <a:lnTo>
                  <a:pt x="3301" y="1803419"/>
                </a:lnTo>
                <a:lnTo>
                  <a:pt x="3302" y="1803409"/>
                </a:lnTo>
                <a:lnTo>
                  <a:pt x="3302" y="1801662"/>
                </a:lnTo>
                <a:lnTo>
                  <a:pt x="3302" y="1770814"/>
                </a:lnTo>
                <a:lnTo>
                  <a:pt x="3302" y="1770203"/>
                </a:lnTo>
                <a:lnTo>
                  <a:pt x="3301" y="1770192"/>
                </a:lnTo>
                <a:lnTo>
                  <a:pt x="3302" y="1770183"/>
                </a:lnTo>
                <a:lnTo>
                  <a:pt x="3302" y="1754762"/>
                </a:lnTo>
                <a:lnTo>
                  <a:pt x="3302" y="1723914"/>
                </a:lnTo>
                <a:lnTo>
                  <a:pt x="3302" y="1723304"/>
                </a:lnTo>
                <a:lnTo>
                  <a:pt x="3301" y="1723293"/>
                </a:lnTo>
                <a:lnTo>
                  <a:pt x="3302" y="1723284"/>
                </a:lnTo>
                <a:lnTo>
                  <a:pt x="3302" y="1721537"/>
                </a:lnTo>
                <a:lnTo>
                  <a:pt x="3302" y="1674636"/>
                </a:lnTo>
                <a:lnTo>
                  <a:pt x="3302" y="1119326"/>
                </a:lnTo>
                <a:lnTo>
                  <a:pt x="3302" y="1118715"/>
                </a:lnTo>
                <a:lnTo>
                  <a:pt x="3301" y="1118705"/>
                </a:lnTo>
                <a:lnTo>
                  <a:pt x="3302" y="1118695"/>
                </a:lnTo>
                <a:lnTo>
                  <a:pt x="3302" y="1070048"/>
                </a:lnTo>
                <a:lnTo>
                  <a:pt x="3302" y="1039200"/>
                </a:lnTo>
                <a:lnTo>
                  <a:pt x="3302" y="1038590"/>
                </a:lnTo>
                <a:lnTo>
                  <a:pt x="3301" y="1038579"/>
                </a:lnTo>
                <a:lnTo>
                  <a:pt x="3302" y="1038570"/>
                </a:lnTo>
                <a:lnTo>
                  <a:pt x="3302" y="989923"/>
                </a:lnTo>
                <a:lnTo>
                  <a:pt x="5852" y="989923"/>
                </a:lnTo>
                <a:lnTo>
                  <a:pt x="8449" y="939781"/>
                </a:lnTo>
                <a:lnTo>
                  <a:pt x="8925" y="936738"/>
                </a:lnTo>
                <a:lnTo>
                  <a:pt x="9149" y="932684"/>
                </a:lnTo>
                <a:cubicBezTo>
                  <a:pt x="15946" y="871482"/>
                  <a:pt x="28569" y="811856"/>
                  <a:pt x="46507" y="754274"/>
                </a:cubicBezTo>
                <a:lnTo>
                  <a:pt x="48032" y="750077"/>
                </a:lnTo>
                <a:lnTo>
                  <a:pt x="48222" y="749353"/>
                </a:lnTo>
                <a:lnTo>
                  <a:pt x="50914" y="742152"/>
                </a:lnTo>
                <a:lnTo>
                  <a:pt x="77329" y="669497"/>
                </a:lnTo>
                <a:lnTo>
                  <a:pt x="80849" y="662039"/>
                </a:lnTo>
                <a:lnTo>
                  <a:pt x="81908" y="659204"/>
                </a:lnTo>
                <a:lnTo>
                  <a:pt x="89422" y="643883"/>
                </a:lnTo>
                <a:lnTo>
                  <a:pt x="115734" y="588143"/>
                </a:lnTo>
                <a:lnTo>
                  <a:pt x="121848" y="577740"/>
                </a:lnTo>
                <a:lnTo>
                  <a:pt x="124169" y="573005"/>
                </a:lnTo>
                <a:lnTo>
                  <a:pt x="134403" y="556381"/>
                </a:lnTo>
                <a:lnTo>
                  <a:pt x="161333" y="510566"/>
                </a:lnTo>
                <a:lnTo>
                  <a:pt x="170598" y="497582"/>
                </a:lnTo>
                <a:lnTo>
                  <a:pt x="174534" y="491185"/>
                </a:lnTo>
                <a:lnTo>
                  <a:pt x="186458" y="475354"/>
                </a:lnTo>
                <a:lnTo>
                  <a:pt x="213741" y="437120"/>
                </a:lnTo>
                <a:lnTo>
                  <a:pt x="226666" y="421970"/>
                </a:lnTo>
                <a:lnTo>
                  <a:pt x="232537" y="414172"/>
                </a:lnTo>
                <a:lnTo>
                  <a:pt x="245428" y="399975"/>
                </a:lnTo>
                <a:lnTo>
                  <a:pt x="272569" y="368155"/>
                </a:lnTo>
                <a:lnTo>
                  <a:pt x="289619" y="351302"/>
                </a:lnTo>
                <a:lnTo>
                  <a:pt x="297703" y="342396"/>
                </a:lnTo>
                <a:lnTo>
                  <a:pt x="310983" y="330181"/>
                </a:lnTo>
                <a:lnTo>
                  <a:pt x="337434" y="304029"/>
                </a:lnTo>
                <a:lnTo>
                  <a:pt x="359031" y="285980"/>
                </a:lnTo>
                <a:lnTo>
                  <a:pt x="369567" y="276286"/>
                </a:lnTo>
                <a:lnTo>
                  <a:pt x="382740" y="266163"/>
                </a:lnTo>
                <a:lnTo>
                  <a:pt x="407948" y="245095"/>
                </a:lnTo>
                <a:lnTo>
                  <a:pt x="434483" y="226398"/>
                </a:lnTo>
                <a:lnTo>
                  <a:pt x="447659" y="216272"/>
                </a:lnTo>
                <a:lnTo>
                  <a:pt x="460291" y="208214"/>
                </a:lnTo>
                <a:lnTo>
                  <a:pt x="483722" y="191703"/>
                </a:lnTo>
                <a:lnTo>
                  <a:pt x="515572" y="172948"/>
                </a:lnTo>
                <a:lnTo>
                  <a:pt x="531508" y="162782"/>
                </a:lnTo>
                <a:lnTo>
                  <a:pt x="543209" y="156673"/>
                </a:lnTo>
                <a:lnTo>
                  <a:pt x="564373" y="144210"/>
                </a:lnTo>
                <a:lnTo>
                  <a:pt x="601919" y="126023"/>
                </a:lnTo>
                <a:lnTo>
                  <a:pt x="620646" y="116246"/>
                </a:lnTo>
                <a:lnTo>
                  <a:pt x="631065" y="111905"/>
                </a:lnTo>
                <a:lnTo>
                  <a:pt x="649513" y="102967"/>
                </a:lnTo>
                <a:lnTo>
                  <a:pt x="693215" y="86005"/>
                </a:lnTo>
                <a:lnTo>
                  <a:pt x="714604" y="77091"/>
                </a:lnTo>
                <a:lnTo>
                  <a:pt x="723421" y="74281"/>
                </a:lnTo>
                <a:lnTo>
                  <a:pt x="738755" y="68329"/>
                </a:lnTo>
                <a:lnTo>
                  <a:pt x="789290" y="53281"/>
                </a:lnTo>
                <a:lnTo>
                  <a:pt x="812911" y="45751"/>
                </a:lnTo>
                <a:lnTo>
                  <a:pt x="819840" y="44184"/>
                </a:lnTo>
                <a:lnTo>
                  <a:pt x="831714" y="40649"/>
                </a:lnTo>
                <a:lnTo>
                  <a:pt x="890408" y="28233"/>
                </a:lnTo>
                <a:lnTo>
                  <a:pt x="891488" y="27989"/>
                </a:lnTo>
                <a:lnTo>
                  <a:pt x="891488" y="26353"/>
                </a:lnTo>
                <a:lnTo>
                  <a:pt x="920414" y="21016"/>
                </a:lnTo>
                <a:lnTo>
                  <a:pt x="926275" y="20363"/>
                </a:lnTo>
                <a:lnTo>
                  <a:pt x="936223" y="18645"/>
                </a:lnTo>
                <a:lnTo>
                  <a:pt x="1022729" y="9605"/>
                </a:lnTo>
                <a:lnTo>
                  <a:pt x="1049789" y="6588"/>
                </a:lnTo>
                <a:lnTo>
                  <a:pt x="1052637" y="6482"/>
                </a:lnTo>
                <a:lnTo>
                  <a:pt x="1057795" y="5941"/>
                </a:lnTo>
                <a:lnTo>
                  <a:pt x="1117794" y="3821"/>
                </a:lnTo>
                <a:lnTo>
                  <a:pt x="1117794" y="1237"/>
                </a:lnTo>
                <a:lnTo>
                  <a:pt x="1173109" y="1237"/>
                </a:lnTo>
                <a:lnTo>
                  <a:pt x="1190915" y="1237"/>
                </a:lnTo>
                <a:lnTo>
                  <a:pt x="1191329" y="1237"/>
                </a:lnTo>
                <a:lnTo>
                  <a:pt x="1191331" y="12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93181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353958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753B3EF-D4B7-4A79-9D8C-1B88C55A45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715251" y="1104900"/>
            <a:ext cx="2181225" cy="4564380"/>
          </a:xfrm>
          <a:custGeom>
            <a:avLst/>
            <a:gdLst>
              <a:gd name="connsiteX0" fmla="*/ 194587 w 2181225"/>
              <a:gd name="connsiteY0" fmla="*/ 0 h 4564380"/>
              <a:gd name="connsiteX1" fmla="*/ 1986638 w 2181225"/>
              <a:gd name="connsiteY1" fmla="*/ 0 h 4564380"/>
              <a:gd name="connsiteX2" fmla="*/ 2181225 w 2181225"/>
              <a:gd name="connsiteY2" fmla="*/ 194587 h 4564380"/>
              <a:gd name="connsiteX3" fmla="*/ 2181225 w 2181225"/>
              <a:gd name="connsiteY3" fmla="*/ 4369793 h 4564380"/>
              <a:gd name="connsiteX4" fmla="*/ 1986638 w 2181225"/>
              <a:gd name="connsiteY4" fmla="*/ 4564380 h 4564380"/>
              <a:gd name="connsiteX5" fmla="*/ 194587 w 2181225"/>
              <a:gd name="connsiteY5" fmla="*/ 4564380 h 4564380"/>
              <a:gd name="connsiteX6" fmla="*/ 0 w 2181225"/>
              <a:gd name="connsiteY6" fmla="*/ 4369793 h 4564380"/>
              <a:gd name="connsiteX7" fmla="*/ 0 w 2181225"/>
              <a:gd name="connsiteY7" fmla="*/ 194587 h 4564380"/>
              <a:gd name="connsiteX8" fmla="*/ 194587 w 2181225"/>
              <a:gd name="connsiteY8" fmla="*/ 0 h 456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81225" h="4564380">
                <a:moveTo>
                  <a:pt x="194587" y="0"/>
                </a:moveTo>
                <a:lnTo>
                  <a:pt x="1986638" y="0"/>
                </a:lnTo>
                <a:cubicBezTo>
                  <a:pt x="2094105" y="0"/>
                  <a:pt x="2181225" y="87120"/>
                  <a:pt x="2181225" y="194587"/>
                </a:cubicBezTo>
                <a:lnTo>
                  <a:pt x="2181225" y="4369793"/>
                </a:lnTo>
                <a:cubicBezTo>
                  <a:pt x="2181225" y="4477260"/>
                  <a:pt x="2094105" y="4564380"/>
                  <a:pt x="1986638" y="4564380"/>
                </a:cubicBezTo>
                <a:lnTo>
                  <a:pt x="194587" y="4564380"/>
                </a:lnTo>
                <a:cubicBezTo>
                  <a:pt x="87120" y="4564380"/>
                  <a:pt x="0" y="4477260"/>
                  <a:pt x="0" y="4369793"/>
                </a:cubicBezTo>
                <a:lnTo>
                  <a:pt x="0" y="194587"/>
                </a:lnTo>
                <a:cubicBezTo>
                  <a:pt x="0" y="87120"/>
                  <a:pt x="87120" y="0"/>
                  <a:pt x="19458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1687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BA3D676-62DA-4803-8CB5-DF82E15887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4299520"/>
            <a:ext cx="12191999" cy="2570073"/>
          </a:xfrm>
          <a:custGeom>
            <a:avLst/>
            <a:gdLst>
              <a:gd name="connsiteX0" fmla="*/ 1126324 w 12191999"/>
              <a:gd name="connsiteY0" fmla="*/ 0 h 2570073"/>
              <a:gd name="connsiteX1" fmla="*/ 2454730 w 12191999"/>
              <a:gd name="connsiteY1" fmla="*/ 0 h 2570073"/>
              <a:gd name="connsiteX2" fmla="*/ 3481005 w 12191999"/>
              <a:gd name="connsiteY2" fmla="*/ 0 h 2570073"/>
              <a:gd name="connsiteX3" fmla="*/ 3540677 w 12191999"/>
              <a:gd name="connsiteY3" fmla="*/ 0 h 2570073"/>
              <a:gd name="connsiteX4" fmla="*/ 4809411 w 12191999"/>
              <a:gd name="connsiteY4" fmla="*/ 0 h 2570073"/>
              <a:gd name="connsiteX5" fmla="*/ 4869085 w 12191999"/>
              <a:gd name="connsiteY5" fmla="*/ 0 h 2570073"/>
              <a:gd name="connsiteX6" fmla="*/ 4869085 w 12191999"/>
              <a:gd name="connsiteY6" fmla="*/ 1332 h 2570073"/>
              <a:gd name="connsiteX7" fmla="*/ 5935733 w 12191999"/>
              <a:gd name="connsiteY7" fmla="*/ 1332 h 2570073"/>
              <a:gd name="connsiteX8" fmla="*/ 5935733 w 12191999"/>
              <a:gd name="connsiteY8" fmla="*/ 316755 h 2570073"/>
              <a:gd name="connsiteX9" fmla="*/ 5935733 w 12191999"/>
              <a:gd name="connsiteY9" fmla="*/ 1082676 h 2570073"/>
              <a:gd name="connsiteX10" fmla="*/ 5935736 w 12191999"/>
              <a:gd name="connsiteY10" fmla="*/ 1082676 h 2570073"/>
              <a:gd name="connsiteX11" fmla="*/ 5935736 w 12191999"/>
              <a:gd name="connsiteY11" fmla="*/ 1074434 h 2570073"/>
              <a:gd name="connsiteX12" fmla="*/ 5938273 w 12191999"/>
              <a:gd name="connsiteY12" fmla="*/ 1074434 h 2570073"/>
              <a:gd name="connsiteX13" fmla="*/ 5940855 w 12191999"/>
              <a:gd name="connsiteY13" fmla="*/ 1019920 h 2570073"/>
              <a:gd name="connsiteX14" fmla="*/ 5941326 w 12191999"/>
              <a:gd name="connsiteY14" fmla="*/ 1016613 h 2570073"/>
              <a:gd name="connsiteX15" fmla="*/ 5941548 w 12191999"/>
              <a:gd name="connsiteY15" fmla="*/ 1012207 h 2570073"/>
              <a:gd name="connsiteX16" fmla="*/ 5978689 w 12191999"/>
              <a:gd name="connsiteY16" fmla="*/ 818244 h 2570073"/>
              <a:gd name="connsiteX17" fmla="*/ 5980205 w 12191999"/>
              <a:gd name="connsiteY17" fmla="*/ 813682 h 2570073"/>
              <a:gd name="connsiteX18" fmla="*/ 5980394 w 12191999"/>
              <a:gd name="connsiteY18" fmla="*/ 812894 h 2570073"/>
              <a:gd name="connsiteX19" fmla="*/ 5983069 w 12191999"/>
              <a:gd name="connsiteY19" fmla="*/ 805066 h 2570073"/>
              <a:gd name="connsiteX20" fmla="*/ 6009331 w 12191999"/>
              <a:gd name="connsiteY20" fmla="*/ 726078 h 2570073"/>
              <a:gd name="connsiteX21" fmla="*/ 6012832 w 12191999"/>
              <a:gd name="connsiteY21" fmla="*/ 717971 h 2570073"/>
              <a:gd name="connsiteX22" fmla="*/ 6013885 w 12191999"/>
              <a:gd name="connsiteY22" fmla="*/ 714889 h 2570073"/>
              <a:gd name="connsiteX23" fmla="*/ 6021353 w 12191999"/>
              <a:gd name="connsiteY23" fmla="*/ 698231 h 2570073"/>
              <a:gd name="connsiteX24" fmla="*/ 6047512 w 12191999"/>
              <a:gd name="connsiteY24" fmla="*/ 637633 h 2570073"/>
              <a:gd name="connsiteX25" fmla="*/ 6053591 w 12191999"/>
              <a:gd name="connsiteY25" fmla="*/ 626323 h 2570073"/>
              <a:gd name="connsiteX26" fmla="*/ 6055899 w 12191999"/>
              <a:gd name="connsiteY26" fmla="*/ 621176 h 2570073"/>
              <a:gd name="connsiteX27" fmla="*/ 6066075 w 12191999"/>
              <a:gd name="connsiteY27" fmla="*/ 603101 h 2570073"/>
              <a:gd name="connsiteX28" fmla="*/ 6092846 w 12191999"/>
              <a:gd name="connsiteY28" fmla="*/ 553294 h 2570073"/>
              <a:gd name="connsiteX29" fmla="*/ 6102058 w 12191999"/>
              <a:gd name="connsiteY29" fmla="*/ 539178 h 2570073"/>
              <a:gd name="connsiteX30" fmla="*/ 6105971 w 12191999"/>
              <a:gd name="connsiteY30" fmla="*/ 532224 h 2570073"/>
              <a:gd name="connsiteX31" fmla="*/ 6117825 w 12191999"/>
              <a:gd name="connsiteY31" fmla="*/ 515013 h 2570073"/>
              <a:gd name="connsiteX32" fmla="*/ 6144948 w 12191999"/>
              <a:gd name="connsiteY32" fmla="*/ 473445 h 2570073"/>
              <a:gd name="connsiteX33" fmla="*/ 6157796 w 12191999"/>
              <a:gd name="connsiteY33" fmla="*/ 456974 h 2570073"/>
              <a:gd name="connsiteX34" fmla="*/ 6163633 w 12191999"/>
              <a:gd name="connsiteY34" fmla="*/ 448498 h 2570073"/>
              <a:gd name="connsiteX35" fmla="*/ 6176451 w 12191999"/>
              <a:gd name="connsiteY35" fmla="*/ 433062 h 2570073"/>
              <a:gd name="connsiteX36" fmla="*/ 6203435 w 12191999"/>
              <a:gd name="connsiteY36" fmla="*/ 398470 h 2570073"/>
              <a:gd name="connsiteX37" fmla="*/ 6220383 w 12191999"/>
              <a:gd name="connsiteY37" fmla="*/ 380147 h 2570073"/>
              <a:gd name="connsiteX38" fmla="*/ 6228423 w 12191999"/>
              <a:gd name="connsiteY38" fmla="*/ 370466 h 2570073"/>
              <a:gd name="connsiteX39" fmla="*/ 6241622 w 12191999"/>
              <a:gd name="connsiteY39" fmla="*/ 357186 h 2570073"/>
              <a:gd name="connsiteX40" fmla="*/ 6267921 w 12191999"/>
              <a:gd name="connsiteY40" fmla="*/ 328755 h 2570073"/>
              <a:gd name="connsiteX41" fmla="*/ 6289392 w 12191999"/>
              <a:gd name="connsiteY41" fmla="*/ 309131 h 2570073"/>
              <a:gd name="connsiteX42" fmla="*/ 6299866 w 12191999"/>
              <a:gd name="connsiteY42" fmla="*/ 298593 h 2570073"/>
              <a:gd name="connsiteX43" fmla="*/ 6312962 w 12191999"/>
              <a:gd name="connsiteY43" fmla="*/ 287587 h 2570073"/>
              <a:gd name="connsiteX44" fmla="*/ 6338022 w 12191999"/>
              <a:gd name="connsiteY44" fmla="*/ 264683 h 2570073"/>
              <a:gd name="connsiteX45" fmla="*/ 6364404 w 12191999"/>
              <a:gd name="connsiteY45" fmla="*/ 244356 h 2570073"/>
              <a:gd name="connsiteX46" fmla="*/ 6377503 w 12191999"/>
              <a:gd name="connsiteY46" fmla="*/ 233348 h 2570073"/>
              <a:gd name="connsiteX47" fmla="*/ 6390061 w 12191999"/>
              <a:gd name="connsiteY47" fmla="*/ 224587 h 2570073"/>
              <a:gd name="connsiteX48" fmla="*/ 6413357 w 12191999"/>
              <a:gd name="connsiteY48" fmla="*/ 206638 h 2570073"/>
              <a:gd name="connsiteX49" fmla="*/ 6445019 w 12191999"/>
              <a:gd name="connsiteY49" fmla="*/ 186248 h 2570073"/>
              <a:gd name="connsiteX50" fmla="*/ 6460863 w 12191999"/>
              <a:gd name="connsiteY50" fmla="*/ 175195 h 2570073"/>
              <a:gd name="connsiteX51" fmla="*/ 6472496 w 12191999"/>
              <a:gd name="connsiteY51" fmla="*/ 168554 h 2570073"/>
              <a:gd name="connsiteX52" fmla="*/ 6493537 w 12191999"/>
              <a:gd name="connsiteY52" fmla="*/ 155005 h 2570073"/>
              <a:gd name="connsiteX53" fmla="*/ 6530864 w 12191999"/>
              <a:gd name="connsiteY53" fmla="*/ 135232 h 2570073"/>
              <a:gd name="connsiteX54" fmla="*/ 6549482 w 12191999"/>
              <a:gd name="connsiteY54" fmla="*/ 124603 h 2570073"/>
              <a:gd name="connsiteX55" fmla="*/ 6559839 w 12191999"/>
              <a:gd name="connsiteY55" fmla="*/ 119882 h 2570073"/>
              <a:gd name="connsiteX56" fmla="*/ 6578180 w 12191999"/>
              <a:gd name="connsiteY56" fmla="*/ 110167 h 2570073"/>
              <a:gd name="connsiteX57" fmla="*/ 6621627 w 12191999"/>
              <a:gd name="connsiteY57" fmla="*/ 91726 h 2570073"/>
              <a:gd name="connsiteX58" fmla="*/ 6642892 w 12191999"/>
              <a:gd name="connsiteY58" fmla="*/ 82036 h 2570073"/>
              <a:gd name="connsiteX59" fmla="*/ 6651657 w 12191999"/>
              <a:gd name="connsiteY59" fmla="*/ 78980 h 2570073"/>
              <a:gd name="connsiteX60" fmla="*/ 6666902 w 12191999"/>
              <a:gd name="connsiteY60" fmla="*/ 72509 h 2570073"/>
              <a:gd name="connsiteX61" fmla="*/ 6717142 w 12191999"/>
              <a:gd name="connsiteY61" fmla="*/ 56150 h 2570073"/>
              <a:gd name="connsiteX62" fmla="*/ 6740626 w 12191999"/>
              <a:gd name="connsiteY62" fmla="*/ 47963 h 2570073"/>
              <a:gd name="connsiteX63" fmla="*/ 6747514 w 12191999"/>
              <a:gd name="connsiteY63" fmla="*/ 46260 h 2570073"/>
              <a:gd name="connsiteX64" fmla="*/ 6759319 w 12191999"/>
              <a:gd name="connsiteY64" fmla="*/ 42416 h 2570073"/>
              <a:gd name="connsiteX65" fmla="*/ 6817670 w 12191999"/>
              <a:gd name="connsiteY65" fmla="*/ 28918 h 2570073"/>
              <a:gd name="connsiteX66" fmla="*/ 6842218 w 12191999"/>
              <a:gd name="connsiteY66" fmla="*/ 22850 h 2570073"/>
              <a:gd name="connsiteX67" fmla="*/ 6846973 w 12191999"/>
              <a:gd name="connsiteY67" fmla="*/ 22139 h 2570073"/>
              <a:gd name="connsiteX68" fmla="*/ 6855046 w 12191999"/>
              <a:gd name="connsiteY68" fmla="*/ 20272 h 2570073"/>
              <a:gd name="connsiteX69" fmla="*/ 6925243 w 12191999"/>
              <a:gd name="connsiteY69" fmla="*/ 10445 h 2570073"/>
              <a:gd name="connsiteX70" fmla="*/ 6947201 w 12191999"/>
              <a:gd name="connsiteY70" fmla="*/ 7163 h 2570073"/>
              <a:gd name="connsiteX71" fmla="*/ 6949512 w 12191999"/>
              <a:gd name="connsiteY71" fmla="*/ 7047 h 2570073"/>
              <a:gd name="connsiteX72" fmla="*/ 6953699 w 12191999"/>
              <a:gd name="connsiteY72" fmla="*/ 6460 h 2570073"/>
              <a:gd name="connsiteX73" fmla="*/ 7002386 w 12191999"/>
              <a:gd name="connsiteY73" fmla="*/ 4155 h 2570073"/>
              <a:gd name="connsiteX74" fmla="*/ 7002386 w 12191999"/>
              <a:gd name="connsiteY74" fmla="*/ 1346 h 2570073"/>
              <a:gd name="connsiteX75" fmla="*/ 7047272 w 12191999"/>
              <a:gd name="connsiteY75" fmla="*/ 1346 h 2570073"/>
              <a:gd name="connsiteX76" fmla="*/ 7061721 w 12191999"/>
              <a:gd name="connsiteY76" fmla="*/ 1346 h 2570073"/>
              <a:gd name="connsiteX77" fmla="*/ 7062058 w 12191999"/>
              <a:gd name="connsiteY77" fmla="*/ 1346 h 2570073"/>
              <a:gd name="connsiteX78" fmla="*/ 7062058 w 12191999"/>
              <a:gd name="connsiteY78" fmla="*/ 0 h 2570073"/>
              <a:gd name="connsiteX79" fmla="*/ 9416738 w 12191999"/>
              <a:gd name="connsiteY79" fmla="*/ 0 h 2570073"/>
              <a:gd name="connsiteX80" fmla="*/ 9476411 w 12191999"/>
              <a:gd name="connsiteY80" fmla="*/ 0 h 2570073"/>
              <a:gd name="connsiteX81" fmla="*/ 9476411 w 12191999"/>
              <a:gd name="connsiteY81" fmla="*/ 1332 h 2570073"/>
              <a:gd name="connsiteX82" fmla="*/ 9621926 w 12191999"/>
              <a:gd name="connsiteY82" fmla="*/ 1332 h 2570073"/>
              <a:gd name="connsiteX83" fmla="*/ 9621926 w 12191999"/>
              <a:gd name="connsiteY83" fmla="*/ 1232695 h 2570073"/>
              <a:gd name="connsiteX84" fmla="*/ 9621927 w 12191999"/>
              <a:gd name="connsiteY84" fmla="*/ 1232695 h 2570073"/>
              <a:gd name="connsiteX85" fmla="*/ 9621927 w 12191999"/>
              <a:gd name="connsiteY85" fmla="*/ 1224666 h 2570073"/>
              <a:gd name="connsiteX86" fmla="*/ 9624974 w 12191999"/>
              <a:gd name="connsiteY86" fmla="*/ 1224666 h 2570073"/>
              <a:gd name="connsiteX87" fmla="*/ 9628560 w 12191999"/>
              <a:gd name="connsiteY87" fmla="*/ 1153649 h 2570073"/>
              <a:gd name="connsiteX88" fmla="*/ 10906963 w 12191999"/>
              <a:gd name="connsiteY88" fmla="*/ 0 h 2570073"/>
              <a:gd name="connsiteX89" fmla="*/ 12191999 w 12191999"/>
              <a:gd name="connsiteY89" fmla="*/ 1285037 h 2570073"/>
              <a:gd name="connsiteX90" fmla="*/ 11038350 w 12191999"/>
              <a:gd name="connsiteY90" fmla="*/ 2563438 h 2570073"/>
              <a:gd name="connsiteX91" fmla="*/ 10924212 w 12191999"/>
              <a:gd name="connsiteY91" fmla="*/ 2569202 h 2570073"/>
              <a:gd name="connsiteX92" fmla="*/ 10924212 w 12191999"/>
              <a:gd name="connsiteY92" fmla="*/ 2570073 h 2570073"/>
              <a:gd name="connsiteX93" fmla="*/ 10906963 w 12191999"/>
              <a:gd name="connsiteY93" fmla="*/ 2570073 h 2570073"/>
              <a:gd name="connsiteX94" fmla="*/ 10572749 w 12191999"/>
              <a:gd name="connsiteY94" fmla="*/ 2570073 h 2570073"/>
              <a:gd name="connsiteX95" fmla="*/ 9621927 w 12191999"/>
              <a:gd name="connsiteY95" fmla="*/ 2570073 h 2570073"/>
              <a:gd name="connsiteX96" fmla="*/ 9416738 w 12191999"/>
              <a:gd name="connsiteY96" fmla="*/ 2570073 h 2570073"/>
              <a:gd name="connsiteX97" fmla="*/ 7062058 w 12191999"/>
              <a:gd name="connsiteY97" fmla="*/ 2570073 h 2570073"/>
              <a:gd name="connsiteX98" fmla="*/ 7002386 w 12191999"/>
              <a:gd name="connsiteY98" fmla="*/ 2570073 h 2570073"/>
              <a:gd name="connsiteX99" fmla="*/ 6572250 w 12191999"/>
              <a:gd name="connsiteY99" fmla="*/ 2570073 h 2570073"/>
              <a:gd name="connsiteX100" fmla="*/ 6572250 w 12191999"/>
              <a:gd name="connsiteY100" fmla="*/ 2568741 h 2570073"/>
              <a:gd name="connsiteX101" fmla="*/ 5935736 w 12191999"/>
              <a:gd name="connsiteY101" fmla="*/ 2568741 h 2570073"/>
              <a:gd name="connsiteX102" fmla="*/ 5935736 w 12191999"/>
              <a:gd name="connsiteY102" fmla="*/ 2253318 h 2570073"/>
              <a:gd name="connsiteX103" fmla="*/ 5935736 w 12191999"/>
              <a:gd name="connsiteY103" fmla="*/ 1487489 h 2570073"/>
              <a:gd name="connsiteX104" fmla="*/ 5935733 w 12191999"/>
              <a:gd name="connsiteY104" fmla="*/ 1487489 h 2570073"/>
              <a:gd name="connsiteX105" fmla="*/ 5935733 w 12191999"/>
              <a:gd name="connsiteY105" fmla="*/ 1495639 h 2570073"/>
              <a:gd name="connsiteX106" fmla="*/ 5933197 w 12191999"/>
              <a:gd name="connsiteY106" fmla="*/ 1495639 h 2570073"/>
              <a:gd name="connsiteX107" fmla="*/ 5930617 w 12191999"/>
              <a:gd name="connsiteY107" fmla="*/ 1550153 h 2570073"/>
              <a:gd name="connsiteX108" fmla="*/ 5930144 w 12191999"/>
              <a:gd name="connsiteY108" fmla="*/ 1553460 h 2570073"/>
              <a:gd name="connsiteX109" fmla="*/ 5929922 w 12191999"/>
              <a:gd name="connsiteY109" fmla="*/ 1557867 h 2570073"/>
              <a:gd name="connsiteX110" fmla="*/ 5892783 w 12191999"/>
              <a:gd name="connsiteY110" fmla="*/ 1751829 h 2570073"/>
              <a:gd name="connsiteX111" fmla="*/ 5891264 w 12191999"/>
              <a:gd name="connsiteY111" fmla="*/ 1756392 h 2570073"/>
              <a:gd name="connsiteX112" fmla="*/ 5891075 w 12191999"/>
              <a:gd name="connsiteY112" fmla="*/ 1757179 h 2570073"/>
              <a:gd name="connsiteX113" fmla="*/ 5888401 w 12191999"/>
              <a:gd name="connsiteY113" fmla="*/ 1765008 h 2570073"/>
              <a:gd name="connsiteX114" fmla="*/ 5862138 w 12191999"/>
              <a:gd name="connsiteY114" fmla="*/ 1843996 h 2570073"/>
              <a:gd name="connsiteX115" fmla="*/ 5858638 w 12191999"/>
              <a:gd name="connsiteY115" fmla="*/ 1852103 h 2570073"/>
              <a:gd name="connsiteX116" fmla="*/ 5857585 w 12191999"/>
              <a:gd name="connsiteY116" fmla="*/ 1855185 h 2570073"/>
              <a:gd name="connsiteX117" fmla="*/ 5850118 w 12191999"/>
              <a:gd name="connsiteY117" fmla="*/ 1871843 h 2570073"/>
              <a:gd name="connsiteX118" fmla="*/ 5823958 w 12191999"/>
              <a:gd name="connsiteY118" fmla="*/ 1932441 h 2570073"/>
              <a:gd name="connsiteX119" fmla="*/ 5817879 w 12191999"/>
              <a:gd name="connsiteY119" fmla="*/ 1943751 h 2570073"/>
              <a:gd name="connsiteX120" fmla="*/ 5815571 w 12191999"/>
              <a:gd name="connsiteY120" fmla="*/ 1948897 h 2570073"/>
              <a:gd name="connsiteX121" fmla="*/ 5805397 w 12191999"/>
              <a:gd name="connsiteY121" fmla="*/ 1966972 h 2570073"/>
              <a:gd name="connsiteX122" fmla="*/ 5778624 w 12191999"/>
              <a:gd name="connsiteY122" fmla="*/ 2016780 h 2570073"/>
              <a:gd name="connsiteX123" fmla="*/ 5769414 w 12191999"/>
              <a:gd name="connsiteY123" fmla="*/ 2030895 h 2570073"/>
              <a:gd name="connsiteX124" fmla="*/ 5765499 w 12191999"/>
              <a:gd name="connsiteY124" fmla="*/ 2037850 h 2570073"/>
              <a:gd name="connsiteX125" fmla="*/ 5753645 w 12191999"/>
              <a:gd name="connsiteY125" fmla="*/ 2055061 h 2570073"/>
              <a:gd name="connsiteX126" fmla="*/ 5726522 w 12191999"/>
              <a:gd name="connsiteY126" fmla="*/ 2096629 h 2570073"/>
              <a:gd name="connsiteX127" fmla="*/ 5713674 w 12191999"/>
              <a:gd name="connsiteY127" fmla="*/ 2113099 h 2570073"/>
              <a:gd name="connsiteX128" fmla="*/ 5707835 w 12191999"/>
              <a:gd name="connsiteY128" fmla="*/ 2121576 h 2570073"/>
              <a:gd name="connsiteX129" fmla="*/ 5695021 w 12191999"/>
              <a:gd name="connsiteY129" fmla="*/ 2137011 h 2570073"/>
              <a:gd name="connsiteX130" fmla="*/ 5668037 w 12191999"/>
              <a:gd name="connsiteY130" fmla="*/ 2171603 h 2570073"/>
              <a:gd name="connsiteX131" fmla="*/ 5651087 w 12191999"/>
              <a:gd name="connsiteY131" fmla="*/ 2189926 h 2570073"/>
              <a:gd name="connsiteX132" fmla="*/ 5643049 w 12191999"/>
              <a:gd name="connsiteY132" fmla="*/ 2199608 h 2570073"/>
              <a:gd name="connsiteX133" fmla="*/ 5629848 w 12191999"/>
              <a:gd name="connsiteY133" fmla="*/ 2212888 h 2570073"/>
              <a:gd name="connsiteX134" fmla="*/ 5603549 w 12191999"/>
              <a:gd name="connsiteY134" fmla="*/ 2241318 h 2570073"/>
              <a:gd name="connsiteX135" fmla="*/ 5582080 w 12191999"/>
              <a:gd name="connsiteY135" fmla="*/ 2260943 h 2570073"/>
              <a:gd name="connsiteX136" fmla="*/ 5571603 w 12191999"/>
              <a:gd name="connsiteY136" fmla="*/ 2271480 h 2570073"/>
              <a:gd name="connsiteX137" fmla="*/ 5558507 w 12191999"/>
              <a:gd name="connsiteY137" fmla="*/ 2282487 h 2570073"/>
              <a:gd name="connsiteX138" fmla="*/ 5533446 w 12191999"/>
              <a:gd name="connsiteY138" fmla="*/ 2305391 h 2570073"/>
              <a:gd name="connsiteX139" fmla="*/ 5507067 w 12191999"/>
              <a:gd name="connsiteY139" fmla="*/ 2325718 h 2570073"/>
              <a:gd name="connsiteX140" fmla="*/ 5493967 w 12191999"/>
              <a:gd name="connsiteY140" fmla="*/ 2336726 h 2570073"/>
              <a:gd name="connsiteX141" fmla="*/ 5481408 w 12191999"/>
              <a:gd name="connsiteY141" fmla="*/ 2345487 h 2570073"/>
              <a:gd name="connsiteX142" fmla="*/ 5458115 w 12191999"/>
              <a:gd name="connsiteY142" fmla="*/ 2363435 h 2570073"/>
              <a:gd name="connsiteX143" fmla="*/ 5426451 w 12191999"/>
              <a:gd name="connsiteY143" fmla="*/ 2383826 h 2570073"/>
              <a:gd name="connsiteX144" fmla="*/ 5410606 w 12191999"/>
              <a:gd name="connsiteY144" fmla="*/ 2394879 h 2570073"/>
              <a:gd name="connsiteX145" fmla="*/ 5398974 w 12191999"/>
              <a:gd name="connsiteY145" fmla="*/ 2401520 h 2570073"/>
              <a:gd name="connsiteX146" fmla="*/ 5377932 w 12191999"/>
              <a:gd name="connsiteY146" fmla="*/ 2415069 h 2570073"/>
              <a:gd name="connsiteX147" fmla="*/ 5340606 w 12191999"/>
              <a:gd name="connsiteY147" fmla="*/ 2434842 h 2570073"/>
              <a:gd name="connsiteX148" fmla="*/ 5321988 w 12191999"/>
              <a:gd name="connsiteY148" fmla="*/ 2445471 h 2570073"/>
              <a:gd name="connsiteX149" fmla="*/ 5311630 w 12191999"/>
              <a:gd name="connsiteY149" fmla="*/ 2450191 h 2570073"/>
              <a:gd name="connsiteX150" fmla="*/ 5293290 w 12191999"/>
              <a:gd name="connsiteY150" fmla="*/ 2459906 h 2570073"/>
              <a:gd name="connsiteX151" fmla="*/ 5249844 w 12191999"/>
              <a:gd name="connsiteY151" fmla="*/ 2478347 h 2570073"/>
              <a:gd name="connsiteX152" fmla="*/ 5228578 w 12191999"/>
              <a:gd name="connsiteY152" fmla="*/ 2488037 h 2570073"/>
              <a:gd name="connsiteX153" fmla="*/ 5219811 w 12191999"/>
              <a:gd name="connsiteY153" fmla="*/ 2491093 h 2570073"/>
              <a:gd name="connsiteX154" fmla="*/ 5204566 w 12191999"/>
              <a:gd name="connsiteY154" fmla="*/ 2497564 h 2570073"/>
              <a:gd name="connsiteX155" fmla="*/ 5154327 w 12191999"/>
              <a:gd name="connsiteY155" fmla="*/ 2513923 h 2570073"/>
              <a:gd name="connsiteX156" fmla="*/ 5130844 w 12191999"/>
              <a:gd name="connsiteY156" fmla="*/ 2522110 h 2570073"/>
              <a:gd name="connsiteX157" fmla="*/ 5123955 w 12191999"/>
              <a:gd name="connsiteY157" fmla="*/ 2523813 h 2570073"/>
              <a:gd name="connsiteX158" fmla="*/ 5112150 w 12191999"/>
              <a:gd name="connsiteY158" fmla="*/ 2527657 h 2570073"/>
              <a:gd name="connsiteX159" fmla="*/ 5053798 w 12191999"/>
              <a:gd name="connsiteY159" fmla="*/ 2541156 h 2570073"/>
              <a:gd name="connsiteX160" fmla="*/ 5029252 w 12191999"/>
              <a:gd name="connsiteY160" fmla="*/ 2547223 h 2570073"/>
              <a:gd name="connsiteX161" fmla="*/ 5024497 w 12191999"/>
              <a:gd name="connsiteY161" fmla="*/ 2547934 h 2570073"/>
              <a:gd name="connsiteX162" fmla="*/ 5016423 w 12191999"/>
              <a:gd name="connsiteY162" fmla="*/ 2549802 h 2570073"/>
              <a:gd name="connsiteX163" fmla="*/ 4946226 w 12191999"/>
              <a:gd name="connsiteY163" fmla="*/ 2559629 h 2570073"/>
              <a:gd name="connsiteX164" fmla="*/ 4924267 w 12191999"/>
              <a:gd name="connsiteY164" fmla="*/ 2562910 h 2570073"/>
              <a:gd name="connsiteX165" fmla="*/ 4921958 w 12191999"/>
              <a:gd name="connsiteY165" fmla="*/ 2563027 h 2570073"/>
              <a:gd name="connsiteX166" fmla="*/ 4917769 w 12191999"/>
              <a:gd name="connsiteY166" fmla="*/ 2563613 h 2570073"/>
              <a:gd name="connsiteX167" fmla="*/ 4869085 w 12191999"/>
              <a:gd name="connsiteY167" fmla="*/ 2565918 h 2570073"/>
              <a:gd name="connsiteX168" fmla="*/ 4869085 w 12191999"/>
              <a:gd name="connsiteY168" fmla="*/ 2568728 h 2570073"/>
              <a:gd name="connsiteX169" fmla="*/ 4824196 w 12191999"/>
              <a:gd name="connsiteY169" fmla="*/ 2568728 h 2570073"/>
              <a:gd name="connsiteX170" fmla="*/ 4809749 w 12191999"/>
              <a:gd name="connsiteY170" fmla="*/ 2568728 h 2570073"/>
              <a:gd name="connsiteX171" fmla="*/ 4809411 w 12191999"/>
              <a:gd name="connsiteY171" fmla="*/ 2568728 h 2570073"/>
              <a:gd name="connsiteX172" fmla="*/ 4809411 w 12191999"/>
              <a:gd name="connsiteY172" fmla="*/ 2570073 h 2570073"/>
              <a:gd name="connsiteX173" fmla="*/ 3481005 w 12191999"/>
              <a:gd name="connsiteY173" fmla="*/ 2570073 h 2570073"/>
              <a:gd name="connsiteX174" fmla="*/ 2454730 w 12191999"/>
              <a:gd name="connsiteY174" fmla="*/ 2570073 h 2570073"/>
              <a:gd name="connsiteX175" fmla="*/ 2395058 w 12191999"/>
              <a:gd name="connsiteY175" fmla="*/ 2570073 h 2570073"/>
              <a:gd name="connsiteX176" fmla="*/ 1126324 w 12191999"/>
              <a:gd name="connsiteY176" fmla="*/ 2570073 h 2570073"/>
              <a:gd name="connsiteX177" fmla="*/ 1066652 w 12191999"/>
              <a:gd name="connsiteY177" fmla="*/ 2570073 h 2570073"/>
              <a:gd name="connsiteX178" fmla="*/ 1066652 w 12191999"/>
              <a:gd name="connsiteY178" fmla="*/ 2568741 h 2570073"/>
              <a:gd name="connsiteX179" fmla="*/ 1 w 12191999"/>
              <a:gd name="connsiteY179" fmla="*/ 2568741 h 2570073"/>
              <a:gd name="connsiteX180" fmla="*/ 1 w 12191999"/>
              <a:gd name="connsiteY180" fmla="*/ 2253318 h 2570073"/>
              <a:gd name="connsiteX181" fmla="*/ 1 w 12191999"/>
              <a:gd name="connsiteY181" fmla="*/ 1443429 h 2570073"/>
              <a:gd name="connsiteX182" fmla="*/ 1 w 12191999"/>
              <a:gd name="connsiteY182" fmla="*/ 1442766 h 2570073"/>
              <a:gd name="connsiteX183" fmla="*/ 0 w 12191999"/>
              <a:gd name="connsiteY183" fmla="*/ 1442755 h 2570073"/>
              <a:gd name="connsiteX184" fmla="*/ 1 w 12191999"/>
              <a:gd name="connsiteY184" fmla="*/ 1442744 h 2570073"/>
              <a:gd name="connsiteX185" fmla="*/ 1 w 12191999"/>
              <a:gd name="connsiteY185" fmla="*/ 1389857 h 2570073"/>
              <a:gd name="connsiteX186" fmla="*/ 1 w 12191999"/>
              <a:gd name="connsiteY186" fmla="*/ 1128007 h 2570073"/>
              <a:gd name="connsiteX187" fmla="*/ 1 w 12191999"/>
              <a:gd name="connsiteY187" fmla="*/ 1127343 h 2570073"/>
              <a:gd name="connsiteX188" fmla="*/ 0 w 12191999"/>
              <a:gd name="connsiteY188" fmla="*/ 1127332 h 2570073"/>
              <a:gd name="connsiteX189" fmla="*/ 1 w 12191999"/>
              <a:gd name="connsiteY189" fmla="*/ 1127322 h 2570073"/>
              <a:gd name="connsiteX190" fmla="*/ 1 w 12191999"/>
              <a:gd name="connsiteY190" fmla="*/ 1074434 h 2570073"/>
              <a:gd name="connsiteX191" fmla="*/ 2538 w 12191999"/>
              <a:gd name="connsiteY191" fmla="*/ 1074434 h 2570073"/>
              <a:gd name="connsiteX192" fmla="*/ 5119 w 12191999"/>
              <a:gd name="connsiteY192" fmla="*/ 1019920 h 2570073"/>
              <a:gd name="connsiteX193" fmla="*/ 5592 w 12191999"/>
              <a:gd name="connsiteY193" fmla="*/ 1016613 h 2570073"/>
              <a:gd name="connsiteX194" fmla="*/ 5814 w 12191999"/>
              <a:gd name="connsiteY194" fmla="*/ 1012207 h 2570073"/>
              <a:gd name="connsiteX195" fmla="*/ 42953 w 12191999"/>
              <a:gd name="connsiteY195" fmla="*/ 818244 h 2570073"/>
              <a:gd name="connsiteX196" fmla="*/ 44470 w 12191999"/>
              <a:gd name="connsiteY196" fmla="*/ 813682 h 2570073"/>
              <a:gd name="connsiteX197" fmla="*/ 44660 w 12191999"/>
              <a:gd name="connsiteY197" fmla="*/ 812894 h 2570073"/>
              <a:gd name="connsiteX198" fmla="*/ 47335 w 12191999"/>
              <a:gd name="connsiteY198" fmla="*/ 805066 h 2570073"/>
              <a:gd name="connsiteX199" fmla="*/ 73597 w 12191999"/>
              <a:gd name="connsiteY199" fmla="*/ 726078 h 2570073"/>
              <a:gd name="connsiteX200" fmla="*/ 77097 w 12191999"/>
              <a:gd name="connsiteY200" fmla="*/ 717971 h 2570073"/>
              <a:gd name="connsiteX201" fmla="*/ 78150 w 12191999"/>
              <a:gd name="connsiteY201" fmla="*/ 714889 h 2570073"/>
              <a:gd name="connsiteX202" fmla="*/ 85619 w 12191999"/>
              <a:gd name="connsiteY202" fmla="*/ 698231 h 2570073"/>
              <a:gd name="connsiteX203" fmla="*/ 111778 w 12191999"/>
              <a:gd name="connsiteY203" fmla="*/ 637633 h 2570073"/>
              <a:gd name="connsiteX204" fmla="*/ 117857 w 12191999"/>
              <a:gd name="connsiteY204" fmla="*/ 626323 h 2570073"/>
              <a:gd name="connsiteX205" fmla="*/ 120165 w 12191999"/>
              <a:gd name="connsiteY205" fmla="*/ 621176 h 2570073"/>
              <a:gd name="connsiteX206" fmla="*/ 130339 w 12191999"/>
              <a:gd name="connsiteY206" fmla="*/ 603101 h 2570073"/>
              <a:gd name="connsiteX207" fmla="*/ 157112 w 12191999"/>
              <a:gd name="connsiteY207" fmla="*/ 553294 h 2570073"/>
              <a:gd name="connsiteX208" fmla="*/ 166322 w 12191999"/>
              <a:gd name="connsiteY208" fmla="*/ 539178 h 2570073"/>
              <a:gd name="connsiteX209" fmla="*/ 170237 w 12191999"/>
              <a:gd name="connsiteY209" fmla="*/ 532224 h 2570073"/>
              <a:gd name="connsiteX210" fmla="*/ 182090 w 12191999"/>
              <a:gd name="connsiteY210" fmla="*/ 515013 h 2570073"/>
              <a:gd name="connsiteX211" fmla="*/ 209214 w 12191999"/>
              <a:gd name="connsiteY211" fmla="*/ 473445 h 2570073"/>
              <a:gd name="connsiteX212" fmla="*/ 222062 w 12191999"/>
              <a:gd name="connsiteY212" fmla="*/ 456974 h 2570073"/>
              <a:gd name="connsiteX213" fmla="*/ 227900 w 12191999"/>
              <a:gd name="connsiteY213" fmla="*/ 448498 h 2570073"/>
              <a:gd name="connsiteX214" fmla="*/ 240715 w 12191999"/>
              <a:gd name="connsiteY214" fmla="*/ 433062 h 2570073"/>
              <a:gd name="connsiteX215" fmla="*/ 267700 w 12191999"/>
              <a:gd name="connsiteY215" fmla="*/ 398470 h 2570073"/>
              <a:gd name="connsiteX216" fmla="*/ 284649 w 12191999"/>
              <a:gd name="connsiteY216" fmla="*/ 380147 h 2570073"/>
              <a:gd name="connsiteX217" fmla="*/ 292687 w 12191999"/>
              <a:gd name="connsiteY217" fmla="*/ 370466 h 2570073"/>
              <a:gd name="connsiteX218" fmla="*/ 305888 w 12191999"/>
              <a:gd name="connsiteY218" fmla="*/ 357186 h 2570073"/>
              <a:gd name="connsiteX219" fmla="*/ 332186 w 12191999"/>
              <a:gd name="connsiteY219" fmla="*/ 328755 h 2570073"/>
              <a:gd name="connsiteX220" fmla="*/ 353657 w 12191999"/>
              <a:gd name="connsiteY220" fmla="*/ 309131 h 2570073"/>
              <a:gd name="connsiteX221" fmla="*/ 364133 w 12191999"/>
              <a:gd name="connsiteY221" fmla="*/ 298593 h 2570073"/>
              <a:gd name="connsiteX222" fmla="*/ 377228 w 12191999"/>
              <a:gd name="connsiteY222" fmla="*/ 287587 h 2570073"/>
              <a:gd name="connsiteX223" fmla="*/ 402288 w 12191999"/>
              <a:gd name="connsiteY223" fmla="*/ 264683 h 2570073"/>
              <a:gd name="connsiteX224" fmla="*/ 428670 w 12191999"/>
              <a:gd name="connsiteY224" fmla="*/ 244356 h 2570073"/>
              <a:gd name="connsiteX225" fmla="*/ 441769 w 12191999"/>
              <a:gd name="connsiteY225" fmla="*/ 233348 h 2570073"/>
              <a:gd name="connsiteX226" fmla="*/ 454327 w 12191999"/>
              <a:gd name="connsiteY226" fmla="*/ 224587 h 2570073"/>
              <a:gd name="connsiteX227" fmla="*/ 477622 w 12191999"/>
              <a:gd name="connsiteY227" fmla="*/ 206638 h 2570073"/>
              <a:gd name="connsiteX228" fmla="*/ 509285 w 12191999"/>
              <a:gd name="connsiteY228" fmla="*/ 186248 h 2570073"/>
              <a:gd name="connsiteX229" fmla="*/ 525129 w 12191999"/>
              <a:gd name="connsiteY229" fmla="*/ 175195 h 2570073"/>
              <a:gd name="connsiteX230" fmla="*/ 536762 w 12191999"/>
              <a:gd name="connsiteY230" fmla="*/ 168554 h 2570073"/>
              <a:gd name="connsiteX231" fmla="*/ 557803 w 12191999"/>
              <a:gd name="connsiteY231" fmla="*/ 155005 h 2570073"/>
              <a:gd name="connsiteX232" fmla="*/ 595129 w 12191999"/>
              <a:gd name="connsiteY232" fmla="*/ 135232 h 2570073"/>
              <a:gd name="connsiteX233" fmla="*/ 613748 w 12191999"/>
              <a:gd name="connsiteY233" fmla="*/ 124603 h 2570073"/>
              <a:gd name="connsiteX234" fmla="*/ 624106 w 12191999"/>
              <a:gd name="connsiteY234" fmla="*/ 119882 h 2570073"/>
              <a:gd name="connsiteX235" fmla="*/ 642446 w 12191999"/>
              <a:gd name="connsiteY235" fmla="*/ 110167 h 2570073"/>
              <a:gd name="connsiteX236" fmla="*/ 685893 w 12191999"/>
              <a:gd name="connsiteY236" fmla="*/ 91726 h 2570073"/>
              <a:gd name="connsiteX237" fmla="*/ 707157 w 12191999"/>
              <a:gd name="connsiteY237" fmla="*/ 82036 h 2570073"/>
              <a:gd name="connsiteX238" fmla="*/ 715923 w 12191999"/>
              <a:gd name="connsiteY238" fmla="*/ 78980 h 2570073"/>
              <a:gd name="connsiteX239" fmla="*/ 731168 w 12191999"/>
              <a:gd name="connsiteY239" fmla="*/ 72509 h 2570073"/>
              <a:gd name="connsiteX240" fmla="*/ 781408 w 12191999"/>
              <a:gd name="connsiteY240" fmla="*/ 56150 h 2570073"/>
              <a:gd name="connsiteX241" fmla="*/ 804892 w 12191999"/>
              <a:gd name="connsiteY241" fmla="*/ 47963 h 2570073"/>
              <a:gd name="connsiteX242" fmla="*/ 811780 w 12191999"/>
              <a:gd name="connsiteY242" fmla="*/ 46260 h 2570073"/>
              <a:gd name="connsiteX243" fmla="*/ 823585 w 12191999"/>
              <a:gd name="connsiteY243" fmla="*/ 42416 h 2570073"/>
              <a:gd name="connsiteX244" fmla="*/ 881937 w 12191999"/>
              <a:gd name="connsiteY244" fmla="*/ 28918 h 2570073"/>
              <a:gd name="connsiteX245" fmla="*/ 906484 w 12191999"/>
              <a:gd name="connsiteY245" fmla="*/ 22850 h 2570073"/>
              <a:gd name="connsiteX246" fmla="*/ 911239 w 12191999"/>
              <a:gd name="connsiteY246" fmla="*/ 22139 h 2570073"/>
              <a:gd name="connsiteX247" fmla="*/ 919312 w 12191999"/>
              <a:gd name="connsiteY247" fmla="*/ 20272 h 2570073"/>
              <a:gd name="connsiteX248" fmla="*/ 989509 w 12191999"/>
              <a:gd name="connsiteY248" fmla="*/ 10445 h 2570073"/>
              <a:gd name="connsiteX249" fmla="*/ 1011467 w 12191999"/>
              <a:gd name="connsiteY249" fmla="*/ 7163 h 2570073"/>
              <a:gd name="connsiteX250" fmla="*/ 1013779 w 12191999"/>
              <a:gd name="connsiteY250" fmla="*/ 7047 h 2570073"/>
              <a:gd name="connsiteX251" fmla="*/ 1017965 w 12191999"/>
              <a:gd name="connsiteY251" fmla="*/ 6460 h 2570073"/>
              <a:gd name="connsiteX252" fmla="*/ 1066652 w 12191999"/>
              <a:gd name="connsiteY252" fmla="*/ 4155 h 2570073"/>
              <a:gd name="connsiteX253" fmla="*/ 1066652 w 12191999"/>
              <a:gd name="connsiteY253" fmla="*/ 1346 h 2570073"/>
              <a:gd name="connsiteX254" fmla="*/ 1111538 w 12191999"/>
              <a:gd name="connsiteY254" fmla="*/ 1346 h 2570073"/>
              <a:gd name="connsiteX255" fmla="*/ 1125987 w 12191999"/>
              <a:gd name="connsiteY255" fmla="*/ 1346 h 2570073"/>
              <a:gd name="connsiteX256" fmla="*/ 1126324 w 12191999"/>
              <a:gd name="connsiteY256" fmla="*/ 1346 h 2570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</a:cxnLst>
            <a:rect l="l" t="t" r="r" b="b"/>
            <a:pathLst>
              <a:path w="12191999" h="2570073">
                <a:moveTo>
                  <a:pt x="1126324" y="0"/>
                </a:moveTo>
                <a:lnTo>
                  <a:pt x="2454730" y="0"/>
                </a:lnTo>
                <a:lnTo>
                  <a:pt x="3481005" y="0"/>
                </a:lnTo>
                <a:lnTo>
                  <a:pt x="3540677" y="0"/>
                </a:lnTo>
                <a:lnTo>
                  <a:pt x="4809411" y="0"/>
                </a:lnTo>
                <a:lnTo>
                  <a:pt x="4869085" y="0"/>
                </a:lnTo>
                <a:lnTo>
                  <a:pt x="4869085" y="1332"/>
                </a:lnTo>
                <a:lnTo>
                  <a:pt x="5935733" y="1332"/>
                </a:lnTo>
                <a:lnTo>
                  <a:pt x="5935733" y="316755"/>
                </a:lnTo>
                <a:lnTo>
                  <a:pt x="5935733" y="1082676"/>
                </a:lnTo>
                <a:lnTo>
                  <a:pt x="5935736" y="1082676"/>
                </a:lnTo>
                <a:lnTo>
                  <a:pt x="5935736" y="1074434"/>
                </a:lnTo>
                <a:lnTo>
                  <a:pt x="5938273" y="1074434"/>
                </a:lnTo>
                <a:lnTo>
                  <a:pt x="5940855" y="1019920"/>
                </a:lnTo>
                <a:lnTo>
                  <a:pt x="5941326" y="1016613"/>
                </a:lnTo>
                <a:lnTo>
                  <a:pt x="5941548" y="1012207"/>
                </a:lnTo>
                <a:cubicBezTo>
                  <a:pt x="5948307" y="945669"/>
                  <a:pt x="5960857" y="880845"/>
                  <a:pt x="5978689" y="818244"/>
                </a:cubicBezTo>
                <a:lnTo>
                  <a:pt x="5980205" y="813682"/>
                </a:lnTo>
                <a:lnTo>
                  <a:pt x="5980394" y="812894"/>
                </a:lnTo>
                <a:lnTo>
                  <a:pt x="5983069" y="805066"/>
                </a:lnTo>
                <a:lnTo>
                  <a:pt x="6009331" y="726078"/>
                </a:lnTo>
                <a:lnTo>
                  <a:pt x="6012832" y="717971"/>
                </a:lnTo>
                <a:lnTo>
                  <a:pt x="6013885" y="714889"/>
                </a:lnTo>
                <a:lnTo>
                  <a:pt x="6021353" y="698231"/>
                </a:lnTo>
                <a:lnTo>
                  <a:pt x="6047512" y="637633"/>
                </a:lnTo>
                <a:lnTo>
                  <a:pt x="6053591" y="626323"/>
                </a:lnTo>
                <a:lnTo>
                  <a:pt x="6055899" y="621176"/>
                </a:lnTo>
                <a:lnTo>
                  <a:pt x="6066075" y="603101"/>
                </a:lnTo>
                <a:lnTo>
                  <a:pt x="6092846" y="553294"/>
                </a:lnTo>
                <a:lnTo>
                  <a:pt x="6102058" y="539178"/>
                </a:lnTo>
                <a:lnTo>
                  <a:pt x="6105971" y="532224"/>
                </a:lnTo>
                <a:lnTo>
                  <a:pt x="6117825" y="515013"/>
                </a:lnTo>
                <a:lnTo>
                  <a:pt x="6144948" y="473445"/>
                </a:lnTo>
                <a:lnTo>
                  <a:pt x="6157796" y="456974"/>
                </a:lnTo>
                <a:lnTo>
                  <a:pt x="6163633" y="448498"/>
                </a:lnTo>
                <a:lnTo>
                  <a:pt x="6176451" y="433062"/>
                </a:lnTo>
                <a:lnTo>
                  <a:pt x="6203435" y="398470"/>
                </a:lnTo>
                <a:lnTo>
                  <a:pt x="6220383" y="380147"/>
                </a:lnTo>
                <a:lnTo>
                  <a:pt x="6228423" y="370466"/>
                </a:lnTo>
                <a:lnTo>
                  <a:pt x="6241622" y="357186"/>
                </a:lnTo>
                <a:lnTo>
                  <a:pt x="6267921" y="328755"/>
                </a:lnTo>
                <a:lnTo>
                  <a:pt x="6289392" y="309131"/>
                </a:lnTo>
                <a:lnTo>
                  <a:pt x="6299866" y="298593"/>
                </a:lnTo>
                <a:lnTo>
                  <a:pt x="6312962" y="287587"/>
                </a:lnTo>
                <a:lnTo>
                  <a:pt x="6338022" y="264683"/>
                </a:lnTo>
                <a:lnTo>
                  <a:pt x="6364404" y="244356"/>
                </a:lnTo>
                <a:lnTo>
                  <a:pt x="6377503" y="233348"/>
                </a:lnTo>
                <a:lnTo>
                  <a:pt x="6390061" y="224587"/>
                </a:lnTo>
                <a:lnTo>
                  <a:pt x="6413357" y="206638"/>
                </a:lnTo>
                <a:lnTo>
                  <a:pt x="6445019" y="186248"/>
                </a:lnTo>
                <a:lnTo>
                  <a:pt x="6460863" y="175195"/>
                </a:lnTo>
                <a:lnTo>
                  <a:pt x="6472496" y="168554"/>
                </a:lnTo>
                <a:lnTo>
                  <a:pt x="6493537" y="155005"/>
                </a:lnTo>
                <a:lnTo>
                  <a:pt x="6530864" y="135232"/>
                </a:lnTo>
                <a:lnTo>
                  <a:pt x="6549482" y="124603"/>
                </a:lnTo>
                <a:lnTo>
                  <a:pt x="6559839" y="119882"/>
                </a:lnTo>
                <a:lnTo>
                  <a:pt x="6578180" y="110167"/>
                </a:lnTo>
                <a:lnTo>
                  <a:pt x="6621627" y="91726"/>
                </a:lnTo>
                <a:lnTo>
                  <a:pt x="6642892" y="82036"/>
                </a:lnTo>
                <a:lnTo>
                  <a:pt x="6651657" y="78980"/>
                </a:lnTo>
                <a:lnTo>
                  <a:pt x="6666902" y="72509"/>
                </a:lnTo>
                <a:lnTo>
                  <a:pt x="6717142" y="56150"/>
                </a:lnTo>
                <a:lnTo>
                  <a:pt x="6740626" y="47963"/>
                </a:lnTo>
                <a:lnTo>
                  <a:pt x="6747514" y="46260"/>
                </a:lnTo>
                <a:lnTo>
                  <a:pt x="6759319" y="42416"/>
                </a:lnTo>
                <a:lnTo>
                  <a:pt x="6817670" y="28918"/>
                </a:lnTo>
                <a:lnTo>
                  <a:pt x="6842218" y="22850"/>
                </a:lnTo>
                <a:lnTo>
                  <a:pt x="6846973" y="22139"/>
                </a:lnTo>
                <a:lnTo>
                  <a:pt x="6855046" y="20272"/>
                </a:lnTo>
                <a:lnTo>
                  <a:pt x="6925243" y="10445"/>
                </a:lnTo>
                <a:lnTo>
                  <a:pt x="6947201" y="7163"/>
                </a:lnTo>
                <a:lnTo>
                  <a:pt x="6949512" y="7047"/>
                </a:lnTo>
                <a:lnTo>
                  <a:pt x="6953699" y="6460"/>
                </a:lnTo>
                <a:lnTo>
                  <a:pt x="7002386" y="4155"/>
                </a:lnTo>
                <a:lnTo>
                  <a:pt x="7002386" y="1346"/>
                </a:lnTo>
                <a:lnTo>
                  <a:pt x="7047272" y="1346"/>
                </a:lnTo>
                <a:lnTo>
                  <a:pt x="7061721" y="1346"/>
                </a:lnTo>
                <a:lnTo>
                  <a:pt x="7062058" y="1346"/>
                </a:lnTo>
                <a:lnTo>
                  <a:pt x="7062058" y="0"/>
                </a:lnTo>
                <a:lnTo>
                  <a:pt x="9416738" y="0"/>
                </a:lnTo>
                <a:lnTo>
                  <a:pt x="9476411" y="0"/>
                </a:lnTo>
                <a:lnTo>
                  <a:pt x="9476411" y="1332"/>
                </a:lnTo>
                <a:lnTo>
                  <a:pt x="9621926" y="1332"/>
                </a:lnTo>
                <a:lnTo>
                  <a:pt x="9621926" y="1232695"/>
                </a:lnTo>
                <a:lnTo>
                  <a:pt x="9621927" y="1232695"/>
                </a:lnTo>
                <a:lnTo>
                  <a:pt x="9621927" y="1224666"/>
                </a:lnTo>
                <a:lnTo>
                  <a:pt x="9624974" y="1224666"/>
                </a:lnTo>
                <a:lnTo>
                  <a:pt x="9628560" y="1153649"/>
                </a:lnTo>
                <a:cubicBezTo>
                  <a:pt x="9694367" y="505662"/>
                  <a:pt x="10241613" y="0"/>
                  <a:pt x="10906963" y="0"/>
                </a:cubicBezTo>
                <a:cubicBezTo>
                  <a:pt x="11616669" y="0"/>
                  <a:pt x="12191999" y="575331"/>
                  <a:pt x="12191999" y="1285037"/>
                </a:cubicBezTo>
                <a:cubicBezTo>
                  <a:pt x="12191999" y="1950386"/>
                  <a:pt x="11686337" y="2497632"/>
                  <a:pt x="11038350" y="2563438"/>
                </a:cubicBezTo>
                <a:lnTo>
                  <a:pt x="10924212" y="2569202"/>
                </a:lnTo>
                <a:lnTo>
                  <a:pt x="10924212" y="2570073"/>
                </a:lnTo>
                <a:lnTo>
                  <a:pt x="10906963" y="2570073"/>
                </a:lnTo>
                <a:lnTo>
                  <a:pt x="10572749" y="2570073"/>
                </a:lnTo>
                <a:lnTo>
                  <a:pt x="9621927" y="2570073"/>
                </a:lnTo>
                <a:lnTo>
                  <a:pt x="9416738" y="2570073"/>
                </a:lnTo>
                <a:lnTo>
                  <a:pt x="7062058" y="2570073"/>
                </a:lnTo>
                <a:lnTo>
                  <a:pt x="7002386" y="2570073"/>
                </a:lnTo>
                <a:lnTo>
                  <a:pt x="6572250" y="2570073"/>
                </a:lnTo>
                <a:lnTo>
                  <a:pt x="6572250" y="2568741"/>
                </a:lnTo>
                <a:lnTo>
                  <a:pt x="5935736" y="2568741"/>
                </a:lnTo>
                <a:lnTo>
                  <a:pt x="5935736" y="2253318"/>
                </a:lnTo>
                <a:lnTo>
                  <a:pt x="5935736" y="1487489"/>
                </a:lnTo>
                <a:lnTo>
                  <a:pt x="5935733" y="1487489"/>
                </a:lnTo>
                <a:lnTo>
                  <a:pt x="5935733" y="1495639"/>
                </a:lnTo>
                <a:lnTo>
                  <a:pt x="5933197" y="1495639"/>
                </a:lnTo>
                <a:lnTo>
                  <a:pt x="5930617" y="1550153"/>
                </a:lnTo>
                <a:lnTo>
                  <a:pt x="5930144" y="1553460"/>
                </a:lnTo>
                <a:lnTo>
                  <a:pt x="5929922" y="1557867"/>
                </a:lnTo>
                <a:cubicBezTo>
                  <a:pt x="5923165" y="1624404"/>
                  <a:pt x="5910612" y="1689229"/>
                  <a:pt x="5892783" y="1751829"/>
                </a:cubicBezTo>
                <a:lnTo>
                  <a:pt x="5891264" y="1756392"/>
                </a:lnTo>
                <a:lnTo>
                  <a:pt x="5891075" y="1757179"/>
                </a:lnTo>
                <a:lnTo>
                  <a:pt x="5888401" y="1765008"/>
                </a:lnTo>
                <a:lnTo>
                  <a:pt x="5862138" y="1843996"/>
                </a:lnTo>
                <a:lnTo>
                  <a:pt x="5858638" y="1852103"/>
                </a:lnTo>
                <a:lnTo>
                  <a:pt x="5857585" y="1855185"/>
                </a:lnTo>
                <a:lnTo>
                  <a:pt x="5850118" y="1871843"/>
                </a:lnTo>
                <a:lnTo>
                  <a:pt x="5823958" y="1932441"/>
                </a:lnTo>
                <a:lnTo>
                  <a:pt x="5817879" y="1943751"/>
                </a:lnTo>
                <a:lnTo>
                  <a:pt x="5815571" y="1948897"/>
                </a:lnTo>
                <a:lnTo>
                  <a:pt x="5805397" y="1966972"/>
                </a:lnTo>
                <a:lnTo>
                  <a:pt x="5778624" y="2016780"/>
                </a:lnTo>
                <a:lnTo>
                  <a:pt x="5769414" y="2030895"/>
                </a:lnTo>
                <a:lnTo>
                  <a:pt x="5765499" y="2037850"/>
                </a:lnTo>
                <a:lnTo>
                  <a:pt x="5753645" y="2055061"/>
                </a:lnTo>
                <a:lnTo>
                  <a:pt x="5726522" y="2096629"/>
                </a:lnTo>
                <a:lnTo>
                  <a:pt x="5713674" y="2113099"/>
                </a:lnTo>
                <a:lnTo>
                  <a:pt x="5707835" y="2121576"/>
                </a:lnTo>
                <a:lnTo>
                  <a:pt x="5695021" y="2137011"/>
                </a:lnTo>
                <a:lnTo>
                  <a:pt x="5668037" y="2171603"/>
                </a:lnTo>
                <a:lnTo>
                  <a:pt x="5651087" y="2189926"/>
                </a:lnTo>
                <a:lnTo>
                  <a:pt x="5643049" y="2199608"/>
                </a:lnTo>
                <a:lnTo>
                  <a:pt x="5629848" y="2212888"/>
                </a:lnTo>
                <a:lnTo>
                  <a:pt x="5603549" y="2241318"/>
                </a:lnTo>
                <a:lnTo>
                  <a:pt x="5582080" y="2260943"/>
                </a:lnTo>
                <a:lnTo>
                  <a:pt x="5571603" y="2271480"/>
                </a:lnTo>
                <a:lnTo>
                  <a:pt x="5558507" y="2282487"/>
                </a:lnTo>
                <a:lnTo>
                  <a:pt x="5533446" y="2305391"/>
                </a:lnTo>
                <a:lnTo>
                  <a:pt x="5507067" y="2325718"/>
                </a:lnTo>
                <a:lnTo>
                  <a:pt x="5493967" y="2336726"/>
                </a:lnTo>
                <a:lnTo>
                  <a:pt x="5481408" y="2345487"/>
                </a:lnTo>
                <a:lnTo>
                  <a:pt x="5458115" y="2363435"/>
                </a:lnTo>
                <a:lnTo>
                  <a:pt x="5426451" y="2383826"/>
                </a:lnTo>
                <a:lnTo>
                  <a:pt x="5410606" y="2394879"/>
                </a:lnTo>
                <a:lnTo>
                  <a:pt x="5398974" y="2401520"/>
                </a:lnTo>
                <a:lnTo>
                  <a:pt x="5377932" y="2415069"/>
                </a:lnTo>
                <a:lnTo>
                  <a:pt x="5340606" y="2434842"/>
                </a:lnTo>
                <a:lnTo>
                  <a:pt x="5321988" y="2445471"/>
                </a:lnTo>
                <a:lnTo>
                  <a:pt x="5311630" y="2450191"/>
                </a:lnTo>
                <a:lnTo>
                  <a:pt x="5293290" y="2459906"/>
                </a:lnTo>
                <a:lnTo>
                  <a:pt x="5249844" y="2478347"/>
                </a:lnTo>
                <a:lnTo>
                  <a:pt x="5228578" y="2488037"/>
                </a:lnTo>
                <a:lnTo>
                  <a:pt x="5219811" y="2491093"/>
                </a:lnTo>
                <a:lnTo>
                  <a:pt x="5204566" y="2497564"/>
                </a:lnTo>
                <a:lnTo>
                  <a:pt x="5154327" y="2513923"/>
                </a:lnTo>
                <a:lnTo>
                  <a:pt x="5130844" y="2522110"/>
                </a:lnTo>
                <a:lnTo>
                  <a:pt x="5123955" y="2523813"/>
                </a:lnTo>
                <a:lnTo>
                  <a:pt x="5112150" y="2527657"/>
                </a:lnTo>
                <a:lnTo>
                  <a:pt x="5053798" y="2541156"/>
                </a:lnTo>
                <a:lnTo>
                  <a:pt x="5029252" y="2547223"/>
                </a:lnTo>
                <a:lnTo>
                  <a:pt x="5024497" y="2547934"/>
                </a:lnTo>
                <a:lnTo>
                  <a:pt x="5016423" y="2549802"/>
                </a:lnTo>
                <a:lnTo>
                  <a:pt x="4946226" y="2559629"/>
                </a:lnTo>
                <a:lnTo>
                  <a:pt x="4924267" y="2562910"/>
                </a:lnTo>
                <a:lnTo>
                  <a:pt x="4921958" y="2563027"/>
                </a:lnTo>
                <a:lnTo>
                  <a:pt x="4917769" y="2563613"/>
                </a:lnTo>
                <a:lnTo>
                  <a:pt x="4869085" y="2565918"/>
                </a:lnTo>
                <a:lnTo>
                  <a:pt x="4869085" y="2568728"/>
                </a:lnTo>
                <a:lnTo>
                  <a:pt x="4824196" y="2568728"/>
                </a:lnTo>
                <a:lnTo>
                  <a:pt x="4809749" y="2568728"/>
                </a:lnTo>
                <a:lnTo>
                  <a:pt x="4809411" y="2568728"/>
                </a:lnTo>
                <a:lnTo>
                  <a:pt x="4809411" y="2570073"/>
                </a:lnTo>
                <a:lnTo>
                  <a:pt x="3481005" y="2570073"/>
                </a:lnTo>
                <a:lnTo>
                  <a:pt x="2454730" y="2570073"/>
                </a:lnTo>
                <a:lnTo>
                  <a:pt x="2395058" y="2570073"/>
                </a:lnTo>
                <a:lnTo>
                  <a:pt x="1126324" y="2570073"/>
                </a:lnTo>
                <a:lnTo>
                  <a:pt x="1066652" y="2570073"/>
                </a:lnTo>
                <a:lnTo>
                  <a:pt x="1066652" y="2568741"/>
                </a:lnTo>
                <a:lnTo>
                  <a:pt x="1" y="2568741"/>
                </a:lnTo>
                <a:lnTo>
                  <a:pt x="1" y="2253318"/>
                </a:lnTo>
                <a:lnTo>
                  <a:pt x="1" y="1443429"/>
                </a:lnTo>
                <a:lnTo>
                  <a:pt x="1" y="1442766"/>
                </a:lnTo>
                <a:lnTo>
                  <a:pt x="0" y="1442755"/>
                </a:lnTo>
                <a:lnTo>
                  <a:pt x="1" y="1442744"/>
                </a:lnTo>
                <a:lnTo>
                  <a:pt x="1" y="1389857"/>
                </a:lnTo>
                <a:lnTo>
                  <a:pt x="1" y="1128007"/>
                </a:lnTo>
                <a:lnTo>
                  <a:pt x="1" y="1127343"/>
                </a:lnTo>
                <a:lnTo>
                  <a:pt x="0" y="1127332"/>
                </a:lnTo>
                <a:lnTo>
                  <a:pt x="1" y="1127322"/>
                </a:lnTo>
                <a:lnTo>
                  <a:pt x="1" y="1074434"/>
                </a:lnTo>
                <a:lnTo>
                  <a:pt x="2538" y="1074434"/>
                </a:lnTo>
                <a:lnTo>
                  <a:pt x="5119" y="1019920"/>
                </a:lnTo>
                <a:lnTo>
                  <a:pt x="5592" y="1016613"/>
                </a:lnTo>
                <a:lnTo>
                  <a:pt x="5814" y="1012207"/>
                </a:lnTo>
                <a:cubicBezTo>
                  <a:pt x="12572" y="945669"/>
                  <a:pt x="25122" y="880845"/>
                  <a:pt x="42953" y="818244"/>
                </a:cubicBezTo>
                <a:lnTo>
                  <a:pt x="44470" y="813682"/>
                </a:lnTo>
                <a:lnTo>
                  <a:pt x="44660" y="812894"/>
                </a:lnTo>
                <a:lnTo>
                  <a:pt x="47335" y="805066"/>
                </a:lnTo>
                <a:lnTo>
                  <a:pt x="73597" y="726078"/>
                </a:lnTo>
                <a:lnTo>
                  <a:pt x="77097" y="717971"/>
                </a:lnTo>
                <a:lnTo>
                  <a:pt x="78150" y="714889"/>
                </a:lnTo>
                <a:lnTo>
                  <a:pt x="85619" y="698231"/>
                </a:lnTo>
                <a:lnTo>
                  <a:pt x="111778" y="637633"/>
                </a:lnTo>
                <a:lnTo>
                  <a:pt x="117857" y="626323"/>
                </a:lnTo>
                <a:lnTo>
                  <a:pt x="120165" y="621176"/>
                </a:lnTo>
                <a:lnTo>
                  <a:pt x="130339" y="603101"/>
                </a:lnTo>
                <a:lnTo>
                  <a:pt x="157112" y="553294"/>
                </a:lnTo>
                <a:lnTo>
                  <a:pt x="166322" y="539178"/>
                </a:lnTo>
                <a:lnTo>
                  <a:pt x="170237" y="532224"/>
                </a:lnTo>
                <a:lnTo>
                  <a:pt x="182090" y="515013"/>
                </a:lnTo>
                <a:lnTo>
                  <a:pt x="209214" y="473445"/>
                </a:lnTo>
                <a:lnTo>
                  <a:pt x="222062" y="456974"/>
                </a:lnTo>
                <a:lnTo>
                  <a:pt x="227900" y="448498"/>
                </a:lnTo>
                <a:lnTo>
                  <a:pt x="240715" y="433062"/>
                </a:lnTo>
                <a:lnTo>
                  <a:pt x="267700" y="398470"/>
                </a:lnTo>
                <a:lnTo>
                  <a:pt x="284649" y="380147"/>
                </a:lnTo>
                <a:lnTo>
                  <a:pt x="292687" y="370466"/>
                </a:lnTo>
                <a:lnTo>
                  <a:pt x="305888" y="357186"/>
                </a:lnTo>
                <a:lnTo>
                  <a:pt x="332186" y="328755"/>
                </a:lnTo>
                <a:lnTo>
                  <a:pt x="353657" y="309131"/>
                </a:lnTo>
                <a:lnTo>
                  <a:pt x="364133" y="298593"/>
                </a:lnTo>
                <a:lnTo>
                  <a:pt x="377228" y="287587"/>
                </a:lnTo>
                <a:lnTo>
                  <a:pt x="402288" y="264683"/>
                </a:lnTo>
                <a:lnTo>
                  <a:pt x="428670" y="244356"/>
                </a:lnTo>
                <a:lnTo>
                  <a:pt x="441769" y="233348"/>
                </a:lnTo>
                <a:lnTo>
                  <a:pt x="454327" y="224587"/>
                </a:lnTo>
                <a:lnTo>
                  <a:pt x="477622" y="206638"/>
                </a:lnTo>
                <a:lnTo>
                  <a:pt x="509285" y="186248"/>
                </a:lnTo>
                <a:lnTo>
                  <a:pt x="525129" y="175195"/>
                </a:lnTo>
                <a:lnTo>
                  <a:pt x="536762" y="168554"/>
                </a:lnTo>
                <a:lnTo>
                  <a:pt x="557803" y="155005"/>
                </a:lnTo>
                <a:lnTo>
                  <a:pt x="595129" y="135232"/>
                </a:lnTo>
                <a:lnTo>
                  <a:pt x="613748" y="124603"/>
                </a:lnTo>
                <a:lnTo>
                  <a:pt x="624106" y="119882"/>
                </a:lnTo>
                <a:lnTo>
                  <a:pt x="642446" y="110167"/>
                </a:lnTo>
                <a:lnTo>
                  <a:pt x="685893" y="91726"/>
                </a:lnTo>
                <a:lnTo>
                  <a:pt x="707157" y="82036"/>
                </a:lnTo>
                <a:lnTo>
                  <a:pt x="715923" y="78980"/>
                </a:lnTo>
                <a:lnTo>
                  <a:pt x="731168" y="72509"/>
                </a:lnTo>
                <a:lnTo>
                  <a:pt x="781408" y="56150"/>
                </a:lnTo>
                <a:lnTo>
                  <a:pt x="804892" y="47963"/>
                </a:lnTo>
                <a:lnTo>
                  <a:pt x="811780" y="46260"/>
                </a:lnTo>
                <a:lnTo>
                  <a:pt x="823585" y="42416"/>
                </a:lnTo>
                <a:lnTo>
                  <a:pt x="881937" y="28918"/>
                </a:lnTo>
                <a:lnTo>
                  <a:pt x="906484" y="22850"/>
                </a:lnTo>
                <a:lnTo>
                  <a:pt x="911239" y="22139"/>
                </a:lnTo>
                <a:lnTo>
                  <a:pt x="919312" y="20272"/>
                </a:lnTo>
                <a:lnTo>
                  <a:pt x="989509" y="10445"/>
                </a:lnTo>
                <a:lnTo>
                  <a:pt x="1011467" y="7163"/>
                </a:lnTo>
                <a:lnTo>
                  <a:pt x="1013779" y="7047"/>
                </a:lnTo>
                <a:lnTo>
                  <a:pt x="1017965" y="6460"/>
                </a:lnTo>
                <a:lnTo>
                  <a:pt x="1066652" y="4155"/>
                </a:lnTo>
                <a:lnTo>
                  <a:pt x="1066652" y="1346"/>
                </a:lnTo>
                <a:lnTo>
                  <a:pt x="1111538" y="1346"/>
                </a:lnTo>
                <a:lnTo>
                  <a:pt x="1125987" y="1346"/>
                </a:lnTo>
                <a:lnTo>
                  <a:pt x="1126324" y="134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8048031-9346-4EA8-B0BB-6AEC838796E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38739" y="1831975"/>
            <a:ext cx="2014092" cy="4290612"/>
          </a:xfrm>
          <a:custGeom>
            <a:avLst/>
            <a:gdLst>
              <a:gd name="connsiteX0" fmla="*/ 249969 w 2014092"/>
              <a:gd name="connsiteY0" fmla="*/ 0 h 4290612"/>
              <a:gd name="connsiteX1" fmla="*/ 1764123 w 2014092"/>
              <a:gd name="connsiteY1" fmla="*/ 0 h 4290612"/>
              <a:gd name="connsiteX2" fmla="*/ 2014092 w 2014092"/>
              <a:gd name="connsiteY2" fmla="*/ 249969 h 4290612"/>
              <a:gd name="connsiteX3" fmla="*/ 2014092 w 2014092"/>
              <a:gd name="connsiteY3" fmla="*/ 4040643 h 4290612"/>
              <a:gd name="connsiteX4" fmla="*/ 1764123 w 2014092"/>
              <a:gd name="connsiteY4" fmla="*/ 4290612 h 4290612"/>
              <a:gd name="connsiteX5" fmla="*/ 249969 w 2014092"/>
              <a:gd name="connsiteY5" fmla="*/ 4290612 h 4290612"/>
              <a:gd name="connsiteX6" fmla="*/ 0 w 2014092"/>
              <a:gd name="connsiteY6" fmla="*/ 4040643 h 4290612"/>
              <a:gd name="connsiteX7" fmla="*/ 0 w 2014092"/>
              <a:gd name="connsiteY7" fmla="*/ 249969 h 4290612"/>
              <a:gd name="connsiteX8" fmla="*/ 249969 w 2014092"/>
              <a:gd name="connsiteY8" fmla="*/ 0 h 4290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4092" h="4290612">
                <a:moveTo>
                  <a:pt x="249969" y="0"/>
                </a:moveTo>
                <a:lnTo>
                  <a:pt x="1764123" y="0"/>
                </a:lnTo>
                <a:cubicBezTo>
                  <a:pt x="1902177" y="0"/>
                  <a:pt x="2014092" y="111915"/>
                  <a:pt x="2014092" y="249969"/>
                </a:cubicBezTo>
                <a:lnTo>
                  <a:pt x="2014092" y="4040643"/>
                </a:lnTo>
                <a:cubicBezTo>
                  <a:pt x="2014092" y="4178697"/>
                  <a:pt x="1902177" y="4290612"/>
                  <a:pt x="1764123" y="4290612"/>
                </a:cubicBezTo>
                <a:lnTo>
                  <a:pt x="249969" y="4290612"/>
                </a:lnTo>
                <a:cubicBezTo>
                  <a:pt x="111915" y="4290612"/>
                  <a:pt x="0" y="4178697"/>
                  <a:pt x="0" y="4040643"/>
                </a:cubicBezTo>
                <a:lnTo>
                  <a:pt x="0" y="249969"/>
                </a:lnTo>
                <a:cubicBezTo>
                  <a:pt x="0" y="111915"/>
                  <a:pt x="111915" y="0"/>
                  <a:pt x="24996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35488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D4529F-0E75-46EC-990D-BB8F30B0F6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85028" y="1473975"/>
            <a:ext cx="4206345" cy="3113438"/>
          </a:xfrm>
          <a:custGeom>
            <a:avLst/>
            <a:gdLst>
              <a:gd name="connsiteX0" fmla="*/ 4184082 w 4206345"/>
              <a:gd name="connsiteY0" fmla="*/ 32 h 3113438"/>
              <a:gd name="connsiteX1" fmla="*/ 4194531 w 4206345"/>
              <a:gd name="connsiteY1" fmla="*/ 7640 h 3113438"/>
              <a:gd name="connsiteX2" fmla="*/ 4196160 w 4206345"/>
              <a:gd name="connsiteY2" fmla="*/ 32415 h 3113438"/>
              <a:gd name="connsiteX3" fmla="*/ 4194083 w 4206345"/>
              <a:gd name="connsiteY3" fmla="*/ 139544 h 3113438"/>
              <a:gd name="connsiteX4" fmla="*/ 4195412 w 4206345"/>
              <a:gd name="connsiteY4" fmla="*/ 500244 h 3113438"/>
              <a:gd name="connsiteX5" fmla="*/ 4196383 w 4206345"/>
              <a:gd name="connsiteY5" fmla="*/ 830282 h 3113438"/>
              <a:gd name="connsiteX6" fmla="*/ 4198700 w 4206345"/>
              <a:gd name="connsiteY6" fmla="*/ 1256440 h 3113438"/>
              <a:gd name="connsiteX7" fmla="*/ 4199834 w 4206345"/>
              <a:gd name="connsiteY7" fmla="*/ 1588956 h 3113438"/>
              <a:gd name="connsiteX8" fmla="*/ 4201553 w 4206345"/>
              <a:gd name="connsiteY8" fmla="*/ 2006030 h 3113438"/>
              <a:gd name="connsiteX9" fmla="*/ 4202688 w 4206345"/>
              <a:gd name="connsiteY9" fmla="*/ 2338544 h 3113438"/>
              <a:gd name="connsiteX10" fmla="*/ 4204732 w 4206345"/>
              <a:gd name="connsiteY10" fmla="*/ 2823610 h 3113438"/>
              <a:gd name="connsiteX11" fmla="*/ 4205390 w 4206345"/>
              <a:gd name="connsiteY11" fmla="*/ 3073216 h 3113438"/>
              <a:gd name="connsiteX12" fmla="*/ 4206345 w 4206345"/>
              <a:gd name="connsiteY12" fmla="*/ 3112964 h 3113438"/>
              <a:gd name="connsiteX13" fmla="*/ 4177344 w 4206345"/>
              <a:gd name="connsiteY13" fmla="*/ 3113212 h 3113438"/>
              <a:gd name="connsiteX14" fmla="*/ 3761930 w 4206345"/>
              <a:gd name="connsiteY14" fmla="*/ 3112324 h 3113438"/>
              <a:gd name="connsiteX15" fmla="*/ 3302549 w 4206345"/>
              <a:gd name="connsiteY15" fmla="*/ 3111008 h 3113438"/>
              <a:gd name="connsiteX16" fmla="*/ 2936882 w 4206345"/>
              <a:gd name="connsiteY16" fmla="*/ 3110164 h 3113438"/>
              <a:gd name="connsiteX17" fmla="*/ 2573692 w 4206345"/>
              <a:gd name="connsiteY17" fmla="*/ 3109160 h 3113438"/>
              <a:gd name="connsiteX18" fmla="*/ 2257825 w 4206345"/>
              <a:gd name="connsiteY18" fmla="*/ 3109192 h 3113438"/>
              <a:gd name="connsiteX19" fmla="*/ 1941850 w 4206345"/>
              <a:gd name="connsiteY19" fmla="*/ 3107572 h 3113438"/>
              <a:gd name="connsiteX20" fmla="*/ 1674078 w 4206345"/>
              <a:gd name="connsiteY20" fmla="*/ 3107758 h 3113438"/>
              <a:gd name="connsiteX21" fmla="*/ 1358104 w 4206345"/>
              <a:gd name="connsiteY21" fmla="*/ 3106138 h 3113438"/>
              <a:gd name="connsiteX22" fmla="*/ 1090332 w 4206345"/>
              <a:gd name="connsiteY22" fmla="*/ 3106324 h 3113438"/>
              <a:gd name="connsiteX23" fmla="*/ 824103 w 4206345"/>
              <a:gd name="connsiteY23" fmla="*/ 3104752 h 3113438"/>
              <a:gd name="connsiteX24" fmla="*/ 606078 w 4206345"/>
              <a:gd name="connsiteY24" fmla="*/ 3104984 h 3113438"/>
              <a:gd name="connsiteX25" fmla="*/ 338198 w 4206345"/>
              <a:gd name="connsiteY25" fmla="*/ 3103520 h 3113438"/>
              <a:gd name="connsiteX26" fmla="*/ 120172 w 4206345"/>
              <a:gd name="connsiteY26" fmla="*/ 3103754 h 3113438"/>
              <a:gd name="connsiteX27" fmla="*/ 869 w 4206345"/>
              <a:gd name="connsiteY27" fmla="*/ 3104962 h 3113438"/>
              <a:gd name="connsiteX28" fmla="*/ 0 w 4206345"/>
              <a:gd name="connsiteY28" fmla="*/ 3091748 h 3113438"/>
              <a:gd name="connsiteX29" fmla="*/ 8104 w 4206345"/>
              <a:gd name="connsiteY29" fmla="*/ 3013252 h 3113438"/>
              <a:gd name="connsiteX30" fmla="*/ 36449 w 4206345"/>
              <a:gd name="connsiteY30" fmla="*/ 2637330 h 3113438"/>
              <a:gd name="connsiteX31" fmla="*/ 61296 w 4206345"/>
              <a:gd name="connsiteY31" fmla="*/ 2296472 h 3113438"/>
              <a:gd name="connsiteX32" fmla="*/ 87978 w 4206345"/>
              <a:gd name="connsiteY32" fmla="*/ 1933100 h 3113438"/>
              <a:gd name="connsiteX33" fmla="*/ 112423 w 4206345"/>
              <a:gd name="connsiteY33" fmla="*/ 1611344 h 3113438"/>
              <a:gd name="connsiteX34" fmla="*/ 137878 w 4206345"/>
              <a:gd name="connsiteY34" fmla="*/ 1267128 h 3113438"/>
              <a:gd name="connsiteX35" fmla="*/ 158259 w 4206345"/>
              <a:gd name="connsiteY35" fmla="*/ 997064 h 3113438"/>
              <a:gd name="connsiteX36" fmla="*/ 168516 w 4206345"/>
              <a:gd name="connsiteY36" fmla="*/ 850414 h 3113438"/>
              <a:gd name="connsiteX37" fmla="*/ 171275 w 4206345"/>
              <a:gd name="connsiteY37" fmla="*/ 841938 h 3113438"/>
              <a:gd name="connsiteX38" fmla="*/ 406788 w 4206345"/>
              <a:gd name="connsiteY38" fmla="*/ 792452 h 3113438"/>
              <a:gd name="connsiteX39" fmla="*/ 648851 w 4206345"/>
              <a:gd name="connsiteY39" fmla="*/ 741700 h 3113438"/>
              <a:gd name="connsiteX40" fmla="*/ 915461 w 4206345"/>
              <a:gd name="connsiteY40" fmla="*/ 686020 h 3113438"/>
              <a:gd name="connsiteX41" fmla="*/ 1180421 w 4206345"/>
              <a:gd name="connsiteY41" fmla="*/ 630450 h 3113438"/>
              <a:gd name="connsiteX42" fmla="*/ 1445380 w 4206345"/>
              <a:gd name="connsiteY42" fmla="*/ 574878 h 3113438"/>
              <a:gd name="connsiteX43" fmla="*/ 1734886 w 4206345"/>
              <a:gd name="connsiteY43" fmla="*/ 514374 h 3113438"/>
              <a:gd name="connsiteX44" fmla="*/ 2046463 w 4206345"/>
              <a:gd name="connsiteY44" fmla="*/ 449102 h 3113438"/>
              <a:gd name="connsiteX45" fmla="*/ 2380992 w 4206345"/>
              <a:gd name="connsiteY45" fmla="*/ 379834 h 3113438"/>
              <a:gd name="connsiteX46" fmla="*/ 2716237 w 4206345"/>
              <a:gd name="connsiteY46" fmla="*/ 308860 h 3113438"/>
              <a:gd name="connsiteX47" fmla="*/ 3097329 w 4206345"/>
              <a:gd name="connsiteY47" fmla="*/ 229065 h 3113438"/>
              <a:gd name="connsiteX48" fmla="*/ 3502144 w 4206345"/>
              <a:gd name="connsiteY48" fmla="*/ 144392 h 3113438"/>
              <a:gd name="connsiteX49" fmla="*/ 3953575 w 4206345"/>
              <a:gd name="connsiteY49" fmla="*/ 50021 h 3113438"/>
              <a:gd name="connsiteX50" fmla="*/ 4171916 w 4206345"/>
              <a:gd name="connsiteY50" fmla="*/ 4149 h 3113438"/>
              <a:gd name="connsiteX51" fmla="*/ 4184082 w 4206345"/>
              <a:gd name="connsiteY51" fmla="*/ 32 h 3113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4206345" h="3113438">
                <a:moveTo>
                  <a:pt x="4184082" y="32"/>
                </a:moveTo>
                <a:cubicBezTo>
                  <a:pt x="4189089" y="533"/>
                  <a:pt x="4195530" y="-2379"/>
                  <a:pt x="4194531" y="7640"/>
                </a:cubicBezTo>
                <a:cubicBezTo>
                  <a:pt x="4193422" y="16006"/>
                  <a:pt x="4195617" y="24156"/>
                  <a:pt x="4196160" y="32415"/>
                </a:cubicBezTo>
                <a:cubicBezTo>
                  <a:pt x="4195192" y="68142"/>
                  <a:pt x="4194224" y="103870"/>
                  <a:pt x="4194083" y="139544"/>
                </a:cubicBezTo>
                <a:cubicBezTo>
                  <a:pt x="4193700" y="259832"/>
                  <a:pt x="4194969" y="380012"/>
                  <a:pt x="4195412" y="500244"/>
                </a:cubicBezTo>
                <a:cubicBezTo>
                  <a:pt x="4196029" y="610514"/>
                  <a:pt x="4196592" y="719958"/>
                  <a:pt x="4196383" y="830282"/>
                </a:cubicBezTo>
                <a:cubicBezTo>
                  <a:pt x="4197413" y="972040"/>
                  <a:pt x="4197671" y="1114682"/>
                  <a:pt x="4198700" y="1256440"/>
                </a:cubicBezTo>
                <a:cubicBezTo>
                  <a:pt x="4198546" y="1367592"/>
                  <a:pt x="4199217" y="1478688"/>
                  <a:pt x="4199834" y="1588956"/>
                </a:cubicBezTo>
                <a:cubicBezTo>
                  <a:pt x="4200700" y="1728238"/>
                  <a:pt x="4200742" y="1867576"/>
                  <a:pt x="4201553" y="2006030"/>
                </a:cubicBezTo>
                <a:cubicBezTo>
                  <a:pt x="4202225" y="2117126"/>
                  <a:pt x="4202896" y="2228222"/>
                  <a:pt x="4202688" y="2338544"/>
                </a:cubicBezTo>
                <a:cubicBezTo>
                  <a:pt x="4203369" y="2500232"/>
                  <a:pt x="4204050" y="2661922"/>
                  <a:pt x="4204732" y="2823610"/>
                </a:cubicBezTo>
                <a:cubicBezTo>
                  <a:pt x="4205262" y="2907344"/>
                  <a:pt x="4205739" y="2990252"/>
                  <a:pt x="4205390" y="3073216"/>
                </a:cubicBezTo>
                <a:cubicBezTo>
                  <a:pt x="4206258" y="3086428"/>
                  <a:pt x="4206247" y="3098872"/>
                  <a:pt x="4206345" y="3112964"/>
                </a:cubicBezTo>
                <a:cubicBezTo>
                  <a:pt x="4195613" y="3113670"/>
                  <a:pt x="4186478" y="3113440"/>
                  <a:pt x="4177344" y="3113212"/>
                </a:cubicBezTo>
                <a:cubicBezTo>
                  <a:pt x="4038891" y="3113192"/>
                  <a:pt x="3900438" y="3113170"/>
                  <a:pt x="3761930" y="3112324"/>
                </a:cubicBezTo>
                <a:cubicBezTo>
                  <a:pt x="3609390" y="3112398"/>
                  <a:pt x="3455970" y="3111704"/>
                  <a:pt x="3302549" y="3111008"/>
                </a:cubicBezTo>
                <a:cubicBezTo>
                  <a:pt x="3180660" y="3110726"/>
                  <a:pt x="3058826" y="3111272"/>
                  <a:pt x="2936882" y="3110164"/>
                </a:cubicBezTo>
                <a:cubicBezTo>
                  <a:pt x="2815819" y="3109832"/>
                  <a:pt x="2694755" y="3109496"/>
                  <a:pt x="2573692" y="3109160"/>
                </a:cubicBezTo>
                <a:cubicBezTo>
                  <a:pt x="2468366" y="3108620"/>
                  <a:pt x="2363096" y="3108906"/>
                  <a:pt x="2257825" y="3109192"/>
                </a:cubicBezTo>
                <a:cubicBezTo>
                  <a:pt x="2152500" y="3108652"/>
                  <a:pt x="2047175" y="3108112"/>
                  <a:pt x="1941850" y="3107572"/>
                </a:cubicBezTo>
                <a:cubicBezTo>
                  <a:pt x="1852317" y="3107652"/>
                  <a:pt x="1762786" y="3107732"/>
                  <a:pt x="1674078" y="3107758"/>
                </a:cubicBezTo>
                <a:cubicBezTo>
                  <a:pt x="1568753" y="3107216"/>
                  <a:pt x="1463428" y="3106678"/>
                  <a:pt x="1358104" y="3106138"/>
                </a:cubicBezTo>
                <a:cubicBezTo>
                  <a:pt x="1268571" y="3106218"/>
                  <a:pt x="1179864" y="3106244"/>
                  <a:pt x="1090332" y="3106324"/>
                </a:cubicBezTo>
                <a:cubicBezTo>
                  <a:pt x="1001571" y="3105524"/>
                  <a:pt x="912809" y="3104724"/>
                  <a:pt x="824103" y="3104752"/>
                </a:cubicBezTo>
                <a:cubicBezTo>
                  <a:pt x="751134" y="3104572"/>
                  <a:pt x="679046" y="3105164"/>
                  <a:pt x="606078" y="3104984"/>
                </a:cubicBezTo>
                <a:cubicBezTo>
                  <a:pt x="516491" y="3104240"/>
                  <a:pt x="427730" y="3103440"/>
                  <a:pt x="338198" y="3103520"/>
                </a:cubicBezTo>
                <a:cubicBezTo>
                  <a:pt x="265229" y="3103340"/>
                  <a:pt x="193087" y="3103108"/>
                  <a:pt x="120172" y="3103754"/>
                </a:cubicBezTo>
                <a:cubicBezTo>
                  <a:pt x="80387" y="3103880"/>
                  <a:pt x="40655" y="3104836"/>
                  <a:pt x="869" y="3104962"/>
                </a:cubicBezTo>
                <a:cubicBezTo>
                  <a:pt x="597" y="3100832"/>
                  <a:pt x="272" y="3095878"/>
                  <a:pt x="0" y="3091748"/>
                </a:cubicBezTo>
                <a:cubicBezTo>
                  <a:pt x="3270" y="3065822"/>
                  <a:pt x="5660" y="3039124"/>
                  <a:pt x="8104" y="3013252"/>
                </a:cubicBezTo>
                <a:cubicBezTo>
                  <a:pt x="17296" y="2888238"/>
                  <a:pt x="27312" y="2763170"/>
                  <a:pt x="36449" y="2637330"/>
                </a:cubicBezTo>
                <a:cubicBezTo>
                  <a:pt x="44749" y="2523984"/>
                  <a:pt x="53050" y="2410640"/>
                  <a:pt x="61296" y="2296472"/>
                </a:cubicBezTo>
                <a:cubicBezTo>
                  <a:pt x="69933" y="2175640"/>
                  <a:pt x="79341" y="2053930"/>
                  <a:pt x="87978" y="1933100"/>
                </a:cubicBezTo>
                <a:cubicBezTo>
                  <a:pt x="96659" y="1825536"/>
                  <a:pt x="104568" y="1718852"/>
                  <a:pt x="112423" y="1611344"/>
                </a:cubicBezTo>
                <a:cubicBezTo>
                  <a:pt x="120669" y="1497174"/>
                  <a:pt x="129687" y="1382124"/>
                  <a:pt x="137878" y="1267128"/>
                </a:cubicBezTo>
                <a:cubicBezTo>
                  <a:pt x="145222" y="1177072"/>
                  <a:pt x="151741" y="1087068"/>
                  <a:pt x="158259" y="997064"/>
                </a:cubicBezTo>
                <a:cubicBezTo>
                  <a:pt x="161715" y="948730"/>
                  <a:pt x="165115" y="899572"/>
                  <a:pt x="168516" y="850414"/>
                </a:cubicBezTo>
                <a:cubicBezTo>
                  <a:pt x="169178" y="847882"/>
                  <a:pt x="169841" y="845352"/>
                  <a:pt x="171275" y="841938"/>
                </a:cubicBezTo>
                <a:cubicBezTo>
                  <a:pt x="249816" y="825994"/>
                  <a:pt x="328302" y="809222"/>
                  <a:pt x="406788" y="792452"/>
                </a:cubicBezTo>
                <a:cubicBezTo>
                  <a:pt x="486925" y="775570"/>
                  <a:pt x="567889" y="758636"/>
                  <a:pt x="648851" y="741700"/>
                </a:cubicBezTo>
                <a:cubicBezTo>
                  <a:pt x="738015" y="723398"/>
                  <a:pt x="826353" y="705150"/>
                  <a:pt x="915461" y="686020"/>
                </a:cubicBezTo>
                <a:cubicBezTo>
                  <a:pt x="1003799" y="667772"/>
                  <a:pt x="1092137" y="649524"/>
                  <a:pt x="1180421" y="630450"/>
                </a:cubicBezTo>
                <a:cubicBezTo>
                  <a:pt x="1268758" y="612200"/>
                  <a:pt x="1357096" y="593952"/>
                  <a:pt x="1445380" y="574878"/>
                </a:cubicBezTo>
                <a:cubicBezTo>
                  <a:pt x="1541918" y="555260"/>
                  <a:pt x="1638403" y="534816"/>
                  <a:pt x="1734886" y="514374"/>
                </a:cubicBezTo>
                <a:cubicBezTo>
                  <a:pt x="1838746" y="492618"/>
                  <a:pt x="1942605" y="470860"/>
                  <a:pt x="2046463" y="449102"/>
                </a:cubicBezTo>
                <a:cubicBezTo>
                  <a:pt x="2157698" y="426032"/>
                  <a:pt x="2269758" y="402906"/>
                  <a:pt x="2380992" y="379834"/>
                </a:cubicBezTo>
                <a:cubicBezTo>
                  <a:pt x="2492997" y="355882"/>
                  <a:pt x="2604231" y="332812"/>
                  <a:pt x="2716237" y="308860"/>
                </a:cubicBezTo>
                <a:cubicBezTo>
                  <a:pt x="2842992" y="282280"/>
                  <a:pt x="2970574" y="255644"/>
                  <a:pt x="3097329" y="229065"/>
                </a:cubicBezTo>
                <a:cubicBezTo>
                  <a:pt x="3232285" y="201117"/>
                  <a:pt x="3367242" y="173167"/>
                  <a:pt x="3502144" y="144392"/>
                </a:cubicBezTo>
                <a:cubicBezTo>
                  <a:pt x="3652621" y="112935"/>
                  <a:pt x="3803098" y="81479"/>
                  <a:pt x="3953575" y="50021"/>
                </a:cubicBezTo>
                <a:cubicBezTo>
                  <a:pt x="4026392" y="35281"/>
                  <a:pt x="4099154" y="19715"/>
                  <a:pt x="4171916" y="4149"/>
                </a:cubicBezTo>
                <a:cubicBezTo>
                  <a:pt x="4176044" y="3878"/>
                  <a:pt x="4180063" y="1955"/>
                  <a:pt x="4184082" y="32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40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F540B0D-4795-4BC7-87C5-70C1142C563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391401" y="4470974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77385D8-4260-4CD4-8EDB-C56E34A3286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45358" y="4470974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C53C9E8-AC21-4D16-BB7D-EDD25725256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572625" y="3142045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900CEAA-39BA-434B-8E0D-4C5FFF31F7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18379" y="3142045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CB1BD77-7453-40ED-A9B1-6A70B0FBBF9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845648" y="1813117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6A50284-9143-4611-AC0B-E85174E0D0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18475" y="484188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83051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50A6A2E-1603-406A-8350-942C41BEC7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0435" y="2009671"/>
            <a:ext cx="4854545" cy="2775690"/>
          </a:xfrm>
          <a:custGeom>
            <a:avLst/>
            <a:gdLst>
              <a:gd name="connsiteX0" fmla="*/ 0 w 4854545"/>
              <a:gd name="connsiteY0" fmla="*/ 0 h 2775690"/>
              <a:gd name="connsiteX1" fmla="*/ 4854545 w 4854545"/>
              <a:gd name="connsiteY1" fmla="*/ 0 h 2775690"/>
              <a:gd name="connsiteX2" fmla="*/ 4854545 w 4854545"/>
              <a:gd name="connsiteY2" fmla="*/ 2775690 h 2775690"/>
              <a:gd name="connsiteX3" fmla="*/ 0 w 4854545"/>
              <a:gd name="connsiteY3" fmla="*/ 2775690 h 277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45" h="2775690">
                <a:moveTo>
                  <a:pt x="0" y="0"/>
                </a:moveTo>
                <a:lnTo>
                  <a:pt x="4854545" y="0"/>
                </a:lnTo>
                <a:lnTo>
                  <a:pt x="4854545" y="2775690"/>
                </a:lnTo>
                <a:lnTo>
                  <a:pt x="0" y="277569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94746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E8F7024-C752-480A-AFDB-A95221CACBD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86583" y="1"/>
            <a:ext cx="5166485" cy="6855583"/>
          </a:xfrm>
          <a:custGeom>
            <a:avLst/>
            <a:gdLst>
              <a:gd name="connsiteX0" fmla="*/ 1086626 w 5166485"/>
              <a:gd name="connsiteY0" fmla="*/ 3265888 h 6855583"/>
              <a:gd name="connsiteX1" fmla="*/ 1086635 w 5166485"/>
              <a:gd name="connsiteY1" fmla="*/ 3265890 h 6855583"/>
              <a:gd name="connsiteX2" fmla="*/ 1087274 w 5166485"/>
              <a:gd name="connsiteY2" fmla="*/ 3265890 h 6855583"/>
              <a:gd name="connsiteX3" fmla="*/ 1119550 w 5166485"/>
              <a:gd name="connsiteY3" fmla="*/ 3265890 h 6855583"/>
              <a:gd name="connsiteX4" fmla="*/ 1170447 w 5166485"/>
              <a:gd name="connsiteY4" fmla="*/ 3265890 h 6855583"/>
              <a:gd name="connsiteX5" fmla="*/ 1170458 w 5166485"/>
              <a:gd name="connsiteY5" fmla="*/ 3265888 h 6855583"/>
              <a:gd name="connsiteX6" fmla="*/ 1170468 w 5166485"/>
              <a:gd name="connsiteY6" fmla="*/ 3265890 h 6855583"/>
              <a:gd name="connsiteX7" fmla="*/ 1171107 w 5166485"/>
              <a:gd name="connsiteY7" fmla="*/ 3265890 h 6855583"/>
              <a:gd name="connsiteX8" fmla="*/ 1752107 w 5166485"/>
              <a:gd name="connsiteY8" fmla="*/ 3265890 h 6855583"/>
              <a:gd name="connsiteX9" fmla="*/ 1801177 w 5166485"/>
              <a:gd name="connsiteY9" fmla="*/ 3265890 h 6855583"/>
              <a:gd name="connsiteX10" fmla="*/ 1803005 w 5166485"/>
              <a:gd name="connsiteY10" fmla="*/ 3265890 h 6855583"/>
              <a:gd name="connsiteX11" fmla="*/ 1803015 w 5166485"/>
              <a:gd name="connsiteY11" fmla="*/ 3265888 h 6855583"/>
              <a:gd name="connsiteX12" fmla="*/ 1803026 w 5166485"/>
              <a:gd name="connsiteY12" fmla="*/ 3265890 h 6855583"/>
              <a:gd name="connsiteX13" fmla="*/ 1803664 w 5166485"/>
              <a:gd name="connsiteY13" fmla="*/ 3265890 h 6855583"/>
              <a:gd name="connsiteX14" fmla="*/ 1835940 w 5166485"/>
              <a:gd name="connsiteY14" fmla="*/ 3265890 h 6855583"/>
              <a:gd name="connsiteX15" fmla="*/ 1852074 w 5166485"/>
              <a:gd name="connsiteY15" fmla="*/ 3265890 h 6855583"/>
              <a:gd name="connsiteX16" fmla="*/ 1852084 w 5166485"/>
              <a:gd name="connsiteY16" fmla="*/ 3265888 h 6855583"/>
              <a:gd name="connsiteX17" fmla="*/ 1852095 w 5166485"/>
              <a:gd name="connsiteY17" fmla="*/ 3265890 h 6855583"/>
              <a:gd name="connsiteX18" fmla="*/ 1852734 w 5166485"/>
              <a:gd name="connsiteY18" fmla="*/ 3265890 h 6855583"/>
              <a:gd name="connsiteX19" fmla="*/ 1885010 w 5166485"/>
              <a:gd name="connsiteY19" fmla="*/ 3265890 h 6855583"/>
              <a:gd name="connsiteX20" fmla="*/ 1886837 w 5166485"/>
              <a:gd name="connsiteY20" fmla="*/ 3265890 h 6855583"/>
              <a:gd name="connsiteX21" fmla="*/ 1886846 w 5166485"/>
              <a:gd name="connsiteY21" fmla="*/ 3265888 h 6855583"/>
              <a:gd name="connsiteX22" fmla="*/ 1886857 w 5166485"/>
              <a:gd name="connsiteY22" fmla="*/ 3265890 h 6855583"/>
              <a:gd name="connsiteX23" fmla="*/ 1887496 w 5166485"/>
              <a:gd name="connsiteY23" fmla="*/ 3265890 h 6855583"/>
              <a:gd name="connsiteX24" fmla="*/ 1935905 w 5166485"/>
              <a:gd name="connsiteY24" fmla="*/ 3265890 h 6855583"/>
              <a:gd name="connsiteX25" fmla="*/ 1935916 w 5166485"/>
              <a:gd name="connsiteY25" fmla="*/ 3265888 h 6855583"/>
              <a:gd name="connsiteX26" fmla="*/ 1935926 w 5166485"/>
              <a:gd name="connsiteY26" fmla="*/ 3265890 h 6855583"/>
              <a:gd name="connsiteX27" fmla="*/ 1936565 w 5166485"/>
              <a:gd name="connsiteY27" fmla="*/ 3265890 h 6855583"/>
              <a:gd name="connsiteX28" fmla="*/ 2170246 w 5166485"/>
              <a:gd name="connsiteY28" fmla="*/ 3265890 h 6855583"/>
              <a:gd name="connsiteX29" fmla="*/ 2254079 w 5166485"/>
              <a:gd name="connsiteY29" fmla="*/ 3265890 h 6855583"/>
              <a:gd name="connsiteX30" fmla="*/ 2517566 w 5166485"/>
              <a:gd name="connsiteY30" fmla="*/ 3265890 h 6855583"/>
              <a:gd name="connsiteX31" fmla="*/ 2568463 w 5166485"/>
              <a:gd name="connsiteY31" fmla="*/ 3265890 h 6855583"/>
              <a:gd name="connsiteX32" fmla="*/ 2568473 w 5166485"/>
              <a:gd name="connsiteY32" fmla="*/ 3265888 h 6855583"/>
              <a:gd name="connsiteX33" fmla="*/ 2568484 w 5166485"/>
              <a:gd name="connsiteY33" fmla="*/ 3265890 h 6855583"/>
              <a:gd name="connsiteX34" fmla="*/ 2569123 w 5166485"/>
              <a:gd name="connsiteY34" fmla="*/ 3265890 h 6855583"/>
              <a:gd name="connsiteX35" fmla="*/ 2601399 w 5166485"/>
              <a:gd name="connsiteY35" fmla="*/ 3265890 h 6855583"/>
              <a:gd name="connsiteX36" fmla="*/ 2652295 w 5166485"/>
              <a:gd name="connsiteY36" fmla="*/ 3265890 h 6855583"/>
              <a:gd name="connsiteX37" fmla="*/ 2652306 w 5166485"/>
              <a:gd name="connsiteY37" fmla="*/ 3265888 h 6855583"/>
              <a:gd name="connsiteX38" fmla="*/ 2652315 w 5166485"/>
              <a:gd name="connsiteY38" fmla="*/ 3265890 h 6855583"/>
              <a:gd name="connsiteX39" fmla="*/ 2652954 w 5166485"/>
              <a:gd name="connsiteY39" fmla="*/ 3265890 h 6855583"/>
              <a:gd name="connsiteX40" fmla="*/ 2886635 w 5166485"/>
              <a:gd name="connsiteY40" fmla="*/ 3265890 h 6855583"/>
              <a:gd name="connsiteX41" fmla="*/ 2935705 w 5166485"/>
              <a:gd name="connsiteY41" fmla="*/ 3265890 h 6855583"/>
              <a:gd name="connsiteX42" fmla="*/ 2970468 w 5166485"/>
              <a:gd name="connsiteY42" fmla="*/ 3265890 h 6855583"/>
              <a:gd name="connsiteX43" fmla="*/ 3019538 w 5166485"/>
              <a:gd name="connsiteY43" fmla="*/ 3265890 h 6855583"/>
              <a:gd name="connsiteX44" fmla="*/ 3652094 w 5166485"/>
              <a:gd name="connsiteY44" fmla="*/ 3265890 h 6855583"/>
              <a:gd name="connsiteX45" fmla="*/ 3735927 w 5166485"/>
              <a:gd name="connsiteY45" fmla="*/ 3265890 h 6855583"/>
              <a:gd name="connsiteX46" fmla="*/ 3735927 w 5166485"/>
              <a:gd name="connsiteY46" fmla="*/ 4199586 h 6855583"/>
              <a:gd name="connsiteX47" fmla="*/ 3734217 w 5166485"/>
              <a:gd name="connsiteY47" fmla="*/ 4199586 h 6855583"/>
              <a:gd name="connsiteX48" fmla="*/ 3734217 w 5166485"/>
              <a:gd name="connsiteY48" fmla="*/ 4437486 h 6855583"/>
              <a:gd name="connsiteX49" fmla="*/ 3735499 w 5166485"/>
              <a:gd name="connsiteY49" fmla="*/ 4437486 h 6855583"/>
              <a:gd name="connsiteX50" fmla="*/ 3735499 w 5166485"/>
              <a:gd name="connsiteY50" fmla="*/ 4514790 h 6855583"/>
              <a:gd name="connsiteX51" fmla="*/ 3735499 w 5166485"/>
              <a:gd name="connsiteY51" fmla="*/ 4794177 h 6855583"/>
              <a:gd name="connsiteX52" fmla="*/ 3735500 w 5166485"/>
              <a:gd name="connsiteY52" fmla="*/ 5379128 h 6855583"/>
              <a:gd name="connsiteX53" fmla="*/ 3735500 w 5166485"/>
              <a:gd name="connsiteY53" fmla="*/ 5405390 h 6855583"/>
              <a:gd name="connsiteX54" fmla="*/ 3735500 w 5166485"/>
              <a:gd name="connsiteY54" fmla="*/ 5598154 h 6855583"/>
              <a:gd name="connsiteX55" fmla="*/ 3734205 w 5166485"/>
              <a:gd name="connsiteY55" fmla="*/ 5598154 h 6855583"/>
              <a:gd name="connsiteX56" fmla="*/ 3734205 w 5166485"/>
              <a:gd name="connsiteY56" fmla="*/ 5598486 h 6855583"/>
              <a:gd name="connsiteX57" fmla="*/ 3734205 w 5166485"/>
              <a:gd name="connsiteY57" fmla="*/ 5612740 h 6855583"/>
              <a:gd name="connsiteX58" fmla="*/ 3734205 w 5166485"/>
              <a:gd name="connsiteY58" fmla="*/ 5657025 h 6855583"/>
              <a:gd name="connsiteX59" fmla="*/ 3731500 w 5166485"/>
              <a:gd name="connsiteY59" fmla="*/ 5657025 h 6855583"/>
              <a:gd name="connsiteX60" fmla="*/ 3729283 w 5166485"/>
              <a:gd name="connsiteY60" fmla="*/ 5705056 h 6855583"/>
              <a:gd name="connsiteX61" fmla="*/ 3728718 w 5166485"/>
              <a:gd name="connsiteY61" fmla="*/ 5709186 h 6855583"/>
              <a:gd name="connsiteX62" fmla="*/ 3728606 w 5166485"/>
              <a:gd name="connsiteY62" fmla="*/ 5711467 h 6855583"/>
              <a:gd name="connsiteX63" fmla="*/ 3725448 w 5166485"/>
              <a:gd name="connsiteY63" fmla="*/ 5733130 h 6855583"/>
              <a:gd name="connsiteX64" fmla="*/ 3723149 w 5166485"/>
              <a:gd name="connsiteY64" fmla="*/ 5749961 h 6855583"/>
              <a:gd name="connsiteX65" fmla="*/ 3723149 w 5166485"/>
              <a:gd name="connsiteY65" fmla="*/ 5785114 h 6855583"/>
              <a:gd name="connsiteX66" fmla="*/ 3720444 w 5166485"/>
              <a:gd name="connsiteY66" fmla="*/ 5785114 h 6855583"/>
              <a:gd name="connsiteX67" fmla="*/ 3718226 w 5166485"/>
              <a:gd name="connsiteY67" fmla="*/ 5833975 h 6855583"/>
              <a:gd name="connsiteX68" fmla="*/ 3717662 w 5166485"/>
              <a:gd name="connsiteY68" fmla="*/ 5838176 h 6855583"/>
              <a:gd name="connsiteX69" fmla="*/ 3717549 w 5166485"/>
              <a:gd name="connsiteY69" fmla="*/ 5840496 h 6855583"/>
              <a:gd name="connsiteX70" fmla="*/ 3714391 w 5166485"/>
              <a:gd name="connsiteY70" fmla="*/ 5862534 h 6855583"/>
              <a:gd name="connsiteX71" fmla="*/ 3704933 w 5166485"/>
              <a:gd name="connsiteY71" fmla="*/ 5932981 h 6855583"/>
              <a:gd name="connsiteX72" fmla="*/ 3703137 w 5166485"/>
              <a:gd name="connsiteY72" fmla="*/ 5941083 h 6855583"/>
              <a:gd name="connsiteX73" fmla="*/ 3702452 w 5166485"/>
              <a:gd name="connsiteY73" fmla="*/ 5945855 h 6855583"/>
              <a:gd name="connsiteX74" fmla="*/ 3696614 w 5166485"/>
              <a:gd name="connsiteY74" fmla="*/ 5970492 h 6855583"/>
              <a:gd name="connsiteX75" fmla="*/ 3683622 w 5166485"/>
              <a:gd name="connsiteY75" fmla="*/ 6029051 h 6855583"/>
              <a:gd name="connsiteX76" fmla="*/ 3679923 w 5166485"/>
              <a:gd name="connsiteY76" fmla="*/ 6040897 h 6855583"/>
              <a:gd name="connsiteX77" fmla="*/ 3678285 w 5166485"/>
              <a:gd name="connsiteY77" fmla="*/ 6047812 h 6855583"/>
              <a:gd name="connsiteX78" fmla="*/ 3670406 w 5166485"/>
              <a:gd name="connsiteY78" fmla="*/ 6071379 h 6855583"/>
              <a:gd name="connsiteX79" fmla="*/ 3654662 w 5166485"/>
              <a:gd name="connsiteY79" fmla="*/ 6121798 h 6855583"/>
              <a:gd name="connsiteX80" fmla="*/ 3648434 w 5166485"/>
              <a:gd name="connsiteY80" fmla="*/ 6137099 h 6855583"/>
              <a:gd name="connsiteX81" fmla="*/ 3645495 w 5166485"/>
              <a:gd name="connsiteY81" fmla="*/ 6145895 h 6855583"/>
              <a:gd name="connsiteX82" fmla="*/ 3636168 w 5166485"/>
              <a:gd name="connsiteY82" fmla="*/ 6167235 h 6855583"/>
              <a:gd name="connsiteX83" fmla="*/ 3618421 w 5166485"/>
              <a:gd name="connsiteY83" fmla="*/ 6210838 h 6855583"/>
              <a:gd name="connsiteX84" fmla="*/ 3609070 w 5166485"/>
              <a:gd name="connsiteY84" fmla="*/ 6229244 h 6855583"/>
              <a:gd name="connsiteX85" fmla="*/ 3604529 w 5166485"/>
              <a:gd name="connsiteY85" fmla="*/ 6239639 h 6855583"/>
              <a:gd name="connsiteX86" fmla="*/ 3594298 w 5166485"/>
              <a:gd name="connsiteY86" fmla="*/ 6258324 h 6855583"/>
              <a:gd name="connsiteX87" fmla="*/ 3575270 w 5166485"/>
              <a:gd name="connsiteY87" fmla="*/ 6295785 h 6855583"/>
              <a:gd name="connsiteX88" fmla="*/ 3562231 w 5166485"/>
              <a:gd name="connsiteY88" fmla="*/ 6316901 h 6855583"/>
              <a:gd name="connsiteX89" fmla="*/ 3555841 w 5166485"/>
              <a:gd name="connsiteY89" fmla="*/ 6328575 h 6855583"/>
              <a:gd name="connsiteX90" fmla="*/ 3545203 w 5166485"/>
              <a:gd name="connsiteY90" fmla="*/ 6344476 h 6855583"/>
              <a:gd name="connsiteX91" fmla="*/ 3525580 w 5166485"/>
              <a:gd name="connsiteY91" fmla="*/ 6376252 h 6855583"/>
              <a:gd name="connsiteX92" fmla="*/ 3508306 w 5166485"/>
              <a:gd name="connsiteY92" fmla="*/ 6399630 h 6855583"/>
              <a:gd name="connsiteX93" fmla="*/ 3499876 w 5166485"/>
              <a:gd name="connsiteY93" fmla="*/ 6412234 h 6855583"/>
              <a:gd name="connsiteX94" fmla="*/ 3489281 w 5166485"/>
              <a:gd name="connsiteY94" fmla="*/ 6425379 h 6855583"/>
              <a:gd name="connsiteX95" fmla="*/ 3469720 w 5166485"/>
              <a:gd name="connsiteY95" fmla="*/ 6451856 h 6855583"/>
              <a:gd name="connsiteX96" fmla="*/ 3447676 w 5166485"/>
              <a:gd name="connsiteY96" fmla="*/ 6477005 h 6855583"/>
              <a:gd name="connsiteX97" fmla="*/ 3437085 w 5166485"/>
              <a:gd name="connsiteY97" fmla="*/ 6490148 h 6855583"/>
              <a:gd name="connsiteX98" fmla="*/ 3426944 w 5166485"/>
              <a:gd name="connsiteY98" fmla="*/ 6500661 h 6855583"/>
              <a:gd name="connsiteX99" fmla="*/ 3408058 w 5166485"/>
              <a:gd name="connsiteY99" fmla="*/ 6522209 h 6855583"/>
              <a:gd name="connsiteX100" fmla="*/ 3380698 w 5166485"/>
              <a:gd name="connsiteY100" fmla="*/ 6548600 h 6855583"/>
              <a:gd name="connsiteX101" fmla="*/ 3367917 w 5166485"/>
              <a:gd name="connsiteY101" fmla="*/ 6561848 h 6855583"/>
              <a:gd name="connsiteX102" fmla="*/ 3358599 w 5166485"/>
              <a:gd name="connsiteY102" fmla="*/ 6569916 h 6855583"/>
              <a:gd name="connsiteX103" fmla="*/ 3340966 w 5166485"/>
              <a:gd name="connsiteY103" fmla="*/ 6586926 h 6855583"/>
              <a:gd name="connsiteX104" fmla="*/ 3307673 w 5166485"/>
              <a:gd name="connsiteY104" fmla="*/ 6614008 h 6855583"/>
              <a:gd name="connsiteX105" fmla="*/ 3292820 w 5166485"/>
              <a:gd name="connsiteY105" fmla="*/ 6626869 h 6855583"/>
              <a:gd name="connsiteX106" fmla="*/ 3284662 w 5166485"/>
              <a:gd name="connsiteY106" fmla="*/ 6632728 h 6855583"/>
              <a:gd name="connsiteX107" fmla="*/ 3268811 w 5166485"/>
              <a:gd name="connsiteY107" fmla="*/ 6645621 h 6855583"/>
              <a:gd name="connsiteX108" fmla="*/ 3228808 w 5166485"/>
              <a:gd name="connsiteY108" fmla="*/ 6672841 h 6855583"/>
              <a:gd name="connsiteX109" fmla="*/ 3212245 w 5166485"/>
              <a:gd name="connsiteY109" fmla="*/ 6684739 h 6855583"/>
              <a:gd name="connsiteX110" fmla="*/ 3205551 w 5166485"/>
              <a:gd name="connsiteY110" fmla="*/ 6688665 h 6855583"/>
              <a:gd name="connsiteX111" fmla="*/ 3191968 w 5166485"/>
              <a:gd name="connsiteY111" fmla="*/ 6697909 h 6855583"/>
              <a:gd name="connsiteX112" fmla="*/ 3144033 w 5166485"/>
              <a:gd name="connsiteY112" fmla="*/ 6724779 h 6855583"/>
              <a:gd name="connsiteX113" fmla="*/ 3126640 w 5166485"/>
              <a:gd name="connsiteY113" fmla="*/ 6734990 h 6855583"/>
              <a:gd name="connsiteX114" fmla="*/ 3121686 w 5166485"/>
              <a:gd name="connsiteY114" fmla="*/ 6737306 h 6855583"/>
              <a:gd name="connsiteX115" fmla="*/ 3110802 w 5166485"/>
              <a:gd name="connsiteY115" fmla="*/ 6743407 h 6855583"/>
              <a:gd name="connsiteX116" fmla="*/ 3052483 w 5166485"/>
              <a:gd name="connsiteY116" fmla="*/ 6769660 h 6855583"/>
              <a:gd name="connsiteX117" fmla="*/ 3036452 w 5166485"/>
              <a:gd name="connsiteY117" fmla="*/ 6777154 h 6855583"/>
              <a:gd name="connsiteX118" fmla="*/ 3033487 w 5166485"/>
              <a:gd name="connsiteY118" fmla="*/ 6778211 h 6855583"/>
              <a:gd name="connsiteX119" fmla="*/ 3025684 w 5166485"/>
              <a:gd name="connsiteY119" fmla="*/ 6781724 h 6855583"/>
              <a:gd name="connsiteX120" fmla="*/ 2949668 w 5166485"/>
              <a:gd name="connsiteY120" fmla="*/ 6808079 h 6855583"/>
              <a:gd name="connsiteX121" fmla="*/ 2942133 w 5166485"/>
              <a:gd name="connsiteY121" fmla="*/ 6810763 h 6855583"/>
              <a:gd name="connsiteX122" fmla="*/ 2941376 w 5166485"/>
              <a:gd name="connsiteY122" fmla="*/ 6810955 h 6855583"/>
              <a:gd name="connsiteX123" fmla="*/ 2936985 w 5166485"/>
              <a:gd name="connsiteY123" fmla="*/ 6812477 h 6855583"/>
              <a:gd name="connsiteX124" fmla="*/ 2750320 w 5166485"/>
              <a:gd name="connsiteY124" fmla="*/ 6849749 h 6855583"/>
              <a:gd name="connsiteX125" fmla="*/ 2746081 w 5166485"/>
              <a:gd name="connsiteY125" fmla="*/ 6849972 h 6855583"/>
              <a:gd name="connsiteX126" fmla="*/ 2742897 w 5166485"/>
              <a:gd name="connsiteY126" fmla="*/ 6850446 h 6855583"/>
              <a:gd name="connsiteX127" fmla="*/ 2690435 w 5166485"/>
              <a:gd name="connsiteY127" fmla="*/ 6853038 h 6855583"/>
              <a:gd name="connsiteX128" fmla="*/ 2690435 w 5166485"/>
              <a:gd name="connsiteY128" fmla="*/ 6855583 h 6855583"/>
              <a:gd name="connsiteX129" fmla="*/ 2639538 w 5166485"/>
              <a:gd name="connsiteY129" fmla="*/ 6855583 h 6855583"/>
              <a:gd name="connsiteX130" fmla="*/ 2639527 w 5166485"/>
              <a:gd name="connsiteY130" fmla="*/ 6855583 h 6855583"/>
              <a:gd name="connsiteX131" fmla="*/ 2639516 w 5166485"/>
              <a:gd name="connsiteY131" fmla="*/ 6855583 h 6855583"/>
              <a:gd name="connsiteX132" fmla="*/ 2638878 w 5166485"/>
              <a:gd name="connsiteY132" fmla="*/ 6855583 h 6855583"/>
              <a:gd name="connsiteX133" fmla="*/ 2617659 w 5166485"/>
              <a:gd name="connsiteY133" fmla="*/ 6855583 h 6855583"/>
              <a:gd name="connsiteX134" fmla="*/ 2566761 w 5166485"/>
              <a:gd name="connsiteY134" fmla="*/ 6855583 h 6855583"/>
              <a:gd name="connsiteX135" fmla="*/ 2566750 w 5166485"/>
              <a:gd name="connsiteY135" fmla="*/ 6855583 h 6855583"/>
              <a:gd name="connsiteX136" fmla="*/ 2566740 w 5166485"/>
              <a:gd name="connsiteY136" fmla="*/ 6855583 h 6855583"/>
              <a:gd name="connsiteX137" fmla="*/ 2566100 w 5166485"/>
              <a:gd name="connsiteY137" fmla="*/ 6855583 h 6855583"/>
              <a:gd name="connsiteX138" fmla="*/ 1974046 w 5166485"/>
              <a:gd name="connsiteY138" fmla="*/ 6855583 h 6855583"/>
              <a:gd name="connsiteX139" fmla="*/ 1924977 w 5166485"/>
              <a:gd name="connsiteY139" fmla="*/ 6855583 h 6855583"/>
              <a:gd name="connsiteX140" fmla="*/ 1923149 w 5166485"/>
              <a:gd name="connsiteY140" fmla="*/ 6855583 h 6855583"/>
              <a:gd name="connsiteX141" fmla="*/ 1923138 w 5166485"/>
              <a:gd name="connsiteY141" fmla="*/ 6855583 h 6855583"/>
              <a:gd name="connsiteX142" fmla="*/ 1923127 w 5166485"/>
              <a:gd name="connsiteY142" fmla="*/ 6855583 h 6855583"/>
              <a:gd name="connsiteX143" fmla="*/ 1922488 w 5166485"/>
              <a:gd name="connsiteY143" fmla="*/ 6855583 h 6855583"/>
              <a:gd name="connsiteX144" fmla="*/ 1901270 w 5166485"/>
              <a:gd name="connsiteY144" fmla="*/ 6855583 h 6855583"/>
              <a:gd name="connsiteX145" fmla="*/ 1874079 w 5166485"/>
              <a:gd name="connsiteY145" fmla="*/ 6855583 h 6855583"/>
              <a:gd name="connsiteX146" fmla="*/ 1874068 w 5166485"/>
              <a:gd name="connsiteY146" fmla="*/ 6855583 h 6855583"/>
              <a:gd name="connsiteX147" fmla="*/ 1874058 w 5166485"/>
              <a:gd name="connsiteY147" fmla="*/ 6855583 h 6855583"/>
              <a:gd name="connsiteX148" fmla="*/ 1873420 w 5166485"/>
              <a:gd name="connsiteY148" fmla="*/ 6855583 h 6855583"/>
              <a:gd name="connsiteX149" fmla="*/ 1852200 w 5166485"/>
              <a:gd name="connsiteY149" fmla="*/ 6855583 h 6855583"/>
              <a:gd name="connsiteX150" fmla="*/ 1850372 w 5166485"/>
              <a:gd name="connsiteY150" fmla="*/ 6855583 h 6855583"/>
              <a:gd name="connsiteX151" fmla="*/ 1850361 w 5166485"/>
              <a:gd name="connsiteY151" fmla="*/ 6855583 h 6855583"/>
              <a:gd name="connsiteX152" fmla="*/ 1850351 w 5166485"/>
              <a:gd name="connsiteY152" fmla="*/ 6855583 h 6855583"/>
              <a:gd name="connsiteX153" fmla="*/ 1849711 w 5166485"/>
              <a:gd name="connsiteY153" fmla="*/ 6855583 h 6855583"/>
              <a:gd name="connsiteX154" fmla="*/ 1801303 w 5166485"/>
              <a:gd name="connsiteY154" fmla="*/ 6855583 h 6855583"/>
              <a:gd name="connsiteX155" fmla="*/ 1801292 w 5166485"/>
              <a:gd name="connsiteY155" fmla="*/ 6855583 h 6855583"/>
              <a:gd name="connsiteX156" fmla="*/ 1801282 w 5166485"/>
              <a:gd name="connsiteY156" fmla="*/ 6855583 h 6855583"/>
              <a:gd name="connsiteX157" fmla="*/ 1800642 w 5166485"/>
              <a:gd name="connsiteY157" fmla="*/ 6855583 h 6855583"/>
              <a:gd name="connsiteX158" fmla="*/ 1555906 w 5166485"/>
              <a:gd name="connsiteY158" fmla="*/ 6855583 h 6855583"/>
              <a:gd name="connsiteX159" fmla="*/ 1483128 w 5166485"/>
              <a:gd name="connsiteY159" fmla="*/ 6855583 h 6855583"/>
              <a:gd name="connsiteX160" fmla="*/ 1208587 w 5166485"/>
              <a:gd name="connsiteY160" fmla="*/ 6855583 h 6855583"/>
              <a:gd name="connsiteX161" fmla="*/ 1157689 w 5166485"/>
              <a:gd name="connsiteY161" fmla="*/ 6855583 h 6855583"/>
              <a:gd name="connsiteX162" fmla="*/ 1157678 w 5166485"/>
              <a:gd name="connsiteY162" fmla="*/ 6855583 h 6855583"/>
              <a:gd name="connsiteX163" fmla="*/ 1157669 w 5166485"/>
              <a:gd name="connsiteY163" fmla="*/ 6855583 h 6855583"/>
              <a:gd name="connsiteX164" fmla="*/ 1157031 w 5166485"/>
              <a:gd name="connsiteY164" fmla="*/ 6855583 h 6855583"/>
              <a:gd name="connsiteX165" fmla="*/ 1135810 w 5166485"/>
              <a:gd name="connsiteY165" fmla="*/ 6855583 h 6855583"/>
              <a:gd name="connsiteX166" fmla="*/ 1084913 w 5166485"/>
              <a:gd name="connsiteY166" fmla="*/ 6855583 h 6855583"/>
              <a:gd name="connsiteX167" fmla="*/ 1084902 w 5166485"/>
              <a:gd name="connsiteY167" fmla="*/ 6855583 h 6855583"/>
              <a:gd name="connsiteX168" fmla="*/ 1084893 w 5166485"/>
              <a:gd name="connsiteY168" fmla="*/ 6855583 h 6855583"/>
              <a:gd name="connsiteX169" fmla="*/ 1084253 w 5166485"/>
              <a:gd name="connsiteY169" fmla="*/ 6855583 h 6855583"/>
              <a:gd name="connsiteX170" fmla="*/ 839517 w 5166485"/>
              <a:gd name="connsiteY170" fmla="*/ 6855583 h 6855583"/>
              <a:gd name="connsiteX171" fmla="*/ 790448 w 5166485"/>
              <a:gd name="connsiteY171" fmla="*/ 6855583 h 6855583"/>
              <a:gd name="connsiteX172" fmla="*/ 766740 w 5166485"/>
              <a:gd name="connsiteY172" fmla="*/ 6855583 h 6855583"/>
              <a:gd name="connsiteX173" fmla="*/ 717671 w 5166485"/>
              <a:gd name="connsiteY173" fmla="*/ 6855583 h 6855583"/>
              <a:gd name="connsiteX174" fmla="*/ 74059 w 5166485"/>
              <a:gd name="connsiteY174" fmla="*/ 6855583 h 6855583"/>
              <a:gd name="connsiteX175" fmla="*/ 1282 w 5166485"/>
              <a:gd name="connsiteY175" fmla="*/ 6855583 h 6855583"/>
              <a:gd name="connsiteX176" fmla="*/ 1282 w 5166485"/>
              <a:gd name="connsiteY176" fmla="*/ 6709335 h 6855583"/>
              <a:gd name="connsiteX177" fmla="*/ 1282 w 5166485"/>
              <a:gd name="connsiteY177" fmla="*/ 5785114 h 6855583"/>
              <a:gd name="connsiteX178" fmla="*/ 0 w 5166485"/>
              <a:gd name="connsiteY178" fmla="*/ 5785114 h 6855583"/>
              <a:gd name="connsiteX179" fmla="*/ 0 w 5166485"/>
              <a:gd name="connsiteY179" fmla="*/ 5725228 h 6855583"/>
              <a:gd name="connsiteX180" fmla="*/ 0 w 5166485"/>
              <a:gd name="connsiteY180" fmla="*/ 5657025 h 6855583"/>
              <a:gd name="connsiteX181" fmla="*/ 0 w 5166485"/>
              <a:gd name="connsiteY181" fmla="*/ 5598154 h 6855583"/>
              <a:gd name="connsiteX182" fmla="*/ 0 w 5166485"/>
              <a:gd name="connsiteY182" fmla="*/ 5529139 h 6855583"/>
              <a:gd name="connsiteX183" fmla="*/ 0 w 5166485"/>
              <a:gd name="connsiteY183" fmla="*/ 5502424 h 6855583"/>
              <a:gd name="connsiteX184" fmla="*/ 0 w 5166485"/>
              <a:gd name="connsiteY184" fmla="*/ 5405390 h 6855583"/>
              <a:gd name="connsiteX185" fmla="*/ 0 w 5166485"/>
              <a:gd name="connsiteY185" fmla="*/ 5379128 h 6855583"/>
              <a:gd name="connsiteX186" fmla="*/ 0 w 5166485"/>
              <a:gd name="connsiteY186" fmla="*/ 4907380 h 6855583"/>
              <a:gd name="connsiteX187" fmla="*/ 0 w 5166485"/>
              <a:gd name="connsiteY187" fmla="*/ 4794177 h 6855583"/>
              <a:gd name="connsiteX188" fmla="*/ 0 w 5166485"/>
              <a:gd name="connsiteY188" fmla="*/ 4623176 h 6855583"/>
              <a:gd name="connsiteX189" fmla="*/ 0 w 5166485"/>
              <a:gd name="connsiteY189" fmla="*/ 4514791 h 6855583"/>
              <a:gd name="connsiteX190" fmla="*/ 1294 w 5166485"/>
              <a:gd name="connsiteY190" fmla="*/ 4514791 h 6855583"/>
              <a:gd name="connsiteX191" fmla="*/ 1294 w 5166485"/>
              <a:gd name="connsiteY191" fmla="*/ 4514790 h 6855583"/>
              <a:gd name="connsiteX192" fmla="*/ 1294 w 5166485"/>
              <a:gd name="connsiteY192" fmla="*/ 4514355 h 6855583"/>
              <a:gd name="connsiteX193" fmla="*/ 1294 w 5166485"/>
              <a:gd name="connsiteY193" fmla="*/ 4495635 h 6855583"/>
              <a:gd name="connsiteX194" fmla="*/ 1294 w 5166485"/>
              <a:gd name="connsiteY194" fmla="*/ 4437486 h 6855583"/>
              <a:gd name="connsiteX195" fmla="*/ 3998 w 5166485"/>
              <a:gd name="connsiteY195" fmla="*/ 4437486 h 6855583"/>
              <a:gd name="connsiteX196" fmla="*/ 6216 w 5166485"/>
              <a:gd name="connsiteY196" fmla="*/ 4374413 h 6855583"/>
              <a:gd name="connsiteX197" fmla="*/ 6782 w 5166485"/>
              <a:gd name="connsiteY197" fmla="*/ 4368991 h 6855583"/>
              <a:gd name="connsiteX198" fmla="*/ 6892 w 5166485"/>
              <a:gd name="connsiteY198" fmla="*/ 4365997 h 6855583"/>
              <a:gd name="connsiteX199" fmla="*/ 10050 w 5166485"/>
              <a:gd name="connsiteY199" fmla="*/ 4337551 h 6855583"/>
              <a:gd name="connsiteX200" fmla="*/ 19508 w 5166485"/>
              <a:gd name="connsiteY200" fmla="*/ 4246611 h 6855583"/>
              <a:gd name="connsiteX201" fmla="*/ 21306 w 5166485"/>
              <a:gd name="connsiteY201" fmla="*/ 4236154 h 6855583"/>
              <a:gd name="connsiteX202" fmla="*/ 21989 w 5166485"/>
              <a:gd name="connsiteY202" fmla="*/ 4229994 h 6855583"/>
              <a:gd name="connsiteX203" fmla="*/ 27574 w 5166485"/>
              <a:gd name="connsiteY203" fmla="*/ 4199586 h 6855583"/>
              <a:gd name="connsiteX204" fmla="*/ 29284 w 5166485"/>
              <a:gd name="connsiteY204" fmla="*/ 4199586 h 6855583"/>
              <a:gd name="connsiteX205" fmla="*/ 29540 w 5166485"/>
              <a:gd name="connsiteY205" fmla="*/ 4198449 h 6855583"/>
              <a:gd name="connsiteX206" fmla="*/ 42529 w 5166485"/>
              <a:gd name="connsiteY206" fmla="*/ 4136748 h 6855583"/>
              <a:gd name="connsiteX207" fmla="*/ 46228 w 5166485"/>
              <a:gd name="connsiteY207" fmla="*/ 4124266 h 6855583"/>
              <a:gd name="connsiteX208" fmla="*/ 47868 w 5166485"/>
              <a:gd name="connsiteY208" fmla="*/ 4116981 h 6855583"/>
              <a:gd name="connsiteX209" fmla="*/ 55747 w 5166485"/>
              <a:gd name="connsiteY209" fmla="*/ 4092151 h 6855583"/>
              <a:gd name="connsiteX210" fmla="*/ 71490 w 5166485"/>
              <a:gd name="connsiteY210" fmla="*/ 4039027 h 6855583"/>
              <a:gd name="connsiteX211" fmla="*/ 77718 w 5166485"/>
              <a:gd name="connsiteY211" fmla="*/ 4022906 h 6855583"/>
              <a:gd name="connsiteX212" fmla="*/ 80657 w 5166485"/>
              <a:gd name="connsiteY212" fmla="*/ 4013638 h 6855583"/>
              <a:gd name="connsiteX213" fmla="*/ 89984 w 5166485"/>
              <a:gd name="connsiteY213" fmla="*/ 3991153 h 6855583"/>
              <a:gd name="connsiteX214" fmla="*/ 107731 w 5166485"/>
              <a:gd name="connsiteY214" fmla="*/ 3945212 h 6855583"/>
              <a:gd name="connsiteX215" fmla="*/ 117082 w 5166485"/>
              <a:gd name="connsiteY215" fmla="*/ 3925819 h 6855583"/>
              <a:gd name="connsiteX216" fmla="*/ 121624 w 5166485"/>
              <a:gd name="connsiteY216" fmla="*/ 3914866 h 6855583"/>
              <a:gd name="connsiteX217" fmla="*/ 131854 w 5166485"/>
              <a:gd name="connsiteY217" fmla="*/ 3895180 h 6855583"/>
              <a:gd name="connsiteX218" fmla="*/ 150882 w 5166485"/>
              <a:gd name="connsiteY218" fmla="*/ 3855710 h 6855583"/>
              <a:gd name="connsiteX219" fmla="*/ 163921 w 5166485"/>
              <a:gd name="connsiteY219" fmla="*/ 3833461 h 6855583"/>
              <a:gd name="connsiteX220" fmla="*/ 170313 w 5166485"/>
              <a:gd name="connsiteY220" fmla="*/ 3821161 h 6855583"/>
              <a:gd name="connsiteX221" fmla="*/ 180949 w 5166485"/>
              <a:gd name="connsiteY221" fmla="*/ 3804408 h 6855583"/>
              <a:gd name="connsiteX222" fmla="*/ 200571 w 5166485"/>
              <a:gd name="connsiteY222" fmla="*/ 3770926 h 6855583"/>
              <a:gd name="connsiteX223" fmla="*/ 217848 w 5166485"/>
              <a:gd name="connsiteY223" fmla="*/ 3746294 h 6855583"/>
              <a:gd name="connsiteX224" fmla="*/ 226277 w 5166485"/>
              <a:gd name="connsiteY224" fmla="*/ 3733015 h 6855583"/>
              <a:gd name="connsiteX225" fmla="*/ 236872 w 5166485"/>
              <a:gd name="connsiteY225" fmla="*/ 3719164 h 6855583"/>
              <a:gd name="connsiteX226" fmla="*/ 256434 w 5166485"/>
              <a:gd name="connsiteY226" fmla="*/ 3691269 h 6855583"/>
              <a:gd name="connsiteX227" fmla="*/ 278476 w 5166485"/>
              <a:gd name="connsiteY227" fmla="*/ 3664770 h 6855583"/>
              <a:gd name="connsiteX228" fmla="*/ 289068 w 5166485"/>
              <a:gd name="connsiteY228" fmla="*/ 3650922 h 6855583"/>
              <a:gd name="connsiteX229" fmla="*/ 299210 w 5166485"/>
              <a:gd name="connsiteY229" fmla="*/ 3639845 h 6855583"/>
              <a:gd name="connsiteX230" fmla="*/ 318094 w 5166485"/>
              <a:gd name="connsiteY230" fmla="*/ 3617142 h 6855583"/>
              <a:gd name="connsiteX231" fmla="*/ 345456 w 5166485"/>
              <a:gd name="connsiteY231" fmla="*/ 3589336 h 6855583"/>
              <a:gd name="connsiteX232" fmla="*/ 358237 w 5166485"/>
              <a:gd name="connsiteY232" fmla="*/ 3575375 h 6855583"/>
              <a:gd name="connsiteX233" fmla="*/ 367555 w 5166485"/>
              <a:gd name="connsiteY233" fmla="*/ 3566877 h 6855583"/>
              <a:gd name="connsiteX234" fmla="*/ 385187 w 5166485"/>
              <a:gd name="connsiteY234" fmla="*/ 3548953 h 6855583"/>
              <a:gd name="connsiteX235" fmla="*/ 418478 w 5166485"/>
              <a:gd name="connsiteY235" fmla="*/ 3520422 h 6855583"/>
              <a:gd name="connsiteX236" fmla="*/ 433333 w 5166485"/>
              <a:gd name="connsiteY236" fmla="*/ 3506870 h 6855583"/>
              <a:gd name="connsiteX237" fmla="*/ 441492 w 5166485"/>
              <a:gd name="connsiteY237" fmla="*/ 3500699 h 6855583"/>
              <a:gd name="connsiteX238" fmla="*/ 457342 w 5166485"/>
              <a:gd name="connsiteY238" fmla="*/ 3487112 h 6855583"/>
              <a:gd name="connsiteX239" fmla="*/ 497345 w 5166485"/>
              <a:gd name="connsiteY239" fmla="*/ 3458431 h 6855583"/>
              <a:gd name="connsiteX240" fmla="*/ 513909 w 5166485"/>
              <a:gd name="connsiteY240" fmla="*/ 3445896 h 6855583"/>
              <a:gd name="connsiteX241" fmla="*/ 520601 w 5166485"/>
              <a:gd name="connsiteY241" fmla="*/ 3441758 h 6855583"/>
              <a:gd name="connsiteX242" fmla="*/ 534185 w 5166485"/>
              <a:gd name="connsiteY242" fmla="*/ 3432019 h 6855583"/>
              <a:gd name="connsiteX243" fmla="*/ 582120 w 5166485"/>
              <a:gd name="connsiteY243" fmla="*/ 3403709 h 6855583"/>
              <a:gd name="connsiteX244" fmla="*/ 599514 w 5166485"/>
              <a:gd name="connsiteY244" fmla="*/ 3392950 h 6855583"/>
              <a:gd name="connsiteX245" fmla="*/ 604468 w 5166485"/>
              <a:gd name="connsiteY245" fmla="*/ 3390510 h 6855583"/>
              <a:gd name="connsiteX246" fmla="*/ 615351 w 5166485"/>
              <a:gd name="connsiteY246" fmla="*/ 3384083 h 6855583"/>
              <a:gd name="connsiteX247" fmla="*/ 673670 w 5166485"/>
              <a:gd name="connsiteY247" fmla="*/ 3356422 h 6855583"/>
              <a:gd name="connsiteX248" fmla="*/ 689699 w 5166485"/>
              <a:gd name="connsiteY248" fmla="*/ 3348524 h 6855583"/>
              <a:gd name="connsiteX249" fmla="*/ 692665 w 5166485"/>
              <a:gd name="connsiteY249" fmla="*/ 3347410 h 6855583"/>
              <a:gd name="connsiteX250" fmla="*/ 700468 w 5166485"/>
              <a:gd name="connsiteY250" fmla="*/ 3343710 h 6855583"/>
              <a:gd name="connsiteX251" fmla="*/ 776485 w 5166485"/>
              <a:gd name="connsiteY251" fmla="*/ 3315941 h 6855583"/>
              <a:gd name="connsiteX252" fmla="*/ 784019 w 5166485"/>
              <a:gd name="connsiteY252" fmla="*/ 3313112 h 6855583"/>
              <a:gd name="connsiteX253" fmla="*/ 784777 w 5166485"/>
              <a:gd name="connsiteY253" fmla="*/ 3312912 h 6855583"/>
              <a:gd name="connsiteX254" fmla="*/ 789167 w 5166485"/>
              <a:gd name="connsiteY254" fmla="*/ 3311308 h 6855583"/>
              <a:gd name="connsiteX255" fmla="*/ 975831 w 5166485"/>
              <a:gd name="connsiteY255" fmla="*/ 3272037 h 6855583"/>
              <a:gd name="connsiteX256" fmla="*/ 980073 w 5166485"/>
              <a:gd name="connsiteY256" fmla="*/ 3271801 h 6855583"/>
              <a:gd name="connsiteX257" fmla="*/ 983256 w 5166485"/>
              <a:gd name="connsiteY257" fmla="*/ 3271301 h 6855583"/>
              <a:gd name="connsiteX258" fmla="*/ 1035718 w 5166485"/>
              <a:gd name="connsiteY258" fmla="*/ 3268571 h 6855583"/>
              <a:gd name="connsiteX259" fmla="*/ 1035718 w 5166485"/>
              <a:gd name="connsiteY259" fmla="*/ 3265890 h 6855583"/>
              <a:gd name="connsiteX260" fmla="*/ 1086616 w 5166485"/>
              <a:gd name="connsiteY260" fmla="*/ 3265890 h 6855583"/>
              <a:gd name="connsiteX261" fmla="*/ 4098476 w 5166485"/>
              <a:gd name="connsiteY261" fmla="*/ 852993 h 6855583"/>
              <a:gd name="connsiteX262" fmla="*/ 5166485 w 5166485"/>
              <a:gd name="connsiteY262" fmla="*/ 1921002 h 6855583"/>
              <a:gd name="connsiteX263" fmla="*/ 4207674 w 5166485"/>
              <a:gd name="connsiteY263" fmla="*/ 2983496 h 6855583"/>
              <a:gd name="connsiteX264" fmla="*/ 4112812 w 5166485"/>
              <a:gd name="connsiteY264" fmla="*/ 2988286 h 6855583"/>
              <a:gd name="connsiteX265" fmla="*/ 4112812 w 5166485"/>
              <a:gd name="connsiteY265" fmla="*/ 2989010 h 6855583"/>
              <a:gd name="connsiteX266" fmla="*/ 4098476 w 5166485"/>
              <a:gd name="connsiteY266" fmla="*/ 2989010 h 6855583"/>
              <a:gd name="connsiteX267" fmla="*/ 3030468 w 5166485"/>
              <a:gd name="connsiteY267" fmla="*/ 2989010 h 6855583"/>
              <a:gd name="connsiteX268" fmla="*/ 3030468 w 5166485"/>
              <a:gd name="connsiteY268" fmla="*/ 1921011 h 6855583"/>
              <a:gd name="connsiteX269" fmla="*/ 3030468 w 5166485"/>
              <a:gd name="connsiteY269" fmla="*/ 1921002 h 6855583"/>
              <a:gd name="connsiteX270" fmla="*/ 3030468 w 5166485"/>
              <a:gd name="connsiteY270" fmla="*/ 1920991 h 6855583"/>
              <a:gd name="connsiteX271" fmla="*/ 3030468 w 5166485"/>
              <a:gd name="connsiteY271" fmla="*/ 1870827 h 6855583"/>
              <a:gd name="connsiteX272" fmla="*/ 3033002 w 5166485"/>
              <a:gd name="connsiteY272" fmla="*/ 1870827 h 6855583"/>
              <a:gd name="connsiteX273" fmla="*/ 3035982 w 5166485"/>
              <a:gd name="connsiteY273" fmla="*/ 1811804 h 6855583"/>
              <a:gd name="connsiteX274" fmla="*/ 4098476 w 5166485"/>
              <a:gd name="connsiteY274" fmla="*/ 852993 h 6855583"/>
              <a:gd name="connsiteX275" fmla="*/ 988607 w 5166485"/>
              <a:gd name="connsiteY275" fmla="*/ 0 h 6855583"/>
              <a:gd name="connsiteX276" fmla="*/ 988617 w 5166485"/>
              <a:gd name="connsiteY276" fmla="*/ 1 h 6855583"/>
              <a:gd name="connsiteX277" fmla="*/ 989198 w 5166485"/>
              <a:gd name="connsiteY277" fmla="*/ 1 h 6855583"/>
              <a:gd name="connsiteX278" fmla="*/ 1018562 w 5166485"/>
              <a:gd name="connsiteY278" fmla="*/ 1 h 6855583"/>
              <a:gd name="connsiteX279" fmla="*/ 1064868 w 5166485"/>
              <a:gd name="connsiteY279" fmla="*/ 1 h 6855583"/>
              <a:gd name="connsiteX280" fmla="*/ 1064878 w 5166485"/>
              <a:gd name="connsiteY280" fmla="*/ 0 h 6855583"/>
              <a:gd name="connsiteX281" fmla="*/ 1064887 w 5166485"/>
              <a:gd name="connsiteY281" fmla="*/ 1 h 6855583"/>
              <a:gd name="connsiteX282" fmla="*/ 1065468 w 5166485"/>
              <a:gd name="connsiteY282" fmla="*/ 1 h 6855583"/>
              <a:gd name="connsiteX283" fmla="*/ 1638703 w 5166485"/>
              <a:gd name="connsiteY283" fmla="*/ 1 h 6855583"/>
              <a:gd name="connsiteX284" fmla="*/ 1685008 w 5166485"/>
              <a:gd name="connsiteY284" fmla="*/ 1 h 6855583"/>
              <a:gd name="connsiteX285" fmla="*/ 1685018 w 5166485"/>
              <a:gd name="connsiteY285" fmla="*/ 0 h 6855583"/>
              <a:gd name="connsiteX286" fmla="*/ 1685028 w 5166485"/>
              <a:gd name="connsiteY286" fmla="*/ 1 h 6855583"/>
              <a:gd name="connsiteX287" fmla="*/ 1685609 w 5166485"/>
              <a:gd name="connsiteY287" fmla="*/ 1 h 6855583"/>
              <a:gd name="connsiteX288" fmla="*/ 1714972 w 5166485"/>
              <a:gd name="connsiteY288" fmla="*/ 1 h 6855583"/>
              <a:gd name="connsiteX289" fmla="*/ 1761279 w 5166485"/>
              <a:gd name="connsiteY289" fmla="*/ 1 h 6855583"/>
              <a:gd name="connsiteX290" fmla="*/ 1761288 w 5166485"/>
              <a:gd name="connsiteY290" fmla="*/ 0 h 6855583"/>
              <a:gd name="connsiteX291" fmla="*/ 1761297 w 5166485"/>
              <a:gd name="connsiteY291" fmla="*/ 1 h 6855583"/>
              <a:gd name="connsiteX292" fmla="*/ 1761879 w 5166485"/>
              <a:gd name="connsiteY292" fmla="*/ 1 h 6855583"/>
              <a:gd name="connsiteX293" fmla="*/ 1974481 w 5166485"/>
              <a:gd name="connsiteY293" fmla="*/ 1 h 6855583"/>
              <a:gd name="connsiteX294" fmla="*/ 2050751 w 5166485"/>
              <a:gd name="connsiteY294" fmla="*/ 1 h 6855583"/>
              <a:gd name="connsiteX295" fmla="*/ 2670892 w 5166485"/>
              <a:gd name="connsiteY295" fmla="*/ 1 h 6855583"/>
              <a:gd name="connsiteX296" fmla="*/ 2747162 w 5166485"/>
              <a:gd name="connsiteY296" fmla="*/ 1 h 6855583"/>
              <a:gd name="connsiteX297" fmla="*/ 2747162 w 5166485"/>
              <a:gd name="connsiteY297" fmla="*/ 849474 h 6855583"/>
              <a:gd name="connsiteX298" fmla="*/ 2745606 w 5166485"/>
              <a:gd name="connsiteY298" fmla="*/ 849474 h 6855583"/>
              <a:gd name="connsiteX299" fmla="*/ 2745606 w 5166485"/>
              <a:gd name="connsiteY299" fmla="*/ 1065915 h 6855583"/>
              <a:gd name="connsiteX300" fmla="*/ 2746772 w 5166485"/>
              <a:gd name="connsiteY300" fmla="*/ 1065915 h 6855583"/>
              <a:gd name="connsiteX301" fmla="*/ 2746772 w 5166485"/>
              <a:gd name="connsiteY301" fmla="*/ 1136245 h 6855583"/>
              <a:gd name="connsiteX302" fmla="*/ 2746772 w 5166485"/>
              <a:gd name="connsiteY302" fmla="*/ 1390429 h 6855583"/>
              <a:gd name="connsiteX303" fmla="*/ 2746772 w 5166485"/>
              <a:gd name="connsiteY303" fmla="*/ 1922616 h 6855583"/>
              <a:gd name="connsiteX304" fmla="*/ 2746772 w 5166485"/>
              <a:gd name="connsiteY304" fmla="*/ 1946508 h 6855583"/>
              <a:gd name="connsiteX305" fmla="*/ 2746772 w 5166485"/>
              <a:gd name="connsiteY305" fmla="*/ 2121884 h 6855583"/>
              <a:gd name="connsiteX306" fmla="*/ 2745595 w 5166485"/>
              <a:gd name="connsiteY306" fmla="*/ 2121884 h 6855583"/>
              <a:gd name="connsiteX307" fmla="*/ 2745595 w 5166485"/>
              <a:gd name="connsiteY307" fmla="*/ 2122187 h 6855583"/>
              <a:gd name="connsiteX308" fmla="*/ 2745595 w 5166485"/>
              <a:gd name="connsiteY308" fmla="*/ 2135156 h 6855583"/>
              <a:gd name="connsiteX309" fmla="*/ 2745595 w 5166485"/>
              <a:gd name="connsiteY309" fmla="*/ 2175445 h 6855583"/>
              <a:gd name="connsiteX310" fmla="*/ 2743134 w 5166485"/>
              <a:gd name="connsiteY310" fmla="*/ 2175445 h 6855583"/>
              <a:gd name="connsiteX311" fmla="*/ 2741116 w 5166485"/>
              <a:gd name="connsiteY311" fmla="*/ 2219143 h 6855583"/>
              <a:gd name="connsiteX312" fmla="*/ 2740603 w 5166485"/>
              <a:gd name="connsiteY312" fmla="*/ 2222901 h 6855583"/>
              <a:gd name="connsiteX313" fmla="*/ 2740500 w 5166485"/>
              <a:gd name="connsiteY313" fmla="*/ 2224976 h 6855583"/>
              <a:gd name="connsiteX314" fmla="*/ 2737627 w 5166485"/>
              <a:gd name="connsiteY314" fmla="*/ 2244685 h 6855583"/>
              <a:gd name="connsiteX315" fmla="*/ 2735536 w 5166485"/>
              <a:gd name="connsiteY315" fmla="*/ 2259998 h 6855583"/>
              <a:gd name="connsiteX316" fmla="*/ 2735536 w 5166485"/>
              <a:gd name="connsiteY316" fmla="*/ 2291981 h 6855583"/>
              <a:gd name="connsiteX317" fmla="*/ 2733075 w 5166485"/>
              <a:gd name="connsiteY317" fmla="*/ 2291981 h 6855583"/>
              <a:gd name="connsiteX318" fmla="*/ 2731057 w 5166485"/>
              <a:gd name="connsiteY318" fmla="*/ 2336433 h 6855583"/>
              <a:gd name="connsiteX319" fmla="*/ 2730544 w 5166485"/>
              <a:gd name="connsiteY319" fmla="*/ 2340255 h 6855583"/>
              <a:gd name="connsiteX320" fmla="*/ 2730441 w 5166485"/>
              <a:gd name="connsiteY320" fmla="*/ 2342367 h 6855583"/>
              <a:gd name="connsiteX321" fmla="*/ 2727568 w 5166485"/>
              <a:gd name="connsiteY321" fmla="*/ 2362415 h 6855583"/>
              <a:gd name="connsiteX322" fmla="*/ 2718964 w 5166485"/>
              <a:gd name="connsiteY322" fmla="*/ 2426508 h 6855583"/>
              <a:gd name="connsiteX323" fmla="*/ 2717329 w 5166485"/>
              <a:gd name="connsiteY323" fmla="*/ 2433880 h 6855583"/>
              <a:gd name="connsiteX324" fmla="*/ 2716706 w 5166485"/>
              <a:gd name="connsiteY324" fmla="*/ 2438222 h 6855583"/>
              <a:gd name="connsiteX325" fmla="*/ 2711395 w 5166485"/>
              <a:gd name="connsiteY325" fmla="*/ 2460635 h 6855583"/>
              <a:gd name="connsiteX326" fmla="*/ 2699576 w 5166485"/>
              <a:gd name="connsiteY326" fmla="*/ 2513912 h 6855583"/>
              <a:gd name="connsiteX327" fmla="*/ 2696210 w 5166485"/>
              <a:gd name="connsiteY327" fmla="*/ 2524690 h 6855583"/>
              <a:gd name="connsiteX328" fmla="*/ 2694719 w 5166485"/>
              <a:gd name="connsiteY328" fmla="*/ 2530980 h 6855583"/>
              <a:gd name="connsiteX329" fmla="*/ 2687551 w 5166485"/>
              <a:gd name="connsiteY329" fmla="*/ 2552423 h 6855583"/>
              <a:gd name="connsiteX330" fmla="*/ 2673227 w 5166485"/>
              <a:gd name="connsiteY330" fmla="*/ 2598293 h 6855583"/>
              <a:gd name="connsiteX331" fmla="*/ 2667561 w 5166485"/>
              <a:gd name="connsiteY331" fmla="*/ 2612213 h 6855583"/>
              <a:gd name="connsiteX332" fmla="*/ 2664886 w 5166485"/>
              <a:gd name="connsiteY332" fmla="*/ 2620217 h 6855583"/>
              <a:gd name="connsiteX333" fmla="*/ 2656402 w 5166485"/>
              <a:gd name="connsiteY333" fmla="*/ 2639632 h 6855583"/>
              <a:gd name="connsiteX334" fmla="*/ 2640256 w 5166485"/>
              <a:gd name="connsiteY334" fmla="*/ 2679301 h 6855583"/>
              <a:gd name="connsiteX335" fmla="*/ 2631748 w 5166485"/>
              <a:gd name="connsiteY335" fmla="*/ 2696048 h 6855583"/>
              <a:gd name="connsiteX336" fmla="*/ 2627616 w 5166485"/>
              <a:gd name="connsiteY336" fmla="*/ 2705505 h 6855583"/>
              <a:gd name="connsiteX337" fmla="*/ 2618309 w 5166485"/>
              <a:gd name="connsiteY337" fmla="*/ 2722504 h 6855583"/>
              <a:gd name="connsiteX338" fmla="*/ 2600997 w 5166485"/>
              <a:gd name="connsiteY338" fmla="*/ 2756585 h 6855583"/>
              <a:gd name="connsiteX339" fmla="*/ 2589134 w 5166485"/>
              <a:gd name="connsiteY339" fmla="*/ 2775797 h 6855583"/>
              <a:gd name="connsiteX340" fmla="*/ 2583319 w 5166485"/>
              <a:gd name="connsiteY340" fmla="*/ 2786419 h 6855583"/>
              <a:gd name="connsiteX341" fmla="*/ 2573641 w 5166485"/>
              <a:gd name="connsiteY341" fmla="*/ 2800885 h 6855583"/>
              <a:gd name="connsiteX342" fmla="*/ 2555790 w 5166485"/>
              <a:gd name="connsiteY342" fmla="*/ 2829795 h 6855583"/>
              <a:gd name="connsiteX343" fmla="*/ 2540073 w 5166485"/>
              <a:gd name="connsiteY343" fmla="*/ 2851064 h 6855583"/>
              <a:gd name="connsiteX344" fmla="*/ 2532404 w 5166485"/>
              <a:gd name="connsiteY344" fmla="*/ 2862531 h 6855583"/>
              <a:gd name="connsiteX345" fmla="*/ 2522765 w 5166485"/>
              <a:gd name="connsiteY345" fmla="*/ 2874490 h 6855583"/>
              <a:gd name="connsiteX346" fmla="*/ 2504967 w 5166485"/>
              <a:gd name="connsiteY346" fmla="*/ 2898578 h 6855583"/>
              <a:gd name="connsiteX347" fmla="*/ 2484913 w 5166485"/>
              <a:gd name="connsiteY347" fmla="*/ 2921459 h 6855583"/>
              <a:gd name="connsiteX348" fmla="*/ 2475277 w 5166485"/>
              <a:gd name="connsiteY348" fmla="*/ 2933417 h 6855583"/>
              <a:gd name="connsiteX349" fmla="*/ 2466050 w 5166485"/>
              <a:gd name="connsiteY349" fmla="*/ 2942981 h 6855583"/>
              <a:gd name="connsiteX350" fmla="*/ 2448868 w 5166485"/>
              <a:gd name="connsiteY350" fmla="*/ 2962585 h 6855583"/>
              <a:gd name="connsiteX351" fmla="*/ 2423976 w 5166485"/>
              <a:gd name="connsiteY351" fmla="*/ 2986596 h 6855583"/>
              <a:gd name="connsiteX352" fmla="*/ 2412348 w 5166485"/>
              <a:gd name="connsiteY352" fmla="*/ 2998650 h 6855583"/>
              <a:gd name="connsiteX353" fmla="*/ 2403870 w 5166485"/>
              <a:gd name="connsiteY353" fmla="*/ 3005990 h 6855583"/>
              <a:gd name="connsiteX354" fmla="*/ 2387828 w 5166485"/>
              <a:gd name="connsiteY354" fmla="*/ 3021464 h 6855583"/>
              <a:gd name="connsiteX355" fmla="*/ 2357540 w 5166485"/>
              <a:gd name="connsiteY355" fmla="*/ 3046103 h 6855583"/>
              <a:gd name="connsiteX356" fmla="*/ 2344025 w 5166485"/>
              <a:gd name="connsiteY356" fmla="*/ 3057805 h 6855583"/>
              <a:gd name="connsiteX357" fmla="*/ 2336603 w 5166485"/>
              <a:gd name="connsiteY357" fmla="*/ 3063135 h 6855583"/>
              <a:gd name="connsiteX358" fmla="*/ 2322182 w 5166485"/>
              <a:gd name="connsiteY358" fmla="*/ 3074865 h 6855583"/>
              <a:gd name="connsiteX359" fmla="*/ 2285787 w 5166485"/>
              <a:gd name="connsiteY359" fmla="*/ 3099631 h 6855583"/>
              <a:gd name="connsiteX360" fmla="*/ 2270718 w 5166485"/>
              <a:gd name="connsiteY360" fmla="*/ 3110454 h 6855583"/>
              <a:gd name="connsiteX361" fmla="*/ 2264629 w 5166485"/>
              <a:gd name="connsiteY361" fmla="*/ 3114027 h 6855583"/>
              <a:gd name="connsiteX362" fmla="*/ 2252269 w 5166485"/>
              <a:gd name="connsiteY362" fmla="*/ 3122437 h 6855583"/>
              <a:gd name="connsiteX363" fmla="*/ 2208660 w 5166485"/>
              <a:gd name="connsiteY363" fmla="*/ 3146882 h 6855583"/>
              <a:gd name="connsiteX364" fmla="*/ 2192835 w 5166485"/>
              <a:gd name="connsiteY364" fmla="*/ 3156172 h 6855583"/>
              <a:gd name="connsiteX365" fmla="*/ 2188328 w 5166485"/>
              <a:gd name="connsiteY365" fmla="*/ 3158279 h 6855583"/>
              <a:gd name="connsiteX366" fmla="*/ 2178425 w 5166485"/>
              <a:gd name="connsiteY366" fmla="*/ 3163830 h 6855583"/>
              <a:gd name="connsiteX367" fmla="*/ 2125368 w 5166485"/>
              <a:gd name="connsiteY367" fmla="*/ 3187714 h 6855583"/>
              <a:gd name="connsiteX368" fmla="*/ 2110783 w 5166485"/>
              <a:gd name="connsiteY368" fmla="*/ 3194534 h 6855583"/>
              <a:gd name="connsiteX369" fmla="*/ 2108085 w 5166485"/>
              <a:gd name="connsiteY369" fmla="*/ 3195495 h 6855583"/>
              <a:gd name="connsiteX370" fmla="*/ 2100986 w 5166485"/>
              <a:gd name="connsiteY370" fmla="*/ 3198691 h 6855583"/>
              <a:gd name="connsiteX371" fmla="*/ 2031826 w 5166485"/>
              <a:gd name="connsiteY371" fmla="*/ 3222668 h 6855583"/>
              <a:gd name="connsiteX372" fmla="*/ 2024972 w 5166485"/>
              <a:gd name="connsiteY372" fmla="*/ 3225111 h 6855583"/>
              <a:gd name="connsiteX373" fmla="*/ 2024283 w 5166485"/>
              <a:gd name="connsiteY373" fmla="*/ 3225284 h 6855583"/>
              <a:gd name="connsiteX374" fmla="*/ 2020288 w 5166485"/>
              <a:gd name="connsiteY374" fmla="*/ 3226670 h 6855583"/>
              <a:gd name="connsiteX375" fmla="*/ 1850461 w 5166485"/>
              <a:gd name="connsiteY375" fmla="*/ 3260580 h 6855583"/>
              <a:gd name="connsiteX376" fmla="*/ 1846605 w 5166485"/>
              <a:gd name="connsiteY376" fmla="*/ 3260783 h 6855583"/>
              <a:gd name="connsiteX377" fmla="*/ 1843708 w 5166485"/>
              <a:gd name="connsiteY377" fmla="*/ 3261214 h 6855583"/>
              <a:gd name="connsiteX378" fmla="*/ 1795978 w 5166485"/>
              <a:gd name="connsiteY378" fmla="*/ 3263571 h 6855583"/>
              <a:gd name="connsiteX379" fmla="*/ 1795978 w 5166485"/>
              <a:gd name="connsiteY379" fmla="*/ 3265886 h 6855583"/>
              <a:gd name="connsiteX380" fmla="*/ 1749672 w 5166485"/>
              <a:gd name="connsiteY380" fmla="*/ 3265886 h 6855583"/>
              <a:gd name="connsiteX381" fmla="*/ 1749662 w 5166485"/>
              <a:gd name="connsiteY381" fmla="*/ 3265887 h 6855583"/>
              <a:gd name="connsiteX382" fmla="*/ 1749653 w 5166485"/>
              <a:gd name="connsiteY382" fmla="*/ 3265886 h 6855583"/>
              <a:gd name="connsiteX383" fmla="*/ 1749071 w 5166485"/>
              <a:gd name="connsiteY383" fmla="*/ 3265886 h 6855583"/>
              <a:gd name="connsiteX384" fmla="*/ 1729765 w 5166485"/>
              <a:gd name="connsiteY384" fmla="*/ 3265886 h 6855583"/>
              <a:gd name="connsiteX385" fmla="*/ 1683460 w 5166485"/>
              <a:gd name="connsiteY385" fmla="*/ 3265886 h 6855583"/>
              <a:gd name="connsiteX386" fmla="*/ 1683450 w 5166485"/>
              <a:gd name="connsiteY386" fmla="*/ 3265887 h 6855583"/>
              <a:gd name="connsiteX387" fmla="*/ 1683441 w 5166485"/>
              <a:gd name="connsiteY387" fmla="*/ 3265886 h 6855583"/>
              <a:gd name="connsiteX388" fmla="*/ 1682859 w 5166485"/>
              <a:gd name="connsiteY388" fmla="*/ 3265886 h 6855583"/>
              <a:gd name="connsiteX389" fmla="*/ 1099567 w 5166485"/>
              <a:gd name="connsiteY389" fmla="*/ 3265887 h 6855583"/>
              <a:gd name="connsiteX390" fmla="*/ 1053261 w 5166485"/>
              <a:gd name="connsiteY390" fmla="*/ 3265887 h 6855583"/>
              <a:gd name="connsiteX391" fmla="*/ 1053251 w 5166485"/>
              <a:gd name="connsiteY391" fmla="*/ 3265887 h 6855583"/>
              <a:gd name="connsiteX392" fmla="*/ 1053242 w 5166485"/>
              <a:gd name="connsiteY392" fmla="*/ 3265887 h 6855583"/>
              <a:gd name="connsiteX393" fmla="*/ 1052660 w 5166485"/>
              <a:gd name="connsiteY393" fmla="*/ 3265887 h 6855583"/>
              <a:gd name="connsiteX394" fmla="*/ 1033356 w 5166485"/>
              <a:gd name="connsiteY394" fmla="*/ 3265887 h 6855583"/>
              <a:gd name="connsiteX395" fmla="*/ 987049 w 5166485"/>
              <a:gd name="connsiteY395" fmla="*/ 3265887 h 6855583"/>
              <a:gd name="connsiteX396" fmla="*/ 987040 w 5166485"/>
              <a:gd name="connsiteY396" fmla="*/ 3265887 h 6855583"/>
              <a:gd name="connsiteX397" fmla="*/ 987030 w 5166485"/>
              <a:gd name="connsiteY397" fmla="*/ 3265887 h 6855583"/>
              <a:gd name="connsiteX398" fmla="*/ 986449 w 5166485"/>
              <a:gd name="connsiteY398" fmla="*/ 3265887 h 6855583"/>
              <a:gd name="connsiteX399" fmla="*/ 763788 w 5166485"/>
              <a:gd name="connsiteY399" fmla="*/ 3265887 h 6855583"/>
              <a:gd name="connsiteX400" fmla="*/ 697577 w 5166485"/>
              <a:gd name="connsiteY400" fmla="*/ 3265887 h 6855583"/>
              <a:gd name="connsiteX401" fmla="*/ 67379 w 5166485"/>
              <a:gd name="connsiteY401" fmla="*/ 3265887 h 6855583"/>
              <a:gd name="connsiteX402" fmla="*/ 1166 w 5166485"/>
              <a:gd name="connsiteY402" fmla="*/ 3265887 h 6855583"/>
              <a:gd name="connsiteX403" fmla="*/ 1166 w 5166485"/>
              <a:gd name="connsiteY403" fmla="*/ 3132833 h 6855583"/>
              <a:gd name="connsiteX404" fmla="*/ 1166 w 5166485"/>
              <a:gd name="connsiteY404" fmla="*/ 2291981 h 6855583"/>
              <a:gd name="connsiteX405" fmla="*/ 0 w 5166485"/>
              <a:gd name="connsiteY405" fmla="*/ 2291981 h 6855583"/>
              <a:gd name="connsiteX406" fmla="*/ 0 w 5166485"/>
              <a:gd name="connsiteY406" fmla="*/ 2237497 h 6855583"/>
              <a:gd name="connsiteX407" fmla="*/ 0 w 5166485"/>
              <a:gd name="connsiteY407" fmla="*/ 2175445 h 6855583"/>
              <a:gd name="connsiteX408" fmla="*/ 0 w 5166485"/>
              <a:gd name="connsiteY408" fmla="*/ 2121884 h 6855583"/>
              <a:gd name="connsiteX409" fmla="*/ 0 w 5166485"/>
              <a:gd name="connsiteY409" fmla="*/ 2059094 h 6855583"/>
              <a:gd name="connsiteX410" fmla="*/ 0 w 5166485"/>
              <a:gd name="connsiteY410" fmla="*/ 2034789 h 6855583"/>
              <a:gd name="connsiteX411" fmla="*/ 0 w 5166485"/>
              <a:gd name="connsiteY411" fmla="*/ 1946508 h 6855583"/>
              <a:gd name="connsiteX412" fmla="*/ 0 w 5166485"/>
              <a:gd name="connsiteY412" fmla="*/ 1922616 h 6855583"/>
              <a:gd name="connsiteX413" fmla="*/ 0 w 5166485"/>
              <a:gd name="connsiteY413" fmla="*/ 1493422 h 6855583"/>
              <a:gd name="connsiteX414" fmla="*/ 0 w 5166485"/>
              <a:gd name="connsiteY414" fmla="*/ 1390429 h 6855583"/>
              <a:gd name="connsiteX415" fmla="*/ 0 w 5166485"/>
              <a:gd name="connsiteY415" fmla="*/ 1234853 h 6855583"/>
              <a:gd name="connsiteX416" fmla="*/ 0 w 5166485"/>
              <a:gd name="connsiteY416" fmla="*/ 1136246 h 6855583"/>
              <a:gd name="connsiteX417" fmla="*/ 1178 w 5166485"/>
              <a:gd name="connsiteY417" fmla="*/ 1136246 h 6855583"/>
              <a:gd name="connsiteX418" fmla="*/ 1178 w 5166485"/>
              <a:gd name="connsiteY418" fmla="*/ 1136245 h 6855583"/>
              <a:gd name="connsiteX419" fmla="*/ 1178 w 5166485"/>
              <a:gd name="connsiteY419" fmla="*/ 1135849 h 6855583"/>
              <a:gd name="connsiteX420" fmla="*/ 1178 w 5166485"/>
              <a:gd name="connsiteY420" fmla="*/ 1118819 h 6855583"/>
              <a:gd name="connsiteX421" fmla="*/ 1178 w 5166485"/>
              <a:gd name="connsiteY421" fmla="*/ 1065915 h 6855583"/>
              <a:gd name="connsiteX422" fmla="*/ 3638 w 5166485"/>
              <a:gd name="connsiteY422" fmla="*/ 1065915 h 6855583"/>
              <a:gd name="connsiteX423" fmla="*/ 5656 w 5166485"/>
              <a:gd name="connsiteY423" fmla="*/ 1008533 h 6855583"/>
              <a:gd name="connsiteX424" fmla="*/ 6170 w 5166485"/>
              <a:gd name="connsiteY424" fmla="*/ 1003598 h 6855583"/>
              <a:gd name="connsiteX425" fmla="*/ 6271 w 5166485"/>
              <a:gd name="connsiteY425" fmla="*/ 1000874 h 6855583"/>
              <a:gd name="connsiteX426" fmla="*/ 9144 w 5166485"/>
              <a:gd name="connsiteY426" fmla="*/ 974994 h 6855583"/>
              <a:gd name="connsiteX427" fmla="*/ 17749 w 5166485"/>
              <a:gd name="connsiteY427" fmla="*/ 892259 h 6855583"/>
              <a:gd name="connsiteX428" fmla="*/ 19384 w 5166485"/>
              <a:gd name="connsiteY428" fmla="*/ 882743 h 6855583"/>
              <a:gd name="connsiteX429" fmla="*/ 20006 w 5166485"/>
              <a:gd name="connsiteY429" fmla="*/ 877139 h 6855583"/>
              <a:gd name="connsiteX430" fmla="*/ 25086 w 5166485"/>
              <a:gd name="connsiteY430" fmla="*/ 849474 h 6855583"/>
              <a:gd name="connsiteX431" fmla="*/ 26643 w 5166485"/>
              <a:gd name="connsiteY431" fmla="*/ 849474 h 6855583"/>
              <a:gd name="connsiteX432" fmla="*/ 26876 w 5166485"/>
              <a:gd name="connsiteY432" fmla="*/ 848439 h 6855583"/>
              <a:gd name="connsiteX433" fmla="*/ 38694 w 5166485"/>
              <a:gd name="connsiteY433" fmla="*/ 792304 h 6855583"/>
              <a:gd name="connsiteX434" fmla="*/ 42059 w 5166485"/>
              <a:gd name="connsiteY434" fmla="*/ 780948 h 6855583"/>
              <a:gd name="connsiteX435" fmla="*/ 43550 w 5166485"/>
              <a:gd name="connsiteY435" fmla="*/ 774321 h 6855583"/>
              <a:gd name="connsiteX436" fmla="*/ 50718 w 5166485"/>
              <a:gd name="connsiteY436" fmla="*/ 751729 h 6855583"/>
              <a:gd name="connsiteX437" fmla="*/ 65042 w 5166485"/>
              <a:gd name="connsiteY437" fmla="*/ 703398 h 6855583"/>
              <a:gd name="connsiteX438" fmla="*/ 70707 w 5166485"/>
              <a:gd name="connsiteY438" fmla="*/ 688731 h 6855583"/>
              <a:gd name="connsiteX439" fmla="*/ 73382 w 5166485"/>
              <a:gd name="connsiteY439" fmla="*/ 680300 h 6855583"/>
              <a:gd name="connsiteX440" fmla="*/ 81869 w 5166485"/>
              <a:gd name="connsiteY440" fmla="*/ 659842 h 6855583"/>
              <a:gd name="connsiteX441" fmla="*/ 98014 w 5166485"/>
              <a:gd name="connsiteY441" fmla="*/ 618045 h 6855583"/>
              <a:gd name="connsiteX442" fmla="*/ 106521 w 5166485"/>
              <a:gd name="connsiteY442" fmla="*/ 600402 h 6855583"/>
              <a:gd name="connsiteX443" fmla="*/ 110652 w 5166485"/>
              <a:gd name="connsiteY443" fmla="*/ 590437 h 6855583"/>
              <a:gd name="connsiteX444" fmla="*/ 119961 w 5166485"/>
              <a:gd name="connsiteY444" fmla="*/ 572526 h 6855583"/>
              <a:gd name="connsiteX445" fmla="*/ 137272 w 5166485"/>
              <a:gd name="connsiteY445" fmla="*/ 536617 h 6855583"/>
              <a:gd name="connsiteX446" fmla="*/ 149135 w 5166485"/>
              <a:gd name="connsiteY446" fmla="*/ 516375 h 6855583"/>
              <a:gd name="connsiteX447" fmla="*/ 154950 w 5166485"/>
              <a:gd name="connsiteY447" fmla="*/ 505184 h 6855583"/>
              <a:gd name="connsiteX448" fmla="*/ 164628 w 5166485"/>
              <a:gd name="connsiteY448" fmla="*/ 489942 h 6855583"/>
              <a:gd name="connsiteX449" fmla="*/ 182480 w 5166485"/>
              <a:gd name="connsiteY449" fmla="*/ 459481 h 6855583"/>
              <a:gd name="connsiteX450" fmla="*/ 198196 w 5166485"/>
              <a:gd name="connsiteY450" fmla="*/ 437070 h 6855583"/>
              <a:gd name="connsiteX451" fmla="*/ 205866 w 5166485"/>
              <a:gd name="connsiteY451" fmla="*/ 424989 h 6855583"/>
              <a:gd name="connsiteX452" fmla="*/ 215505 w 5166485"/>
              <a:gd name="connsiteY452" fmla="*/ 412388 h 6855583"/>
              <a:gd name="connsiteX453" fmla="*/ 233302 w 5166485"/>
              <a:gd name="connsiteY453" fmla="*/ 387010 h 6855583"/>
              <a:gd name="connsiteX454" fmla="*/ 253356 w 5166485"/>
              <a:gd name="connsiteY454" fmla="*/ 362902 h 6855583"/>
              <a:gd name="connsiteX455" fmla="*/ 262993 w 5166485"/>
              <a:gd name="connsiteY455" fmla="*/ 350303 h 6855583"/>
              <a:gd name="connsiteX456" fmla="*/ 272219 w 5166485"/>
              <a:gd name="connsiteY456" fmla="*/ 340225 h 6855583"/>
              <a:gd name="connsiteX457" fmla="*/ 289401 w 5166485"/>
              <a:gd name="connsiteY457" fmla="*/ 319569 h 6855583"/>
              <a:gd name="connsiteX458" fmla="*/ 314295 w 5166485"/>
              <a:gd name="connsiteY458" fmla="*/ 294271 h 6855583"/>
              <a:gd name="connsiteX459" fmla="*/ 325922 w 5166485"/>
              <a:gd name="connsiteY459" fmla="*/ 281570 h 6855583"/>
              <a:gd name="connsiteX460" fmla="*/ 334399 w 5166485"/>
              <a:gd name="connsiteY460" fmla="*/ 273838 h 6855583"/>
              <a:gd name="connsiteX461" fmla="*/ 350443 w 5166485"/>
              <a:gd name="connsiteY461" fmla="*/ 257532 h 6855583"/>
              <a:gd name="connsiteX462" fmla="*/ 380729 w 5166485"/>
              <a:gd name="connsiteY462" fmla="*/ 231573 h 6855583"/>
              <a:gd name="connsiteX463" fmla="*/ 394244 w 5166485"/>
              <a:gd name="connsiteY463" fmla="*/ 219244 h 6855583"/>
              <a:gd name="connsiteX464" fmla="*/ 401667 w 5166485"/>
              <a:gd name="connsiteY464" fmla="*/ 213629 h 6855583"/>
              <a:gd name="connsiteX465" fmla="*/ 416087 w 5166485"/>
              <a:gd name="connsiteY465" fmla="*/ 201267 h 6855583"/>
              <a:gd name="connsiteX466" fmla="*/ 452481 w 5166485"/>
              <a:gd name="connsiteY466" fmla="*/ 175174 h 6855583"/>
              <a:gd name="connsiteX467" fmla="*/ 467551 w 5166485"/>
              <a:gd name="connsiteY467" fmla="*/ 163770 h 6855583"/>
              <a:gd name="connsiteX468" fmla="*/ 473642 w 5166485"/>
              <a:gd name="connsiteY468" fmla="*/ 160005 h 6855583"/>
              <a:gd name="connsiteX469" fmla="*/ 485999 w 5166485"/>
              <a:gd name="connsiteY469" fmla="*/ 151145 h 6855583"/>
              <a:gd name="connsiteX470" fmla="*/ 529610 w 5166485"/>
              <a:gd name="connsiteY470" fmla="*/ 125388 h 6855583"/>
              <a:gd name="connsiteX471" fmla="*/ 545435 w 5166485"/>
              <a:gd name="connsiteY471" fmla="*/ 115600 h 6855583"/>
              <a:gd name="connsiteX472" fmla="*/ 549942 w 5166485"/>
              <a:gd name="connsiteY472" fmla="*/ 113381 h 6855583"/>
              <a:gd name="connsiteX473" fmla="*/ 559845 w 5166485"/>
              <a:gd name="connsiteY473" fmla="*/ 107533 h 6855583"/>
              <a:gd name="connsiteX474" fmla="*/ 612902 w 5166485"/>
              <a:gd name="connsiteY474" fmla="*/ 82367 h 6855583"/>
              <a:gd name="connsiteX475" fmla="*/ 627487 w 5166485"/>
              <a:gd name="connsiteY475" fmla="*/ 75182 h 6855583"/>
              <a:gd name="connsiteX476" fmla="*/ 630185 w 5166485"/>
              <a:gd name="connsiteY476" fmla="*/ 74169 h 6855583"/>
              <a:gd name="connsiteX477" fmla="*/ 637283 w 5166485"/>
              <a:gd name="connsiteY477" fmla="*/ 70802 h 6855583"/>
              <a:gd name="connsiteX478" fmla="*/ 706443 w 5166485"/>
              <a:gd name="connsiteY478" fmla="*/ 45538 h 6855583"/>
              <a:gd name="connsiteX479" fmla="*/ 713297 w 5166485"/>
              <a:gd name="connsiteY479" fmla="*/ 42964 h 6855583"/>
              <a:gd name="connsiteX480" fmla="*/ 713985 w 5166485"/>
              <a:gd name="connsiteY480" fmla="*/ 42781 h 6855583"/>
              <a:gd name="connsiteX481" fmla="*/ 717981 w 5166485"/>
              <a:gd name="connsiteY481" fmla="*/ 41323 h 6855583"/>
              <a:gd name="connsiteX482" fmla="*/ 887808 w 5166485"/>
              <a:gd name="connsiteY482" fmla="*/ 5593 h 6855583"/>
              <a:gd name="connsiteX483" fmla="*/ 891667 w 5166485"/>
              <a:gd name="connsiteY483" fmla="*/ 5380 h 6855583"/>
              <a:gd name="connsiteX484" fmla="*/ 894562 w 5166485"/>
              <a:gd name="connsiteY484" fmla="*/ 4925 h 6855583"/>
              <a:gd name="connsiteX485" fmla="*/ 942291 w 5166485"/>
              <a:gd name="connsiteY485" fmla="*/ 2441 h 6855583"/>
              <a:gd name="connsiteX486" fmla="*/ 942291 w 5166485"/>
              <a:gd name="connsiteY486" fmla="*/ 1 h 6855583"/>
              <a:gd name="connsiteX487" fmla="*/ 988599 w 5166485"/>
              <a:gd name="connsiteY487" fmla="*/ 1 h 6855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</a:cxnLst>
            <a:rect l="l" t="t" r="r" b="b"/>
            <a:pathLst>
              <a:path w="5166485" h="6855583">
                <a:moveTo>
                  <a:pt x="1086626" y="3265888"/>
                </a:moveTo>
                <a:lnTo>
                  <a:pt x="1086635" y="3265890"/>
                </a:lnTo>
                <a:lnTo>
                  <a:pt x="1087274" y="3265890"/>
                </a:lnTo>
                <a:lnTo>
                  <a:pt x="1119550" y="3265890"/>
                </a:lnTo>
                <a:lnTo>
                  <a:pt x="1170447" y="3265890"/>
                </a:lnTo>
                <a:lnTo>
                  <a:pt x="1170458" y="3265888"/>
                </a:lnTo>
                <a:lnTo>
                  <a:pt x="1170468" y="3265890"/>
                </a:lnTo>
                <a:lnTo>
                  <a:pt x="1171107" y="3265890"/>
                </a:lnTo>
                <a:lnTo>
                  <a:pt x="1752107" y="3265890"/>
                </a:lnTo>
                <a:lnTo>
                  <a:pt x="1801177" y="3265890"/>
                </a:lnTo>
                <a:lnTo>
                  <a:pt x="1803005" y="3265890"/>
                </a:lnTo>
                <a:lnTo>
                  <a:pt x="1803015" y="3265888"/>
                </a:lnTo>
                <a:lnTo>
                  <a:pt x="1803026" y="3265890"/>
                </a:lnTo>
                <a:lnTo>
                  <a:pt x="1803664" y="3265890"/>
                </a:lnTo>
                <a:lnTo>
                  <a:pt x="1835940" y="3265890"/>
                </a:lnTo>
                <a:lnTo>
                  <a:pt x="1852074" y="3265890"/>
                </a:lnTo>
                <a:lnTo>
                  <a:pt x="1852084" y="3265888"/>
                </a:lnTo>
                <a:lnTo>
                  <a:pt x="1852095" y="3265890"/>
                </a:lnTo>
                <a:lnTo>
                  <a:pt x="1852734" y="3265890"/>
                </a:lnTo>
                <a:lnTo>
                  <a:pt x="1885010" y="3265890"/>
                </a:lnTo>
                <a:lnTo>
                  <a:pt x="1886837" y="3265890"/>
                </a:lnTo>
                <a:lnTo>
                  <a:pt x="1886846" y="3265888"/>
                </a:lnTo>
                <a:lnTo>
                  <a:pt x="1886857" y="3265890"/>
                </a:lnTo>
                <a:lnTo>
                  <a:pt x="1887496" y="3265890"/>
                </a:lnTo>
                <a:lnTo>
                  <a:pt x="1935905" y="3265890"/>
                </a:lnTo>
                <a:lnTo>
                  <a:pt x="1935916" y="3265888"/>
                </a:lnTo>
                <a:lnTo>
                  <a:pt x="1935926" y="3265890"/>
                </a:lnTo>
                <a:lnTo>
                  <a:pt x="1936565" y="3265890"/>
                </a:lnTo>
                <a:lnTo>
                  <a:pt x="2170246" y="3265890"/>
                </a:lnTo>
                <a:lnTo>
                  <a:pt x="2254079" y="3265890"/>
                </a:lnTo>
                <a:lnTo>
                  <a:pt x="2517566" y="3265890"/>
                </a:lnTo>
                <a:lnTo>
                  <a:pt x="2568463" y="3265890"/>
                </a:lnTo>
                <a:lnTo>
                  <a:pt x="2568473" y="3265888"/>
                </a:lnTo>
                <a:lnTo>
                  <a:pt x="2568484" y="3265890"/>
                </a:lnTo>
                <a:lnTo>
                  <a:pt x="2569123" y="3265890"/>
                </a:lnTo>
                <a:lnTo>
                  <a:pt x="2601399" y="3265890"/>
                </a:lnTo>
                <a:lnTo>
                  <a:pt x="2652295" y="3265890"/>
                </a:lnTo>
                <a:lnTo>
                  <a:pt x="2652306" y="3265888"/>
                </a:lnTo>
                <a:lnTo>
                  <a:pt x="2652315" y="3265890"/>
                </a:lnTo>
                <a:lnTo>
                  <a:pt x="2652954" y="3265890"/>
                </a:lnTo>
                <a:lnTo>
                  <a:pt x="2886635" y="3265890"/>
                </a:lnTo>
                <a:lnTo>
                  <a:pt x="2935705" y="3265890"/>
                </a:lnTo>
                <a:lnTo>
                  <a:pt x="2970468" y="3265890"/>
                </a:lnTo>
                <a:lnTo>
                  <a:pt x="3019538" y="3265890"/>
                </a:lnTo>
                <a:lnTo>
                  <a:pt x="3652094" y="3265890"/>
                </a:lnTo>
                <a:lnTo>
                  <a:pt x="3735927" y="3265890"/>
                </a:lnTo>
                <a:lnTo>
                  <a:pt x="3735927" y="4199586"/>
                </a:lnTo>
                <a:lnTo>
                  <a:pt x="3734217" y="4199586"/>
                </a:lnTo>
                <a:lnTo>
                  <a:pt x="3734217" y="4437486"/>
                </a:lnTo>
                <a:lnTo>
                  <a:pt x="3735499" y="4437486"/>
                </a:lnTo>
                <a:lnTo>
                  <a:pt x="3735499" y="4514790"/>
                </a:lnTo>
                <a:lnTo>
                  <a:pt x="3735499" y="4794177"/>
                </a:lnTo>
                <a:lnTo>
                  <a:pt x="3735500" y="5379128"/>
                </a:lnTo>
                <a:lnTo>
                  <a:pt x="3735500" y="5405390"/>
                </a:lnTo>
                <a:lnTo>
                  <a:pt x="3735500" y="5598154"/>
                </a:lnTo>
                <a:lnTo>
                  <a:pt x="3734205" y="5598154"/>
                </a:lnTo>
                <a:lnTo>
                  <a:pt x="3734205" y="5598486"/>
                </a:lnTo>
                <a:lnTo>
                  <a:pt x="3734205" y="5612740"/>
                </a:lnTo>
                <a:lnTo>
                  <a:pt x="3734205" y="5657025"/>
                </a:lnTo>
                <a:lnTo>
                  <a:pt x="3731500" y="5657025"/>
                </a:lnTo>
                <a:lnTo>
                  <a:pt x="3729283" y="5705056"/>
                </a:lnTo>
                <a:lnTo>
                  <a:pt x="3728718" y="5709186"/>
                </a:lnTo>
                <a:lnTo>
                  <a:pt x="3728606" y="5711467"/>
                </a:lnTo>
                <a:lnTo>
                  <a:pt x="3725448" y="5733130"/>
                </a:lnTo>
                <a:lnTo>
                  <a:pt x="3723149" y="5749961"/>
                </a:lnTo>
                <a:lnTo>
                  <a:pt x="3723149" y="5785114"/>
                </a:lnTo>
                <a:lnTo>
                  <a:pt x="3720444" y="5785114"/>
                </a:lnTo>
                <a:lnTo>
                  <a:pt x="3718226" y="5833975"/>
                </a:lnTo>
                <a:lnTo>
                  <a:pt x="3717662" y="5838176"/>
                </a:lnTo>
                <a:lnTo>
                  <a:pt x="3717549" y="5840496"/>
                </a:lnTo>
                <a:lnTo>
                  <a:pt x="3714391" y="5862534"/>
                </a:lnTo>
                <a:lnTo>
                  <a:pt x="3704933" y="5932981"/>
                </a:lnTo>
                <a:lnTo>
                  <a:pt x="3703137" y="5941083"/>
                </a:lnTo>
                <a:lnTo>
                  <a:pt x="3702452" y="5945855"/>
                </a:lnTo>
                <a:lnTo>
                  <a:pt x="3696614" y="5970492"/>
                </a:lnTo>
                <a:lnTo>
                  <a:pt x="3683622" y="6029051"/>
                </a:lnTo>
                <a:lnTo>
                  <a:pt x="3679923" y="6040897"/>
                </a:lnTo>
                <a:lnTo>
                  <a:pt x="3678285" y="6047812"/>
                </a:lnTo>
                <a:lnTo>
                  <a:pt x="3670406" y="6071379"/>
                </a:lnTo>
                <a:lnTo>
                  <a:pt x="3654662" y="6121798"/>
                </a:lnTo>
                <a:lnTo>
                  <a:pt x="3648434" y="6137099"/>
                </a:lnTo>
                <a:lnTo>
                  <a:pt x="3645495" y="6145895"/>
                </a:lnTo>
                <a:lnTo>
                  <a:pt x="3636168" y="6167235"/>
                </a:lnTo>
                <a:lnTo>
                  <a:pt x="3618421" y="6210838"/>
                </a:lnTo>
                <a:lnTo>
                  <a:pt x="3609070" y="6229244"/>
                </a:lnTo>
                <a:lnTo>
                  <a:pt x="3604529" y="6239639"/>
                </a:lnTo>
                <a:lnTo>
                  <a:pt x="3594298" y="6258324"/>
                </a:lnTo>
                <a:lnTo>
                  <a:pt x="3575270" y="6295785"/>
                </a:lnTo>
                <a:lnTo>
                  <a:pt x="3562231" y="6316901"/>
                </a:lnTo>
                <a:lnTo>
                  <a:pt x="3555841" y="6328575"/>
                </a:lnTo>
                <a:lnTo>
                  <a:pt x="3545203" y="6344476"/>
                </a:lnTo>
                <a:lnTo>
                  <a:pt x="3525580" y="6376252"/>
                </a:lnTo>
                <a:lnTo>
                  <a:pt x="3508306" y="6399630"/>
                </a:lnTo>
                <a:lnTo>
                  <a:pt x="3499876" y="6412234"/>
                </a:lnTo>
                <a:lnTo>
                  <a:pt x="3489281" y="6425379"/>
                </a:lnTo>
                <a:lnTo>
                  <a:pt x="3469720" y="6451856"/>
                </a:lnTo>
                <a:lnTo>
                  <a:pt x="3447676" y="6477005"/>
                </a:lnTo>
                <a:lnTo>
                  <a:pt x="3437085" y="6490148"/>
                </a:lnTo>
                <a:lnTo>
                  <a:pt x="3426944" y="6500661"/>
                </a:lnTo>
                <a:lnTo>
                  <a:pt x="3408058" y="6522209"/>
                </a:lnTo>
                <a:lnTo>
                  <a:pt x="3380698" y="6548600"/>
                </a:lnTo>
                <a:lnTo>
                  <a:pt x="3367917" y="6561848"/>
                </a:lnTo>
                <a:lnTo>
                  <a:pt x="3358599" y="6569916"/>
                </a:lnTo>
                <a:lnTo>
                  <a:pt x="3340966" y="6586926"/>
                </a:lnTo>
                <a:lnTo>
                  <a:pt x="3307673" y="6614008"/>
                </a:lnTo>
                <a:lnTo>
                  <a:pt x="3292820" y="6626869"/>
                </a:lnTo>
                <a:lnTo>
                  <a:pt x="3284662" y="6632728"/>
                </a:lnTo>
                <a:lnTo>
                  <a:pt x="3268811" y="6645621"/>
                </a:lnTo>
                <a:lnTo>
                  <a:pt x="3228808" y="6672841"/>
                </a:lnTo>
                <a:lnTo>
                  <a:pt x="3212245" y="6684739"/>
                </a:lnTo>
                <a:lnTo>
                  <a:pt x="3205551" y="6688665"/>
                </a:lnTo>
                <a:lnTo>
                  <a:pt x="3191968" y="6697909"/>
                </a:lnTo>
                <a:lnTo>
                  <a:pt x="3144033" y="6724779"/>
                </a:lnTo>
                <a:lnTo>
                  <a:pt x="3126640" y="6734990"/>
                </a:lnTo>
                <a:lnTo>
                  <a:pt x="3121686" y="6737306"/>
                </a:lnTo>
                <a:lnTo>
                  <a:pt x="3110802" y="6743407"/>
                </a:lnTo>
                <a:lnTo>
                  <a:pt x="3052483" y="6769660"/>
                </a:lnTo>
                <a:lnTo>
                  <a:pt x="3036452" y="6777154"/>
                </a:lnTo>
                <a:lnTo>
                  <a:pt x="3033487" y="6778211"/>
                </a:lnTo>
                <a:lnTo>
                  <a:pt x="3025684" y="6781724"/>
                </a:lnTo>
                <a:lnTo>
                  <a:pt x="2949668" y="6808079"/>
                </a:lnTo>
                <a:lnTo>
                  <a:pt x="2942133" y="6810763"/>
                </a:lnTo>
                <a:lnTo>
                  <a:pt x="2941376" y="6810955"/>
                </a:lnTo>
                <a:lnTo>
                  <a:pt x="2936985" y="6812477"/>
                </a:lnTo>
                <a:cubicBezTo>
                  <a:pt x="2876741" y="6830372"/>
                  <a:pt x="2814355" y="6842968"/>
                  <a:pt x="2750320" y="6849749"/>
                </a:cubicBezTo>
                <a:lnTo>
                  <a:pt x="2746081" y="6849972"/>
                </a:lnTo>
                <a:lnTo>
                  <a:pt x="2742897" y="6850446"/>
                </a:lnTo>
                <a:lnTo>
                  <a:pt x="2690435" y="6853038"/>
                </a:lnTo>
                <a:lnTo>
                  <a:pt x="2690435" y="6855583"/>
                </a:lnTo>
                <a:lnTo>
                  <a:pt x="2639538" y="6855583"/>
                </a:lnTo>
                <a:lnTo>
                  <a:pt x="2639527" y="6855583"/>
                </a:lnTo>
                <a:lnTo>
                  <a:pt x="2639516" y="6855583"/>
                </a:lnTo>
                <a:lnTo>
                  <a:pt x="2638878" y="6855583"/>
                </a:lnTo>
                <a:lnTo>
                  <a:pt x="2617659" y="6855583"/>
                </a:lnTo>
                <a:lnTo>
                  <a:pt x="2566761" y="6855583"/>
                </a:lnTo>
                <a:lnTo>
                  <a:pt x="2566750" y="6855583"/>
                </a:lnTo>
                <a:lnTo>
                  <a:pt x="2566740" y="6855583"/>
                </a:lnTo>
                <a:lnTo>
                  <a:pt x="2566100" y="6855583"/>
                </a:lnTo>
                <a:lnTo>
                  <a:pt x="1974046" y="6855583"/>
                </a:lnTo>
                <a:lnTo>
                  <a:pt x="1924977" y="6855583"/>
                </a:lnTo>
                <a:lnTo>
                  <a:pt x="1923149" y="6855583"/>
                </a:lnTo>
                <a:lnTo>
                  <a:pt x="1923138" y="6855583"/>
                </a:lnTo>
                <a:lnTo>
                  <a:pt x="1923127" y="6855583"/>
                </a:lnTo>
                <a:lnTo>
                  <a:pt x="1922488" y="6855583"/>
                </a:lnTo>
                <a:lnTo>
                  <a:pt x="1901270" y="6855583"/>
                </a:lnTo>
                <a:lnTo>
                  <a:pt x="1874079" y="6855583"/>
                </a:lnTo>
                <a:lnTo>
                  <a:pt x="1874068" y="6855583"/>
                </a:lnTo>
                <a:lnTo>
                  <a:pt x="1874058" y="6855583"/>
                </a:lnTo>
                <a:lnTo>
                  <a:pt x="1873420" y="6855583"/>
                </a:lnTo>
                <a:lnTo>
                  <a:pt x="1852200" y="6855583"/>
                </a:lnTo>
                <a:lnTo>
                  <a:pt x="1850372" y="6855583"/>
                </a:lnTo>
                <a:lnTo>
                  <a:pt x="1850361" y="6855583"/>
                </a:lnTo>
                <a:lnTo>
                  <a:pt x="1850351" y="6855583"/>
                </a:lnTo>
                <a:lnTo>
                  <a:pt x="1849711" y="6855583"/>
                </a:lnTo>
                <a:lnTo>
                  <a:pt x="1801303" y="6855583"/>
                </a:lnTo>
                <a:lnTo>
                  <a:pt x="1801292" y="6855583"/>
                </a:lnTo>
                <a:lnTo>
                  <a:pt x="1801282" y="6855583"/>
                </a:lnTo>
                <a:lnTo>
                  <a:pt x="1800642" y="6855583"/>
                </a:lnTo>
                <a:lnTo>
                  <a:pt x="1555906" y="6855583"/>
                </a:lnTo>
                <a:lnTo>
                  <a:pt x="1483128" y="6855583"/>
                </a:lnTo>
                <a:lnTo>
                  <a:pt x="1208587" y="6855583"/>
                </a:lnTo>
                <a:lnTo>
                  <a:pt x="1157689" y="6855583"/>
                </a:lnTo>
                <a:lnTo>
                  <a:pt x="1157678" y="6855583"/>
                </a:lnTo>
                <a:lnTo>
                  <a:pt x="1157669" y="6855583"/>
                </a:lnTo>
                <a:lnTo>
                  <a:pt x="1157031" y="6855583"/>
                </a:lnTo>
                <a:lnTo>
                  <a:pt x="1135810" y="6855583"/>
                </a:lnTo>
                <a:lnTo>
                  <a:pt x="1084913" y="6855583"/>
                </a:lnTo>
                <a:lnTo>
                  <a:pt x="1084902" y="6855583"/>
                </a:lnTo>
                <a:lnTo>
                  <a:pt x="1084893" y="6855583"/>
                </a:lnTo>
                <a:lnTo>
                  <a:pt x="1084253" y="6855583"/>
                </a:lnTo>
                <a:lnTo>
                  <a:pt x="839517" y="6855583"/>
                </a:lnTo>
                <a:lnTo>
                  <a:pt x="790448" y="6855583"/>
                </a:lnTo>
                <a:lnTo>
                  <a:pt x="766740" y="6855583"/>
                </a:lnTo>
                <a:lnTo>
                  <a:pt x="717671" y="6855583"/>
                </a:lnTo>
                <a:lnTo>
                  <a:pt x="74059" y="6855583"/>
                </a:lnTo>
                <a:lnTo>
                  <a:pt x="1282" y="6855583"/>
                </a:lnTo>
                <a:lnTo>
                  <a:pt x="1282" y="6709335"/>
                </a:lnTo>
                <a:lnTo>
                  <a:pt x="1282" y="5785114"/>
                </a:lnTo>
                <a:lnTo>
                  <a:pt x="0" y="5785114"/>
                </a:lnTo>
                <a:lnTo>
                  <a:pt x="0" y="5725228"/>
                </a:lnTo>
                <a:lnTo>
                  <a:pt x="0" y="5657025"/>
                </a:lnTo>
                <a:lnTo>
                  <a:pt x="0" y="5598154"/>
                </a:lnTo>
                <a:lnTo>
                  <a:pt x="0" y="5529139"/>
                </a:lnTo>
                <a:lnTo>
                  <a:pt x="0" y="5502424"/>
                </a:lnTo>
                <a:lnTo>
                  <a:pt x="0" y="5405390"/>
                </a:lnTo>
                <a:lnTo>
                  <a:pt x="0" y="5379128"/>
                </a:lnTo>
                <a:lnTo>
                  <a:pt x="0" y="4907380"/>
                </a:lnTo>
                <a:lnTo>
                  <a:pt x="0" y="4794177"/>
                </a:lnTo>
                <a:lnTo>
                  <a:pt x="0" y="4623176"/>
                </a:lnTo>
                <a:lnTo>
                  <a:pt x="0" y="4514791"/>
                </a:lnTo>
                <a:lnTo>
                  <a:pt x="1294" y="4514791"/>
                </a:lnTo>
                <a:lnTo>
                  <a:pt x="1294" y="4514790"/>
                </a:lnTo>
                <a:lnTo>
                  <a:pt x="1294" y="4514355"/>
                </a:lnTo>
                <a:lnTo>
                  <a:pt x="1294" y="4495635"/>
                </a:lnTo>
                <a:lnTo>
                  <a:pt x="1294" y="4437486"/>
                </a:lnTo>
                <a:lnTo>
                  <a:pt x="3998" y="4437486"/>
                </a:lnTo>
                <a:lnTo>
                  <a:pt x="6216" y="4374413"/>
                </a:lnTo>
                <a:lnTo>
                  <a:pt x="6782" y="4368991"/>
                </a:lnTo>
                <a:lnTo>
                  <a:pt x="6892" y="4365997"/>
                </a:lnTo>
                <a:lnTo>
                  <a:pt x="10050" y="4337551"/>
                </a:lnTo>
                <a:lnTo>
                  <a:pt x="19508" y="4246611"/>
                </a:lnTo>
                <a:lnTo>
                  <a:pt x="21306" y="4236154"/>
                </a:lnTo>
                <a:lnTo>
                  <a:pt x="21989" y="4229994"/>
                </a:lnTo>
                <a:lnTo>
                  <a:pt x="27574" y="4199586"/>
                </a:lnTo>
                <a:lnTo>
                  <a:pt x="29284" y="4199586"/>
                </a:lnTo>
                <a:lnTo>
                  <a:pt x="29540" y="4198449"/>
                </a:lnTo>
                <a:lnTo>
                  <a:pt x="42529" y="4136748"/>
                </a:lnTo>
                <a:lnTo>
                  <a:pt x="46228" y="4124266"/>
                </a:lnTo>
                <a:lnTo>
                  <a:pt x="47868" y="4116981"/>
                </a:lnTo>
                <a:lnTo>
                  <a:pt x="55747" y="4092151"/>
                </a:lnTo>
                <a:lnTo>
                  <a:pt x="71490" y="4039027"/>
                </a:lnTo>
                <a:lnTo>
                  <a:pt x="77718" y="4022906"/>
                </a:lnTo>
                <a:lnTo>
                  <a:pt x="80657" y="4013638"/>
                </a:lnTo>
                <a:lnTo>
                  <a:pt x="89984" y="3991153"/>
                </a:lnTo>
                <a:lnTo>
                  <a:pt x="107731" y="3945212"/>
                </a:lnTo>
                <a:lnTo>
                  <a:pt x="117082" y="3925819"/>
                </a:lnTo>
                <a:lnTo>
                  <a:pt x="121624" y="3914866"/>
                </a:lnTo>
                <a:lnTo>
                  <a:pt x="131854" y="3895180"/>
                </a:lnTo>
                <a:lnTo>
                  <a:pt x="150882" y="3855710"/>
                </a:lnTo>
                <a:lnTo>
                  <a:pt x="163921" y="3833461"/>
                </a:lnTo>
                <a:lnTo>
                  <a:pt x="170313" y="3821161"/>
                </a:lnTo>
                <a:lnTo>
                  <a:pt x="180949" y="3804408"/>
                </a:lnTo>
                <a:lnTo>
                  <a:pt x="200571" y="3770926"/>
                </a:lnTo>
                <a:lnTo>
                  <a:pt x="217848" y="3746294"/>
                </a:lnTo>
                <a:lnTo>
                  <a:pt x="226277" y="3733015"/>
                </a:lnTo>
                <a:lnTo>
                  <a:pt x="236872" y="3719164"/>
                </a:lnTo>
                <a:lnTo>
                  <a:pt x="256434" y="3691269"/>
                </a:lnTo>
                <a:lnTo>
                  <a:pt x="278476" y="3664770"/>
                </a:lnTo>
                <a:lnTo>
                  <a:pt x="289068" y="3650922"/>
                </a:lnTo>
                <a:lnTo>
                  <a:pt x="299210" y="3639845"/>
                </a:lnTo>
                <a:lnTo>
                  <a:pt x="318094" y="3617142"/>
                </a:lnTo>
                <a:lnTo>
                  <a:pt x="345456" y="3589336"/>
                </a:lnTo>
                <a:lnTo>
                  <a:pt x="358237" y="3575375"/>
                </a:lnTo>
                <a:lnTo>
                  <a:pt x="367555" y="3566877"/>
                </a:lnTo>
                <a:lnTo>
                  <a:pt x="385187" y="3548953"/>
                </a:lnTo>
                <a:lnTo>
                  <a:pt x="418478" y="3520422"/>
                </a:lnTo>
                <a:lnTo>
                  <a:pt x="433333" y="3506870"/>
                </a:lnTo>
                <a:lnTo>
                  <a:pt x="441492" y="3500699"/>
                </a:lnTo>
                <a:lnTo>
                  <a:pt x="457342" y="3487112"/>
                </a:lnTo>
                <a:lnTo>
                  <a:pt x="497345" y="3458431"/>
                </a:lnTo>
                <a:lnTo>
                  <a:pt x="513909" y="3445896"/>
                </a:lnTo>
                <a:lnTo>
                  <a:pt x="520601" y="3441758"/>
                </a:lnTo>
                <a:lnTo>
                  <a:pt x="534185" y="3432019"/>
                </a:lnTo>
                <a:lnTo>
                  <a:pt x="582120" y="3403709"/>
                </a:lnTo>
                <a:lnTo>
                  <a:pt x="599514" y="3392950"/>
                </a:lnTo>
                <a:lnTo>
                  <a:pt x="604468" y="3390510"/>
                </a:lnTo>
                <a:lnTo>
                  <a:pt x="615351" y="3384083"/>
                </a:lnTo>
                <a:lnTo>
                  <a:pt x="673670" y="3356422"/>
                </a:lnTo>
                <a:lnTo>
                  <a:pt x="689699" y="3348524"/>
                </a:lnTo>
                <a:lnTo>
                  <a:pt x="692665" y="3347410"/>
                </a:lnTo>
                <a:lnTo>
                  <a:pt x="700468" y="3343710"/>
                </a:lnTo>
                <a:lnTo>
                  <a:pt x="776485" y="3315941"/>
                </a:lnTo>
                <a:lnTo>
                  <a:pt x="784019" y="3313112"/>
                </a:lnTo>
                <a:lnTo>
                  <a:pt x="784777" y="3312912"/>
                </a:lnTo>
                <a:lnTo>
                  <a:pt x="789167" y="3311308"/>
                </a:lnTo>
                <a:cubicBezTo>
                  <a:pt x="849413" y="3292452"/>
                  <a:pt x="911798" y="3279182"/>
                  <a:pt x="975831" y="3272037"/>
                </a:cubicBezTo>
                <a:lnTo>
                  <a:pt x="980073" y="3271801"/>
                </a:lnTo>
                <a:lnTo>
                  <a:pt x="983256" y="3271301"/>
                </a:lnTo>
                <a:lnTo>
                  <a:pt x="1035718" y="3268571"/>
                </a:lnTo>
                <a:lnTo>
                  <a:pt x="1035718" y="3265890"/>
                </a:lnTo>
                <a:lnTo>
                  <a:pt x="1086616" y="3265890"/>
                </a:lnTo>
                <a:close/>
                <a:moveTo>
                  <a:pt x="4098476" y="852993"/>
                </a:moveTo>
                <a:cubicBezTo>
                  <a:pt x="4688321" y="852993"/>
                  <a:pt x="5166485" y="1331157"/>
                  <a:pt x="5166485" y="1921002"/>
                </a:cubicBezTo>
                <a:cubicBezTo>
                  <a:pt x="5166485" y="2473981"/>
                  <a:pt x="4746224" y="2928803"/>
                  <a:pt x="4207674" y="2983496"/>
                </a:cubicBezTo>
                <a:lnTo>
                  <a:pt x="4112812" y="2988286"/>
                </a:lnTo>
                <a:lnTo>
                  <a:pt x="4112812" y="2989010"/>
                </a:lnTo>
                <a:lnTo>
                  <a:pt x="4098476" y="2989010"/>
                </a:lnTo>
                <a:lnTo>
                  <a:pt x="3030468" y="2989010"/>
                </a:lnTo>
                <a:lnTo>
                  <a:pt x="3030468" y="1921011"/>
                </a:lnTo>
                <a:lnTo>
                  <a:pt x="3030468" y="1921002"/>
                </a:lnTo>
                <a:lnTo>
                  <a:pt x="3030468" y="1920991"/>
                </a:lnTo>
                <a:lnTo>
                  <a:pt x="3030468" y="1870827"/>
                </a:lnTo>
                <a:lnTo>
                  <a:pt x="3033002" y="1870827"/>
                </a:lnTo>
                <a:lnTo>
                  <a:pt x="3035982" y="1811804"/>
                </a:lnTo>
                <a:cubicBezTo>
                  <a:pt x="3090675" y="1273254"/>
                  <a:pt x="3545497" y="852993"/>
                  <a:pt x="4098476" y="852993"/>
                </a:cubicBezTo>
                <a:close/>
                <a:moveTo>
                  <a:pt x="988607" y="0"/>
                </a:moveTo>
                <a:lnTo>
                  <a:pt x="988617" y="1"/>
                </a:lnTo>
                <a:lnTo>
                  <a:pt x="989198" y="1"/>
                </a:lnTo>
                <a:lnTo>
                  <a:pt x="1018562" y="1"/>
                </a:lnTo>
                <a:lnTo>
                  <a:pt x="1064868" y="1"/>
                </a:lnTo>
                <a:lnTo>
                  <a:pt x="1064878" y="0"/>
                </a:lnTo>
                <a:lnTo>
                  <a:pt x="1064887" y="1"/>
                </a:lnTo>
                <a:lnTo>
                  <a:pt x="1065468" y="1"/>
                </a:lnTo>
                <a:lnTo>
                  <a:pt x="1638703" y="1"/>
                </a:lnTo>
                <a:lnTo>
                  <a:pt x="1685008" y="1"/>
                </a:lnTo>
                <a:lnTo>
                  <a:pt x="1685018" y="0"/>
                </a:lnTo>
                <a:lnTo>
                  <a:pt x="1685028" y="1"/>
                </a:lnTo>
                <a:lnTo>
                  <a:pt x="1685609" y="1"/>
                </a:lnTo>
                <a:lnTo>
                  <a:pt x="1714972" y="1"/>
                </a:lnTo>
                <a:lnTo>
                  <a:pt x="1761279" y="1"/>
                </a:lnTo>
                <a:lnTo>
                  <a:pt x="1761288" y="0"/>
                </a:lnTo>
                <a:lnTo>
                  <a:pt x="1761297" y="1"/>
                </a:lnTo>
                <a:lnTo>
                  <a:pt x="1761879" y="1"/>
                </a:lnTo>
                <a:lnTo>
                  <a:pt x="1974481" y="1"/>
                </a:lnTo>
                <a:lnTo>
                  <a:pt x="2050751" y="1"/>
                </a:lnTo>
                <a:lnTo>
                  <a:pt x="2670892" y="1"/>
                </a:lnTo>
                <a:lnTo>
                  <a:pt x="2747162" y="1"/>
                </a:lnTo>
                <a:lnTo>
                  <a:pt x="2747162" y="849474"/>
                </a:lnTo>
                <a:lnTo>
                  <a:pt x="2745606" y="849474"/>
                </a:lnTo>
                <a:lnTo>
                  <a:pt x="2745606" y="1065915"/>
                </a:lnTo>
                <a:lnTo>
                  <a:pt x="2746772" y="1065915"/>
                </a:lnTo>
                <a:lnTo>
                  <a:pt x="2746772" y="1136245"/>
                </a:lnTo>
                <a:lnTo>
                  <a:pt x="2746772" y="1390429"/>
                </a:lnTo>
                <a:lnTo>
                  <a:pt x="2746772" y="1922616"/>
                </a:lnTo>
                <a:lnTo>
                  <a:pt x="2746772" y="1946508"/>
                </a:lnTo>
                <a:lnTo>
                  <a:pt x="2746772" y="2121884"/>
                </a:lnTo>
                <a:lnTo>
                  <a:pt x="2745595" y="2121884"/>
                </a:lnTo>
                <a:lnTo>
                  <a:pt x="2745595" y="2122187"/>
                </a:lnTo>
                <a:lnTo>
                  <a:pt x="2745595" y="2135156"/>
                </a:lnTo>
                <a:lnTo>
                  <a:pt x="2745595" y="2175445"/>
                </a:lnTo>
                <a:lnTo>
                  <a:pt x="2743134" y="2175445"/>
                </a:lnTo>
                <a:lnTo>
                  <a:pt x="2741116" y="2219143"/>
                </a:lnTo>
                <a:lnTo>
                  <a:pt x="2740603" y="2222901"/>
                </a:lnTo>
                <a:lnTo>
                  <a:pt x="2740500" y="2224976"/>
                </a:lnTo>
                <a:lnTo>
                  <a:pt x="2737627" y="2244685"/>
                </a:lnTo>
                <a:lnTo>
                  <a:pt x="2735536" y="2259998"/>
                </a:lnTo>
                <a:lnTo>
                  <a:pt x="2735536" y="2291981"/>
                </a:lnTo>
                <a:lnTo>
                  <a:pt x="2733075" y="2291981"/>
                </a:lnTo>
                <a:lnTo>
                  <a:pt x="2731057" y="2336433"/>
                </a:lnTo>
                <a:lnTo>
                  <a:pt x="2730544" y="2340255"/>
                </a:lnTo>
                <a:lnTo>
                  <a:pt x="2730441" y="2342367"/>
                </a:lnTo>
                <a:lnTo>
                  <a:pt x="2727568" y="2362415"/>
                </a:lnTo>
                <a:lnTo>
                  <a:pt x="2718964" y="2426508"/>
                </a:lnTo>
                <a:lnTo>
                  <a:pt x="2717329" y="2433880"/>
                </a:lnTo>
                <a:lnTo>
                  <a:pt x="2716706" y="2438222"/>
                </a:lnTo>
                <a:lnTo>
                  <a:pt x="2711395" y="2460635"/>
                </a:lnTo>
                <a:lnTo>
                  <a:pt x="2699576" y="2513912"/>
                </a:lnTo>
                <a:lnTo>
                  <a:pt x="2696210" y="2524690"/>
                </a:lnTo>
                <a:lnTo>
                  <a:pt x="2694719" y="2530980"/>
                </a:lnTo>
                <a:lnTo>
                  <a:pt x="2687551" y="2552423"/>
                </a:lnTo>
                <a:lnTo>
                  <a:pt x="2673227" y="2598293"/>
                </a:lnTo>
                <a:lnTo>
                  <a:pt x="2667561" y="2612213"/>
                </a:lnTo>
                <a:lnTo>
                  <a:pt x="2664886" y="2620217"/>
                </a:lnTo>
                <a:lnTo>
                  <a:pt x="2656402" y="2639632"/>
                </a:lnTo>
                <a:lnTo>
                  <a:pt x="2640256" y="2679301"/>
                </a:lnTo>
                <a:lnTo>
                  <a:pt x="2631748" y="2696048"/>
                </a:lnTo>
                <a:lnTo>
                  <a:pt x="2627616" y="2705505"/>
                </a:lnTo>
                <a:lnTo>
                  <a:pt x="2618309" y="2722504"/>
                </a:lnTo>
                <a:lnTo>
                  <a:pt x="2600997" y="2756585"/>
                </a:lnTo>
                <a:lnTo>
                  <a:pt x="2589134" y="2775797"/>
                </a:lnTo>
                <a:lnTo>
                  <a:pt x="2583319" y="2786419"/>
                </a:lnTo>
                <a:lnTo>
                  <a:pt x="2573641" y="2800885"/>
                </a:lnTo>
                <a:lnTo>
                  <a:pt x="2555790" y="2829795"/>
                </a:lnTo>
                <a:lnTo>
                  <a:pt x="2540073" y="2851064"/>
                </a:lnTo>
                <a:lnTo>
                  <a:pt x="2532404" y="2862531"/>
                </a:lnTo>
                <a:lnTo>
                  <a:pt x="2522765" y="2874490"/>
                </a:lnTo>
                <a:lnTo>
                  <a:pt x="2504967" y="2898578"/>
                </a:lnTo>
                <a:lnTo>
                  <a:pt x="2484913" y="2921459"/>
                </a:lnTo>
                <a:lnTo>
                  <a:pt x="2475277" y="2933417"/>
                </a:lnTo>
                <a:lnTo>
                  <a:pt x="2466050" y="2942981"/>
                </a:lnTo>
                <a:lnTo>
                  <a:pt x="2448868" y="2962585"/>
                </a:lnTo>
                <a:lnTo>
                  <a:pt x="2423976" y="2986596"/>
                </a:lnTo>
                <a:lnTo>
                  <a:pt x="2412348" y="2998650"/>
                </a:lnTo>
                <a:lnTo>
                  <a:pt x="2403870" y="3005990"/>
                </a:lnTo>
                <a:lnTo>
                  <a:pt x="2387828" y="3021464"/>
                </a:lnTo>
                <a:lnTo>
                  <a:pt x="2357540" y="3046103"/>
                </a:lnTo>
                <a:lnTo>
                  <a:pt x="2344025" y="3057805"/>
                </a:lnTo>
                <a:lnTo>
                  <a:pt x="2336603" y="3063135"/>
                </a:lnTo>
                <a:lnTo>
                  <a:pt x="2322182" y="3074865"/>
                </a:lnTo>
                <a:lnTo>
                  <a:pt x="2285787" y="3099631"/>
                </a:lnTo>
                <a:lnTo>
                  <a:pt x="2270718" y="3110454"/>
                </a:lnTo>
                <a:lnTo>
                  <a:pt x="2264629" y="3114027"/>
                </a:lnTo>
                <a:lnTo>
                  <a:pt x="2252269" y="3122437"/>
                </a:lnTo>
                <a:lnTo>
                  <a:pt x="2208660" y="3146882"/>
                </a:lnTo>
                <a:lnTo>
                  <a:pt x="2192835" y="3156172"/>
                </a:lnTo>
                <a:lnTo>
                  <a:pt x="2188328" y="3158279"/>
                </a:lnTo>
                <a:lnTo>
                  <a:pt x="2178425" y="3163830"/>
                </a:lnTo>
                <a:lnTo>
                  <a:pt x="2125368" y="3187714"/>
                </a:lnTo>
                <a:lnTo>
                  <a:pt x="2110783" y="3194534"/>
                </a:lnTo>
                <a:lnTo>
                  <a:pt x="2108085" y="3195495"/>
                </a:lnTo>
                <a:lnTo>
                  <a:pt x="2100986" y="3198691"/>
                </a:lnTo>
                <a:lnTo>
                  <a:pt x="2031826" y="3222668"/>
                </a:lnTo>
                <a:lnTo>
                  <a:pt x="2024972" y="3225111"/>
                </a:lnTo>
                <a:lnTo>
                  <a:pt x="2024283" y="3225284"/>
                </a:lnTo>
                <a:lnTo>
                  <a:pt x="2020288" y="3226670"/>
                </a:lnTo>
                <a:cubicBezTo>
                  <a:pt x="1965477" y="3242950"/>
                  <a:pt x="1908719" y="3254410"/>
                  <a:pt x="1850461" y="3260580"/>
                </a:cubicBezTo>
                <a:lnTo>
                  <a:pt x="1846605" y="3260783"/>
                </a:lnTo>
                <a:lnTo>
                  <a:pt x="1843708" y="3261214"/>
                </a:lnTo>
                <a:lnTo>
                  <a:pt x="1795978" y="3263571"/>
                </a:lnTo>
                <a:lnTo>
                  <a:pt x="1795978" y="3265886"/>
                </a:lnTo>
                <a:lnTo>
                  <a:pt x="1749672" y="3265886"/>
                </a:lnTo>
                <a:lnTo>
                  <a:pt x="1749662" y="3265887"/>
                </a:lnTo>
                <a:lnTo>
                  <a:pt x="1749653" y="3265886"/>
                </a:lnTo>
                <a:lnTo>
                  <a:pt x="1749071" y="3265886"/>
                </a:lnTo>
                <a:lnTo>
                  <a:pt x="1729765" y="3265886"/>
                </a:lnTo>
                <a:lnTo>
                  <a:pt x="1683460" y="3265886"/>
                </a:lnTo>
                <a:lnTo>
                  <a:pt x="1683450" y="3265887"/>
                </a:lnTo>
                <a:lnTo>
                  <a:pt x="1683441" y="3265886"/>
                </a:lnTo>
                <a:lnTo>
                  <a:pt x="1682859" y="3265886"/>
                </a:lnTo>
                <a:lnTo>
                  <a:pt x="1099567" y="3265887"/>
                </a:lnTo>
                <a:lnTo>
                  <a:pt x="1053261" y="3265887"/>
                </a:lnTo>
                <a:lnTo>
                  <a:pt x="1053251" y="3265887"/>
                </a:lnTo>
                <a:lnTo>
                  <a:pt x="1053242" y="3265887"/>
                </a:lnTo>
                <a:lnTo>
                  <a:pt x="1052660" y="3265887"/>
                </a:lnTo>
                <a:lnTo>
                  <a:pt x="1033356" y="3265887"/>
                </a:lnTo>
                <a:lnTo>
                  <a:pt x="987049" y="3265887"/>
                </a:lnTo>
                <a:lnTo>
                  <a:pt x="987040" y="3265887"/>
                </a:lnTo>
                <a:lnTo>
                  <a:pt x="987030" y="3265887"/>
                </a:lnTo>
                <a:lnTo>
                  <a:pt x="986449" y="3265887"/>
                </a:lnTo>
                <a:lnTo>
                  <a:pt x="763788" y="3265887"/>
                </a:lnTo>
                <a:lnTo>
                  <a:pt x="697577" y="3265887"/>
                </a:lnTo>
                <a:lnTo>
                  <a:pt x="67379" y="3265887"/>
                </a:lnTo>
                <a:lnTo>
                  <a:pt x="1166" y="3265887"/>
                </a:lnTo>
                <a:lnTo>
                  <a:pt x="1166" y="3132833"/>
                </a:lnTo>
                <a:lnTo>
                  <a:pt x="1166" y="2291981"/>
                </a:lnTo>
                <a:lnTo>
                  <a:pt x="0" y="2291981"/>
                </a:lnTo>
                <a:lnTo>
                  <a:pt x="0" y="2237497"/>
                </a:lnTo>
                <a:lnTo>
                  <a:pt x="0" y="2175445"/>
                </a:lnTo>
                <a:lnTo>
                  <a:pt x="0" y="2121884"/>
                </a:lnTo>
                <a:lnTo>
                  <a:pt x="0" y="2059094"/>
                </a:lnTo>
                <a:lnTo>
                  <a:pt x="0" y="2034789"/>
                </a:lnTo>
                <a:lnTo>
                  <a:pt x="0" y="1946508"/>
                </a:lnTo>
                <a:lnTo>
                  <a:pt x="0" y="1922616"/>
                </a:lnTo>
                <a:lnTo>
                  <a:pt x="0" y="1493422"/>
                </a:lnTo>
                <a:lnTo>
                  <a:pt x="0" y="1390429"/>
                </a:lnTo>
                <a:lnTo>
                  <a:pt x="0" y="1234853"/>
                </a:lnTo>
                <a:lnTo>
                  <a:pt x="0" y="1136246"/>
                </a:lnTo>
                <a:lnTo>
                  <a:pt x="1178" y="1136246"/>
                </a:lnTo>
                <a:lnTo>
                  <a:pt x="1178" y="1136245"/>
                </a:lnTo>
                <a:lnTo>
                  <a:pt x="1178" y="1135849"/>
                </a:lnTo>
                <a:lnTo>
                  <a:pt x="1178" y="1118819"/>
                </a:lnTo>
                <a:lnTo>
                  <a:pt x="1178" y="1065915"/>
                </a:lnTo>
                <a:lnTo>
                  <a:pt x="3638" y="1065915"/>
                </a:lnTo>
                <a:lnTo>
                  <a:pt x="5656" y="1008533"/>
                </a:lnTo>
                <a:lnTo>
                  <a:pt x="6170" y="1003598"/>
                </a:lnTo>
                <a:lnTo>
                  <a:pt x="6271" y="1000874"/>
                </a:lnTo>
                <a:lnTo>
                  <a:pt x="9144" y="974994"/>
                </a:lnTo>
                <a:lnTo>
                  <a:pt x="17749" y="892259"/>
                </a:lnTo>
                <a:lnTo>
                  <a:pt x="19384" y="882743"/>
                </a:lnTo>
                <a:lnTo>
                  <a:pt x="20006" y="877139"/>
                </a:lnTo>
                <a:lnTo>
                  <a:pt x="25086" y="849474"/>
                </a:lnTo>
                <a:lnTo>
                  <a:pt x="26643" y="849474"/>
                </a:lnTo>
                <a:lnTo>
                  <a:pt x="26876" y="848439"/>
                </a:lnTo>
                <a:lnTo>
                  <a:pt x="38694" y="792304"/>
                </a:lnTo>
                <a:lnTo>
                  <a:pt x="42059" y="780948"/>
                </a:lnTo>
                <a:lnTo>
                  <a:pt x="43550" y="774321"/>
                </a:lnTo>
                <a:lnTo>
                  <a:pt x="50718" y="751729"/>
                </a:lnTo>
                <a:lnTo>
                  <a:pt x="65042" y="703398"/>
                </a:lnTo>
                <a:lnTo>
                  <a:pt x="70707" y="688731"/>
                </a:lnTo>
                <a:lnTo>
                  <a:pt x="73382" y="680300"/>
                </a:lnTo>
                <a:lnTo>
                  <a:pt x="81869" y="659842"/>
                </a:lnTo>
                <a:lnTo>
                  <a:pt x="98014" y="618045"/>
                </a:lnTo>
                <a:lnTo>
                  <a:pt x="106521" y="600402"/>
                </a:lnTo>
                <a:lnTo>
                  <a:pt x="110652" y="590437"/>
                </a:lnTo>
                <a:lnTo>
                  <a:pt x="119961" y="572526"/>
                </a:lnTo>
                <a:lnTo>
                  <a:pt x="137272" y="536617"/>
                </a:lnTo>
                <a:lnTo>
                  <a:pt x="149135" y="516375"/>
                </a:lnTo>
                <a:lnTo>
                  <a:pt x="154950" y="505184"/>
                </a:lnTo>
                <a:lnTo>
                  <a:pt x="164628" y="489942"/>
                </a:lnTo>
                <a:lnTo>
                  <a:pt x="182480" y="459481"/>
                </a:lnTo>
                <a:lnTo>
                  <a:pt x="198196" y="437070"/>
                </a:lnTo>
                <a:lnTo>
                  <a:pt x="205866" y="424989"/>
                </a:lnTo>
                <a:lnTo>
                  <a:pt x="215505" y="412388"/>
                </a:lnTo>
                <a:lnTo>
                  <a:pt x="233302" y="387010"/>
                </a:lnTo>
                <a:lnTo>
                  <a:pt x="253356" y="362902"/>
                </a:lnTo>
                <a:lnTo>
                  <a:pt x="262993" y="350303"/>
                </a:lnTo>
                <a:lnTo>
                  <a:pt x="272219" y="340225"/>
                </a:lnTo>
                <a:lnTo>
                  <a:pt x="289401" y="319569"/>
                </a:lnTo>
                <a:lnTo>
                  <a:pt x="314295" y="294271"/>
                </a:lnTo>
                <a:lnTo>
                  <a:pt x="325922" y="281570"/>
                </a:lnTo>
                <a:lnTo>
                  <a:pt x="334399" y="273838"/>
                </a:lnTo>
                <a:lnTo>
                  <a:pt x="350443" y="257532"/>
                </a:lnTo>
                <a:lnTo>
                  <a:pt x="380729" y="231573"/>
                </a:lnTo>
                <a:lnTo>
                  <a:pt x="394244" y="219244"/>
                </a:lnTo>
                <a:lnTo>
                  <a:pt x="401667" y="213629"/>
                </a:lnTo>
                <a:lnTo>
                  <a:pt x="416087" y="201267"/>
                </a:lnTo>
                <a:lnTo>
                  <a:pt x="452481" y="175174"/>
                </a:lnTo>
                <a:lnTo>
                  <a:pt x="467551" y="163770"/>
                </a:lnTo>
                <a:lnTo>
                  <a:pt x="473642" y="160005"/>
                </a:lnTo>
                <a:lnTo>
                  <a:pt x="485999" y="151145"/>
                </a:lnTo>
                <a:lnTo>
                  <a:pt x="529610" y="125388"/>
                </a:lnTo>
                <a:lnTo>
                  <a:pt x="545435" y="115600"/>
                </a:lnTo>
                <a:lnTo>
                  <a:pt x="549942" y="113381"/>
                </a:lnTo>
                <a:lnTo>
                  <a:pt x="559845" y="107533"/>
                </a:lnTo>
                <a:lnTo>
                  <a:pt x="612902" y="82367"/>
                </a:lnTo>
                <a:lnTo>
                  <a:pt x="627487" y="75182"/>
                </a:lnTo>
                <a:lnTo>
                  <a:pt x="630185" y="74169"/>
                </a:lnTo>
                <a:lnTo>
                  <a:pt x="637283" y="70802"/>
                </a:lnTo>
                <a:lnTo>
                  <a:pt x="706443" y="45538"/>
                </a:lnTo>
                <a:lnTo>
                  <a:pt x="713297" y="42964"/>
                </a:lnTo>
                <a:lnTo>
                  <a:pt x="713985" y="42781"/>
                </a:lnTo>
                <a:lnTo>
                  <a:pt x="717981" y="41323"/>
                </a:lnTo>
                <a:cubicBezTo>
                  <a:pt x="772791" y="24167"/>
                  <a:pt x="829549" y="12094"/>
                  <a:pt x="887808" y="5593"/>
                </a:cubicBezTo>
                <a:lnTo>
                  <a:pt x="891667" y="5380"/>
                </a:lnTo>
                <a:lnTo>
                  <a:pt x="894562" y="4925"/>
                </a:lnTo>
                <a:lnTo>
                  <a:pt x="942291" y="2441"/>
                </a:lnTo>
                <a:lnTo>
                  <a:pt x="942291" y="1"/>
                </a:lnTo>
                <a:lnTo>
                  <a:pt x="988599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33663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E27A143-173D-4E1B-9A8D-F170721DFE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86467" y="3"/>
            <a:ext cx="3905533" cy="6196063"/>
          </a:xfrm>
          <a:custGeom>
            <a:avLst/>
            <a:gdLst>
              <a:gd name="connsiteX0" fmla="*/ 0 w 3906042"/>
              <a:gd name="connsiteY0" fmla="*/ 0 h 6196063"/>
              <a:gd name="connsiteX1" fmla="*/ 3906042 w 3906042"/>
              <a:gd name="connsiteY1" fmla="*/ 0 h 6196063"/>
              <a:gd name="connsiteX2" fmla="*/ 3906042 w 3906042"/>
              <a:gd name="connsiteY2" fmla="*/ 5880002 h 6196063"/>
              <a:gd name="connsiteX3" fmla="*/ 3887038 w 3906042"/>
              <a:gd name="connsiteY3" fmla="*/ 5890088 h 6196063"/>
              <a:gd name="connsiteX4" fmla="*/ 1284899 w 3906042"/>
              <a:gd name="connsiteY4" fmla="*/ 5850996 h 6196063"/>
              <a:gd name="connsiteX5" fmla="*/ 890451 w 3906042"/>
              <a:gd name="connsiteY5" fmla="*/ 5554365 h 6196063"/>
              <a:gd name="connsiteX6" fmla="*/ 137343 w 3906042"/>
              <a:gd name="connsiteY6" fmla="*/ 3616228 h 6196063"/>
              <a:gd name="connsiteX7" fmla="*/ 753195 w 3906042"/>
              <a:gd name="connsiteY7" fmla="*/ 1510988 h 6196063"/>
              <a:gd name="connsiteX8" fmla="*/ 2860 w 3906042"/>
              <a:gd name="connsiteY8" fmla="*/ 6698 h 619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6042" h="6196063">
                <a:moveTo>
                  <a:pt x="0" y="0"/>
                </a:moveTo>
                <a:lnTo>
                  <a:pt x="3906042" y="0"/>
                </a:lnTo>
                <a:lnTo>
                  <a:pt x="3906042" y="5880002"/>
                </a:lnTo>
                <a:lnTo>
                  <a:pt x="3887038" y="5890088"/>
                </a:lnTo>
                <a:cubicBezTo>
                  <a:pt x="3071766" y="6290767"/>
                  <a:pt x="2059134" y="6318336"/>
                  <a:pt x="1284899" y="5850996"/>
                </a:cubicBezTo>
                <a:cubicBezTo>
                  <a:pt x="1142738" y="5767187"/>
                  <a:pt x="1010672" y="5667250"/>
                  <a:pt x="890451" y="5554365"/>
                </a:cubicBezTo>
                <a:cubicBezTo>
                  <a:pt x="369493" y="5065199"/>
                  <a:pt x="70956" y="4332906"/>
                  <a:pt x="137343" y="3616228"/>
                </a:cubicBezTo>
                <a:cubicBezTo>
                  <a:pt x="176790" y="3018400"/>
                  <a:pt x="939611" y="2315363"/>
                  <a:pt x="753195" y="1510988"/>
                </a:cubicBezTo>
                <a:cubicBezTo>
                  <a:pt x="619947" y="963170"/>
                  <a:pt x="215374" y="464285"/>
                  <a:pt x="2860" y="6698"/>
                </a:cubicBezTo>
                <a:close/>
              </a:path>
            </a:pathLst>
          </a:custGeom>
          <a:pattFill prst="pct20">
            <a:fgClr>
              <a:srgbClr val="A0A0A0"/>
            </a:fgClr>
            <a:bgClr>
              <a:schemeClr val="bg1"/>
            </a:bgClr>
          </a:pattFill>
        </p:spPr>
        <p:txBody>
          <a:bodyPr wrap="square" anchor="ctr" anchorCtr="1">
            <a:noAutofit/>
          </a:bodyPr>
          <a:lstStyle>
            <a:lvl1pPr>
              <a:defRPr sz="600">
                <a:solidFill>
                  <a:srgbClr val="A0A0A0"/>
                </a:solidFill>
              </a:defRPr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8611363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3EF40E30-8894-4D54-A50E-8A2BA4F1EB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847588" cy="6858000"/>
          </a:xfrm>
          <a:custGeom>
            <a:avLst/>
            <a:gdLst>
              <a:gd name="connsiteX0" fmla="*/ 0 w 5848350"/>
              <a:gd name="connsiteY0" fmla="*/ 0 h 6858000"/>
              <a:gd name="connsiteX1" fmla="*/ 3942780 w 5848350"/>
              <a:gd name="connsiteY1" fmla="*/ 0 h 6858000"/>
              <a:gd name="connsiteX2" fmla="*/ 4067770 w 5848350"/>
              <a:gd name="connsiteY2" fmla="*/ 80130 h 6858000"/>
              <a:gd name="connsiteX3" fmla="*/ 5848350 w 5848350"/>
              <a:gd name="connsiteY3" fmla="*/ 3429000 h 6858000"/>
              <a:gd name="connsiteX4" fmla="*/ 4067770 w 5848350"/>
              <a:gd name="connsiteY4" fmla="*/ 6777871 h 6858000"/>
              <a:gd name="connsiteX5" fmla="*/ 3942780 w 5848350"/>
              <a:gd name="connsiteY5" fmla="*/ 6858000 h 6858000"/>
              <a:gd name="connsiteX6" fmla="*/ 0 w 584835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48350" h="6858000">
                <a:moveTo>
                  <a:pt x="0" y="0"/>
                </a:moveTo>
                <a:lnTo>
                  <a:pt x="3942780" y="0"/>
                </a:lnTo>
                <a:lnTo>
                  <a:pt x="4067770" y="80130"/>
                </a:lnTo>
                <a:cubicBezTo>
                  <a:pt x="5142044" y="805895"/>
                  <a:pt x="5848350" y="2034965"/>
                  <a:pt x="5848350" y="3429000"/>
                </a:cubicBezTo>
                <a:cubicBezTo>
                  <a:pt x="5848350" y="4823036"/>
                  <a:pt x="5142044" y="6052105"/>
                  <a:pt x="4067770" y="6777871"/>
                </a:cubicBezTo>
                <a:lnTo>
                  <a:pt x="3942780" y="6858000"/>
                </a:lnTo>
                <a:lnTo>
                  <a:pt x="0" y="6858000"/>
                </a:lnTo>
                <a:close/>
              </a:path>
            </a:pathLst>
          </a:custGeom>
          <a:pattFill prst="pct20">
            <a:fgClr>
              <a:srgbClr val="A0A0A0"/>
            </a:fgClr>
            <a:bgClr>
              <a:schemeClr val="bg1"/>
            </a:bgClr>
          </a:pattFill>
        </p:spPr>
        <p:txBody>
          <a:bodyPr wrap="square" anchor="ctr" anchorCtr="1">
            <a:noAutofit/>
          </a:bodyPr>
          <a:lstStyle>
            <a:lvl1pPr>
              <a:defRPr sz="600">
                <a:solidFill>
                  <a:srgbClr val="A0A0A0"/>
                </a:solidFill>
              </a:defRPr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886520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B31DEB7-9447-438D-9EEA-6575D637C8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22515" y="0"/>
            <a:ext cx="6269485" cy="6858000"/>
          </a:xfrm>
          <a:custGeom>
            <a:avLst/>
            <a:gdLst>
              <a:gd name="connsiteX0" fmla="*/ 426887 w 6270302"/>
              <a:gd name="connsiteY0" fmla="*/ 0 h 6858000"/>
              <a:gd name="connsiteX1" fmla="*/ 5699832 w 6270302"/>
              <a:gd name="connsiteY1" fmla="*/ 0 h 6858000"/>
              <a:gd name="connsiteX2" fmla="*/ 6270302 w 6270302"/>
              <a:gd name="connsiteY2" fmla="*/ 0 h 6858000"/>
              <a:gd name="connsiteX3" fmla="*/ 6270302 w 6270302"/>
              <a:gd name="connsiteY3" fmla="*/ 686970 h 6858000"/>
              <a:gd name="connsiteX4" fmla="*/ 6270302 w 6270302"/>
              <a:gd name="connsiteY4" fmla="*/ 5169274 h 6858000"/>
              <a:gd name="connsiteX5" fmla="*/ 6270302 w 6270302"/>
              <a:gd name="connsiteY5" fmla="*/ 6858000 h 6858000"/>
              <a:gd name="connsiteX6" fmla="*/ 5086904 w 6270302"/>
              <a:gd name="connsiteY6" fmla="*/ 6858000 h 6858000"/>
              <a:gd name="connsiteX7" fmla="*/ 1787428 w 6270302"/>
              <a:gd name="connsiteY7" fmla="*/ 6858000 h 6858000"/>
              <a:gd name="connsiteX8" fmla="*/ 1753895 w 6270302"/>
              <a:gd name="connsiteY8" fmla="*/ 6751726 h 6858000"/>
              <a:gd name="connsiteX9" fmla="*/ 1824771 w 6270302"/>
              <a:gd name="connsiteY9" fmla="*/ 4496473 h 6858000"/>
              <a:gd name="connsiteX10" fmla="*/ 298440 w 6270302"/>
              <a:gd name="connsiteY10" fmla="*/ 2645499 h 6858000"/>
              <a:gd name="connsiteX11" fmla="*/ 220316 w 6270302"/>
              <a:gd name="connsiteY11" fmla="*/ 372580 h 6858000"/>
              <a:gd name="connsiteX12" fmla="*/ 341699 w 6270302"/>
              <a:gd name="connsiteY12" fmla="*/ 1310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70302" h="6858000">
                <a:moveTo>
                  <a:pt x="426887" y="0"/>
                </a:moveTo>
                <a:lnTo>
                  <a:pt x="5699832" y="0"/>
                </a:lnTo>
                <a:lnTo>
                  <a:pt x="6270302" y="0"/>
                </a:lnTo>
                <a:lnTo>
                  <a:pt x="6270302" y="686970"/>
                </a:lnTo>
                <a:lnTo>
                  <a:pt x="6270302" y="5169274"/>
                </a:lnTo>
                <a:lnTo>
                  <a:pt x="6270302" y="6858000"/>
                </a:lnTo>
                <a:lnTo>
                  <a:pt x="5086904" y="6858000"/>
                </a:lnTo>
                <a:lnTo>
                  <a:pt x="1787428" y="6858000"/>
                </a:lnTo>
                <a:lnTo>
                  <a:pt x="1753895" y="6751726"/>
                </a:lnTo>
                <a:cubicBezTo>
                  <a:pt x="1608736" y="6154165"/>
                  <a:pt x="1954745" y="5270461"/>
                  <a:pt x="1824771" y="4496473"/>
                </a:cubicBezTo>
                <a:cubicBezTo>
                  <a:pt x="1665537" y="3607513"/>
                  <a:pt x="595723" y="3229488"/>
                  <a:pt x="298440" y="2645499"/>
                </a:cubicBezTo>
                <a:cubicBezTo>
                  <a:pt x="-77137" y="1953644"/>
                  <a:pt x="-92596" y="1088831"/>
                  <a:pt x="220316" y="372580"/>
                </a:cubicBezTo>
                <a:cubicBezTo>
                  <a:pt x="256422" y="289936"/>
                  <a:pt x="296899" y="209270"/>
                  <a:pt x="341699" y="131075"/>
                </a:cubicBezTo>
                <a:close/>
              </a:path>
            </a:pathLst>
          </a:custGeom>
          <a:pattFill prst="pct20">
            <a:fgClr>
              <a:srgbClr val="A0A0A0"/>
            </a:fgClr>
            <a:bgClr>
              <a:schemeClr val="bg1"/>
            </a:bgClr>
          </a:pattFill>
        </p:spPr>
        <p:txBody>
          <a:bodyPr wrap="square" anchor="ctr" anchorCtr="1">
            <a:noAutofit/>
          </a:bodyPr>
          <a:lstStyle>
            <a:lvl1pPr>
              <a:defRPr sz="600">
                <a:solidFill>
                  <a:srgbClr val="A0A0A0"/>
                </a:solidFill>
              </a:defRPr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0656766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899090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4971" y="424062"/>
            <a:ext cx="8348983" cy="967132"/>
          </a:xfrm>
        </p:spPr>
        <p:txBody>
          <a:bodyPr>
            <a:normAutofit/>
          </a:bodyPr>
          <a:lstStyle>
            <a:lvl1pPr algn="l">
              <a:defRPr sz="480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24982" y="1425678"/>
            <a:ext cx="8377087" cy="4825652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7/1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526571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6"/>
          <p:cNvSpPr txBox="1">
            <a:spLocks noGrp="1"/>
          </p:cNvSpPr>
          <p:nvPr>
            <p:ph type="title"/>
          </p:nvPr>
        </p:nvSpPr>
        <p:spPr>
          <a:xfrm>
            <a:off x="673101" y="634900"/>
            <a:ext cx="10846000" cy="28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28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6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l"/>
            <a:fld id="{00000000-1234-1234-1234-123412341234}" type="slidenum">
              <a:rPr lang="en" smtClean="0"/>
              <a:pPr algn="l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92202425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EFA43A9-1515-43E3-9040-ACE0DD553C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66700" y="3607994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593DE47-F666-42DA-B91B-BBB963FB96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48125" y="925513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F9A6711B-CC92-4052-A8A9-22AB908094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28868" y="3607994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33871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22047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Blank">
  <p:cSld name="15_Blank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64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rotWithShape="1">
            <a:blip r:embed="rId2">
              <a:alphaModFix/>
            </a:blip>
            <a:tile tx="0" ty="0" sx="100000" sy="100000" flip="none" algn="tl"/>
          </a:blipFill>
          <a:ln>
            <a:noFill/>
          </a:ln>
        </p:spPr>
        <p:txBody>
          <a:bodyPr spcFirstLastPara="1" wrap="square" lIns="91425" tIns="45700" rIns="91425" bIns="45700" anchor="ctr" anchorCtr="1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•"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Google Shape;48;p64"/>
          <p:cNvSpPr txBox="1">
            <a:spLocks noGrp="1"/>
          </p:cNvSpPr>
          <p:nvPr>
            <p:ph type="body" idx="1"/>
          </p:nvPr>
        </p:nvSpPr>
        <p:spPr>
          <a:xfrm>
            <a:off x="5799137" y="1306517"/>
            <a:ext cx="3956051" cy="317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000"/>
              <a:buNone/>
              <a:defRPr sz="3000" b="1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4422518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d-ID">
                <a:latin typeface="Arial" panose="020B0604020202020204" pitchFamily="34" charset="0"/>
                <a:cs typeface="Arial" panose="020B0604020202020204" pitchFamily="34" charset="0"/>
              </a:rPr>
              <a:t>Pictur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98445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FE1A4C7F-1EEF-4F6D-FC87-ECD41FA9A88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550553" y="908581"/>
            <a:ext cx="3959437" cy="3826347"/>
          </a:xfrm>
          <a:prstGeom prst="roundRect">
            <a:avLst>
              <a:gd name="adj" fmla="val 5391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3558" y="908581"/>
            <a:ext cx="3959437" cy="3826347"/>
          </a:xfrm>
          <a:prstGeom prst="roundRect">
            <a:avLst>
              <a:gd name="adj" fmla="val 5391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22398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roducing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33712C1-A7A9-77D1-8A3C-5F8753F269E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80119" y="2964600"/>
            <a:ext cx="3072798" cy="2947981"/>
          </a:xfrm>
          <a:prstGeom prst="roundRect">
            <a:avLst>
              <a:gd name="adj" fmla="val 668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4CE940C-F1B1-E9E9-EA30-6CFA58A3DA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94211" y="2964600"/>
            <a:ext cx="2314423" cy="2947981"/>
          </a:xfrm>
          <a:prstGeom prst="roundRect">
            <a:avLst>
              <a:gd name="adj" fmla="val 668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6532" y="2964600"/>
            <a:ext cx="5072293" cy="2947981"/>
          </a:xfrm>
          <a:prstGeom prst="roundRect">
            <a:avLst>
              <a:gd name="adj" fmla="val 5391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27233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ing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BE1E6D8F-8CD7-4428-AEE2-996FB48FD85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5326" y="747244"/>
            <a:ext cx="7720829" cy="2947981"/>
          </a:xfrm>
          <a:prstGeom prst="roundRect">
            <a:avLst>
              <a:gd name="adj" fmla="val 891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4297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B75EC29-97CC-C853-D3E7-D5CDD94FDAC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67747" y="1871745"/>
            <a:ext cx="2256506" cy="1557255"/>
          </a:xfrm>
          <a:prstGeom prst="roundRect">
            <a:avLst>
              <a:gd name="adj" fmla="val 11774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A7C65008-E009-FE26-920D-6DADCFAEF29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62653" y="1871745"/>
            <a:ext cx="2256506" cy="1557255"/>
          </a:xfrm>
          <a:prstGeom prst="roundRect">
            <a:avLst>
              <a:gd name="adj" fmla="val 11774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8438CF18-C6CC-2943-E097-967060C2B69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70294" y="4247535"/>
            <a:ext cx="2256506" cy="1557255"/>
          </a:xfrm>
          <a:prstGeom prst="roundRect">
            <a:avLst>
              <a:gd name="adj" fmla="val 11774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C58B31F6-AB20-28D0-E6F5-816ADF087C3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865200" y="4247535"/>
            <a:ext cx="2256506" cy="1557255"/>
          </a:xfrm>
          <a:prstGeom prst="roundRect">
            <a:avLst>
              <a:gd name="adj" fmla="val 11774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72842" y="1871745"/>
            <a:ext cx="2256506" cy="1557255"/>
          </a:xfrm>
          <a:prstGeom prst="roundRect">
            <a:avLst>
              <a:gd name="adj" fmla="val 11774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92005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8121159E-2995-4643-ACA1-5DD791F3CF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49023" y="1004754"/>
            <a:ext cx="3380601" cy="4848493"/>
          </a:xfrm>
          <a:prstGeom prst="roundRect">
            <a:avLst>
              <a:gd name="adj" fmla="val 8114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042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0D4C79-6CFD-486B-AF20-7F6D149A526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98145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217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7265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36662" y="0"/>
            <a:ext cx="5006975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65038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0D4C79-6CFD-486B-AF20-7F6D149A526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86174" y="765175"/>
            <a:ext cx="1628776" cy="5364163"/>
          </a:xfrm>
          <a:prstGeom prst="roundRect">
            <a:avLst>
              <a:gd name="adj" fmla="val 11989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36AEA63-6F3D-4C34-8FA4-EB829878BEE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5323" y="765175"/>
            <a:ext cx="2638425" cy="5364163"/>
          </a:xfrm>
          <a:prstGeom prst="roundRect">
            <a:avLst>
              <a:gd name="adj" fmla="val 7281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741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7265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36AEA63-6F3D-4C34-8FA4-EB829878BEE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71524" y="728663"/>
            <a:ext cx="3838576" cy="2700337"/>
          </a:xfrm>
          <a:prstGeom prst="roundRect">
            <a:avLst>
              <a:gd name="adj" fmla="val 679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6549C15-E4D2-4CE1-A7D6-F9DA56E2D2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57752" y="728663"/>
            <a:ext cx="6675436" cy="2700337"/>
          </a:xfrm>
          <a:prstGeom prst="roundRect">
            <a:avLst>
              <a:gd name="adj" fmla="val 8201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229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726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9F89DD-CA58-45CD-90F9-4278575A1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382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9F89DD-CA58-45CD-90F9-4278575A1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A4E1EA-D881-409B-8C04-1257A8D74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0A0191-1FAF-4367-B442-46F8272CC223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2D4470-69BB-4864-BBB8-F96270AE99D6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 Privacy</a:t>
            </a:r>
          </a:p>
        </p:txBody>
      </p:sp>
    </p:spTree>
    <p:extLst>
      <p:ext uri="{BB962C8B-B14F-4D97-AF65-F5344CB8AC3E}">
        <p14:creationId xmlns:p14="http://schemas.microsoft.com/office/powerpoint/2010/main" val="223558043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480D763-083D-C748-76AB-562E445E35C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91957" y="2278743"/>
            <a:ext cx="3008086" cy="2300514"/>
          </a:xfrm>
          <a:prstGeom prst="roundRect">
            <a:avLst>
              <a:gd name="adj" fmla="val 8465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ED3FE090-360E-A201-40CB-06F244EFB8D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525102" y="2278743"/>
            <a:ext cx="3008086" cy="2300514"/>
          </a:xfrm>
          <a:prstGeom prst="roundRect">
            <a:avLst>
              <a:gd name="adj" fmla="val 8465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1838" y="2278743"/>
            <a:ext cx="3008086" cy="2300514"/>
          </a:xfrm>
          <a:prstGeom prst="roundRect">
            <a:avLst>
              <a:gd name="adj" fmla="val 8465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25351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 0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9431A546-2D13-EC82-D139-0BC261DB52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0446" y="2528302"/>
            <a:ext cx="2216012" cy="2155988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5F73412-96A7-C2BC-778B-A8715516CDA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66557" y="2528302"/>
            <a:ext cx="2216012" cy="2155988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9257185-F78E-05E3-8838-82C8014A563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8839" y="2528302"/>
            <a:ext cx="2216012" cy="2155988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04007A95-D992-73BD-E7FC-11C648257D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09379" y="2528302"/>
            <a:ext cx="2216012" cy="2155988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518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242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81775" y="0"/>
            <a:ext cx="4402138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31423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BE1E6D8F-8CD7-4428-AEE2-996FB48FD85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997325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08312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45F88831-3600-733D-86B5-9A979297A7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07278" y="0"/>
            <a:ext cx="5584722" cy="6858000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FF599B-25DF-6DB0-62DE-CB1515A993C0}"/>
              </a:ext>
            </a:extLst>
          </p:cNvPr>
          <p:cNvSpPr/>
          <p:nvPr userDrawn="1"/>
        </p:nvSpPr>
        <p:spPr>
          <a:xfrm>
            <a:off x="0" y="0"/>
            <a:ext cx="6607278" cy="6858000"/>
          </a:xfrm>
          <a:prstGeom prst="rect">
            <a:avLst/>
          </a:prstGeom>
          <a:solidFill>
            <a:srgbClr val="024D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611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242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95C6F78-695D-4A82-87F4-4749C44567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800000">
            <a:off x="9835308" y="-712419"/>
            <a:ext cx="1826495" cy="3867063"/>
          </a:xfrm>
          <a:prstGeom prst="round2SameRect">
            <a:avLst>
              <a:gd name="adj1" fmla="val 10030"/>
              <a:gd name="adj2" fmla="val 1202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D9BB656D-6BB2-AFF7-00CB-A339043E6E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 rot="1800000">
            <a:off x="11133166" y="1567820"/>
            <a:ext cx="1826495" cy="3867063"/>
          </a:xfrm>
          <a:prstGeom prst="round2SameRect">
            <a:avLst>
              <a:gd name="adj1" fmla="val 10030"/>
              <a:gd name="adj2" fmla="val 1202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CE0E10E-0823-4FB8-826F-599FF854CA6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 rot="1800000">
            <a:off x="7673885" y="2991041"/>
            <a:ext cx="1826495" cy="3867063"/>
          </a:xfrm>
          <a:prstGeom prst="round2SameRect">
            <a:avLst>
              <a:gd name="adj1" fmla="val 10030"/>
              <a:gd name="adj2" fmla="val 1202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A5A5DB07-D86D-8B34-E651-F118D48B4E2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 rot="1800000">
            <a:off x="7209760" y="-674030"/>
            <a:ext cx="1826495" cy="3867063"/>
          </a:xfrm>
          <a:prstGeom prst="round2SameRect">
            <a:avLst>
              <a:gd name="adj1" fmla="val 10030"/>
              <a:gd name="adj2" fmla="val 1202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E11AB2B7-8AFB-046F-7E5C-A56F9E45E77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 rot="1800000">
            <a:off x="8963102" y="5271281"/>
            <a:ext cx="1826495" cy="3867063"/>
          </a:xfrm>
          <a:prstGeom prst="round2SameRect">
            <a:avLst>
              <a:gd name="adj1" fmla="val 10030"/>
              <a:gd name="adj2" fmla="val 1202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76945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FF72231A-693F-4F96-9121-F2365B9745D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104900"/>
            <a:ext cx="5238750" cy="424815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D5A0462-1F76-BF48-436E-D09FA2922E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10450" y="0"/>
            <a:ext cx="4781550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53613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FF72231A-693F-4F96-9121-F2365B9745D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0428" y="845457"/>
            <a:ext cx="5266691" cy="3058886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96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B639079-A8A4-4A4E-9614-F4097EC1506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553450" y="0"/>
            <a:ext cx="3638550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d-ID">
                <a:latin typeface="Arial" panose="020B0604020202020204" pitchFamily="34" charset="0"/>
                <a:cs typeface="Arial" panose="020B0604020202020204" pitchFamily="34" charset="0"/>
              </a:rPr>
              <a:t>Pictur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86608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B639079-A8A4-4A4E-9614-F4097EC1506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d-ID">
                <a:latin typeface="Arial" panose="020B0604020202020204" pitchFamily="34" charset="0"/>
                <a:cs typeface="Arial" panose="020B0604020202020204" pitchFamily="34" charset="0"/>
              </a:rPr>
              <a:t>Pictur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9169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E27A143-173D-4E1B-9A8D-F170721DFE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86467" y="3"/>
            <a:ext cx="3905533" cy="6196063"/>
          </a:xfrm>
          <a:custGeom>
            <a:avLst/>
            <a:gdLst>
              <a:gd name="connsiteX0" fmla="*/ 0 w 3906042"/>
              <a:gd name="connsiteY0" fmla="*/ 0 h 6196063"/>
              <a:gd name="connsiteX1" fmla="*/ 3906042 w 3906042"/>
              <a:gd name="connsiteY1" fmla="*/ 0 h 6196063"/>
              <a:gd name="connsiteX2" fmla="*/ 3906042 w 3906042"/>
              <a:gd name="connsiteY2" fmla="*/ 5880002 h 6196063"/>
              <a:gd name="connsiteX3" fmla="*/ 3887038 w 3906042"/>
              <a:gd name="connsiteY3" fmla="*/ 5890088 h 6196063"/>
              <a:gd name="connsiteX4" fmla="*/ 1284899 w 3906042"/>
              <a:gd name="connsiteY4" fmla="*/ 5850996 h 6196063"/>
              <a:gd name="connsiteX5" fmla="*/ 890451 w 3906042"/>
              <a:gd name="connsiteY5" fmla="*/ 5554365 h 6196063"/>
              <a:gd name="connsiteX6" fmla="*/ 137343 w 3906042"/>
              <a:gd name="connsiteY6" fmla="*/ 3616228 h 6196063"/>
              <a:gd name="connsiteX7" fmla="*/ 753195 w 3906042"/>
              <a:gd name="connsiteY7" fmla="*/ 1510988 h 6196063"/>
              <a:gd name="connsiteX8" fmla="*/ 2860 w 3906042"/>
              <a:gd name="connsiteY8" fmla="*/ 6698 h 619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6042" h="6196063">
                <a:moveTo>
                  <a:pt x="0" y="0"/>
                </a:moveTo>
                <a:lnTo>
                  <a:pt x="3906042" y="0"/>
                </a:lnTo>
                <a:lnTo>
                  <a:pt x="3906042" y="5880002"/>
                </a:lnTo>
                <a:lnTo>
                  <a:pt x="3887038" y="5890088"/>
                </a:lnTo>
                <a:cubicBezTo>
                  <a:pt x="3071766" y="6290767"/>
                  <a:pt x="2059134" y="6318336"/>
                  <a:pt x="1284899" y="5850996"/>
                </a:cubicBezTo>
                <a:cubicBezTo>
                  <a:pt x="1142738" y="5767187"/>
                  <a:pt x="1010672" y="5667250"/>
                  <a:pt x="890451" y="5554365"/>
                </a:cubicBezTo>
                <a:cubicBezTo>
                  <a:pt x="369493" y="5065199"/>
                  <a:pt x="70956" y="4332906"/>
                  <a:pt x="137343" y="3616228"/>
                </a:cubicBezTo>
                <a:cubicBezTo>
                  <a:pt x="176790" y="3018400"/>
                  <a:pt x="939611" y="2315363"/>
                  <a:pt x="753195" y="1510988"/>
                </a:cubicBezTo>
                <a:cubicBezTo>
                  <a:pt x="619947" y="963170"/>
                  <a:pt x="215374" y="464285"/>
                  <a:pt x="2860" y="6698"/>
                </a:cubicBezTo>
                <a:close/>
              </a:path>
            </a:pathLst>
          </a:custGeom>
          <a:pattFill prst="pct20">
            <a:fgClr>
              <a:srgbClr val="A0A0A0"/>
            </a:fgClr>
            <a:bgClr>
              <a:schemeClr val="bg1"/>
            </a:bgClr>
          </a:pattFill>
        </p:spPr>
        <p:txBody>
          <a:bodyPr wrap="square" anchor="ctr" anchorCtr="1">
            <a:noAutofit/>
          </a:bodyPr>
          <a:lstStyle>
            <a:lvl1pPr>
              <a:defRPr sz="600">
                <a:solidFill>
                  <a:srgbClr val="A0A0A0"/>
                </a:solidFill>
              </a:defRPr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9677009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B639079-A8A4-4A4E-9614-F4097EC1506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793673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d-ID">
                <a:latin typeface="Arial" panose="020B0604020202020204" pitchFamily="34" charset="0"/>
                <a:cs typeface="Arial" panose="020B0604020202020204" pitchFamily="34" charset="0"/>
              </a:rPr>
              <a:t>Picture</a:t>
            </a:r>
          </a:p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454B2C0-6E8F-41F7-88DB-AB026A382D39}"/>
              </a:ext>
            </a:extLst>
          </p:cNvPr>
          <p:cNvSpPr/>
          <p:nvPr userDrawn="1"/>
        </p:nvSpPr>
        <p:spPr>
          <a:xfrm>
            <a:off x="0" y="4793672"/>
            <a:ext cx="12192000" cy="20643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69637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cing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873288" cy="6858000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480D763-083D-C748-76AB-562E445E35C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347116" y="2638269"/>
            <a:ext cx="2033148" cy="2690495"/>
          </a:xfrm>
          <a:prstGeom prst="roundRect">
            <a:avLst>
              <a:gd name="adj" fmla="val 8465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D34ABD2-3FDC-4CAC-7A1B-27A66EDB358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333738" y="2638269"/>
            <a:ext cx="2033148" cy="2690495"/>
          </a:xfrm>
          <a:prstGeom prst="roundRect">
            <a:avLst>
              <a:gd name="adj" fmla="val 8465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F8FC029-CA6E-E7BA-858A-77A565CCB7E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840427" y="2638269"/>
            <a:ext cx="2033148" cy="2690495"/>
          </a:xfrm>
          <a:prstGeom prst="roundRect">
            <a:avLst>
              <a:gd name="adj" fmla="val 8465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11351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cing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704735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36442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FF72231A-693F-4F96-9121-F2365B9745D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29050" y="7938"/>
            <a:ext cx="8362950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E38DE84-A9BE-3E9A-C3C3-35AFFF8F8C0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7938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48000 w 6096000"/>
              <a:gd name="connsiteY3" fmla="*/ 6858000 h 6858000"/>
              <a:gd name="connsiteX4" fmla="*/ 0 w 6096000"/>
              <a:gd name="connsiteY4" fmla="*/ 3810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48000" y="6858000"/>
                </a:lnTo>
                <a:cubicBezTo>
                  <a:pt x="1364636" y="6858000"/>
                  <a:pt x="0" y="5493364"/>
                  <a:pt x="0" y="3810000"/>
                </a:cubicBezTo>
                <a:close/>
              </a:path>
            </a:pathLst>
          </a:custGeom>
          <a:pattFill prst="pct20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19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EA2761A-BD3C-4C66-B90B-2726F8D215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4754880"/>
              <a:gd name="connsiteY0" fmla="*/ 0 h 6858000"/>
              <a:gd name="connsiteX1" fmla="*/ 4754880 w 4754880"/>
              <a:gd name="connsiteY1" fmla="*/ 0 h 6858000"/>
              <a:gd name="connsiteX2" fmla="*/ 4754880 w 4754880"/>
              <a:gd name="connsiteY2" fmla="*/ 6858000 h 6858000"/>
              <a:gd name="connsiteX3" fmla="*/ 0 w 475488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54880" h="6858000">
                <a:moveTo>
                  <a:pt x="0" y="0"/>
                </a:moveTo>
                <a:lnTo>
                  <a:pt x="4754880" y="0"/>
                </a:lnTo>
                <a:lnTo>
                  <a:pt x="475488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76111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A75CF4-0495-44F0-9919-2BE2E9C335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059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A75CF4-0495-44F0-9919-2BE2E9C335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6903CF4-CF7A-4D3B-9206-A558CF8F191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F01D88-14DC-4E8C-BC51-F6E29BA416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956F14-30EB-46F0-BB34-23C7D0B00E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4FD2C7-F87E-4333-A1F2-06B61B355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16/07/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7364F3-044E-4210-9FE8-5F892F067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429688-1D12-4543-A348-2B8D4B848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4152171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9B4D2A1-5732-4B0E-AD8F-F79D4D8E1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830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9B4D2A1-5732-4B0E-AD8F-F79D4D8E1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FD2E193-527D-4DD9-8E64-AF3CF26632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B45756-886E-4ED6-A056-7F53A7CFD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91E3EA-5251-41DF-A072-D6E0FF8ED7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CD2ACE-899B-4B44-866B-D792AC29D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16/07/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72871A-7A4D-4FC3-86FC-B611CCDD29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111E3D-076A-44A8-B2CB-5B57C3630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7495170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3AD1D6A-C5C0-473B-926F-DF87BC63F3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308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3AD1D6A-C5C0-473B-926F-DF87BC63F3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C40A597-CFF5-42CD-B59A-7690C0936F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5743E9-1B90-44BE-8018-6AD5508D4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4ABA70-9411-48B5-9A79-D2FA933FA3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63BA19-713B-4C9B-9631-201C58ABCF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16/07/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3B1366-8670-40C6-9556-C3B8DA71B7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7469EF-592D-437E-BA15-C6E5C6530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5983705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626EF9F-6DE0-4392-B5D6-822005F488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747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626EF9F-6DE0-4392-B5D6-822005F488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5E654F2-7653-48AA-A132-E143D36CCFB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0139F3-BD05-4A74-875B-54EC9FEC8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5E10A5-0D80-4BD9-B991-3C9313F121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A9FD12-366A-42A8-AFA4-979C82DF28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C9DB27-FBA1-4D3D-9984-89B36A0257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16/07/25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55434F-B91B-42BC-B5B6-BD3BF6F02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8B3053-38A7-412B-8277-8563B47D5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4345251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9587DF5-3A40-47AE-BF9F-6EF659282A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6174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9587DF5-3A40-47AE-BF9F-6EF659282A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9B79F29-5D2D-4E95-8C5B-DE9F5FF5660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D917A2-8764-4DD8-8BE9-E35FDE2390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04E9E9-ED16-46D0-A60F-BE60AC7E9D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A9BE62-4058-4DEC-BBC4-D42F5349ED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149CD0-0E68-4EF5-9B61-C07060BDE6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FB4448D-7CDA-4478-B093-3AC43166536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E1A0D2F-1761-4226-BCDD-75008D2ED9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16/07/25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2997EA-07A2-44EA-92CA-0E6CD46C12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CA1CB98-4ABA-413C-8A1D-FFA316593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965524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2570C7-1586-415F-8742-BB73F728D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14E1F-935D-4A4C-A3E3-9F66C82D0D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70BE1B9-3E32-425C-B4EF-BDAA4A14FB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899345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EF40E30-8894-4D54-A50E-8A2BA4F1EB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847588" cy="6858000"/>
          </a:xfrm>
          <a:custGeom>
            <a:avLst/>
            <a:gdLst>
              <a:gd name="connsiteX0" fmla="*/ 0 w 5848350"/>
              <a:gd name="connsiteY0" fmla="*/ 0 h 6858000"/>
              <a:gd name="connsiteX1" fmla="*/ 3942780 w 5848350"/>
              <a:gd name="connsiteY1" fmla="*/ 0 h 6858000"/>
              <a:gd name="connsiteX2" fmla="*/ 4067770 w 5848350"/>
              <a:gd name="connsiteY2" fmla="*/ 80130 h 6858000"/>
              <a:gd name="connsiteX3" fmla="*/ 5848350 w 5848350"/>
              <a:gd name="connsiteY3" fmla="*/ 3429000 h 6858000"/>
              <a:gd name="connsiteX4" fmla="*/ 4067770 w 5848350"/>
              <a:gd name="connsiteY4" fmla="*/ 6777871 h 6858000"/>
              <a:gd name="connsiteX5" fmla="*/ 3942780 w 5848350"/>
              <a:gd name="connsiteY5" fmla="*/ 6858000 h 6858000"/>
              <a:gd name="connsiteX6" fmla="*/ 0 w 584835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48350" h="6858000">
                <a:moveTo>
                  <a:pt x="0" y="0"/>
                </a:moveTo>
                <a:lnTo>
                  <a:pt x="3942780" y="0"/>
                </a:lnTo>
                <a:lnTo>
                  <a:pt x="4067770" y="80130"/>
                </a:lnTo>
                <a:cubicBezTo>
                  <a:pt x="5142044" y="805895"/>
                  <a:pt x="5848350" y="2034965"/>
                  <a:pt x="5848350" y="3429000"/>
                </a:cubicBezTo>
                <a:cubicBezTo>
                  <a:pt x="5848350" y="4823036"/>
                  <a:pt x="5142044" y="6052105"/>
                  <a:pt x="4067770" y="6777871"/>
                </a:cubicBezTo>
                <a:lnTo>
                  <a:pt x="3942780" y="6858000"/>
                </a:lnTo>
                <a:lnTo>
                  <a:pt x="0" y="6858000"/>
                </a:lnTo>
                <a:close/>
              </a:path>
            </a:pathLst>
          </a:custGeom>
          <a:pattFill prst="pct20">
            <a:fgClr>
              <a:srgbClr val="A0A0A0"/>
            </a:fgClr>
            <a:bgClr>
              <a:schemeClr val="bg1"/>
            </a:bgClr>
          </a:pattFill>
        </p:spPr>
        <p:txBody>
          <a:bodyPr wrap="square" anchor="ctr" anchorCtr="1">
            <a:noAutofit/>
          </a:bodyPr>
          <a:lstStyle>
            <a:lvl1pPr>
              <a:defRPr sz="600">
                <a:solidFill>
                  <a:srgbClr val="A0A0A0"/>
                </a:solidFill>
              </a:defRPr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8020150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CA16087-473D-4FE0-867F-80FC27E508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031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CA16087-473D-4FE0-867F-80FC27E508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060E62E-D850-491E-B38F-5BC9377263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D187D1-3487-47A8-AC42-1716EC81B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DCC578A-0525-4E61-9129-31B667CB3C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16/07/25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D16E53-1F8F-4082-AB38-8EB35943F0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9E71C4-E006-48A4-9C15-77C1A5DE14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9939887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AA7BDF-0AF1-43DD-B25E-4180C4A3C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16/07/25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527088-8B53-411E-982B-9B7B7377E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F41C51-6A03-4D8D-A703-731ECDF8A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9791144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1D26734-4938-45E5-AE8F-80DD3A1B1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7753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1D26734-4938-45E5-AE8F-80DD3A1B1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36A9F74-7577-4B7D-8966-C35BEA2F29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4AD4C8-811D-488B-B799-5EDF23BD1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F5DE0A-DE58-4017-8F7D-4CBFA2F8D9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C687DB-7944-431E-A760-02241370AE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D22CD9-8282-4D54-9FB8-BC138F602D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16/07/25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0F81F6-7C5E-4934-B80A-AC7FF3F5C7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4D0637-6259-4056-896C-934687F48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6695459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39ABD71-175B-45C9-807F-6C98F9899F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3290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39ABD71-175B-45C9-807F-6C98F9899F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9DA5152-5367-4080-91A8-B213C80A1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E13762-D356-44CA-8098-71F88A2EE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555D56-7867-4A5C-88C1-E4DD127013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6A39D7-E3A6-430D-9A3B-C46FFE3D78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64E50F-ED9F-4751-8C55-0A05A424B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16/07/25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E1825A-E49B-4D7D-B311-5F1C9FF400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645C58-B9EE-496F-A972-1B227FD10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9694441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C4CF938-191F-4536-929B-310FAA3235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991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C4CF938-191F-4536-929B-310FAA3235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57765DF-DCDA-488D-976A-B4A14470F0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BDF97-FFFD-4D85-92EA-936B35FC4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BFADDC0-CEE8-47AA-8812-6BE87AC3C4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5E4BF-1EA0-41F9-98B5-D25636F0F6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16/07/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5C6054-F058-4B3B-9A8C-DB41F94CD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BDBF92-D396-4CD2-BDF2-16378AB8E5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1117183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06B0378-93DF-48F5-A59C-5D55A416A8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525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06B0378-93DF-48F5-A59C-5D55A416A8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707BDF6-DC68-4490-9CD9-BFE1538764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F6AE5386-C5A2-4F31-A5C5-57313C4E153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3B18F4-2655-407A-8F02-B992A2B288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21AD07-201D-41B7-AFBD-0E10BF5BB3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16/07/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BD80B1-8B71-4D53-9C10-5032371B23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23EB62-7DE9-4A6F-AB8C-52951BCE5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9157154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1905004" y="1"/>
            <a:ext cx="10286996" cy="6857999"/>
            <a:chOff x="1905004" y="1"/>
            <a:chExt cx="10286996" cy="6857999"/>
          </a:xfrm>
        </p:grpSpPr>
        <p:pic>
          <p:nvPicPr>
            <p:cNvPr id="6" name="Picture 6" descr="Image result for construction bridge indonesia"/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5004" y="1"/>
              <a:ext cx="10286996" cy="685799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ight Triangle 6"/>
            <p:cNvSpPr/>
            <p:nvPr/>
          </p:nvSpPr>
          <p:spPr>
            <a:xfrm rot="5400000">
              <a:off x="3042561" y="-1137553"/>
              <a:ext cx="5805715" cy="8080827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/>
          <p:cNvSpPr/>
          <p:nvPr userDrawn="1"/>
        </p:nvSpPr>
        <p:spPr>
          <a:xfrm>
            <a:off x="2049517" y="1"/>
            <a:ext cx="10142483" cy="6857999"/>
          </a:xfrm>
          <a:prstGeom prst="rect">
            <a:avLst/>
          </a:prstGeom>
          <a:solidFill>
            <a:schemeClr val="bg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99449" y="6237310"/>
            <a:ext cx="439241" cy="390437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 sz="1400">
                <a:solidFill>
                  <a:srgbClr val="2F3A46"/>
                </a:solidFill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8327C5-B821-4FE9-A59A-A60D9EB59A9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2F3A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F3A4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F1A9D71-5BA3-4EE0-8ED7-150943366783}"/>
              </a:ext>
            </a:extLst>
          </p:cNvPr>
          <p:cNvCxnSpPr/>
          <p:nvPr userDrawn="1"/>
        </p:nvCxnSpPr>
        <p:spPr>
          <a:xfrm>
            <a:off x="958312" y="6127675"/>
            <a:ext cx="0" cy="540000"/>
          </a:xfrm>
          <a:prstGeom prst="line">
            <a:avLst/>
          </a:prstGeom>
          <a:ln w="38100">
            <a:solidFill>
              <a:srgbClr val="EEB7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0" y="1005673"/>
            <a:ext cx="52390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F1A9D71-5BA3-4EE0-8ED7-150943366783}"/>
              </a:ext>
            </a:extLst>
          </p:cNvPr>
          <p:cNvCxnSpPr/>
          <p:nvPr userDrawn="1"/>
        </p:nvCxnSpPr>
        <p:spPr>
          <a:xfrm>
            <a:off x="12034064" y="6127675"/>
            <a:ext cx="0" cy="540000"/>
          </a:xfrm>
          <a:prstGeom prst="line">
            <a:avLst/>
          </a:prstGeom>
          <a:ln w="38100">
            <a:solidFill>
              <a:srgbClr val="EEB7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63070" y="1279174"/>
            <a:ext cx="11647502" cy="459662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3070" y="81234"/>
            <a:ext cx="9312843" cy="782036"/>
          </a:xfrm>
        </p:spPr>
        <p:txBody>
          <a:bodyPr>
            <a:normAutofit/>
          </a:bodyPr>
          <a:lstStyle>
            <a:lvl1pPr>
              <a:defRPr lang="en-US" sz="3600" b="1" kern="1200" cap="all" normalizeH="0" baseline="0">
                <a:solidFill>
                  <a:srgbClr val="2F3A46"/>
                </a:solidFill>
                <a:latin typeface="Open Sans" panose="020B0606030504020204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4159" y="96968"/>
            <a:ext cx="2220938" cy="828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82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pan dir="u"/>
      </p:transition>
    </mc:Choice>
    <mc:Fallback xmlns="">
      <p:transition spd="slow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 descr="Abstract Architectural Background. Linear 3D Illustration. Concept Sketch  Stock Illustration - Illustration of construction, house: 173743442">
            <a:extLst>
              <a:ext uri="{FF2B5EF4-FFF2-40B4-BE49-F238E27FC236}">
                <a16:creationId xmlns:a16="http://schemas.microsoft.com/office/drawing/2014/main" id="{F0081776-D9D1-4EF7-B097-ED97C265BA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1248"/>
            <a:ext cx="12192000" cy="6853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829251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pHolder11"/>
          <p:cNvSpPr>
            <a:spLocks noGrp="1"/>
          </p:cNvSpPr>
          <p:nvPr>
            <p:ph type="pic" sz="quarter" idx="16"/>
          </p:nvPr>
        </p:nvSpPr>
        <p:spPr>
          <a:xfrm>
            <a:off x="4876806" y="2209800"/>
            <a:ext cx="2438399" cy="1371600"/>
          </a:xfrm>
          <a:custGeom>
            <a:avLst/>
            <a:gdLst>
              <a:gd name="connsiteX0" fmla="*/ 65727 w 1828799"/>
              <a:gd name="connsiteY0" fmla="*/ 0 h 1371600"/>
              <a:gd name="connsiteX1" fmla="*/ 1763072 w 1828799"/>
              <a:gd name="connsiteY1" fmla="*/ 0 h 1371600"/>
              <a:gd name="connsiteX2" fmla="*/ 1828799 w 1828799"/>
              <a:gd name="connsiteY2" fmla="*/ 65727 h 1371600"/>
              <a:gd name="connsiteX3" fmla="*/ 1828799 w 1828799"/>
              <a:gd name="connsiteY3" fmla="*/ 1305873 h 1371600"/>
              <a:gd name="connsiteX4" fmla="*/ 1763072 w 1828799"/>
              <a:gd name="connsiteY4" fmla="*/ 1371600 h 1371600"/>
              <a:gd name="connsiteX5" fmla="*/ 65727 w 1828799"/>
              <a:gd name="connsiteY5" fmla="*/ 1371600 h 1371600"/>
              <a:gd name="connsiteX6" fmla="*/ 0 w 1828799"/>
              <a:gd name="connsiteY6" fmla="*/ 1305873 h 1371600"/>
              <a:gd name="connsiteX7" fmla="*/ 0 w 1828799"/>
              <a:gd name="connsiteY7" fmla="*/ 65727 h 1371600"/>
              <a:gd name="connsiteX8" fmla="*/ 65727 w 1828799"/>
              <a:gd name="connsiteY8" fmla="*/ 0 h 137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28799" h="1371600">
                <a:moveTo>
                  <a:pt x="65727" y="0"/>
                </a:moveTo>
                <a:lnTo>
                  <a:pt x="1763072" y="0"/>
                </a:lnTo>
                <a:cubicBezTo>
                  <a:pt x="1799372" y="0"/>
                  <a:pt x="1828799" y="29428"/>
                  <a:pt x="1828799" y="65727"/>
                </a:cubicBezTo>
                <a:lnTo>
                  <a:pt x="1828799" y="1305873"/>
                </a:lnTo>
                <a:cubicBezTo>
                  <a:pt x="1828799" y="1342173"/>
                  <a:pt x="1799372" y="1371600"/>
                  <a:pt x="1763072" y="1371600"/>
                </a:cubicBezTo>
                <a:lnTo>
                  <a:pt x="65727" y="1371600"/>
                </a:lnTo>
                <a:cubicBezTo>
                  <a:pt x="29427" y="1371600"/>
                  <a:pt x="0" y="1342173"/>
                  <a:pt x="0" y="1305873"/>
                </a:cubicBezTo>
                <a:lnTo>
                  <a:pt x="0" y="65727"/>
                </a:lnTo>
                <a:cubicBezTo>
                  <a:pt x="0" y="29428"/>
                  <a:pt x="29427" y="0"/>
                  <a:pt x="65727" y="0"/>
                </a:cubicBez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tl"/>
          </a:blipFill>
        </p:spPr>
        <p:txBody>
          <a:bodyPr rtlCol="0" anchor="ctr" anchorCtr="1">
            <a:normAutofit/>
          </a:bodyPr>
          <a:lstStyle>
            <a:lvl1pPr>
              <a:defRPr lang="en-US" sz="6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352800" y="990600"/>
            <a:ext cx="5486400" cy="719138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pHolder10"/>
          <p:cNvSpPr>
            <a:spLocks noGrp="1"/>
          </p:cNvSpPr>
          <p:nvPr>
            <p:ph type="pic" sz="quarter" idx="17"/>
          </p:nvPr>
        </p:nvSpPr>
        <p:spPr>
          <a:xfrm>
            <a:off x="1828012" y="2209800"/>
            <a:ext cx="2438401" cy="1371600"/>
          </a:xfrm>
          <a:custGeom>
            <a:avLst/>
            <a:gdLst>
              <a:gd name="connsiteX0" fmla="*/ 65727 w 1828801"/>
              <a:gd name="connsiteY0" fmla="*/ 0 h 1371600"/>
              <a:gd name="connsiteX1" fmla="*/ 1763074 w 1828801"/>
              <a:gd name="connsiteY1" fmla="*/ 0 h 1371600"/>
              <a:gd name="connsiteX2" fmla="*/ 1828801 w 1828801"/>
              <a:gd name="connsiteY2" fmla="*/ 65727 h 1371600"/>
              <a:gd name="connsiteX3" fmla="*/ 1828801 w 1828801"/>
              <a:gd name="connsiteY3" fmla="*/ 1305873 h 1371600"/>
              <a:gd name="connsiteX4" fmla="*/ 1763074 w 1828801"/>
              <a:gd name="connsiteY4" fmla="*/ 1371600 h 1371600"/>
              <a:gd name="connsiteX5" fmla="*/ 65727 w 1828801"/>
              <a:gd name="connsiteY5" fmla="*/ 1371600 h 1371600"/>
              <a:gd name="connsiteX6" fmla="*/ 0 w 1828801"/>
              <a:gd name="connsiteY6" fmla="*/ 1305873 h 1371600"/>
              <a:gd name="connsiteX7" fmla="*/ 0 w 1828801"/>
              <a:gd name="connsiteY7" fmla="*/ 65727 h 1371600"/>
              <a:gd name="connsiteX8" fmla="*/ 65727 w 1828801"/>
              <a:gd name="connsiteY8" fmla="*/ 0 h 137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28801" h="1371600">
                <a:moveTo>
                  <a:pt x="65727" y="0"/>
                </a:moveTo>
                <a:lnTo>
                  <a:pt x="1763074" y="0"/>
                </a:lnTo>
                <a:cubicBezTo>
                  <a:pt x="1799374" y="0"/>
                  <a:pt x="1828801" y="29428"/>
                  <a:pt x="1828801" y="65727"/>
                </a:cubicBezTo>
                <a:lnTo>
                  <a:pt x="1828801" y="1305873"/>
                </a:lnTo>
                <a:cubicBezTo>
                  <a:pt x="1828801" y="1342173"/>
                  <a:pt x="1799374" y="1371600"/>
                  <a:pt x="1763074" y="1371600"/>
                </a:cubicBezTo>
                <a:lnTo>
                  <a:pt x="65727" y="1371600"/>
                </a:lnTo>
                <a:cubicBezTo>
                  <a:pt x="29428" y="1371600"/>
                  <a:pt x="0" y="1342173"/>
                  <a:pt x="0" y="1305873"/>
                </a:cubicBezTo>
                <a:lnTo>
                  <a:pt x="0" y="65727"/>
                </a:lnTo>
                <a:cubicBezTo>
                  <a:pt x="0" y="29428"/>
                  <a:pt x="29428" y="0"/>
                  <a:pt x="65727" y="0"/>
                </a:cubicBez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tl"/>
          </a:blipFill>
        </p:spPr>
        <p:txBody>
          <a:bodyPr rtlCol="0" anchor="ctr" anchorCtr="1">
            <a:normAutofit/>
          </a:bodyPr>
          <a:lstStyle>
            <a:lvl1pPr>
              <a:defRPr lang="en-US" sz="6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3" name="PpHolder12"/>
          <p:cNvSpPr>
            <a:spLocks noGrp="1"/>
          </p:cNvSpPr>
          <p:nvPr>
            <p:ph type="pic" sz="quarter" idx="15"/>
          </p:nvPr>
        </p:nvSpPr>
        <p:spPr>
          <a:xfrm>
            <a:off x="7925595" y="2209800"/>
            <a:ext cx="2438400" cy="1371600"/>
          </a:xfrm>
          <a:custGeom>
            <a:avLst/>
            <a:gdLst>
              <a:gd name="connsiteX0" fmla="*/ 65727 w 1828800"/>
              <a:gd name="connsiteY0" fmla="*/ 0 h 1371600"/>
              <a:gd name="connsiteX1" fmla="*/ 1763073 w 1828800"/>
              <a:gd name="connsiteY1" fmla="*/ 0 h 1371600"/>
              <a:gd name="connsiteX2" fmla="*/ 1828800 w 1828800"/>
              <a:gd name="connsiteY2" fmla="*/ 65727 h 1371600"/>
              <a:gd name="connsiteX3" fmla="*/ 1828800 w 1828800"/>
              <a:gd name="connsiteY3" fmla="*/ 1305873 h 1371600"/>
              <a:gd name="connsiteX4" fmla="*/ 1763073 w 1828800"/>
              <a:gd name="connsiteY4" fmla="*/ 1371600 h 1371600"/>
              <a:gd name="connsiteX5" fmla="*/ 65727 w 1828800"/>
              <a:gd name="connsiteY5" fmla="*/ 1371600 h 1371600"/>
              <a:gd name="connsiteX6" fmla="*/ 0 w 1828800"/>
              <a:gd name="connsiteY6" fmla="*/ 1305873 h 1371600"/>
              <a:gd name="connsiteX7" fmla="*/ 0 w 1828800"/>
              <a:gd name="connsiteY7" fmla="*/ 65727 h 1371600"/>
              <a:gd name="connsiteX8" fmla="*/ 65727 w 1828800"/>
              <a:gd name="connsiteY8" fmla="*/ 0 h 137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28800" h="1371600">
                <a:moveTo>
                  <a:pt x="65727" y="0"/>
                </a:moveTo>
                <a:lnTo>
                  <a:pt x="1763073" y="0"/>
                </a:lnTo>
                <a:cubicBezTo>
                  <a:pt x="1799373" y="0"/>
                  <a:pt x="1828800" y="29428"/>
                  <a:pt x="1828800" y="65727"/>
                </a:cubicBezTo>
                <a:lnTo>
                  <a:pt x="1828800" y="1305873"/>
                </a:lnTo>
                <a:cubicBezTo>
                  <a:pt x="1828800" y="1342173"/>
                  <a:pt x="1799373" y="1371600"/>
                  <a:pt x="1763073" y="1371600"/>
                </a:cubicBezTo>
                <a:lnTo>
                  <a:pt x="65727" y="1371600"/>
                </a:lnTo>
                <a:cubicBezTo>
                  <a:pt x="29427" y="1371600"/>
                  <a:pt x="0" y="1342173"/>
                  <a:pt x="0" y="1305873"/>
                </a:cubicBezTo>
                <a:lnTo>
                  <a:pt x="0" y="65727"/>
                </a:lnTo>
                <a:cubicBezTo>
                  <a:pt x="0" y="29428"/>
                  <a:pt x="29427" y="0"/>
                  <a:pt x="65727" y="0"/>
                </a:cubicBez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tl"/>
          </a:blipFill>
        </p:spPr>
        <p:txBody>
          <a:bodyPr rtlCol="0" anchor="ctr" anchorCtr="1">
            <a:normAutofit/>
          </a:bodyPr>
          <a:lstStyle>
            <a:lvl1pPr>
              <a:defRPr lang="en-US" sz="6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24708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929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B31DEB7-9447-438D-9EEA-6575D637C8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22515" y="0"/>
            <a:ext cx="6269485" cy="6858000"/>
          </a:xfrm>
          <a:custGeom>
            <a:avLst/>
            <a:gdLst>
              <a:gd name="connsiteX0" fmla="*/ 426887 w 6270302"/>
              <a:gd name="connsiteY0" fmla="*/ 0 h 6858000"/>
              <a:gd name="connsiteX1" fmla="*/ 5699832 w 6270302"/>
              <a:gd name="connsiteY1" fmla="*/ 0 h 6858000"/>
              <a:gd name="connsiteX2" fmla="*/ 6270302 w 6270302"/>
              <a:gd name="connsiteY2" fmla="*/ 0 h 6858000"/>
              <a:gd name="connsiteX3" fmla="*/ 6270302 w 6270302"/>
              <a:gd name="connsiteY3" fmla="*/ 686970 h 6858000"/>
              <a:gd name="connsiteX4" fmla="*/ 6270302 w 6270302"/>
              <a:gd name="connsiteY4" fmla="*/ 5169274 h 6858000"/>
              <a:gd name="connsiteX5" fmla="*/ 6270302 w 6270302"/>
              <a:gd name="connsiteY5" fmla="*/ 6858000 h 6858000"/>
              <a:gd name="connsiteX6" fmla="*/ 5086904 w 6270302"/>
              <a:gd name="connsiteY6" fmla="*/ 6858000 h 6858000"/>
              <a:gd name="connsiteX7" fmla="*/ 1787428 w 6270302"/>
              <a:gd name="connsiteY7" fmla="*/ 6858000 h 6858000"/>
              <a:gd name="connsiteX8" fmla="*/ 1753895 w 6270302"/>
              <a:gd name="connsiteY8" fmla="*/ 6751726 h 6858000"/>
              <a:gd name="connsiteX9" fmla="*/ 1824771 w 6270302"/>
              <a:gd name="connsiteY9" fmla="*/ 4496473 h 6858000"/>
              <a:gd name="connsiteX10" fmla="*/ 298440 w 6270302"/>
              <a:gd name="connsiteY10" fmla="*/ 2645499 h 6858000"/>
              <a:gd name="connsiteX11" fmla="*/ 220316 w 6270302"/>
              <a:gd name="connsiteY11" fmla="*/ 372580 h 6858000"/>
              <a:gd name="connsiteX12" fmla="*/ 341699 w 6270302"/>
              <a:gd name="connsiteY12" fmla="*/ 1310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70302" h="6858000">
                <a:moveTo>
                  <a:pt x="426887" y="0"/>
                </a:moveTo>
                <a:lnTo>
                  <a:pt x="5699832" y="0"/>
                </a:lnTo>
                <a:lnTo>
                  <a:pt x="6270302" y="0"/>
                </a:lnTo>
                <a:lnTo>
                  <a:pt x="6270302" y="686970"/>
                </a:lnTo>
                <a:lnTo>
                  <a:pt x="6270302" y="5169274"/>
                </a:lnTo>
                <a:lnTo>
                  <a:pt x="6270302" y="6858000"/>
                </a:lnTo>
                <a:lnTo>
                  <a:pt x="5086904" y="6858000"/>
                </a:lnTo>
                <a:lnTo>
                  <a:pt x="1787428" y="6858000"/>
                </a:lnTo>
                <a:lnTo>
                  <a:pt x="1753895" y="6751726"/>
                </a:lnTo>
                <a:cubicBezTo>
                  <a:pt x="1608736" y="6154165"/>
                  <a:pt x="1954745" y="5270461"/>
                  <a:pt x="1824771" y="4496473"/>
                </a:cubicBezTo>
                <a:cubicBezTo>
                  <a:pt x="1665537" y="3607513"/>
                  <a:pt x="595723" y="3229488"/>
                  <a:pt x="298440" y="2645499"/>
                </a:cubicBezTo>
                <a:cubicBezTo>
                  <a:pt x="-77137" y="1953644"/>
                  <a:pt x="-92596" y="1088831"/>
                  <a:pt x="220316" y="372580"/>
                </a:cubicBezTo>
                <a:cubicBezTo>
                  <a:pt x="256422" y="289936"/>
                  <a:pt x="296899" y="209270"/>
                  <a:pt x="341699" y="131075"/>
                </a:cubicBezTo>
                <a:close/>
              </a:path>
            </a:pathLst>
          </a:custGeom>
          <a:pattFill prst="pct20">
            <a:fgClr>
              <a:srgbClr val="A0A0A0"/>
            </a:fgClr>
            <a:bgClr>
              <a:schemeClr val="bg1"/>
            </a:bgClr>
          </a:pattFill>
        </p:spPr>
        <p:txBody>
          <a:bodyPr wrap="square" anchor="ctr" anchorCtr="1">
            <a:noAutofit/>
          </a:bodyPr>
          <a:lstStyle>
            <a:lvl1pPr>
              <a:defRPr sz="600">
                <a:solidFill>
                  <a:srgbClr val="A0A0A0"/>
                </a:solidFill>
              </a:defRPr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4313496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d-ID">
                <a:latin typeface="Arial" panose="020B0604020202020204" pitchFamily="34" charset="0"/>
                <a:cs typeface="Arial" panose="020B0604020202020204" pitchFamily="34" charset="0"/>
              </a:rPr>
              <a:t>Pictur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45990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FE1A4C7F-1EEF-4F6D-FC87-ECD41FA9A88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550553" y="908581"/>
            <a:ext cx="3959437" cy="3826347"/>
          </a:xfrm>
          <a:prstGeom prst="roundRect">
            <a:avLst>
              <a:gd name="adj" fmla="val 5391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3558" y="908581"/>
            <a:ext cx="3959437" cy="3826347"/>
          </a:xfrm>
          <a:prstGeom prst="roundRect">
            <a:avLst>
              <a:gd name="adj" fmla="val 5391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16849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roducing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33712C1-A7A9-77D1-8A3C-5F8753F269E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80119" y="2964600"/>
            <a:ext cx="3072798" cy="2947981"/>
          </a:xfrm>
          <a:prstGeom prst="roundRect">
            <a:avLst>
              <a:gd name="adj" fmla="val 668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4CE940C-F1B1-E9E9-EA30-6CFA58A3DA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94211" y="2964600"/>
            <a:ext cx="2314423" cy="2947981"/>
          </a:xfrm>
          <a:prstGeom prst="roundRect">
            <a:avLst>
              <a:gd name="adj" fmla="val 668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6532" y="2964600"/>
            <a:ext cx="5072293" cy="2947981"/>
          </a:xfrm>
          <a:prstGeom prst="roundRect">
            <a:avLst>
              <a:gd name="adj" fmla="val 5391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60331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ing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BE1E6D8F-8CD7-4428-AEE2-996FB48FD85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5326" y="747244"/>
            <a:ext cx="7720829" cy="2947981"/>
          </a:xfrm>
          <a:prstGeom prst="roundRect">
            <a:avLst>
              <a:gd name="adj" fmla="val 891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41758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B75EC29-97CC-C853-D3E7-D5CDD94FDAC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67747" y="1871745"/>
            <a:ext cx="2256506" cy="1557255"/>
          </a:xfrm>
          <a:prstGeom prst="roundRect">
            <a:avLst>
              <a:gd name="adj" fmla="val 11774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A7C65008-E009-FE26-920D-6DADCFAEF29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62653" y="1871745"/>
            <a:ext cx="2256506" cy="1557255"/>
          </a:xfrm>
          <a:prstGeom prst="roundRect">
            <a:avLst>
              <a:gd name="adj" fmla="val 11774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8438CF18-C6CC-2943-E097-967060C2B69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70294" y="4247535"/>
            <a:ext cx="2256506" cy="1557255"/>
          </a:xfrm>
          <a:prstGeom prst="roundRect">
            <a:avLst>
              <a:gd name="adj" fmla="val 11774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C58B31F6-AB20-28D0-E6F5-816ADF087C3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865200" y="4247535"/>
            <a:ext cx="2256506" cy="1557255"/>
          </a:xfrm>
          <a:prstGeom prst="roundRect">
            <a:avLst>
              <a:gd name="adj" fmla="val 11774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72842" y="1871745"/>
            <a:ext cx="2256506" cy="1557255"/>
          </a:xfrm>
          <a:prstGeom prst="roundRect">
            <a:avLst>
              <a:gd name="adj" fmla="val 11774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11669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8121159E-2995-4643-ACA1-5DD791F3CF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49023" y="1004754"/>
            <a:ext cx="3380601" cy="4848493"/>
          </a:xfrm>
          <a:prstGeom prst="roundRect">
            <a:avLst>
              <a:gd name="adj" fmla="val 8114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253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0D4C79-6CFD-486B-AF20-7F6D149A526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98145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226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7265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36662" y="0"/>
            <a:ext cx="5006975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12059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0D4C79-6CFD-486B-AF20-7F6D149A526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86174" y="765175"/>
            <a:ext cx="1628776" cy="5364163"/>
          </a:xfrm>
          <a:prstGeom prst="roundRect">
            <a:avLst>
              <a:gd name="adj" fmla="val 11989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36AEA63-6F3D-4C34-8FA4-EB829878BEE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5323" y="765175"/>
            <a:ext cx="2638425" cy="5364163"/>
          </a:xfrm>
          <a:prstGeom prst="roundRect">
            <a:avLst>
              <a:gd name="adj" fmla="val 7281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99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7265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36AEA63-6F3D-4C34-8FA4-EB829878BEE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71524" y="728663"/>
            <a:ext cx="3838576" cy="2700337"/>
          </a:xfrm>
          <a:prstGeom prst="roundRect">
            <a:avLst>
              <a:gd name="adj" fmla="val 679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6549C15-E4D2-4CE1-A7D6-F9DA56E2D2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57752" y="728663"/>
            <a:ext cx="6675436" cy="2700337"/>
          </a:xfrm>
          <a:prstGeom prst="roundRect">
            <a:avLst>
              <a:gd name="adj" fmla="val 8201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869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726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572784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480D763-083D-C748-76AB-562E445E35C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91957" y="2278743"/>
            <a:ext cx="3008086" cy="2300514"/>
          </a:xfrm>
          <a:prstGeom prst="roundRect">
            <a:avLst>
              <a:gd name="adj" fmla="val 8465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ED3FE090-360E-A201-40CB-06F244EFB8D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525102" y="2278743"/>
            <a:ext cx="3008086" cy="2300514"/>
          </a:xfrm>
          <a:prstGeom prst="roundRect">
            <a:avLst>
              <a:gd name="adj" fmla="val 8465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1838" y="2278743"/>
            <a:ext cx="3008086" cy="2300514"/>
          </a:xfrm>
          <a:prstGeom prst="roundRect">
            <a:avLst>
              <a:gd name="adj" fmla="val 8465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52834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 0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9431A546-2D13-EC82-D139-0BC261DB52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0446" y="2528302"/>
            <a:ext cx="2216012" cy="2155988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5F73412-96A7-C2BC-778B-A8715516CDA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66557" y="2528302"/>
            <a:ext cx="2216012" cy="2155988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9257185-F78E-05E3-8838-82C8014A563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8839" y="2528302"/>
            <a:ext cx="2216012" cy="2155988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04007A95-D992-73BD-E7FC-11C648257D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09379" y="2528302"/>
            <a:ext cx="2216012" cy="2155988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748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242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81775" y="0"/>
            <a:ext cx="4402138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25457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BE1E6D8F-8CD7-4428-AEE2-996FB48FD85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997325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69080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45F88831-3600-733D-86B5-9A979297A7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07278" y="0"/>
            <a:ext cx="5584722" cy="6858000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FF599B-25DF-6DB0-62DE-CB1515A993C0}"/>
              </a:ext>
            </a:extLst>
          </p:cNvPr>
          <p:cNvSpPr/>
          <p:nvPr userDrawn="1"/>
        </p:nvSpPr>
        <p:spPr>
          <a:xfrm>
            <a:off x="0" y="0"/>
            <a:ext cx="6607278" cy="6858000"/>
          </a:xfrm>
          <a:prstGeom prst="rect">
            <a:avLst/>
          </a:prstGeom>
          <a:solidFill>
            <a:srgbClr val="024D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203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242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95C6F78-695D-4A82-87F4-4749C44567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800000">
            <a:off x="9835308" y="-712419"/>
            <a:ext cx="1826495" cy="3867063"/>
          </a:xfrm>
          <a:prstGeom prst="round2SameRect">
            <a:avLst>
              <a:gd name="adj1" fmla="val 10030"/>
              <a:gd name="adj2" fmla="val 1202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D9BB656D-6BB2-AFF7-00CB-A339043E6E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 rot="1800000">
            <a:off x="11133166" y="1567820"/>
            <a:ext cx="1826495" cy="3867063"/>
          </a:xfrm>
          <a:prstGeom prst="round2SameRect">
            <a:avLst>
              <a:gd name="adj1" fmla="val 10030"/>
              <a:gd name="adj2" fmla="val 1202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CE0E10E-0823-4FB8-826F-599FF854CA6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 rot="1800000">
            <a:off x="7673885" y="2991041"/>
            <a:ext cx="1826495" cy="3867063"/>
          </a:xfrm>
          <a:prstGeom prst="round2SameRect">
            <a:avLst>
              <a:gd name="adj1" fmla="val 10030"/>
              <a:gd name="adj2" fmla="val 1202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A5A5DB07-D86D-8B34-E651-F118D48B4E2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 rot="1800000">
            <a:off x="7209760" y="-674030"/>
            <a:ext cx="1826495" cy="3867063"/>
          </a:xfrm>
          <a:prstGeom prst="round2SameRect">
            <a:avLst>
              <a:gd name="adj1" fmla="val 10030"/>
              <a:gd name="adj2" fmla="val 1202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E11AB2B7-8AFB-046F-7E5C-A56F9E45E77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 rot="1800000">
            <a:off x="8963102" y="5271281"/>
            <a:ext cx="1826495" cy="3867063"/>
          </a:xfrm>
          <a:prstGeom prst="round2SameRect">
            <a:avLst>
              <a:gd name="adj1" fmla="val 10030"/>
              <a:gd name="adj2" fmla="val 12023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76630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FF72231A-693F-4F96-9121-F2365B9745D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104900"/>
            <a:ext cx="5238750" cy="424815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D5A0462-1F76-BF48-436E-D09FA2922E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10450" y="0"/>
            <a:ext cx="4781550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08961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FF72231A-693F-4F96-9121-F2365B9745D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0428" y="845457"/>
            <a:ext cx="5266691" cy="3058886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310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B639079-A8A4-4A4E-9614-F4097EC1506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553450" y="0"/>
            <a:ext cx="3638550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d-ID">
                <a:latin typeface="Arial" panose="020B0604020202020204" pitchFamily="34" charset="0"/>
                <a:cs typeface="Arial" panose="020B0604020202020204" pitchFamily="34" charset="0"/>
              </a:rPr>
              <a:t>Pictur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88463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B639079-A8A4-4A4E-9614-F4097EC1506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d-ID">
                <a:latin typeface="Arial" panose="020B0604020202020204" pitchFamily="34" charset="0"/>
                <a:cs typeface="Arial" panose="020B0604020202020204" pitchFamily="34" charset="0"/>
              </a:rPr>
              <a:t>Pictur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903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CB63D-7643-1E4F-8DDC-24CE2AA169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534E22-6D1B-F043-B658-F19DD188C4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23D9DCC-9361-BC4E-AC06-33A154757611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553E14CC-125E-7B45-8B2C-CF6FB4BB13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AE459396-4EBC-C548-918B-331A5244FFE1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2D86BC-2EAC-6E4A-B45C-D006089EC28C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90770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7B639079-A8A4-4A4E-9614-F4097EC1506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793673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d-ID">
                <a:latin typeface="Arial" panose="020B0604020202020204" pitchFamily="34" charset="0"/>
                <a:cs typeface="Arial" panose="020B0604020202020204" pitchFamily="34" charset="0"/>
              </a:rPr>
              <a:t>Picture</a:t>
            </a:r>
          </a:p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454B2C0-6E8F-41F7-88DB-AB026A382D39}"/>
              </a:ext>
            </a:extLst>
          </p:cNvPr>
          <p:cNvSpPr/>
          <p:nvPr userDrawn="1"/>
        </p:nvSpPr>
        <p:spPr>
          <a:xfrm>
            <a:off x="0" y="4793672"/>
            <a:ext cx="12192000" cy="20643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1528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cing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873288" cy="6858000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480D763-083D-C748-76AB-562E445E35C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347116" y="2638269"/>
            <a:ext cx="2033148" cy="2690495"/>
          </a:xfrm>
          <a:prstGeom prst="roundRect">
            <a:avLst>
              <a:gd name="adj" fmla="val 8465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D34ABD2-3FDC-4CAC-7A1B-27A66EDB358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333738" y="2638269"/>
            <a:ext cx="2033148" cy="2690495"/>
          </a:xfrm>
          <a:prstGeom prst="roundRect">
            <a:avLst>
              <a:gd name="adj" fmla="val 8465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F8FC029-CA6E-E7BA-858A-77A565CCB7E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840427" y="2638269"/>
            <a:ext cx="2033148" cy="2690495"/>
          </a:xfrm>
          <a:prstGeom prst="roundRect">
            <a:avLst>
              <a:gd name="adj" fmla="val 8465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33786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cing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8137C0-B9C0-4B21-B882-96A853CAE4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704735"/>
          </a:xfrm>
          <a:prstGeom prst="roundRect">
            <a:avLst>
              <a:gd name="adj" fmla="val 0"/>
            </a:avLst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0804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FF72231A-693F-4F96-9121-F2365B9745D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29050" y="7938"/>
            <a:ext cx="8362950" cy="6858000"/>
          </a:xfrm>
          <a:prstGeom prst="rect">
            <a:avLst/>
          </a:prstGeom>
          <a:pattFill prst="smConfetti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E38DE84-A9BE-3E9A-C3C3-35AFFF8F8C0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7938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48000 w 6096000"/>
              <a:gd name="connsiteY3" fmla="*/ 6858000 h 6858000"/>
              <a:gd name="connsiteX4" fmla="*/ 0 w 6096000"/>
              <a:gd name="connsiteY4" fmla="*/ 3810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48000" y="6858000"/>
                </a:lnTo>
                <a:cubicBezTo>
                  <a:pt x="1364636" y="6858000"/>
                  <a:pt x="0" y="5493364"/>
                  <a:pt x="0" y="3810000"/>
                </a:cubicBezTo>
                <a:close/>
              </a:path>
            </a:pathLst>
          </a:custGeom>
          <a:pattFill prst="pct20">
            <a:fgClr>
              <a:schemeClr val="accent6">
                <a:lumMod val="7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290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EA2761A-BD3C-4C66-B90B-2726F8D215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4754880"/>
              <a:gd name="connsiteY0" fmla="*/ 0 h 6858000"/>
              <a:gd name="connsiteX1" fmla="*/ 4754880 w 4754880"/>
              <a:gd name="connsiteY1" fmla="*/ 0 h 6858000"/>
              <a:gd name="connsiteX2" fmla="*/ 4754880 w 4754880"/>
              <a:gd name="connsiteY2" fmla="*/ 6858000 h 6858000"/>
              <a:gd name="connsiteX3" fmla="*/ 0 w 475488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54880" h="6858000">
                <a:moveTo>
                  <a:pt x="0" y="0"/>
                </a:moveTo>
                <a:lnTo>
                  <a:pt x="4754880" y="0"/>
                </a:lnTo>
                <a:lnTo>
                  <a:pt x="475488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42442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C450B92-4B37-4F18-BB97-A5E278988E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64566" y="543887"/>
            <a:ext cx="4936834" cy="4844056"/>
          </a:xfrm>
          <a:custGeom>
            <a:avLst/>
            <a:gdLst>
              <a:gd name="connsiteX0" fmla="*/ 1925955 w 3851910"/>
              <a:gd name="connsiteY0" fmla="*/ 0 h 3779520"/>
              <a:gd name="connsiteX1" fmla="*/ 3851910 w 3851910"/>
              <a:gd name="connsiteY1" fmla="*/ 1889760 h 3779520"/>
              <a:gd name="connsiteX2" fmla="*/ 1925955 w 3851910"/>
              <a:gd name="connsiteY2" fmla="*/ 3779520 h 3779520"/>
              <a:gd name="connsiteX3" fmla="*/ 0 w 3851910"/>
              <a:gd name="connsiteY3" fmla="*/ 1889760 h 3779520"/>
              <a:gd name="connsiteX4" fmla="*/ 1925955 w 3851910"/>
              <a:gd name="connsiteY4" fmla="*/ 0 h 3779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910" h="3779520">
                <a:moveTo>
                  <a:pt x="1925955" y="0"/>
                </a:moveTo>
                <a:cubicBezTo>
                  <a:pt x="2989631" y="0"/>
                  <a:pt x="3851910" y="846074"/>
                  <a:pt x="3851910" y="1889760"/>
                </a:cubicBezTo>
                <a:cubicBezTo>
                  <a:pt x="3851910" y="2933446"/>
                  <a:pt x="2989631" y="3779520"/>
                  <a:pt x="1925955" y="3779520"/>
                </a:cubicBezTo>
                <a:cubicBezTo>
                  <a:pt x="862279" y="3779520"/>
                  <a:pt x="0" y="2933446"/>
                  <a:pt x="0" y="1889760"/>
                </a:cubicBezTo>
                <a:cubicBezTo>
                  <a:pt x="0" y="846074"/>
                  <a:pt x="862279" y="0"/>
                  <a:pt x="192595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45093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601673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605542-4BA6-49E2-9186-328C7257F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3AE337-4659-4614-A3B2-9A3295D4F3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377AB3-EA0F-4564-BA11-CE86CEC2B74E}" type="datetimeFigureOut">
              <a:rPr lang="en-US" smtClean="0"/>
              <a:t>7/16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D358D3-5A6A-496C-A8B2-A7B60581D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A4B1E0-2B52-4B39-B6EF-22A5CCB74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D112-55D8-4CF9-923F-275B1C8B9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14627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8465CD8-01F2-4B39-9718-EB9ED29A67B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843703" y="1034119"/>
            <a:ext cx="3450614" cy="4862287"/>
          </a:xfrm>
          <a:custGeom>
            <a:avLst/>
            <a:gdLst>
              <a:gd name="connsiteX0" fmla="*/ 1725317 w 3450614"/>
              <a:gd name="connsiteY0" fmla="*/ 0 h 4862287"/>
              <a:gd name="connsiteX1" fmla="*/ 1725334 w 3450614"/>
              <a:gd name="connsiteY1" fmla="*/ 1 h 4862287"/>
              <a:gd name="connsiteX2" fmla="*/ 1726349 w 3450614"/>
              <a:gd name="connsiteY2" fmla="*/ 1 h 4862287"/>
              <a:gd name="connsiteX3" fmla="*/ 3448576 w 3450614"/>
              <a:gd name="connsiteY3" fmla="*/ 1 h 4862287"/>
              <a:gd name="connsiteX4" fmla="*/ 3448576 w 3450614"/>
              <a:gd name="connsiteY4" fmla="*/ 1654075 h 4862287"/>
              <a:gd name="connsiteX5" fmla="*/ 3450614 w 3450614"/>
              <a:gd name="connsiteY5" fmla="*/ 1654075 h 4862287"/>
              <a:gd name="connsiteX6" fmla="*/ 3450614 w 3450614"/>
              <a:gd name="connsiteY6" fmla="*/ 1746610 h 4862287"/>
              <a:gd name="connsiteX7" fmla="*/ 3450614 w 3450614"/>
              <a:gd name="connsiteY7" fmla="*/ 2081042 h 4862287"/>
              <a:gd name="connsiteX8" fmla="*/ 3450614 w 3450614"/>
              <a:gd name="connsiteY8" fmla="*/ 2781245 h 4862287"/>
              <a:gd name="connsiteX9" fmla="*/ 3450614 w 3450614"/>
              <a:gd name="connsiteY9" fmla="*/ 3115676 h 4862287"/>
              <a:gd name="connsiteX10" fmla="*/ 3448555 w 3450614"/>
              <a:gd name="connsiteY10" fmla="*/ 3115676 h 4862287"/>
              <a:gd name="connsiteX11" fmla="*/ 3448555 w 3450614"/>
              <a:gd name="connsiteY11" fmla="*/ 3115677 h 4862287"/>
              <a:gd name="connsiteX12" fmla="*/ 3448555 w 3450614"/>
              <a:gd name="connsiteY12" fmla="*/ 3116199 h 4862287"/>
              <a:gd name="connsiteX13" fmla="*/ 3448555 w 3450614"/>
              <a:gd name="connsiteY13" fmla="*/ 3138605 h 4862287"/>
              <a:gd name="connsiteX14" fmla="*/ 3448555 w 3450614"/>
              <a:gd name="connsiteY14" fmla="*/ 3208212 h 4862287"/>
              <a:gd name="connsiteX15" fmla="*/ 3444255 w 3450614"/>
              <a:gd name="connsiteY15" fmla="*/ 3208212 h 4862287"/>
              <a:gd name="connsiteX16" fmla="*/ 3440728 w 3450614"/>
              <a:gd name="connsiteY16" fmla="*/ 3283711 h 4862287"/>
              <a:gd name="connsiteX17" fmla="*/ 3439830 w 3450614"/>
              <a:gd name="connsiteY17" fmla="*/ 3290202 h 4862287"/>
              <a:gd name="connsiteX18" fmla="*/ 3439651 w 3450614"/>
              <a:gd name="connsiteY18" fmla="*/ 3293788 h 4862287"/>
              <a:gd name="connsiteX19" fmla="*/ 3434630 w 3450614"/>
              <a:gd name="connsiteY19" fmla="*/ 3327838 h 4862287"/>
              <a:gd name="connsiteX20" fmla="*/ 3419589 w 3450614"/>
              <a:gd name="connsiteY20" fmla="*/ 3436693 h 4862287"/>
              <a:gd name="connsiteX21" fmla="*/ 3416731 w 3450614"/>
              <a:gd name="connsiteY21" fmla="*/ 3449212 h 4862287"/>
              <a:gd name="connsiteX22" fmla="*/ 3415644 w 3450614"/>
              <a:gd name="connsiteY22" fmla="*/ 3456587 h 4862287"/>
              <a:gd name="connsiteX23" fmla="*/ 3406357 w 3450614"/>
              <a:gd name="connsiteY23" fmla="*/ 3494653 h 4862287"/>
              <a:gd name="connsiteX24" fmla="*/ 3385699 w 3450614"/>
              <a:gd name="connsiteY24" fmla="*/ 3585139 h 4862287"/>
              <a:gd name="connsiteX25" fmla="*/ 3379816 w 3450614"/>
              <a:gd name="connsiteY25" fmla="*/ 3603445 h 4862287"/>
              <a:gd name="connsiteX26" fmla="*/ 3377210 w 3450614"/>
              <a:gd name="connsiteY26" fmla="*/ 3614128 h 4862287"/>
              <a:gd name="connsiteX27" fmla="*/ 3364680 w 3450614"/>
              <a:gd name="connsiteY27" fmla="*/ 3650544 h 4862287"/>
              <a:gd name="connsiteX28" fmla="*/ 3339643 w 3450614"/>
              <a:gd name="connsiteY28" fmla="*/ 3728452 h 4862287"/>
              <a:gd name="connsiteX29" fmla="*/ 3329740 w 3450614"/>
              <a:gd name="connsiteY29" fmla="*/ 3752093 h 4862287"/>
              <a:gd name="connsiteX30" fmla="*/ 3325063 w 3450614"/>
              <a:gd name="connsiteY30" fmla="*/ 3765685 h 4862287"/>
              <a:gd name="connsiteX31" fmla="*/ 3310233 w 3450614"/>
              <a:gd name="connsiteY31" fmla="*/ 3798661 h 4862287"/>
              <a:gd name="connsiteX32" fmla="*/ 3282010 w 3450614"/>
              <a:gd name="connsiteY32" fmla="*/ 3866035 h 4862287"/>
              <a:gd name="connsiteX33" fmla="*/ 3267141 w 3450614"/>
              <a:gd name="connsiteY33" fmla="*/ 3894476 h 4862287"/>
              <a:gd name="connsiteX34" fmla="*/ 3259917 w 3450614"/>
              <a:gd name="connsiteY34" fmla="*/ 3910538 h 4862287"/>
              <a:gd name="connsiteX35" fmla="*/ 3243649 w 3450614"/>
              <a:gd name="connsiteY35" fmla="*/ 3939410 h 4862287"/>
              <a:gd name="connsiteX36" fmla="*/ 3213389 w 3450614"/>
              <a:gd name="connsiteY36" fmla="*/ 3997293 h 4862287"/>
              <a:gd name="connsiteX37" fmla="*/ 3192653 w 3450614"/>
              <a:gd name="connsiteY37" fmla="*/ 4029922 h 4862287"/>
              <a:gd name="connsiteX38" fmla="*/ 3182489 w 3450614"/>
              <a:gd name="connsiteY38" fmla="*/ 4047960 h 4862287"/>
              <a:gd name="connsiteX39" fmla="*/ 3165573 w 3450614"/>
              <a:gd name="connsiteY39" fmla="*/ 4072530 h 4862287"/>
              <a:gd name="connsiteX40" fmla="*/ 3134368 w 3450614"/>
              <a:gd name="connsiteY40" fmla="*/ 4121631 h 4862287"/>
              <a:gd name="connsiteX41" fmla="*/ 3106897 w 3450614"/>
              <a:gd name="connsiteY41" fmla="*/ 4157755 h 4862287"/>
              <a:gd name="connsiteX42" fmla="*/ 3093490 w 3450614"/>
              <a:gd name="connsiteY42" fmla="*/ 4177230 h 4862287"/>
              <a:gd name="connsiteX43" fmla="*/ 3076642 w 3450614"/>
              <a:gd name="connsiteY43" fmla="*/ 4197541 h 4862287"/>
              <a:gd name="connsiteX44" fmla="*/ 3045532 w 3450614"/>
              <a:gd name="connsiteY44" fmla="*/ 4238452 h 4862287"/>
              <a:gd name="connsiteX45" fmla="*/ 3010479 w 3450614"/>
              <a:gd name="connsiteY45" fmla="*/ 4277313 h 4862287"/>
              <a:gd name="connsiteX46" fmla="*/ 2993635 w 3450614"/>
              <a:gd name="connsiteY46" fmla="*/ 4297621 h 4862287"/>
              <a:gd name="connsiteX47" fmla="*/ 2977507 w 3450614"/>
              <a:gd name="connsiteY47" fmla="*/ 4313865 h 4862287"/>
              <a:gd name="connsiteX48" fmla="*/ 2947474 w 3450614"/>
              <a:gd name="connsiteY48" fmla="*/ 4347160 h 4862287"/>
              <a:gd name="connsiteX49" fmla="*/ 2903963 w 3450614"/>
              <a:gd name="connsiteY49" fmla="*/ 4387941 h 4862287"/>
              <a:gd name="connsiteX50" fmla="*/ 2883638 w 3450614"/>
              <a:gd name="connsiteY50" fmla="*/ 4408412 h 4862287"/>
              <a:gd name="connsiteX51" fmla="*/ 2868821 w 3450614"/>
              <a:gd name="connsiteY51" fmla="*/ 4420877 h 4862287"/>
              <a:gd name="connsiteX52" fmla="*/ 2840778 w 3450614"/>
              <a:gd name="connsiteY52" fmla="*/ 4447160 h 4862287"/>
              <a:gd name="connsiteX53" fmla="*/ 2787837 w 3450614"/>
              <a:gd name="connsiteY53" fmla="*/ 4489006 h 4862287"/>
              <a:gd name="connsiteX54" fmla="*/ 2764214 w 3450614"/>
              <a:gd name="connsiteY54" fmla="*/ 4508880 h 4862287"/>
              <a:gd name="connsiteX55" fmla="*/ 2751241 w 3450614"/>
              <a:gd name="connsiteY55" fmla="*/ 4517932 h 4862287"/>
              <a:gd name="connsiteX56" fmla="*/ 2726034 w 3450614"/>
              <a:gd name="connsiteY56" fmla="*/ 4537856 h 4862287"/>
              <a:gd name="connsiteX57" fmla="*/ 2662417 w 3450614"/>
              <a:gd name="connsiteY57" fmla="*/ 4579917 h 4862287"/>
              <a:gd name="connsiteX58" fmla="*/ 2636077 w 3450614"/>
              <a:gd name="connsiteY58" fmla="*/ 4598299 h 4862287"/>
              <a:gd name="connsiteX59" fmla="*/ 2625433 w 3450614"/>
              <a:gd name="connsiteY59" fmla="*/ 4604369 h 4862287"/>
              <a:gd name="connsiteX60" fmla="*/ 2603830 w 3450614"/>
              <a:gd name="connsiteY60" fmla="*/ 4618652 h 4862287"/>
              <a:gd name="connsiteX61" fmla="*/ 2527603 w 3450614"/>
              <a:gd name="connsiteY61" fmla="*/ 4660169 h 4862287"/>
              <a:gd name="connsiteX62" fmla="*/ 2499940 w 3450614"/>
              <a:gd name="connsiteY62" fmla="*/ 4675947 h 4862287"/>
              <a:gd name="connsiteX63" fmla="*/ 2492063 w 3450614"/>
              <a:gd name="connsiteY63" fmla="*/ 4679525 h 4862287"/>
              <a:gd name="connsiteX64" fmla="*/ 2474754 w 3450614"/>
              <a:gd name="connsiteY64" fmla="*/ 4688952 h 4862287"/>
              <a:gd name="connsiteX65" fmla="*/ 2382012 w 3450614"/>
              <a:gd name="connsiteY65" fmla="*/ 4729518 h 4862287"/>
              <a:gd name="connsiteX66" fmla="*/ 2356518 w 3450614"/>
              <a:gd name="connsiteY66" fmla="*/ 4741099 h 4862287"/>
              <a:gd name="connsiteX67" fmla="*/ 2351802 w 3450614"/>
              <a:gd name="connsiteY67" fmla="*/ 4742732 h 4862287"/>
              <a:gd name="connsiteX68" fmla="*/ 2339394 w 3450614"/>
              <a:gd name="connsiteY68" fmla="*/ 4748160 h 4862287"/>
              <a:gd name="connsiteX69" fmla="*/ 2218506 w 3450614"/>
              <a:gd name="connsiteY69" fmla="*/ 4788884 h 4862287"/>
              <a:gd name="connsiteX70" fmla="*/ 2206525 w 3450614"/>
              <a:gd name="connsiteY70" fmla="*/ 4793033 h 4862287"/>
              <a:gd name="connsiteX71" fmla="*/ 2205321 w 3450614"/>
              <a:gd name="connsiteY71" fmla="*/ 4793327 h 4862287"/>
              <a:gd name="connsiteX72" fmla="*/ 2198337 w 3450614"/>
              <a:gd name="connsiteY72" fmla="*/ 4795679 h 4862287"/>
              <a:gd name="connsiteX73" fmla="*/ 1901489 w 3450614"/>
              <a:gd name="connsiteY73" fmla="*/ 4853272 h 4862287"/>
              <a:gd name="connsiteX74" fmla="*/ 1894746 w 3450614"/>
              <a:gd name="connsiteY74" fmla="*/ 4853617 h 4862287"/>
              <a:gd name="connsiteX75" fmla="*/ 1889684 w 3450614"/>
              <a:gd name="connsiteY75" fmla="*/ 4854350 h 4862287"/>
              <a:gd name="connsiteX76" fmla="*/ 1806254 w 3450614"/>
              <a:gd name="connsiteY76" fmla="*/ 4858353 h 4862287"/>
              <a:gd name="connsiteX77" fmla="*/ 1806254 w 3450614"/>
              <a:gd name="connsiteY77" fmla="*/ 4862286 h 4862287"/>
              <a:gd name="connsiteX78" fmla="*/ 1725313 w 3450614"/>
              <a:gd name="connsiteY78" fmla="*/ 4862286 h 4862287"/>
              <a:gd name="connsiteX79" fmla="*/ 1725296 w 3450614"/>
              <a:gd name="connsiteY79" fmla="*/ 4862287 h 4862287"/>
              <a:gd name="connsiteX80" fmla="*/ 1725280 w 3450614"/>
              <a:gd name="connsiteY80" fmla="*/ 4862286 h 4862287"/>
              <a:gd name="connsiteX81" fmla="*/ 1724265 w 3450614"/>
              <a:gd name="connsiteY81" fmla="*/ 4862286 h 4862287"/>
              <a:gd name="connsiteX82" fmla="*/ 2039 w 3450614"/>
              <a:gd name="connsiteY82" fmla="*/ 4862286 h 4862287"/>
              <a:gd name="connsiteX83" fmla="*/ 2039 w 3450614"/>
              <a:gd name="connsiteY83" fmla="*/ 3208212 h 4862287"/>
              <a:gd name="connsiteX84" fmla="*/ 0 w 3450614"/>
              <a:gd name="connsiteY84" fmla="*/ 3208212 h 4862287"/>
              <a:gd name="connsiteX85" fmla="*/ 0 w 3450614"/>
              <a:gd name="connsiteY85" fmla="*/ 3115677 h 4862287"/>
              <a:gd name="connsiteX86" fmla="*/ 0 w 3450614"/>
              <a:gd name="connsiteY86" fmla="*/ 2781245 h 4862287"/>
              <a:gd name="connsiteX87" fmla="*/ 0 w 3450614"/>
              <a:gd name="connsiteY87" fmla="*/ 2081042 h 4862287"/>
              <a:gd name="connsiteX88" fmla="*/ 0 w 3450614"/>
              <a:gd name="connsiteY88" fmla="*/ 1746611 h 4862287"/>
              <a:gd name="connsiteX89" fmla="*/ 2059 w 3450614"/>
              <a:gd name="connsiteY89" fmla="*/ 1746611 h 4862287"/>
              <a:gd name="connsiteX90" fmla="*/ 2059 w 3450614"/>
              <a:gd name="connsiteY90" fmla="*/ 1746610 h 4862287"/>
              <a:gd name="connsiteX91" fmla="*/ 2059 w 3450614"/>
              <a:gd name="connsiteY91" fmla="*/ 1746088 h 4862287"/>
              <a:gd name="connsiteX92" fmla="*/ 2059 w 3450614"/>
              <a:gd name="connsiteY92" fmla="*/ 1723682 h 4862287"/>
              <a:gd name="connsiteX93" fmla="*/ 2059 w 3450614"/>
              <a:gd name="connsiteY93" fmla="*/ 1654075 h 4862287"/>
              <a:gd name="connsiteX94" fmla="*/ 6359 w 3450614"/>
              <a:gd name="connsiteY94" fmla="*/ 1654075 h 4862287"/>
              <a:gd name="connsiteX95" fmla="*/ 9887 w 3450614"/>
              <a:gd name="connsiteY95" fmla="*/ 1578577 h 4862287"/>
              <a:gd name="connsiteX96" fmla="*/ 10784 w 3450614"/>
              <a:gd name="connsiteY96" fmla="*/ 1572084 h 4862287"/>
              <a:gd name="connsiteX97" fmla="*/ 10963 w 3450614"/>
              <a:gd name="connsiteY97" fmla="*/ 1568500 h 4862287"/>
              <a:gd name="connsiteX98" fmla="*/ 15984 w 3450614"/>
              <a:gd name="connsiteY98" fmla="*/ 1534449 h 4862287"/>
              <a:gd name="connsiteX99" fmla="*/ 31025 w 3450614"/>
              <a:gd name="connsiteY99" fmla="*/ 1425594 h 4862287"/>
              <a:gd name="connsiteX100" fmla="*/ 33883 w 3450614"/>
              <a:gd name="connsiteY100" fmla="*/ 1413074 h 4862287"/>
              <a:gd name="connsiteX101" fmla="*/ 34970 w 3450614"/>
              <a:gd name="connsiteY101" fmla="*/ 1405701 h 4862287"/>
              <a:gd name="connsiteX102" fmla="*/ 44257 w 3450614"/>
              <a:gd name="connsiteY102" fmla="*/ 1367635 h 4862287"/>
              <a:gd name="connsiteX103" fmla="*/ 64915 w 3450614"/>
              <a:gd name="connsiteY103" fmla="*/ 1277148 h 4862287"/>
              <a:gd name="connsiteX104" fmla="*/ 70798 w 3450614"/>
              <a:gd name="connsiteY104" fmla="*/ 1258842 h 4862287"/>
              <a:gd name="connsiteX105" fmla="*/ 73404 w 3450614"/>
              <a:gd name="connsiteY105" fmla="*/ 1248160 h 4862287"/>
              <a:gd name="connsiteX106" fmla="*/ 85934 w 3450614"/>
              <a:gd name="connsiteY106" fmla="*/ 1211743 h 4862287"/>
              <a:gd name="connsiteX107" fmla="*/ 110971 w 3450614"/>
              <a:gd name="connsiteY107" fmla="*/ 1133836 h 4862287"/>
              <a:gd name="connsiteX108" fmla="*/ 120874 w 3450614"/>
              <a:gd name="connsiteY108" fmla="*/ 1110194 h 4862287"/>
              <a:gd name="connsiteX109" fmla="*/ 125551 w 3450614"/>
              <a:gd name="connsiteY109" fmla="*/ 1096602 h 4862287"/>
              <a:gd name="connsiteX110" fmla="*/ 140381 w 3450614"/>
              <a:gd name="connsiteY110" fmla="*/ 1063627 h 4862287"/>
              <a:gd name="connsiteX111" fmla="*/ 168604 w 3450614"/>
              <a:gd name="connsiteY111" fmla="*/ 996252 h 4862287"/>
              <a:gd name="connsiteX112" fmla="*/ 183473 w 3450614"/>
              <a:gd name="connsiteY112" fmla="*/ 967811 h 4862287"/>
              <a:gd name="connsiteX113" fmla="*/ 190697 w 3450614"/>
              <a:gd name="connsiteY113" fmla="*/ 951749 h 4862287"/>
              <a:gd name="connsiteX114" fmla="*/ 206965 w 3450614"/>
              <a:gd name="connsiteY114" fmla="*/ 922877 h 4862287"/>
              <a:gd name="connsiteX115" fmla="*/ 237225 w 3450614"/>
              <a:gd name="connsiteY115" fmla="*/ 864994 h 4862287"/>
              <a:gd name="connsiteX116" fmla="*/ 257961 w 3450614"/>
              <a:gd name="connsiteY116" fmla="*/ 832366 h 4862287"/>
              <a:gd name="connsiteX117" fmla="*/ 268126 w 3450614"/>
              <a:gd name="connsiteY117" fmla="*/ 814326 h 4862287"/>
              <a:gd name="connsiteX118" fmla="*/ 285041 w 3450614"/>
              <a:gd name="connsiteY118" fmla="*/ 789757 h 4862287"/>
              <a:gd name="connsiteX119" fmla="*/ 316247 w 3450614"/>
              <a:gd name="connsiteY119" fmla="*/ 740656 h 4862287"/>
              <a:gd name="connsiteX120" fmla="*/ 343717 w 3450614"/>
              <a:gd name="connsiteY120" fmla="*/ 704532 h 4862287"/>
              <a:gd name="connsiteX121" fmla="*/ 357124 w 3450614"/>
              <a:gd name="connsiteY121" fmla="*/ 685058 h 4862287"/>
              <a:gd name="connsiteX122" fmla="*/ 373972 w 3450614"/>
              <a:gd name="connsiteY122" fmla="*/ 664746 h 4862287"/>
              <a:gd name="connsiteX123" fmla="*/ 405082 w 3450614"/>
              <a:gd name="connsiteY123" fmla="*/ 623835 h 4862287"/>
              <a:gd name="connsiteX124" fmla="*/ 440135 w 3450614"/>
              <a:gd name="connsiteY124" fmla="*/ 584975 h 4862287"/>
              <a:gd name="connsiteX125" fmla="*/ 456979 w 3450614"/>
              <a:gd name="connsiteY125" fmla="*/ 564666 h 4862287"/>
              <a:gd name="connsiteX126" fmla="*/ 473107 w 3450614"/>
              <a:gd name="connsiteY126" fmla="*/ 548422 h 4862287"/>
              <a:gd name="connsiteX127" fmla="*/ 503141 w 3450614"/>
              <a:gd name="connsiteY127" fmla="*/ 515126 h 4862287"/>
              <a:gd name="connsiteX128" fmla="*/ 546651 w 3450614"/>
              <a:gd name="connsiteY128" fmla="*/ 474346 h 4862287"/>
              <a:gd name="connsiteX129" fmla="*/ 566976 w 3450614"/>
              <a:gd name="connsiteY129" fmla="*/ 453875 h 4862287"/>
              <a:gd name="connsiteX130" fmla="*/ 581793 w 3450614"/>
              <a:gd name="connsiteY130" fmla="*/ 441410 h 4862287"/>
              <a:gd name="connsiteX131" fmla="*/ 609835 w 3450614"/>
              <a:gd name="connsiteY131" fmla="*/ 415127 h 4862287"/>
              <a:gd name="connsiteX132" fmla="*/ 662777 w 3450614"/>
              <a:gd name="connsiteY132" fmla="*/ 373281 h 4862287"/>
              <a:gd name="connsiteX133" fmla="*/ 686400 w 3450614"/>
              <a:gd name="connsiteY133" fmla="*/ 353407 h 4862287"/>
              <a:gd name="connsiteX134" fmla="*/ 699372 w 3450614"/>
              <a:gd name="connsiteY134" fmla="*/ 344355 h 4862287"/>
              <a:gd name="connsiteX135" fmla="*/ 724580 w 3450614"/>
              <a:gd name="connsiteY135" fmla="*/ 324431 h 4862287"/>
              <a:gd name="connsiteX136" fmla="*/ 788197 w 3450614"/>
              <a:gd name="connsiteY136" fmla="*/ 282370 h 4862287"/>
              <a:gd name="connsiteX137" fmla="*/ 814537 w 3450614"/>
              <a:gd name="connsiteY137" fmla="*/ 263988 h 4862287"/>
              <a:gd name="connsiteX138" fmla="*/ 825181 w 3450614"/>
              <a:gd name="connsiteY138" fmla="*/ 257919 h 4862287"/>
              <a:gd name="connsiteX139" fmla="*/ 846784 w 3450614"/>
              <a:gd name="connsiteY139" fmla="*/ 243635 h 4862287"/>
              <a:gd name="connsiteX140" fmla="*/ 923012 w 3450614"/>
              <a:gd name="connsiteY140" fmla="*/ 202119 h 4862287"/>
              <a:gd name="connsiteX141" fmla="*/ 950674 w 3450614"/>
              <a:gd name="connsiteY141" fmla="*/ 186341 h 4862287"/>
              <a:gd name="connsiteX142" fmla="*/ 958551 w 3450614"/>
              <a:gd name="connsiteY142" fmla="*/ 182762 h 4862287"/>
              <a:gd name="connsiteX143" fmla="*/ 975861 w 3450614"/>
              <a:gd name="connsiteY143" fmla="*/ 173335 h 4862287"/>
              <a:gd name="connsiteX144" fmla="*/ 1068602 w 3450614"/>
              <a:gd name="connsiteY144" fmla="*/ 132770 h 4862287"/>
              <a:gd name="connsiteX145" fmla="*/ 1094096 w 3450614"/>
              <a:gd name="connsiteY145" fmla="*/ 121188 h 4862287"/>
              <a:gd name="connsiteX146" fmla="*/ 1098812 w 3450614"/>
              <a:gd name="connsiteY146" fmla="*/ 119555 h 4862287"/>
              <a:gd name="connsiteX147" fmla="*/ 1111220 w 3450614"/>
              <a:gd name="connsiteY147" fmla="*/ 114128 h 4862287"/>
              <a:gd name="connsiteX148" fmla="*/ 1232108 w 3450614"/>
              <a:gd name="connsiteY148" fmla="*/ 73404 h 4862287"/>
              <a:gd name="connsiteX149" fmla="*/ 1244089 w 3450614"/>
              <a:gd name="connsiteY149" fmla="*/ 69254 h 4862287"/>
              <a:gd name="connsiteX150" fmla="*/ 1245293 w 3450614"/>
              <a:gd name="connsiteY150" fmla="*/ 68960 h 4862287"/>
              <a:gd name="connsiteX151" fmla="*/ 1252276 w 3450614"/>
              <a:gd name="connsiteY151" fmla="*/ 66608 h 4862287"/>
              <a:gd name="connsiteX152" fmla="*/ 1549124 w 3450614"/>
              <a:gd name="connsiteY152" fmla="*/ 9015 h 4862287"/>
              <a:gd name="connsiteX153" fmla="*/ 1555869 w 3450614"/>
              <a:gd name="connsiteY153" fmla="*/ 8671 h 4862287"/>
              <a:gd name="connsiteX154" fmla="*/ 1560930 w 3450614"/>
              <a:gd name="connsiteY154" fmla="*/ 7937 h 4862287"/>
              <a:gd name="connsiteX155" fmla="*/ 1644360 w 3450614"/>
              <a:gd name="connsiteY155" fmla="*/ 3934 h 4862287"/>
              <a:gd name="connsiteX156" fmla="*/ 1644360 w 3450614"/>
              <a:gd name="connsiteY156" fmla="*/ 1 h 4862287"/>
              <a:gd name="connsiteX157" fmla="*/ 1725301 w 3450614"/>
              <a:gd name="connsiteY157" fmla="*/ 1 h 4862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3450614" h="4862287">
                <a:moveTo>
                  <a:pt x="1725317" y="0"/>
                </a:moveTo>
                <a:lnTo>
                  <a:pt x="1725334" y="1"/>
                </a:lnTo>
                <a:lnTo>
                  <a:pt x="1726349" y="1"/>
                </a:lnTo>
                <a:lnTo>
                  <a:pt x="3448576" y="1"/>
                </a:lnTo>
                <a:lnTo>
                  <a:pt x="3448576" y="1654075"/>
                </a:lnTo>
                <a:lnTo>
                  <a:pt x="3450614" y="1654075"/>
                </a:lnTo>
                <a:lnTo>
                  <a:pt x="3450614" y="1746610"/>
                </a:lnTo>
                <a:lnTo>
                  <a:pt x="3450614" y="2081042"/>
                </a:lnTo>
                <a:lnTo>
                  <a:pt x="3450614" y="2781245"/>
                </a:lnTo>
                <a:lnTo>
                  <a:pt x="3450614" y="3115676"/>
                </a:lnTo>
                <a:lnTo>
                  <a:pt x="3448555" y="3115676"/>
                </a:lnTo>
                <a:lnTo>
                  <a:pt x="3448555" y="3115677"/>
                </a:lnTo>
                <a:lnTo>
                  <a:pt x="3448555" y="3116199"/>
                </a:lnTo>
                <a:lnTo>
                  <a:pt x="3448555" y="3138605"/>
                </a:lnTo>
                <a:lnTo>
                  <a:pt x="3448555" y="3208212"/>
                </a:lnTo>
                <a:lnTo>
                  <a:pt x="3444255" y="3208212"/>
                </a:lnTo>
                <a:lnTo>
                  <a:pt x="3440728" y="3283711"/>
                </a:lnTo>
                <a:lnTo>
                  <a:pt x="3439830" y="3290202"/>
                </a:lnTo>
                <a:lnTo>
                  <a:pt x="3439651" y="3293788"/>
                </a:lnTo>
                <a:lnTo>
                  <a:pt x="3434630" y="3327838"/>
                </a:lnTo>
                <a:lnTo>
                  <a:pt x="3419589" y="3436693"/>
                </a:lnTo>
                <a:lnTo>
                  <a:pt x="3416731" y="3449212"/>
                </a:lnTo>
                <a:lnTo>
                  <a:pt x="3415644" y="3456587"/>
                </a:lnTo>
                <a:lnTo>
                  <a:pt x="3406357" y="3494653"/>
                </a:lnTo>
                <a:lnTo>
                  <a:pt x="3385699" y="3585139"/>
                </a:lnTo>
                <a:lnTo>
                  <a:pt x="3379816" y="3603445"/>
                </a:lnTo>
                <a:lnTo>
                  <a:pt x="3377210" y="3614128"/>
                </a:lnTo>
                <a:lnTo>
                  <a:pt x="3364680" y="3650544"/>
                </a:lnTo>
                <a:lnTo>
                  <a:pt x="3339643" y="3728452"/>
                </a:lnTo>
                <a:lnTo>
                  <a:pt x="3329740" y="3752093"/>
                </a:lnTo>
                <a:lnTo>
                  <a:pt x="3325063" y="3765685"/>
                </a:lnTo>
                <a:lnTo>
                  <a:pt x="3310233" y="3798661"/>
                </a:lnTo>
                <a:lnTo>
                  <a:pt x="3282010" y="3866035"/>
                </a:lnTo>
                <a:lnTo>
                  <a:pt x="3267141" y="3894476"/>
                </a:lnTo>
                <a:lnTo>
                  <a:pt x="3259917" y="3910538"/>
                </a:lnTo>
                <a:lnTo>
                  <a:pt x="3243649" y="3939410"/>
                </a:lnTo>
                <a:lnTo>
                  <a:pt x="3213389" y="3997293"/>
                </a:lnTo>
                <a:lnTo>
                  <a:pt x="3192653" y="4029922"/>
                </a:lnTo>
                <a:lnTo>
                  <a:pt x="3182489" y="4047960"/>
                </a:lnTo>
                <a:lnTo>
                  <a:pt x="3165573" y="4072530"/>
                </a:lnTo>
                <a:lnTo>
                  <a:pt x="3134368" y="4121631"/>
                </a:lnTo>
                <a:lnTo>
                  <a:pt x="3106897" y="4157755"/>
                </a:lnTo>
                <a:lnTo>
                  <a:pt x="3093490" y="4177230"/>
                </a:lnTo>
                <a:lnTo>
                  <a:pt x="3076642" y="4197541"/>
                </a:lnTo>
                <a:lnTo>
                  <a:pt x="3045532" y="4238452"/>
                </a:lnTo>
                <a:lnTo>
                  <a:pt x="3010479" y="4277313"/>
                </a:lnTo>
                <a:lnTo>
                  <a:pt x="2993635" y="4297621"/>
                </a:lnTo>
                <a:lnTo>
                  <a:pt x="2977507" y="4313865"/>
                </a:lnTo>
                <a:lnTo>
                  <a:pt x="2947474" y="4347160"/>
                </a:lnTo>
                <a:lnTo>
                  <a:pt x="2903963" y="4387941"/>
                </a:lnTo>
                <a:lnTo>
                  <a:pt x="2883638" y="4408412"/>
                </a:lnTo>
                <a:lnTo>
                  <a:pt x="2868821" y="4420877"/>
                </a:lnTo>
                <a:lnTo>
                  <a:pt x="2840778" y="4447160"/>
                </a:lnTo>
                <a:lnTo>
                  <a:pt x="2787837" y="4489006"/>
                </a:lnTo>
                <a:lnTo>
                  <a:pt x="2764214" y="4508880"/>
                </a:lnTo>
                <a:lnTo>
                  <a:pt x="2751241" y="4517932"/>
                </a:lnTo>
                <a:lnTo>
                  <a:pt x="2726034" y="4537856"/>
                </a:lnTo>
                <a:lnTo>
                  <a:pt x="2662417" y="4579917"/>
                </a:lnTo>
                <a:lnTo>
                  <a:pt x="2636077" y="4598299"/>
                </a:lnTo>
                <a:lnTo>
                  <a:pt x="2625433" y="4604369"/>
                </a:lnTo>
                <a:lnTo>
                  <a:pt x="2603830" y="4618652"/>
                </a:lnTo>
                <a:lnTo>
                  <a:pt x="2527603" y="4660169"/>
                </a:lnTo>
                <a:lnTo>
                  <a:pt x="2499940" y="4675947"/>
                </a:lnTo>
                <a:lnTo>
                  <a:pt x="2492063" y="4679525"/>
                </a:lnTo>
                <a:lnTo>
                  <a:pt x="2474754" y="4688952"/>
                </a:lnTo>
                <a:lnTo>
                  <a:pt x="2382012" y="4729518"/>
                </a:lnTo>
                <a:lnTo>
                  <a:pt x="2356518" y="4741099"/>
                </a:lnTo>
                <a:lnTo>
                  <a:pt x="2351802" y="4742732"/>
                </a:lnTo>
                <a:lnTo>
                  <a:pt x="2339394" y="4748160"/>
                </a:lnTo>
                <a:lnTo>
                  <a:pt x="2218506" y="4788884"/>
                </a:lnTo>
                <a:lnTo>
                  <a:pt x="2206525" y="4793033"/>
                </a:lnTo>
                <a:lnTo>
                  <a:pt x="2205321" y="4793327"/>
                </a:lnTo>
                <a:lnTo>
                  <a:pt x="2198337" y="4795679"/>
                </a:lnTo>
                <a:cubicBezTo>
                  <a:pt x="2102531" y="4823331"/>
                  <a:pt x="2003321" y="4842793"/>
                  <a:pt x="1901489" y="4853272"/>
                </a:cubicBezTo>
                <a:lnTo>
                  <a:pt x="1894746" y="4853617"/>
                </a:lnTo>
                <a:lnTo>
                  <a:pt x="1889684" y="4854350"/>
                </a:lnTo>
                <a:lnTo>
                  <a:pt x="1806254" y="4858353"/>
                </a:lnTo>
                <a:lnTo>
                  <a:pt x="1806254" y="4862286"/>
                </a:lnTo>
                <a:lnTo>
                  <a:pt x="1725313" y="4862286"/>
                </a:lnTo>
                <a:lnTo>
                  <a:pt x="1725296" y="4862287"/>
                </a:lnTo>
                <a:lnTo>
                  <a:pt x="1725280" y="4862286"/>
                </a:lnTo>
                <a:lnTo>
                  <a:pt x="1724265" y="4862286"/>
                </a:lnTo>
                <a:lnTo>
                  <a:pt x="2039" y="4862286"/>
                </a:lnTo>
                <a:lnTo>
                  <a:pt x="2039" y="3208212"/>
                </a:lnTo>
                <a:lnTo>
                  <a:pt x="0" y="3208212"/>
                </a:lnTo>
                <a:lnTo>
                  <a:pt x="0" y="3115677"/>
                </a:lnTo>
                <a:lnTo>
                  <a:pt x="0" y="2781245"/>
                </a:lnTo>
                <a:lnTo>
                  <a:pt x="0" y="2081042"/>
                </a:lnTo>
                <a:lnTo>
                  <a:pt x="0" y="1746611"/>
                </a:lnTo>
                <a:lnTo>
                  <a:pt x="2059" y="1746611"/>
                </a:lnTo>
                <a:lnTo>
                  <a:pt x="2059" y="1746610"/>
                </a:lnTo>
                <a:lnTo>
                  <a:pt x="2059" y="1746088"/>
                </a:lnTo>
                <a:lnTo>
                  <a:pt x="2059" y="1723682"/>
                </a:lnTo>
                <a:lnTo>
                  <a:pt x="2059" y="1654075"/>
                </a:lnTo>
                <a:lnTo>
                  <a:pt x="6359" y="1654075"/>
                </a:lnTo>
                <a:lnTo>
                  <a:pt x="9887" y="1578577"/>
                </a:lnTo>
                <a:lnTo>
                  <a:pt x="10784" y="1572084"/>
                </a:lnTo>
                <a:lnTo>
                  <a:pt x="10963" y="1568500"/>
                </a:lnTo>
                <a:lnTo>
                  <a:pt x="15984" y="1534449"/>
                </a:lnTo>
                <a:lnTo>
                  <a:pt x="31025" y="1425594"/>
                </a:lnTo>
                <a:lnTo>
                  <a:pt x="33883" y="1413074"/>
                </a:lnTo>
                <a:lnTo>
                  <a:pt x="34970" y="1405701"/>
                </a:lnTo>
                <a:lnTo>
                  <a:pt x="44257" y="1367635"/>
                </a:lnTo>
                <a:lnTo>
                  <a:pt x="64915" y="1277148"/>
                </a:lnTo>
                <a:lnTo>
                  <a:pt x="70798" y="1258842"/>
                </a:lnTo>
                <a:lnTo>
                  <a:pt x="73404" y="1248160"/>
                </a:lnTo>
                <a:lnTo>
                  <a:pt x="85934" y="1211743"/>
                </a:lnTo>
                <a:lnTo>
                  <a:pt x="110971" y="1133836"/>
                </a:lnTo>
                <a:lnTo>
                  <a:pt x="120874" y="1110194"/>
                </a:lnTo>
                <a:lnTo>
                  <a:pt x="125551" y="1096602"/>
                </a:lnTo>
                <a:lnTo>
                  <a:pt x="140381" y="1063627"/>
                </a:lnTo>
                <a:lnTo>
                  <a:pt x="168604" y="996252"/>
                </a:lnTo>
                <a:lnTo>
                  <a:pt x="183473" y="967811"/>
                </a:lnTo>
                <a:lnTo>
                  <a:pt x="190697" y="951749"/>
                </a:lnTo>
                <a:lnTo>
                  <a:pt x="206965" y="922877"/>
                </a:lnTo>
                <a:lnTo>
                  <a:pt x="237225" y="864994"/>
                </a:lnTo>
                <a:lnTo>
                  <a:pt x="257961" y="832366"/>
                </a:lnTo>
                <a:lnTo>
                  <a:pt x="268126" y="814326"/>
                </a:lnTo>
                <a:lnTo>
                  <a:pt x="285041" y="789757"/>
                </a:lnTo>
                <a:lnTo>
                  <a:pt x="316247" y="740656"/>
                </a:lnTo>
                <a:lnTo>
                  <a:pt x="343717" y="704532"/>
                </a:lnTo>
                <a:lnTo>
                  <a:pt x="357124" y="685058"/>
                </a:lnTo>
                <a:lnTo>
                  <a:pt x="373972" y="664746"/>
                </a:lnTo>
                <a:lnTo>
                  <a:pt x="405082" y="623835"/>
                </a:lnTo>
                <a:lnTo>
                  <a:pt x="440135" y="584975"/>
                </a:lnTo>
                <a:lnTo>
                  <a:pt x="456979" y="564666"/>
                </a:lnTo>
                <a:lnTo>
                  <a:pt x="473107" y="548422"/>
                </a:lnTo>
                <a:lnTo>
                  <a:pt x="503141" y="515126"/>
                </a:lnTo>
                <a:lnTo>
                  <a:pt x="546651" y="474346"/>
                </a:lnTo>
                <a:lnTo>
                  <a:pt x="566976" y="453875"/>
                </a:lnTo>
                <a:lnTo>
                  <a:pt x="581793" y="441410"/>
                </a:lnTo>
                <a:lnTo>
                  <a:pt x="609835" y="415127"/>
                </a:lnTo>
                <a:lnTo>
                  <a:pt x="662777" y="373281"/>
                </a:lnTo>
                <a:lnTo>
                  <a:pt x="686400" y="353407"/>
                </a:lnTo>
                <a:lnTo>
                  <a:pt x="699372" y="344355"/>
                </a:lnTo>
                <a:lnTo>
                  <a:pt x="724580" y="324431"/>
                </a:lnTo>
                <a:lnTo>
                  <a:pt x="788197" y="282370"/>
                </a:lnTo>
                <a:lnTo>
                  <a:pt x="814537" y="263988"/>
                </a:lnTo>
                <a:lnTo>
                  <a:pt x="825181" y="257919"/>
                </a:lnTo>
                <a:lnTo>
                  <a:pt x="846784" y="243635"/>
                </a:lnTo>
                <a:lnTo>
                  <a:pt x="923012" y="202119"/>
                </a:lnTo>
                <a:lnTo>
                  <a:pt x="950674" y="186341"/>
                </a:lnTo>
                <a:lnTo>
                  <a:pt x="958551" y="182762"/>
                </a:lnTo>
                <a:lnTo>
                  <a:pt x="975861" y="173335"/>
                </a:lnTo>
                <a:lnTo>
                  <a:pt x="1068602" y="132770"/>
                </a:lnTo>
                <a:lnTo>
                  <a:pt x="1094096" y="121188"/>
                </a:lnTo>
                <a:lnTo>
                  <a:pt x="1098812" y="119555"/>
                </a:lnTo>
                <a:lnTo>
                  <a:pt x="1111220" y="114128"/>
                </a:lnTo>
                <a:lnTo>
                  <a:pt x="1232108" y="73404"/>
                </a:lnTo>
                <a:lnTo>
                  <a:pt x="1244089" y="69254"/>
                </a:lnTo>
                <a:lnTo>
                  <a:pt x="1245293" y="68960"/>
                </a:lnTo>
                <a:lnTo>
                  <a:pt x="1252276" y="66608"/>
                </a:lnTo>
                <a:cubicBezTo>
                  <a:pt x="1348082" y="38957"/>
                  <a:pt x="1447293" y="19494"/>
                  <a:pt x="1549124" y="9015"/>
                </a:cubicBezTo>
                <a:lnTo>
                  <a:pt x="1555869" y="8671"/>
                </a:lnTo>
                <a:lnTo>
                  <a:pt x="1560930" y="7937"/>
                </a:lnTo>
                <a:lnTo>
                  <a:pt x="1644360" y="3934"/>
                </a:lnTo>
                <a:lnTo>
                  <a:pt x="1644360" y="1"/>
                </a:lnTo>
                <a:lnTo>
                  <a:pt x="1725301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192022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62DBD5-2427-428E-AFD9-72E8C9DADF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-1"/>
            <a:ext cx="4914899" cy="6835074"/>
          </a:xfrm>
          <a:custGeom>
            <a:avLst/>
            <a:gdLst>
              <a:gd name="connsiteX0" fmla="*/ 2225960 w 4451945"/>
              <a:gd name="connsiteY0" fmla="*/ 0 h 6191251"/>
              <a:gd name="connsiteX1" fmla="*/ 2225981 w 4451945"/>
              <a:gd name="connsiteY1" fmla="*/ 1 h 6191251"/>
              <a:gd name="connsiteX2" fmla="*/ 2330410 w 4451945"/>
              <a:gd name="connsiteY2" fmla="*/ 1 h 6191251"/>
              <a:gd name="connsiteX3" fmla="*/ 2330410 w 4451945"/>
              <a:gd name="connsiteY3" fmla="*/ 5009 h 6191251"/>
              <a:gd name="connsiteX4" fmla="*/ 2438050 w 4451945"/>
              <a:gd name="connsiteY4" fmla="*/ 10106 h 6191251"/>
              <a:gd name="connsiteX5" fmla="*/ 2444580 w 4451945"/>
              <a:gd name="connsiteY5" fmla="*/ 11041 h 6191251"/>
              <a:gd name="connsiteX6" fmla="*/ 2453282 w 4451945"/>
              <a:gd name="connsiteY6" fmla="*/ 11479 h 6191251"/>
              <a:gd name="connsiteX7" fmla="*/ 2836272 w 4451945"/>
              <a:gd name="connsiteY7" fmla="*/ 84814 h 6191251"/>
              <a:gd name="connsiteX8" fmla="*/ 2845282 w 4451945"/>
              <a:gd name="connsiteY8" fmla="*/ 87808 h 6191251"/>
              <a:gd name="connsiteX9" fmla="*/ 2846835 w 4451945"/>
              <a:gd name="connsiteY9" fmla="*/ 88183 h 6191251"/>
              <a:gd name="connsiteX10" fmla="*/ 2862293 w 4451945"/>
              <a:gd name="connsiteY10" fmla="*/ 93466 h 6191251"/>
              <a:gd name="connsiteX11" fmla="*/ 3018261 w 4451945"/>
              <a:gd name="connsiteY11" fmla="*/ 145321 h 6191251"/>
              <a:gd name="connsiteX12" fmla="*/ 3034270 w 4451945"/>
              <a:gd name="connsiteY12" fmla="*/ 152232 h 6191251"/>
              <a:gd name="connsiteX13" fmla="*/ 3040354 w 4451945"/>
              <a:gd name="connsiteY13" fmla="*/ 154311 h 6191251"/>
              <a:gd name="connsiteX14" fmla="*/ 3073246 w 4451945"/>
              <a:gd name="connsiteY14" fmla="*/ 169059 h 6191251"/>
              <a:gd name="connsiteX15" fmla="*/ 3192900 w 4451945"/>
              <a:gd name="connsiteY15" fmla="*/ 220711 h 6191251"/>
              <a:gd name="connsiteX16" fmla="*/ 3215233 w 4451945"/>
              <a:gd name="connsiteY16" fmla="*/ 232715 h 6191251"/>
              <a:gd name="connsiteX17" fmla="*/ 3225396 w 4451945"/>
              <a:gd name="connsiteY17" fmla="*/ 237271 h 6191251"/>
              <a:gd name="connsiteX18" fmla="*/ 3261085 w 4451945"/>
              <a:gd name="connsiteY18" fmla="*/ 257362 h 6191251"/>
              <a:gd name="connsiteX19" fmla="*/ 3359433 w 4451945"/>
              <a:gd name="connsiteY19" fmla="*/ 310226 h 6191251"/>
              <a:gd name="connsiteX20" fmla="*/ 3387305 w 4451945"/>
              <a:gd name="connsiteY20" fmla="*/ 328413 h 6191251"/>
              <a:gd name="connsiteX21" fmla="*/ 3401038 w 4451945"/>
              <a:gd name="connsiteY21" fmla="*/ 336142 h 6191251"/>
              <a:gd name="connsiteX22" fmla="*/ 3435022 w 4451945"/>
              <a:gd name="connsiteY22" fmla="*/ 359548 h 6191251"/>
              <a:gd name="connsiteX23" fmla="*/ 3517099 w 4451945"/>
              <a:gd name="connsiteY23" fmla="*/ 413105 h 6191251"/>
              <a:gd name="connsiteX24" fmla="*/ 3549622 w 4451945"/>
              <a:gd name="connsiteY24" fmla="*/ 438475 h 6191251"/>
              <a:gd name="connsiteX25" fmla="*/ 3566359 w 4451945"/>
              <a:gd name="connsiteY25" fmla="*/ 450001 h 6191251"/>
              <a:gd name="connsiteX26" fmla="*/ 3596837 w 4451945"/>
              <a:gd name="connsiteY26" fmla="*/ 475307 h 6191251"/>
              <a:gd name="connsiteX27" fmla="*/ 3665142 w 4451945"/>
              <a:gd name="connsiteY27" fmla="*/ 528589 h 6191251"/>
              <a:gd name="connsiteX28" fmla="*/ 3701322 w 4451945"/>
              <a:gd name="connsiteY28" fmla="*/ 562056 h 6191251"/>
              <a:gd name="connsiteX29" fmla="*/ 3720439 w 4451945"/>
              <a:gd name="connsiteY29" fmla="*/ 577928 h 6191251"/>
              <a:gd name="connsiteX30" fmla="*/ 3746661 w 4451945"/>
              <a:gd name="connsiteY30" fmla="*/ 603995 h 6191251"/>
              <a:gd name="connsiteX31" fmla="*/ 3802799 w 4451945"/>
              <a:gd name="connsiteY31" fmla="*/ 655921 h 6191251"/>
              <a:gd name="connsiteX32" fmla="*/ 3841548 w 4451945"/>
              <a:gd name="connsiteY32" fmla="*/ 698318 h 6191251"/>
              <a:gd name="connsiteX33" fmla="*/ 3862356 w 4451945"/>
              <a:gd name="connsiteY33" fmla="*/ 719001 h 6191251"/>
              <a:gd name="connsiteX34" fmla="*/ 3884088 w 4451945"/>
              <a:gd name="connsiteY34" fmla="*/ 744860 h 6191251"/>
              <a:gd name="connsiteX35" fmla="*/ 3929313 w 4451945"/>
              <a:gd name="connsiteY35" fmla="*/ 794342 h 6191251"/>
              <a:gd name="connsiteX36" fmla="*/ 3969450 w 4451945"/>
              <a:gd name="connsiteY36" fmla="*/ 846435 h 6191251"/>
              <a:gd name="connsiteX37" fmla="*/ 3991188 w 4451945"/>
              <a:gd name="connsiteY37" fmla="*/ 872298 h 6191251"/>
              <a:gd name="connsiteX38" fmla="*/ 4008485 w 4451945"/>
              <a:gd name="connsiteY38" fmla="*/ 897096 h 6191251"/>
              <a:gd name="connsiteX39" fmla="*/ 4043928 w 4451945"/>
              <a:gd name="connsiteY39" fmla="*/ 943093 h 6191251"/>
              <a:gd name="connsiteX40" fmla="*/ 4084188 w 4451945"/>
              <a:gd name="connsiteY40" fmla="*/ 1005614 h 6191251"/>
              <a:gd name="connsiteX41" fmla="*/ 4106012 w 4451945"/>
              <a:gd name="connsiteY41" fmla="*/ 1036899 h 6191251"/>
              <a:gd name="connsiteX42" fmla="*/ 4119126 w 4451945"/>
              <a:gd name="connsiteY42" fmla="*/ 1059869 h 6191251"/>
              <a:gd name="connsiteX43" fmla="*/ 4145880 w 4451945"/>
              <a:gd name="connsiteY43" fmla="*/ 1101415 h 6191251"/>
              <a:gd name="connsiteX44" fmla="*/ 4184921 w 4451945"/>
              <a:gd name="connsiteY44" fmla="*/ 1175119 h 6191251"/>
              <a:gd name="connsiteX45" fmla="*/ 4205911 w 4451945"/>
              <a:gd name="connsiteY45" fmla="*/ 1211882 h 6191251"/>
              <a:gd name="connsiteX46" fmla="*/ 4215230 w 4451945"/>
              <a:gd name="connsiteY46" fmla="*/ 1232334 h 6191251"/>
              <a:gd name="connsiteX47" fmla="*/ 4234415 w 4451945"/>
              <a:gd name="connsiteY47" fmla="*/ 1268548 h 6191251"/>
              <a:gd name="connsiteX48" fmla="*/ 4270827 w 4451945"/>
              <a:gd name="connsiteY48" fmla="*/ 1354338 h 6191251"/>
              <a:gd name="connsiteX49" fmla="*/ 4289961 w 4451945"/>
              <a:gd name="connsiteY49" fmla="*/ 1396326 h 6191251"/>
              <a:gd name="connsiteX50" fmla="*/ 4295995 w 4451945"/>
              <a:gd name="connsiteY50" fmla="*/ 1413634 h 6191251"/>
              <a:gd name="connsiteX51" fmla="*/ 4308772 w 4451945"/>
              <a:gd name="connsiteY51" fmla="*/ 1443737 h 6191251"/>
              <a:gd name="connsiteX52" fmla="*/ 4341074 w 4451945"/>
              <a:gd name="connsiteY52" fmla="*/ 1542938 h 6191251"/>
              <a:gd name="connsiteX53" fmla="*/ 4357240 w 4451945"/>
              <a:gd name="connsiteY53" fmla="*/ 1589308 h 6191251"/>
              <a:gd name="connsiteX54" fmla="*/ 4360602 w 4451945"/>
              <a:gd name="connsiteY54" fmla="*/ 1602910 h 6191251"/>
              <a:gd name="connsiteX55" fmla="*/ 4368193 w 4451945"/>
              <a:gd name="connsiteY55" fmla="*/ 1626219 h 6191251"/>
              <a:gd name="connsiteX56" fmla="*/ 4394846 w 4451945"/>
              <a:gd name="connsiteY56" fmla="*/ 1741438 h 6191251"/>
              <a:gd name="connsiteX57" fmla="*/ 4406827 w 4451945"/>
              <a:gd name="connsiteY57" fmla="*/ 1789908 h 6191251"/>
              <a:gd name="connsiteX58" fmla="*/ 4408230 w 4451945"/>
              <a:gd name="connsiteY58" fmla="*/ 1799297 h 6191251"/>
              <a:gd name="connsiteX59" fmla="*/ 4411918 w 4451945"/>
              <a:gd name="connsiteY59" fmla="*/ 1815238 h 6191251"/>
              <a:gd name="connsiteX60" fmla="*/ 4431323 w 4451945"/>
              <a:gd name="connsiteY60" fmla="*/ 1953846 h 6191251"/>
              <a:gd name="connsiteX61" fmla="*/ 4437802 w 4451945"/>
              <a:gd name="connsiteY61" fmla="*/ 1997203 h 6191251"/>
              <a:gd name="connsiteX62" fmla="*/ 4438032 w 4451945"/>
              <a:gd name="connsiteY62" fmla="*/ 2001767 h 6191251"/>
              <a:gd name="connsiteX63" fmla="*/ 4439190 w 4451945"/>
              <a:gd name="connsiteY63" fmla="*/ 2010034 h 6191251"/>
              <a:gd name="connsiteX64" fmla="*/ 4443741 w 4451945"/>
              <a:gd name="connsiteY64" fmla="*/ 2106169 h 6191251"/>
              <a:gd name="connsiteX65" fmla="*/ 4449289 w 4451945"/>
              <a:gd name="connsiteY65" fmla="*/ 2106169 h 6191251"/>
              <a:gd name="connsiteX66" fmla="*/ 4449289 w 4451945"/>
              <a:gd name="connsiteY66" fmla="*/ 2194799 h 6191251"/>
              <a:gd name="connsiteX67" fmla="*/ 4449289 w 4451945"/>
              <a:gd name="connsiteY67" fmla="*/ 2223329 h 6191251"/>
              <a:gd name="connsiteX68" fmla="*/ 4449289 w 4451945"/>
              <a:gd name="connsiteY68" fmla="*/ 2223995 h 6191251"/>
              <a:gd name="connsiteX69" fmla="*/ 4449289 w 4451945"/>
              <a:gd name="connsiteY69" fmla="*/ 2223996 h 6191251"/>
              <a:gd name="connsiteX70" fmla="*/ 4451945 w 4451945"/>
              <a:gd name="connsiteY70" fmla="*/ 2223996 h 6191251"/>
              <a:gd name="connsiteX71" fmla="*/ 4451945 w 4451945"/>
              <a:gd name="connsiteY71" fmla="*/ 2649834 h 6191251"/>
              <a:gd name="connsiteX72" fmla="*/ 4451945 w 4451945"/>
              <a:gd name="connsiteY72" fmla="*/ 3541417 h 6191251"/>
              <a:gd name="connsiteX73" fmla="*/ 4451945 w 4451945"/>
              <a:gd name="connsiteY73" fmla="*/ 3967256 h 6191251"/>
              <a:gd name="connsiteX74" fmla="*/ 4451945 w 4451945"/>
              <a:gd name="connsiteY74" fmla="*/ 4085083 h 6191251"/>
              <a:gd name="connsiteX75" fmla="*/ 4449314 w 4451945"/>
              <a:gd name="connsiteY75" fmla="*/ 4085083 h 6191251"/>
              <a:gd name="connsiteX76" fmla="*/ 4449314 w 4451945"/>
              <a:gd name="connsiteY76" fmla="*/ 6191250 h 6191251"/>
              <a:gd name="connsiteX77" fmla="*/ 2227318 w 4451945"/>
              <a:gd name="connsiteY77" fmla="*/ 6191250 h 6191251"/>
              <a:gd name="connsiteX78" fmla="*/ 2226007 w 4451945"/>
              <a:gd name="connsiteY78" fmla="*/ 6191250 h 6191251"/>
              <a:gd name="connsiteX79" fmla="*/ 2225986 w 4451945"/>
              <a:gd name="connsiteY79" fmla="*/ 6191251 h 6191251"/>
              <a:gd name="connsiteX80" fmla="*/ 2225965 w 4451945"/>
              <a:gd name="connsiteY80" fmla="*/ 6191250 h 6191251"/>
              <a:gd name="connsiteX81" fmla="*/ 2121536 w 4451945"/>
              <a:gd name="connsiteY81" fmla="*/ 6191250 h 6191251"/>
              <a:gd name="connsiteX82" fmla="*/ 2121536 w 4451945"/>
              <a:gd name="connsiteY82" fmla="*/ 6186242 h 6191251"/>
              <a:gd name="connsiteX83" fmla="*/ 2013895 w 4451945"/>
              <a:gd name="connsiteY83" fmla="*/ 6181144 h 6191251"/>
              <a:gd name="connsiteX84" fmla="*/ 2007364 w 4451945"/>
              <a:gd name="connsiteY84" fmla="*/ 6180211 h 6191251"/>
              <a:gd name="connsiteX85" fmla="*/ 1998664 w 4451945"/>
              <a:gd name="connsiteY85" fmla="*/ 6179772 h 6191251"/>
              <a:gd name="connsiteX86" fmla="*/ 1615674 w 4451945"/>
              <a:gd name="connsiteY86" fmla="*/ 6106438 h 6191251"/>
              <a:gd name="connsiteX87" fmla="*/ 1606663 w 4451945"/>
              <a:gd name="connsiteY87" fmla="*/ 6103442 h 6191251"/>
              <a:gd name="connsiteX88" fmla="*/ 1605110 w 4451945"/>
              <a:gd name="connsiteY88" fmla="*/ 6103069 h 6191251"/>
              <a:gd name="connsiteX89" fmla="*/ 1589652 w 4451945"/>
              <a:gd name="connsiteY89" fmla="*/ 6097785 h 6191251"/>
              <a:gd name="connsiteX90" fmla="*/ 1433684 w 4451945"/>
              <a:gd name="connsiteY90" fmla="*/ 6045931 h 6191251"/>
              <a:gd name="connsiteX91" fmla="*/ 1417676 w 4451945"/>
              <a:gd name="connsiteY91" fmla="*/ 6039019 h 6191251"/>
              <a:gd name="connsiteX92" fmla="*/ 1411591 w 4451945"/>
              <a:gd name="connsiteY92" fmla="*/ 6036940 h 6191251"/>
              <a:gd name="connsiteX93" fmla="*/ 1378699 w 4451945"/>
              <a:gd name="connsiteY93" fmla="*/ 6022193 h 6191251"/>
              <a:gd name="connsiteX94" fmla="*/ 1259044 w 4451945"/>
              <a:gd name="connsiteY94" fmla="*/ 5970541 h 6191251"/>
              <a:gd name="connsiteX95" fmla="*/ 1236712 w 4451945"/>
              <a:gd name="connsiteY95" fmla="*/ 5958537 h 6191251"/>
              <a:gd name="connsiteX96" fmla="*/ 1226549 w 4451945"/>
              <a:gd name="connsiteY96" fmla="*/ 5953980 h 6191251"/>
              <a:gd name="connsiteX97" fmla="*/ 1190860 w 4451945"/>
              <a:gd name="connsiteY97" fmla="*/ 5933890 h 6191251"/>
              <a:gd name="connsiteX98" fmla="*/ 1092512 w 4451945"/>
              <a:gd name="connsiteY98" fmla="*/ 5881025 h 6191251"/>
              <a:gd name="connsiteX99" fmla="*/ 1064640 w 4451945"/>
              <a:gd name="connsiteY99" fmla="*/ 5862838 h 6191251"/>
              <a:gd name="connsiteX100" fmla="*/ 1050907 w 4451945"/>
              <a:gd name="connsiteY100" fmla="*/ 5855110 h 6191251"/>
              <a:gd name="connsiteX101" fmla="*/ 1016923 w 4451945"/>
              <a:gd name="connsiteY101" fmla="*/ 5831703 h 6191251"/>
              <a:gd name="connsiteX102" fmla="*/ 934846 w 4451945"/>
              <a:gd name="connsiteY102" fmla="*/ 5778147 h 6191251"/>
              <a:gd name="connsiteX103" fmla="*/ 902324 w 4451945"/>
              <a:gd name="connsiteY103" fmla="*/ 5752777 h 6191251"/>
              <a:gd name="connsiteX104" fmla="*/ 885586 w 4451945"/>
              <a:gd name="connsiteY104" fmla="*/ 5741251 h 6191251"/>
              <a:gd name="connsiteX105" fmla="*/ 855108 w 4451945"/>
              <a:gd name="connsiteY105" fmla="*/ 5715945 h 6191251"/>
              <a:gd name="connsiteX106" fmla="*/ 786804 w 4451945"/>
              <a:gd name="connsiteY106" fmla="*/ 5662661 h 6191251"/>
              <a:gd name="connsiteX107" fmla="*/ 750624 w 4451945"/>
              <a:gd name="connsiteY107" fmla="*/ 5629195 h 6191251"/>
              <a:gd name="connsiteX108" fmla="*/ 731506 w 4451945"/>
              <a:gd name="connsiteY108" fmla="*/ 5613323 h 6191251"/>
              <a:gd name="connsiteX109" fmla="*/ 705284 w 4451945"/>
              <a:gd name="connsiteY109" fmla="*/ 5587257 h 6191251"/>
              <a:gd name="connsiteX110" fmla="*/ 649146 w 4451945"/>
              <a:gd name="connsiteY110" fmla="*/ 5535330 h 6191251"/>
              <a:gd name="connsiteX111" fmla="*/ 610397 w 4451945"/>
              <a:gd name="connsiteY111" fmla="*/ 5492934 h 6191251"/>
              <a:gd name="connsiteX112" fmla="*/ 589589 w 4451945"/>
              <a:gd name="connsiteY112" fmla="*/ 5472250 h 6191251"/>
              <a:gd name="connsiteX113" fmla="*/ 567858 w 4451945"/>
              <a:gd name="connsiteY113" fmla="*/ 5446391 h 6191251"/>
              <a:gd name="connsiteX114" fmla="*/ 522632 w 4451945"/>
              <a:gd name="connsiteY114" fmla="*/ 5396909 h 6191251"/>
              <a:gd name="connsiteX115" fmla="*/ 482495 w 4451945"/>
              <a:gd name="connsiteY115" fmla="*/ 5344816 h 6191251"/>
              <a:gd name="connsiteX116" fmla="*/ 460758 w 4451945"/>
              <a:gd name="connsiteY116" fmla="*/ 5318953 h 6191251"/>
              <a:gd name="connsiteX117" fmla="*/ 443460 w 4451945"/>
              <a:gd name="connsiteY117" fmla="*/ 5294156 h 6191251"/>
              <a:gd name="connsiteX118" fmla="*/ 408018 w 4451945"/>
              <a:gd name="connsiteY118" fmla="*/ 5248158 h 6191251"/>
              <a:gd name="connsiteX119" fmla="*/ 367757 w 4451945"/>
              <a:gd name="connsiteY119" fmla="*/ 5185637 h 6191251"/>
              <a:gd name="connsiteX120" fmla="*/ 345932 w 4451945"/>
              <a:gd name="connsiteY120" fmla="*/ 5154352 h 6191251"/>
              <a:gd name="connsiteX121" fmla="*/ 332819 w 4451945"/>
              <a:gd name="connsiteY121" fmla="*/ 5131383 h 6191251"/>
              <a:gd name="connsiteX122" fmla="*/ 306065 w 4451945"/>
              <a:gd name="connsiteY122" fmla="*/ 5089836 h 6191251"/>
              <a:gd name="connsiteX123" fmla="*/ 267024 w 4451945"/>
              <a:gd name="connsiteY123" fmla="*/ 5016132 h 6191251"/>
              <a:gd name="connsiteX124" fmla="*/ 246035 w 4451945"/>
              <a:gd name="connsiteY124" fmla="*/ 4979369 h 6191251"/>
              <a:gd name="connsiteX125" fmla="*/ 236715 w 4451945"/>
              <a:gd name="connsiteY125" fmla="*/ 4958917 h 6191251"/>
              <a:gd name="connsiteX126" fmla="*/ 217531 w 4451945"/>
              <a:gd name="connsiteY126" fmla="*/ 4922702 h 6191251"/>
              <a:gd name="connsiteX127" fmla="*/ 181118 w 4451945"/>
              <a:gd name="connsiteY127" fmla="*/ 4836913 h 6191251"/>
              <a:gd name="connsiteX128" fmla="*/ 161984 w 4451945"/>
              <a:gd name="connsiteY128" fmla="*/ 4794925 h 6191251"/>
              <a:gd name="connsiteX129" fmla="*/ 155951 w 4451945"/>
              <a:gd name="connsiteY129" fmla="*/ 4777618 h 6191251"/>
              <a:gd name="connsiteX130" fmla="*/ 143173 w 4451945"/>
              <a:gd name="connsiteY130" fmla="*/ 4747515 h 6191251"/>
              <a:gd name="connsiteX131" fmla="*/ 110871 w 4451945"/>
              <a:gd name="connsiteY131" fmla="*/ 4648314 h 6191251"/>
              <a:gd name="connsiteX132" fmla="*/ 94705 w 4451945"/>
              <a:gd name="connsiteY132" fmla="*/ 4601944 h 6191251"/>
              <a:gd name="connsiteX133" fmla="*/ 91343 w 4451945"/>
              <a:gd name="connsiteY133" fmla="*/ 4588341 h 6191251"/>
              <a:gd name="connsiteX134" fmla="*/ 83753 w 4451945"/>
              <a:gd name="connsiteY134" fmla="*/ 4565031 h 6191251"/>
              <a:gd name="connsiteX135" fmla="*/ 57100 w 4451945"/>
              <a:gd name="connsiteY135" fmla="*/ 4449814 h 6191251"/>
              <a:gd name="connsiteX136" fmla="*/ 45118 w 4451945"/>
              <a:gd name="connsiteY136" fmla="*/ 4401343 h 6191251"/>
              <a:gd name="connsiteX137" fmla="*/ 43715 w 4451945"/>
              <a:gd name="connsiteY137" fmla="*/ 4391954 h 6191251"/>
              <a:gd name="connsiteX138" fmla="*/ 40028 w 4451945"/>
              <a:gd name="connsiteY138" fmla="*/ 4376013 h 6191251"/>
              <a:gd name="connsiteX139" fmla="*/ 20623 w 4451945"/>
              <a:gd name="connsiteY139" fmla="*/ 4237405 h 6191251"/>
              <a:gd name="connsiteX140" fmla="*/ 14144 w 4451945"/>
              <a:gd name="connsiteY140" fmla="*/ 4194048 h 6191251"/>
              <a:gd name="connsiteX141" fmla="*/ 13913 w 4451945"/>
              <a:gd name="connsiteY141" fmla="*/ 4189483 h 6191251"/>
              <a:gd name="connsiteX142" fmla="*/ 12755 w 4451945"/>
              <a:gd name="connsiteY142" fmla="*/ 4181217 h 6191251"/>
              <a:gd name="connsiteX143" fmla="*/ 8205 w 4451945"/>
              <a:gd name="connsiteY143" fmla="*/ 4085083 h 6191251"/>
              <a:gd name="connsiteX144" fmla="*/ 2656 w 4451945"/>
              <a:gd name="connsiteY144" fmla="*/ 4085083 h 6191251"/>
              <a:gd name="connsiteX145" fmla="*/ 2656 w 4451945"/>
              <a:gd name="connsiteY145" fmla="*/ 3996451 h 6191251"/>
              <a:gd name="connsiteX146" fmla="*/ 2656 w 4451945"/>
              <a:gd name="connsiteY146" fmla="*/ 3967921 h 6191251"/>
              <a:gd name="connsiteX147" fmla="*/ 2656 w 4451945"/>
              <a:gd name="connsiteY147" fmla="*/ 3967256 h 6191251"/>
              <a:gd name="connsiteX148" fmla="*/ 2656 w 4451945"/>
              <a:gd name="connsiteY148" fmla="*/ 3967255 h 6191251"/>
              <a:gd name="connsiteX149" fmla="*/ 0 w 4451945"/>
              <a:gd name="connsiteY149" fmla="*/ 3967255 h 6191251"/>
              <a:gd name="connsiteX150" fmla="*/ 0 w 4451945"/>
              <a:gd name="connsiteY150" fmla="*/ 3541417 h 6191251"/>
              <a:gd name="connsiteX151" fmla="*/ 0 w 4451945"/>
              <a:gd name="connsiteY151" fmla="*/ 2649834 h 6191251"/>
              <a:gd name="connsiteX152" fmla="*/ 0 w 4451945"/>
              <a:gd name="connsiteY152" fmla="*/ 2223995 h 6191251"/>
              <a:gd name="connsiteX153" fmla="*/ 0 w 4451945"/>
              <a:gd name="connsiteY153" fmla="*/ 2106169 h 6191251"/>
              <a:gd name="connsiteX154" fmla="*/ 2630 w 4451945"/>
              <a:gd name="connsiteY154" fmla="*/ 2106169 h 6191251"/>
              <a:gd name="connsiteX155" fmla="*/ 2630 w 4451945"/>
              <a:gd name="connsiteY155" fmla="*/ 1 h 6191251"/>
              <a:gd name="connsiteX156" fmla="*/ 2224628 w 4451945"/>
              <a:gd name="connsiteY156" fmla="*/ 1 h 6191251"/>
              <a:gd name="connsiteX157" fmla="*/ 2225938 w 4451945"/>
              <a:gd name="connsiteY157" fmla="*/ 1 h 619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4451945" h="6191251">
                <a:moveTo>
                  <a:pt x="2225960" y="0"/>
                </a:moveTo>
                <a:lnTo>
                  <a:pt x="2225981" y="1"/>
                </a:lnTo>
                <a:lnTo>
                  <a:pt x="2330410" y="1"/>
                </a:lnTo>
                <a:lnTo>
                  <a:pt x="2330410" y="5009"/>
                </a:lnTo>
                <a:lnTo>
                  <a:pt x="2438050" y="10106"/>
                </a:lnTo>
                <a:lnTo>
                  <a:pt x="2444580" y="11041"/>
                </a:lnTo>
                <a:lnTo>
                  <a:pt x="2453282" y="11479"/>
                </a:lnTo>
                <a:cubicBezTo>
                  <a:pt x="2584664" y="24822"/>
                  <a:pt x="2712664" y="49604"/>
                  <a:pt x="2836272" y="84814"/>
                </a:cubicBezTo>
                <a:lnTo>
                  <a:pt x="2845282" y="87808"/>
                </a:lnTo>
                <a:lnTo>
                  <a:pt x="2846835" y="88183"/>
                </a:lnTo>
                <a:lnTo>
                  <a:pt x="2862293" y="93466"/>
                </a:lnTo>
                <a:lnTo>
                  <a:pt x="3018261" y="145321"/>
                </a:lnTo>
                <a:lnTo>
                  <a:pt x="3034270" y="152232"/>
                </a:lnTo>
                <a:lnTo>
                  <a:pt x="3040354" y="154311"/>
                </a:lnTo>
                <a:lnTo>
                  <a:pt x="3073246" y="169059"/>
                </a:lnTo>
                <a:lnTo>
                  <a:pt x="3192900" y="220711"/>
                </a:lnTo>
                <a:lnTo>
                  <a:pt x="3215233" y="232715"/>
                </a:lnTo>
                <a:lnTo>
                  <a:pt x="3225396" y="237271"/>
                </a:lnTo>
                <a:lnTo>
                  <a:pt x="3261085" y="257362"/>
                </a:lnTo>
                <a:lnTo>
                  <a:pt x="3359433" y="310226"/>
                </a:lnTo>
                <a:lnTo>
                  <a:pt x="3387305" y="328413"/>
                </a:lnTo>
                <a:lnTo>
                  <a:pt x="3401038" y="336142"/>
                </a:lnTo>
                <a:lnTo>
                  <a:pt x="3435022" y="359548"/>
                </a:lnTo>
                <a:lnTo>
                  <a:pt x="3517099" y="413105"/>
                </a:lnTo>
                <a:lnTo>
                  <a:pt x="3549622" y="438475"/>
                </a:lnTo>
                <a:lnTo>
                  <a:pt x="3566359" y="450001"/>
                </a:lnTo>
                <a:lnTo>
                  <a:pt x="3596837" y="475307"/>
                </a:lnTo>
                <a:lnTo>
                  <a:pt x="3665142" y="528589"/>
                </a:lnTo>
                <a:lnTo>
                  <a:pt x="3701322" y="562056"/>
                </a:lnTo>
                <a:lnTo>
                  <a:pt x="3720439" y="577928"/>
                </a:lnTo>
                <a:lnTo>
                  <a:pt x="3746661" y="603995"/>
                </a:lnTo>
                <a:lnTo>
                  <a:pt x="3802799" y="655921"/>
                </a:lnTo>
                <a:lnTo>
                  <a:pt x="3841548" y="698318"/>
                </a:lnTo>
                <a:lnTo>
                  <a:pt x="3862356" y="719001"/>
                </a:lnTo>
                <a:lnTo>
                  <a:pt x="3884088" y="744860"/>
                </a:lnTo>
                <a:lnTo>
                  <a:pt x="3929313" y="794342"/>
                </a:lnTo>
                <a:lnTo>
                  <a:pt x="3969450" y="846435"/>
                </a:lnTo>
                <a:lnTo>
                  <a:pt x="3991188" y="872298"/>
                </a:lnTo>
                <a:lnTo>
                  <a:pt x="4008485" y="897096"/>
                </a:lnTo>
                <a:lnTo>
                  <a:pt x="4043928" y="943093"/>
                </a:lnTo>
                <a:lnTo>
                  <a:pt x="4084188" y="1005614"/>
                </a:lnTo>
                <a:lnTo>
                  <a:pt x="4106012" y="1036899"/>
                </a:lnTo>
                <a:lnTo>
                  <a:pt x="4119126" y="1059869"/>
                </a:lnTo>
                <a:lnTo>
                  <a:pt x="4145880" y="1101415"/>
                </a:lnTo>
                <a:lnTo>
                  <a:pt x="4184921" y="1175119"/>
                </a:lnTo>
                <a:lnTo>
                  <a:pt x="4205911" y="1211882"/>
                </a:lnTo>
                <a:lnTo>
                  <a:pt x="4215230" y="1232334"/>
                </a:lnTo>
                <a:lnTo>
                  <a:pt x="4234415" y="1268548"/>
                </a:lnTo>
                <a:lnTo>
                  <a:pt x="4270827" y="1354338"/>
                </a:lnTo>
                <a:lnTo>
                  <a:pt x="4289961" y="1396326"/>
                </a:lnTo>
                <a:lnTo>
                  <a:pt x="4295995" y="1413634"/>
                </a:lnTo>
                <a:lnTo>
                  <a:pt x="4308772" y="1443737"/>
                </a:lnTo>
                <a:lnTo>
                  <a:pt x="4341074" y="1542938"/>
                </a:lnTo>
                <a:lnTo>
                  <a:pt x="4357240" y="1589308"/>
                </a:lnTo>
                <a:lnTo>
                  <a:pt x="4360602" y="1602910"/>
                </a:lnTo>
                <a:lnTo>
                  <a:pt x="4368193" y="1626219"/>
                </a:lnTo>
                <a:lnTo>
                  <a:pt x="4394846" y="1741438"/>
                </a:lnTo>
                <a:lnTo>
                  <a:pt x="4406827" y="1789908"/>
                </a:lnTo>
                <a:lnTo>
                  <a:pt x="4408230" y="1799297"/>
                </a:lnTo>
                <a:lnTo>
                  <a:pt x="4411918" y="1815238"/>
                </a:lnTo>
                <a:lnTo>
                  <a:pt x="4431323" y="1953846"/>
                </a:lnTo>
                <a:lnTo>
                  <a:pt x="4437802" y="1997203"/>
                </a:lnTo>
                <a:lnTo>
                  <a:pt x="4438032" y="2001767"/>
                </a:lnTo>
                <a:lnTo>
                  <a:pt x="4439190" y="2010034"/>
                </a:lnTo>
                <a:lnTo>
                  <a:pt x="4443741" y="2106169"/>
                </a:lnTo>
                <a:lnTo>
                  <a:pt x="4449289" y="2106169"/>
                </a:lnTo>
                <a:lnTo>
                  <a:pt x="4449289" y="2194799"/>
                </a:lnTo>
                <a:lnTo>
                  <a:pt x="4449289" y="2223329"/>
                </a:lnTo>
                <a:lnTo>
                  <a:pt x="4449289" y="2223995"/>
                </a:lnTo>
                <a:lnTo>
                  <a:pt x="4449289" y="2223996"/>
                </a:lnTo>
                <a:lnTo>
                  <a:pt x="4451945" y="2223996"/>
                </a:lnTo>
                <a:lnTo>
                  <a:pt x="4451945" y="2649834"/>
                </a:lnTo>
                <a:lnTo>
                  <a:pt x="4451945" y="3541417"/>
                </a:lnTo>
                <a:lnTo>
                  <a:pt x="4451945" y="3967256"/>
                </a:lnTo>
                <a:lnTo>
                  <a:pt x="4451945" y="4085083"/>
                </a:lnTo>
                <a:lnTo>
                  <a:pt x="4449314" y="4085083"/>
                </a:lnTo>
                <a:lnTo>
                  <a:pt x="4449314" y="6191250"/>
                </a:lnTo>
                <a:lnTo>
                  <a:pt x="2227318" y="6191250"/>
                </a:lnTo>
                <a:lnTo>
                  <a:pt x="2226007" y="6191250"/>
                </a:lnTo>
                <a:lnTo>
                  <a:pt x="2225986" y="6191251"/>
                </a:lnTo>
                <a:lnTo>
                  <a:pt x="2225965" y="6191250"/>
                </a:lnTo>
                <a:lnTo>
                  <a:pt x="2121536" y="6191250"/>
                </a:lnTo>
                <a:lnTo>
                  <a:pt x="2121536" y="6186242"/>
                </a:lnTo>
                <a:lnTo>
                  <a:pt x="2013895" y="6181144"/>
                </a:lnTo>
                <a:lnTo>
                  <a:pt x="2007364" y="6180211"/>
                </a:lnTo>
                <a:lnTo>
                  <a:pt x="1998664" y="6179772"/>
                </a:lnTo>
                <a:cubicBezTo>
                  <a:pt x="1867282" y="6166428"/>
                  <a:pt x="1739282" y="6141647"/>
                  <a:pt x="1615674" y="6106438"/>
                </a:cubicBezTo>
                <a:lnTo>
                  <a:pt x="1606663" y="6103442"/>
                </a:lnTo>
                <a:lnTo>
                  <a:pt x="1605110" y="6103069"/>
                </a:lnTo>
                <a:lnTo>
                  <a:pt x="1589652" y="6097785"/>
                </a:lnTo>
                <a:lnTo>
                  <a:pt x="1433684" y="6045931"/>
                </a:lnTo>
                <a:lnTo>
                  <a:pt x="1417676" y="6039019"/>
                </a:lnTo>
                <a:lnTo>
                  <a:pt x="1411591" y="6036940"/>
                </a:lnTo>
                <a:lnTo>
                  <a:pt x="1378699" y="6022193"/>
                </a:lnTo>
                <a:lnTo>
                  <a:pt x="1259044" y="5970541"/>
                </a:lnTo>
                <a:lnTo>
                  <a:pt x="1236712" y="5958537"/>
                </a:lnTo>
                <a:lnTo>
                  <a:pt x="1226549" y="5953980"/>
                </a:lnTo>
                <a:lnTo>
                  <a:pt x="1190860" y="5933890"/>
                </a:lnTo>
                <a:lnTo>
                  <a:pt x="1092512" y="5881025"/>
                </a:lnTo>
                <a:lnTo>
                  <a:pt x="1064640" y="5862838"/>
                </a:lnTo>
                <a:lnTo>
                  <a:pt x="1050907" y="5855110"/>
                </a:lnTo>
                <a:lnTo>
                  <a:pt x="1016923" y="5831703"/>
                </a:lnTo>
                <a:lnTo>
                  <a:pt x="934846" y="5778147"/>
                </a:lnTo>
                <a:lnTo>
                  <a:pt x="902324" y="5752777"/>
                </a:lnTo>
                <a:lnTo>
                  <a:pt x="885586" y="5741251"/>
                </a:lnTo>
                <a:lnTo>
                  <a:pt x="855108" y="5715945"/>
                </a:lnTo>
                <a:lnTo>
                  <a:pt x="786804" y="5662661"/>
                </a:lnTo>
                <a:lnTo>
                  <a:pt x="750624" y="5629195"/>
                </a:lnTo>
                <a:lnTo>
                  <a:pt x="731506" y="5613323"/>
                </a:lnTo>
                <a:lnTo>
                  <a:pt x="705284" y="5587257"/>
                </a:lnTo>
                <a:lnTo>
                  <a:pt x="649146" y="5535330"/>
                </a:lnTo>
                <a:lnTo>
                  <a:pt x="610397" y="5492934"/>
                </a:lnTo>
                <a:lnTo>
                  <a:pt x="589589" y="5472250"/>
                </a:lnTo>
                <a:lnTo>
                  <a:pt x="567858" y="5446391"/>
                </a:lnTo>
                <a:lnTo>
                  <a:pt x="522632" y="5396909"/>
                </a:lnTo>
                <a:lnTo>
                  <a:pt x="482495" y="5344816"/>
                </a:lnTo>
                <a:lnTo>
                  <a:pt x="460758" y="5318953"/>
                </a:lnTo>
                <a:lnTo>
                  <a:pt x="443460" y="5294156"/>
                </a:lnTo>
                <a:lnTo>
                  <a:pt x="408018" y="5248158"/>
                </a:lnTo>
                <a:lnTo>
                  <a:pt x="367757" y="5185637"/>
                </a:lnTo>
                <a:lnTo>
                  <a:pt x="345932" y="5154352"/>
                </a:lnTo>
                <a:lnTo>
                  <a:pt x="332819" y="5131383"/>
                </a:lnTo>
                <a:lnTo>
                  <a:pt x="306065" y="5089836"/>
                </a:lnTo>
                <a:lnTo>
                  <a:pt x="267024" y="5016132"/>
                </a:lnTo>
                <a:lnTo>
                  <a:pt x="246035" y="4979369"/>
                </a:lnTo>
                <a:lnTo>
                  <a:pt x="236715" y="4958917"/>
                </a:lnTo>
                <a:lnTo>
                  <a:pt x="217531" y="4922702"/>
                </a:lnTo>
                <a:lnTo>
                  <a:pt x="181118" y="4836913"/>
                </a:lnTo>
                <a:lnTo>
                  <a:pt x="161984" y="4794925"/>
                </a:lnTo>
                <a:lnTo>
                  <a:pt x="155951" y="4777618"/>
                </a:lnTo>
                <a:lnTo>
                  <a:pt x="143173" y="4747515"/>
                </a:lnTo>
                <a:lnTo>
                  <a:pt x="110871" y="4648314"/>
                </a:lnTo>
                <a:lnTo>
                  <a:pt x="94705" y="4601944"/>
                </a:lnTo>
                <a:lnTo>
                  <a:pt x="91343" y="4588341"/>
                </a:lnTo>
                <a:lnTo>
                  <a:pt x="83753" y="4565031"/>
                </a:lnTo>
                <a:lnTo>
                  <a:pt x="57100" y="4449814"/>
                </a:lnTo>
                <a:lnTo>
                  <a:pt x="45118" y="4401343"/>
                </a:lnTo>
                <a:lnTo>
                  <a:pt x="43715" y="4391954"/>
                </a:lnTo>
                <a:lnTo>
                  <a:pt x="40028" y="4376013"/>
                </a:lnTo>
                <a:lnTo>
                  <a:pt x="20623" y="4237405"/>
                </a:lnTo>
                <a:lnTo>
                  <a:pt x="14144" y="4194048"/>
                </a:lnTo>
                <a:lnTo>
                  <a:pt x="13913" y="4189483"/>
                </a:lnTo>
                <a:lnTo>
                  <a:pt x="12755" y="4181217"/>
                </a:lnTo>
                <a:lnTo>
                  <a:pt x="8205" y="4085083"/>
                </a:lnTo>
                <a:lnTo>
                  <a:pt x="2656" y="4085083"/>
                </a:lnTo>
                <a:lnTo>
                  <a:pt x="2656" y="3996451"/>
                </a:lnTo>
                <a:lnTo>
                  <a:pt x="2656" y="3967921"/>
                </a:lnTo>
                <a:lnTo>
                  <a:pt x="2656" y="3967256"/>
                </a:lnTo>
                <a:lnTo>
                  <a:pt x="2656" y="3967255"/>
                </a:lnTo>
                <a:lnTo>
                  <a:pt x="0" y="3967255"/>
                </a:lnTo>
                <a:lnTo>
                  <a:pt x="0" y="3541417"/>
                </a:lnTo>
                <a:lnTo>
                  <a:pt x="0" y="2649834"/>
                </a:lnTo>
                <a:lnTo>
                  <a:pt x="0" y="2223995"/>
                </a:lnTo>
                <a:lnTo>
                  <a:pt x="0" y="2106169"/>
                </a:lnTo>
                <a:lnTo>
                  <a:pt x="2630" y="2106169"/>
                </a:lnTo>
                <a:lnTo>
                  <a:pt x="2630" y="1"/>
                </a:lnTo>
                <a:lnTo>
                  <a:pt x="2224628" y="1"/>
                </a:lnTo>
                <a:lnTo>
                  <a:pt x="2225938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4815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B13FD7-2C09-9348-9D0E-06F46875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FB297E-04E5-6E43-843B-5DFB995B6C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189CEE-F432-BE43-8A56-190B8E05B7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FC17D3D-568A-BA4C-86E4-71E30355089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9779BB0-3F62-D84F-ABFD-B43CBE234B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45A01B-68E3-864C-A6DA-8F5C6ED8B88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45285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0D88FC9-71F7-4AC8-AAC5-506B7E20D11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1950" y="1706346"/>
            <a:ext cx="2978926" cy="3445307"/>
          </a:xfrm>
          <a:custGeom>
            <a:avLst/>
            <a:gdLst>
              <a:gd name="connsiteX0" fmla="*/ 1717881 w 3435742"/>
              <a:gd name="connsiteY0" fmla="*/ 0 h 3973642"/>
              <a:gd name="connsiteX1" fmla="*/ 1717898 w 3435742"/>
              <a:gd name="connsiteY1" fmla="*/ 1 h 3973642"/>
              <a:gd name="connsiteX2" fmla="*/ 1718909 w 3435742"/>
              <a:gd name="connsiteY2" fmla="*/ 1 h 3973642"/>
              <a:gd name="connsiteX3" fmla="*/ 3433713 w 3435742"/>
              <a:gd name="connsiteY3" fmla="*/ 1 h 3973642"/>
              <a:gd name="connsiteX4" fmla="*/ 3433713 w 3435742"/>
              <a:gd name="connsiteY4" fmla="*/ 1625413 h 3973642"/>
              <a:gd name="connsiteX5" fmla="*/ 3435742 w 3435742"/>
              <a:gd name="connsiteY5" fmla="*/ 1625413 h 3973642"/>
              <a:gd name="connsiteX6" fmla="*/ 3435742 w 3435742"/>
              <a:gd name="connsiteY6" fmla="*/ 1716345 h 3973642"/>
              <a:gd name="connsiteX7" fmla="*/ 3435742 w 3435742"/>
              <a:gd name="connsiteY7" fmla="*/ 1742298 h 3973642"/>
              <a:gd name="connsiteX8" fmla="*/ 3435742 w 3435742"/>
              <a:gd name="connsiteY8" fmla="*/ 1928661 h 3973642"/>
              <a:gd name="connsiteX9" fmla="*/ 3435742 w 3435742"/>
              <a:gd name="connsiteY9" fmla="*/ 2033495 h 3973642"/>
              <a:gd name="connsiteX10" fmla="*/ 3435742 w 3435742"/>
              <a:gd name="connsiteY10" fmla="*/ 2257297 h 3973642"/>
              <a:gd name="connsiteX11" fmla="*/ 3433692 w 3435742"/>
              <a:gd name="connsiteY11" fmla="*/ 2257297 h 3973642"/>
              <a:gd name="connsiteX12" fmla="*/ 3433692 w 3435742"/>
              <a:gd name="connsiteY12" fmla="*/ 2257298 h 3973642"/>
              <a:gd name="connsiteX13" fmla="*/ 3433692 w 3435742"/>
              <a:gd name="connsiteY13" fmla="*/ 2257811 h 3973642"/>
              <a:gd name="connsiteX14" fmla="*/ 3433692 w 3435742"/>
              <a:gd name="connsiteY14" fmla="*/ 2279828 h 3973642"/>
              <a:gd name="connsiteX15" fmla="*/ 3433692 w 3435742"/>
              <a:gd name="connsiteY15" fmla="*/ 2348229 h 3973642"/>
              <a:gd name="connsiteX16" fmla="*/ 3429411 w 3435742"/>
              <a:gd name="connsiteY16" fmla="*/ 2348229 h 3973642"/>
              <a:gd name="connsiteX17" fmla="*/ 3425898 w 3435742"/>
              <a:gd name="connsiteY17" fmla="*/ 2422420 h 3973642"/>
              <a:gd name="connsiteX18" fmla="*/ 3425005 w 3435742"/>
              <a:gd name="connsiteY18" fmla="*/ 2428799 h 3973642"/>
              <a:gd name="connsiteX19" fmla="*/ 3424827 w 3435742"/>
              <a:gd name="connsiteY19" fmla="*/ 2432322 h 3973642"/>
              <a:gd name="connsiteX20" fmla="*/ 3419827 w 3435742"/>
              <a:gd name="connsiteY20" fmla="*/ 2465782 h 3973642"/>
              <a:gd name="connsiteX21" fmla="*/ 3404851 w 3435742"/>
              <a:gd name="connsiteY21" fmla="*/ 2572751 h 3973642"/>
              <a:gd name="connsiteX22" fmla="*/ 3402005 w 3435742"/>
              <a:gd name="connsiteY22" fmla="*/ 2585054 h 3973642"/>
              <a:gd name="connsiteX23" fmla="*/ 3400923 w 3435742"/>
              <a:gd name="connsiteY23" fmla="*/ 2592300 h 3973642"/>
              <a:gd name="connsiteX24" fmla="*/ 3391676 w 3435742"/>
              <a:gd name="connsiteY24" fmla="*/ 2629706 h 3973642"/>
              <a:gd name="connsiteX25" fmla="*/ 3371107 w 3435742"/>
              <a:gd name="connsiteY25" fmla="*/ 2718624 h 3973642"/>
              <a:gd name="connsiteX26" fmla="*/ 3365249 w 3435742"/>
              <a:gd name="connsiteY26" fmla="*/ 2736614 h 3973642"/>
              <a:gd name="connsiteX27" fmla="*/ 3362654 w 3435742"/>
              <a:gd name="connsiteY27" fmla="*/ 2747111 h 3973642"/>
              <a:gd name="connsiteX28" fmla="*/ 3350179 w 3435742"/>
              <a:gd name="connsiteY28" fmla="*/ 2782897 h 3973642"/>
              <a:gd name="connsiteX29" fmla="*/ 3325250 w 3435742"/>
              <a:gd name="connsiteY29" fmla="*/ 2859454 h 3973642"/>
              <a:gd name="connsiteX30" fmla="*/ 3315389 w 3435742"/>
              <a:gd name="connsiteY30" fmla="*/ 2882686 h 3973642"/>
              <a:gd name="connsiteX31" fmla="*/ 3310733 w 3435742"/>
              <a:gd name="connsiteY31" fmla="*/ 2896042 h 3973642"/>
              <a:gd name="connsiteX32" fmla="*/ 3295966 w 3435742"/>
              <a:gd name="connsiteY32" fmla="*/ 2928446 h 3973642"/>
              <a:gd name="connsiteX33" fmla="*/ 3267865 w 3435742"/>
              <a:gd name="connsiteY33" fmla="*/ 2994653 h 3973642"/>
              <a:gd name="connsiteX34" fmla="*/ 3253060 w 3435742"/>
              <a:gd name="connsiteY34" fmla="*/ 3022602 h 3973642"/>
              <a:gd name="connsiteX35" fmla="*/ 3245868 w 3435742"/>
              <a:gd name="connsiteY35" fmla="*/ 3038385 h 3973642"/>
              <a:gd name="connsiteX36" fmla="*/ 3229669 w 3435742"/>
              <a:gd name="connsiteY36" fmla="*/ 3066757 h 3973642"/>
              <a:gd name="connsiteX37" fmla="*/ 3199540 w 3435742"/>
              <a:gd name="connsiteY37" fmla="*/ 3123637 h 3973642"/>
              <a:gd name="connsiteX38" fmla="*/ 3178893 w 3435742"/>
              <a:gd name="connsiteY38" fmla="*/ 3155700 h 3973642"/>
              <a:gd name="connsiteX39" fmla="*/ 3168773 w 3435742"/>
              <a:gd name="connsiteY39" fmla="*/ 3173426 h 3973642"/>
              <a:gd name="connsiteX40" fmla="*/ 3151929 w 3435742"/>
              <a:gd name="connsiteY40" fmla="*/ 3197570 h 3973642"/>
              <a:gd name="connsiteX41" fmla="*/ 3120859 w 3435742"/>
              <a:gd name="connsiteY41" fmla="*/ 3245820 h 3973642"/>
              <a:gd name="connsiteX42" fmla="*/ 3093506 w 3435742"/>
              <a:gd name="connsiteY42" fmla="*/ 3281318 h 3973642"/>
              <a:gd name="connsiteX43" fmla="*/ 3080157 w 3435742"/>
              <a:gd name="connsiteY43" fmla="*/ 3300456 h 3973642"/>
              <a:gd name="connsiteX44" fmla="*/ 3063382 w 3435742"/>
              <a:gd name="connsiteY44" fmla="*/ 3320415 h 3973642"/>
              <a:gd name="connsiteX45" fmla="*/ 3032406 w 3435742"/>
              <a:gd name="connsiteY45" fmla="*/ 3360617 h 3973642"/>
              <a:gd name="connsiteX46" fmla="*/ 2997504 w 3435742"/>
              <a:gd name="connsiteY46" fmla="*/ 3398805 h 3973642"/>
              <a:gd name="connsiteX47" fmla="*/ 2980733 w 3435742"/>
              <a:gd name="connsiteY47" fmla="*/ 3418761 h 3973642"/>
              <a:gd name="connsiteX48" fmla="*/ 2964674 w 3435742"/>
              <a:gd name="connsiteY48" fmla="*/ 3434723 h 3973642"/>
              <a:gd name="connsiteX49" fmla="*/ 2934770 w 3435742"/>
              <a:gd name="connsiteY49" fmla="*/ 3467442 h 3973642"/>
              <a:gd name="connsiteX50" fmla="*/ 2891447 w 3435742"/>
              <a:gd name="connsiteY50" fmla="*/ 3507516 h 3973642"/>
              <a:gd name="connsiteX51" fmla="*/ 2871210 w 3435742"/>
              <a:gd name="connsiteY51" fmla="*/ 3527632 h 3973642"/>
              <a:gd name="connsiteX52" fmla="*/ 2856456 w 3435742"/>
              <a:gd name="connsiteY52" fmla="*/ 3539881 h 3973642"/>
              <a:gd name="connsiteX53" fmla="*/ 2828534 w 3435742"/>
              <a:gd name="connsiteY53" fmla="*/ 3565708 h 3973642"/>
              <a:gd name="connsiteX54" fmla="*/ 2775821 w 3435742"/>
              <a:gd name="connsiteY54" fmla="*/ 3606830 h 3973642"/>
              <a:gd name="connsiteX55" fmla="*/ 2752301 w 3435742"/>
              <a:gd name="connsiteY55" fmla="*/ 3626359 h 3973642"/>
              <a:gd name="connsiteX56" fmla="*/ 2739383 w 3435742"/>
              <a:gd name="connsiteY56" fmla="*/ 3635254 h 3973642"/>
              <a:gd name="connsiteX57" fmla="*/ 2714285 w 3435742"/>
              <a:gd name="connsiteY57" fmla="*/ 3654833 h 3973642"/>
              <a:gd name="connsiteX58" fmla="*/ 2650942 w 3435742"/>
              <a:gd name="connsiteY58" fmla="*/ 3696165 h 3973642"/>
              <a:gd name="connsiteX59" fmla="*/ 2624716 w 3435742"/>
              <a:gd name="connsiteY59" fmla="*/ 3714229 h 3973642"/>
              <a:gd name="connsiteX60" fmla="*/ 2614117 w 3435742"/>
              <a:gd name="connsiteY60" fmla="*/ 3720193 h 3973642"/>
              <a:gd name="connsiteX61" fmla="*/ 2592607 w 3435742"/>
              <a:gd name="connsiteY61" fmla="*/ 3734229 h 3973642"/>
              <a:gd name="connsiteX62" fmla="*/ 2516709 w 3435742"/>
              <a:gd name="connsiteY62" fmla="*/ 3775026 h 3973642"/>
              <a:gd name="connsiteX63" fmla="*/ 2489165 w 3435742"/>
              <a:gd name="connsiteY63" fmla="*/ 3790531 h 3973642"/>
              <a:gd name="connsiteX64" fmla="*/ 2481322 w 3435742"/>
              <a:gd name="connsiteY64" fmla="*/ 3794047 h 3973642"/>
              <a:gd name="connsiteX65" fmla="*/ 2464088 w 3435742"/>
              <a:gd name="connsiteY65" fmla="*/ 3803311 h 3973642"/>
              <a:gd name="connsiteX66" fmla="*/ 2371745 w 3435742"/>
              <a:gd name="connsiteY66" fmla="*/ 3843173 h 3973642"/>
              <a:gd name="connsiteX67" fmla="*/ 2346361 w 3435742"/>
              <a:gd name="connsiteY67" fmla="*/ 3854554 h 3973642"/>
              <a:gd name="connsiteX68" fmla="*/ 2341666 w 3435742"/>
              <a:gd name="connsiteY68" fmla="*/ 3856159 h 3973642"/>
              <a:gd name="connsiteX69" fmla="*/ 2329311 w 3435742"/>
              <a:gd name="connsiteY69" fmla="*/ 3861493 h 3973642"/>
              <a:gd name="connsiteX70" fmla="*/ 2208945 w 3435742"/>
              <a:gd name="connsiteY70" fmla="*/ 3901511 h 3973642"/>
              <a:gd name="connsiteX71" fmla="*/ 2197015 w 3435742"/>
              <a:gd name="connsiteY71" fmla="*/ 3905588 h 3973642"/>
              <a:gd name="connsiteX72" fmla="*/ 2195817 w 3435742"/>
              <a:gd name="connsiteY72" fmla="*/ 3905877 h 3973642"/>
              <a:gd name="connsiteX73" fmla="*/ 2188863 w 3435742"/>
              <a:gd name="connsiteY73" fmla="*/ 3908188 h 3973642"/>
              <a:gd name="connsiteX74" fmla="*/ 1893294 w 3435742"/>
              <a:gd name="connsiteY74" fmla="*/ 3964784 h 3973642"/>
              <a:gd name="connsiteX75" fmla="*/ 1886580 w 3435742"/>
              <a:gd name="connsiteY75" fmla="*/ 3965122 h 3973642"/>
              <a:gd name="connsiteX76" fmla="*/ 1881540 w 3435742"/>
              <a:gd name="connsiteY76" fmla="*/ 3965842 h 3973642"/>
              <a:gd name="connsiteX77" fmla="*/ 1798469 w 3435742"/>
              <a:gd name="connsiteY77" fmla="*/ 3969777 h 3973642"/>
              <a:gd name="connsiteX78" fmla="*/ 1798469 w 3435742"/>
              <a:gd name="connsiteY78" fmla="*/ 3973641 h 3973642"/>
              <a:gd name="connsiteX79" fmla="*/ 1717877 w 3435742"/>
              <a:gd name="connsiteY79" fmla="*/ 3973641 h 3973642"/>
              <a:gd name="connsiteX80" fmla="*/ 1717860 w 3435742"/>
              <a:gd name="connsiteY80" fmla="*/ 3973642 h 3973642"/>
              <a:gd name="connsiteX81" fmla="*/ 1717844 w 3435742"/>
              <a:gd name="connsiteY81" fmla="*/ 3973641 h 3973642"/>
              <a:gd name="connsiteX82" fmla="*/ 1716833 w 3435742"/>
              <a:gd name="connsiteY82" fmla="*/ 3973641 h 3973642"/>
              <a:gd name="connsiteX83" fmla="*/ 2030 w 3435742"/>
              <a:gd name="connsiteY83" fmla="*/ 3973641 h 3973642"/>
              <a:gd name="connsiteX84" fmla="*/ 2030 w 3435742"/>
              <a:gd name="connsiteY84" fmla="*/ 2348229 h 3973642"/>
              <a:gd name="connsiteX85" fmla="*/ 0 w 3435742"/>
              <a:gd name="connsiteY85" fmla="*/ 2348229 h 3973642"/>
              <a:gd name="connsiteX86" fmla="*/ 0 w 3435742"/>
              <a:gd name="connsiteY86" fmla="*/ 2257298 h 3973642"/>
              <a:gd name="connsiteX87" fmla="*/ 0 w 3435742"/>
              <a:gd name="connsiteY87" fmla="*/ 2033495 h 3973642"/>
              <a:gd name="connsiteX88" fmla="*/ 0 w 3435742"/>
              <a:gd name="connsiteY88" fmla="*/ 1928661 h 3973642"/>
              <a:gd name="connsiteX89" fmla="*/ 0 w 3435742"/>
              <a:gd name="connsiteY89" fmla="*/ 1742298 h 3973642"/>
              <a:gd name="connsiteX90" fmla="*/ 0 w 3435742"/>
              <a:gd name="connsiteY90" fmla="*/ 1716345 h 3973642"/>
              <a:gd name="connsiteX91" fmla="*/ 2050 w 3435742"/>
              <a:gd name="connsiteY91" fmla="*/ 1716345 h 3973642"/>
              <a:gd name="connsiteX92" fmla="*/ 2050 w 3435742"/>
              <a:gd name="connsiteY92" fmla="*/ 1715831 h 3973642"/>
              <a:gd name="connsiteX93" fmla="*/ 2050 w 3435742"/>
              <a:gd name="connsiteY93" fmla="*/ 1693813 h 3973642"/>
              <a:gd name="connsiteX94" fmla="*/ 2050 w 3435742"/>
              <a:gd name="connsiteY94" fmla="*/ 1625413 h 3973642"/>
              <a:gd name="connsiteX95" fmla="*/ 6332 w 3435742"/>
              <a:gd name="connsiteY95" fmla="*/ 1625413 h 3973642"/>
              <a:gd name="connsiteX96" fmla="*/ 9844 w 3435742"/>
              <a:gd name="connsiteY96" fmla="*/ 1551223 h 3973642"/>
              <a:gd name="connsiteX97" fmla="*/ 10737 w 3435742"/>
              <a:gd name="connsiteY97" fmla="*/ 1544843 h 3973642"/>
              <a:gd name="connsiteX98" fmla="*/ 10915 w 3435742"/>
              <a:gd name="connsiteY98" fmla="*/ 1541320 h 3973642"/>
              <a:gd name="connsiteX99" fmla="*/ 15915 w 3435742"/>
              <a:gd name="connsiteY99" fmla="*/ 1507860 h 3973642"/>
              <a:gd name="connsiteX100" fmla="*/ 30891 w 3435742"/>
              <a:gd name="connsiteY100" fmla="*/ 1400891 h 3973642"/>
              <a:gd name="connsiteX101" fmla="*/ 33737 w 3435742"/>
              <a:gd name="connsiteY101" fmla="*/ 1388588 h 3973642"/>
              <a:gd name="connsiteX102" fmla="*/ 34819 w 3435742"/>
              <a:gd name="connsiteY102" fmla="*/ 1381342 h 3973642"/>
              <a:gd name="connsiteX103" fmla="*/ 44066 w 3435742"/>
              <a:gd name="connsiteY103" fmla="*/ 1343936 h 3973642"/>
              <a:gd name="connsiteX104" fmla="*/ 64635 w 3435742"/>
              <a:gd name="connsiteY104" fmla="*/ 1255017 h 3973642"/>
              <a:gd name="connsiteX105" fmla="*/ 70493 w 3435742"/>
              <a:gd name="connsiteY105" fmla="*/ 1237029 h 3973642"/>
              <a:gd name="connsiteX106" fmla="*/ 73088 w 3435742"/>
              <a:gd name="connsiteY106" fmla="*/ 1226531 h 3973642"/>
              <a:gd name="connsiteX107" fmla="*/ 85564 w 3435742"/>
              <a:gd name="connsiteY107" fmla="*/ 1190746 h 3973642"/>
              <a:gd name="connsiteX108" fmla="*/ 110492 w 3435742"/>
              <a:gd name="connsiteY108" fmla="*/ 1114188 h 3973642"/>
              <a:gd name="connsiteX109" fmla="*/ 120353 w 3435742"/>
              <a:gd name="connsiteY109" fmla="*/ 1090957 h 3973642"/>
              <a:gd name="connsiteX110" fmla="*/ 125010 w 3435742"/>
              <a:gd name="connsiteY110" fmla="*/ 1077600 h 3973642"/>
              <a:gd name="connsiteX111" fmla="*/ 139776 w 3435742"/>
              <a:gd name="connsiteY111" fmla="*/ 1045196 h 3973642"/>
              <a:gd name="connsiteX112" fmla="*/ 167877 w 3435742"/>
              <a:gd name="connsiteY112" fmla="*/ 978988 h 3973642"/>
              <a:gd name="connsiteX113" fmla="*/ 182682 w 3435742"/>
              <a:gd name="connsiteY113" fmla="*/ 951041 h 3973642"/>
              <a:gd name="connsiteX114" fmla="*/ 189874 w 3435742"/>
              <a:gd name="connsiteY114" fmla="*/ 935257 h 3973642"/>
              <a:gd name="connsiteX115" fmla="*/ 206073 w 3435742"/>
              <a:gd name="connsiteY115" fmla="*/ 906886 h 3973642"/>
              <a:gd name="connsiteX116" fmla="*/ 236202 w 3435742"/>
              <a:gd name="connsiteY116" fmla="*/ 850005 h 3973642"/>
              <a:gd name="connsiteX117" fmla="*/ 256849 w 3435742"/>
              <a:gd name="connsiteY117" fmla="*/ 817942 h 3973642"/>
              <a:gd name="connsiteX118" fmla="*/ 266970 w 3435742"/>
              <a:gd name="connsiteY118" fmla="*/ 800216 h 3973642"/>
              <a:gd name="connsiteX119" fmla="*/ 283813 w 3435742"/>
              <a:gd name="connsiteY119" fmla="*/ 776072 h 3973642"/>
              <a:gd name="connsiteX120" fmla="*/ 314883 w 3435742"/>
              <a:gd name="connsiteY120" fmla="*/ 727822 h 3973642"/>
              <a:gd name="connsiteX121" fmla="*/ 342236 w 3435742"/>
              <a:gd name="connsiteY121" fmla="*/ 692324 h 3973642"/>
              <a:gd name="connsiteX122" fmla="*/ 355585 w 3435742"/>
              <a:gd name="connsiteY122" fmla="*/ 673187 h 3973642"/>
              <a:gd name="connsiteX123" fmla="*/ 372360 w 3435742"/>
              <a:gd name="connsiteY123" fmla="*/ 653227 h 3973642"/>
              <a:gd name="connsiteX124" fmla="*/ 403336 w 3435742"/>
              <a:gd name="connsiteY124" fmla="*/ 613025 h 3973642"/>
              <a:gd name="connsiteX125" fmla="*/ 438238 w 3435742"/>
              <a:gd name="connsiteY125" fmla="*/ 574838 h 3973642"/>
              <a:gd name="connsiteX126" fmla="*/ 455009 w 3435742"/>
              <a:gd name="connsiteY126" fmla="*/ 554882 h 3973642"/>
              <a:gd name="connsiteX127" fmla="*/ 471068 w 3435742"/>
              <a:gd name="connsiteY127" fmla="*/ 538919 h 3973642"/>
              <a:gd name="connsiteX128" fmla="*/ 500972 w 3435742"/>
              <a:gd name="connsiteY128" fmla="*/ 506200 h 3973642"/>
              <a:gd name="connsiteX129" fmla="*/ 544295 w 3435742"/>
              <a:gd name="connsiteY129" fmla="*/ 466127 h 3973642"/>
              <a:gd name="connsiteX130" fmla="*/ 564532 w 3435742"/>
              <a:gd name="connsiteY130" fmla="*/ 446010 h 3973642"/>
              <a:gd name="connsiteX131" fmla="*/ 579286 w 3435742"/>
              <a:gd name="connsiteY131" fmla="*/ 433761 h 3973642"/>
              <a:gd name="connsiteX132" fmla="*/ 607207 w 3435742"/>
              <a:gd name="connsiteY132" fmla="*/ 407933 h 3973642"/>
              <a:gd name="connsiteX133" fmla="*/ 659921 w 3435742"/>
              <a:gd name="connsiteY133" fmla="*/ 366813 h 3973642"/>
              <a:gd name="connsiteX134" fmla="*/ 683442 w 3435742"/>
              <a:gd name="connsiteY134" fmla="*/ 347283 h 3973642"/>
              <a:gd name="connsiteX135" fmla="*/ 696358 w 3435742"/>
              <a:gd name="connsiteY135" fmla="*/ 338388 h 3973642"/>
              <a:gd name="connsiteX136" fmla="*/ 721457 w 3435742"/>
              <a:gd name="connsiteY136" fmla="*/ 318809 h 3973642"/>
              <a:gd name="connsiteX137" fmla="*/ 784800 w 3435742"/>
              <a:gd name="connsiteY137" fmla="*/ 277477 h 3973642"/>
              <a:gd name="connsiteX138" fmla="*/ 811027 w 3435742"/>
              <a:gd name="connsiteY138" fmla="*/ 259414 h 3973642"/>
              <a:gd name="connsiteX139" fmla="*/ 821625 w 3435742"/>
              <a:gd name="connsiteY139" fmla="*/ 253449 h 3973642"/>
              <a:gd name="connsiteX140" fmla="*/ 843135 w 3435742"/>
              <a:gd name="connsiteY140" fmla="*/ 239414 h 3973642"/>
              <a:gd name="connsiteX141" fmla="*/ 919033 w 3435742"/>
              <a:gd name="connsiteY141" fmla="*/ 198616 h 3973642"/>
              <a:gd name="connsiteX142" fmla="*/ 946577 w 3435742"/>
              <a:gd name="connsiteY142" fmla="*/ 183112 h 3973642"/>
              <a:gd name="connsiteX143" fmla="*/ 954420 w 3435742"/>
              <a:gd name="connsiteY143" fmla="*/ 179595 h 3973642"/>
              <a:gd name="connsiteX144" fmla="*/ 971655 w 3435742"/>
              <a:gd name="connsiteY144" fmla="*/ 170331 h 3973642"/>
              <a:gd name="connsiteX145" fmla="*/ 1063997 w 3435742"/>
              <a:gd name="connsiteY145" fmla="*/ 130469 h 3973642"/>
              <a:gd name="connsiteX146" fmla="*/ 1089381 w 3435742"/>
              <a:gd name="connsiteY146" fmla="*/ 119088 h 3973642"/>
              <a:gd name="connsiteX147" fmla="*/ 1094076 w 3435742"/>
              <a:gd name="connsiteY147" fmla="*/ 117484 h 3973642"/>
              <a:gd name="connsiteX148" fmla="*/ 1106431 w 3435742"/>
              <a:gd name="connsiteY148" fmla="*/ 112150 h 3973642"/>
              <a:gd name="connsiteX149" fmla="*/ 1226798 w 3435742"/>
              <a:gd name="connsiteY149" fmla="*/ 72132 h 3973642"/>
              <a:gd name="connsiteX150" fmla="*/ 1238727 w 3435742"/>
              <a:gd name="connsiteY150" fmla="*/ 68054 h 3973642"/>
              <a:gd name="connsiteX151" fmla="*/ 1239925 w 3435742"/>
              <a:gd name="connsiteY151" fmla="*/ 67765 h 3973642"/>
              <a:gd name="connsiteX152" fmla="*/ 1246879 w 3435742"/>
              <a:gd name="connsiteY152" fmla="*/ 65454 h 3973642"/>
              <a:gd name="connsiteX153" fmla="*/ 1542447 w 3435742"/>
              <a:gd name="connsiteY153" fmla="*/ 8859 h 3973642"/>
              <a:gd name="connsiteX154" fmla="*/ 1549163 w 3435742"/>
              <a:gd name="connsiteY154" fmla="*/ 8521 h 3973642"/>
              <a:gd name="connsiteX155" fmla="*/ 1554203 w 3435742"/>
              <a:gd name="connsiteY155" fmla="*/ 7799 h 3973642"/>
              <a:gd name="connsiteX156" fmla="*/ 1637273 w 3435742"/>
              <a:gd name="connsiteY156" fmla="*/ 3866 h 3973642"/>
              <a:gd name="connsiteX157" fmla="*/ 1637273 w 3435742"/>
              <a:gd name="connsiteY157" fmla="*/ 1 h 3973642"/>
              <a:gd name="connsiteX158" fmla="*/ 1717865 w 3435742"/>
              <a:gd name="connsiteY158" fmla="*/ 1 h 3973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3435742" h="3973642">
                <a:moveTo>
                  <a:pt x="1717881" y="0"/>
                </a:moveTo>
                <a:lnTo>
                  <a:pt x="1717898" y="1"/>
                </a:lnTo>
                <a:lnTo>
                  <a:pt x="1718909" y="1"/>
                </a:lnTo>
                <a:lnTo>
                  <a:pt x="3433713" y="1"/>
                </a:lnTo>
                <a:lnTo>
                  <a:pt x="3433713" y="1625413"/>
                </a:lnTo>
                <a:lnTo>
                  <a:pt x="3435742" y="1625413"/>
                </a:lnTo>
                <a:lnTo>
                  <a:pt x="3435742" y="1716345"/>
                </a:lnTo>
                <a:lnTo>
                  <a:pt x="3435742" y="1742298"/>
                </a:lnTo>
                <a:lnTo>
                  <a:pt x="3435742" y="1928661"/>
                </a:lnTo>
                <a:lnTo>
                  <a:pt x="3435742" y="2033495"/>
                </a:lnTo>
                <a:lnTo>
                  <a:pt x="3435742" y="2257297"/>
                </a:lnTo>
                <a:lnTo>
                  <a:pt x="3433692" y="2257297"/>
                </a:lnTo>
                <a:lnTo>
                  <a:pt x="3433692" y="2257298"/>
                </a:lnTo>
                <a:lnTo>
                  <a:pt x="3433692" y="2257811"/>
                </a:lnTo>
                <a:lnTo>
                  <a:pt x="3433692" y="2279828"/>
                </a:lnTo>
                <a:lnTo>
                  <a:pt x="3433692" y="2348229"/>
                </a:lnTo>
                <a:lnTo>
                  <a:pt x="3429411" y="2348229"/>
                </a:lnTo>
                <a:lnTo>
                  <a:pt x="3425898" y="2422420"/>
                </a:lnTo>
                <a:lnTo>
                  <a:pt x="3425005" y="2428799"/>
                </a:lnTo>
                <a:lnTo>
                  <a:pt x="3424827" y="2432322"/>
                </a:lnTo>
                <a:lnTo>
                  <a:pt x="3419827" y="2465782"/>
                </a:lnTo>
                <a:lnTo>
                  <a:pt x="3404851" y="2572751"/>
                </a:lnTo>
                <a:lnTo>
                  <a:pt x="3402005" y="2585054"/>
                </a:lnTo>
                <a:lnTo>
                  <a:pt x="3400923" y="2592300"/>
                </a:lnTo>
                <a:lnTo>
                  <a:pt x="3391676" y="2629706"/>
                </a:lnTo>
                <a:lnTo>
                  <a:pt x="3371107" y="2718624"/>
                </a:lnTo>
                <a:lnTo>
                  <a:pt x="3365249" y="2736614"/>
                </a:lnTo>
                <a:lnTo>
                  <a:pt x="3362654" y="2747111"/>
                </a:lnTo>
                <a:lnTo>
                  <a:pt x="3350179" y="2782897"/>
                </a:lnTo>
                <a:lnTo>
                  <a:pt x="3325250" y="2859454"/>
                </a:lnTo>
                <a:lnTo>
                  <a:pt x="3315389" y="2882686"/>
                </a:lnTo>
                <a:lnTo>
                  <a:pt x="3310733" y="2896042"/>
                </a:lnTo>
                <a:lnTo>
                  <a:pt x="3295966" y="2928446"/>
                </a:lnTo>
                <a:lnTo>
                  <a:pt x="3267865" y="2994653"/>
                </a:lnTo>
                <a:lnTo>
                  <a:pt x="3253060" y="3022602"/>
                </a:lnTo>
                <a:lnTo>
                  <a:pt x="3245868" y="3038385"/>
                </a:lnTo>
                <a:lnTo>
                  <a:pt x="3229669" y="3066757"/>
                </a:lnTo>
                <a:lnTo>
                  <a:pt x="3199540" y="3123637"/>
                </a:lnTo>
                <a:lnTo>
                  <a:pt x="3178893" y="3155700"/>
                </a:lnTo>
                <a:lnTo>
                  <a:pt x="3168773" y="3173426"/>
                </a:lnTo>
                <a:lnTo>
                  <a:pt x="3151929" y="3197570"/>
                </a:lnTo>
                <a:lnTo>
                  <a:pt x="3120859" y="3245820"/>
                </a:lnTo>
                <a:lnTo>
                  <a:pt x="3093506" y="3281318"/>
                </a:lnTo>
                <a:lnTo>
                  <a:pt x="3080157" y="3300456"/>
                </a:lnTo>
                <a:lnTo>
                  <a:pt x="3063382" y="3320415"/>
                </a:lnTo>
                <a:lnTo>
                  <a:pt x="3032406" y="3360617"/>
                </a:lnTo>
                <a:lnTo>
                  <a:pt x="2997504" y="3398805"/>
                </a:lnTo>
                <a:lnTo>
                  <a:pt x="2980733" y="3418761"/>
                </a:lnTo>
                <a:lnTo>
                  <a:pt x="2964674" y="3434723"/>
                </a:lnTo>
                <a:lnTo>
                  <a:pt x="2934770" y="3467442"/>
                </a:lnTo>
                <a:lnTo>
                  <a:pt x="2891447" y="3507516"/>
                </a:lnTo>
                <a:lnTo>
                  <a:pt x="2871210" y="3527632"/>
                </a:lnTo>
                <a:lnTo>
                  <a:pt x="2856456" y="3539881"/>
                </a:lnTo>
                <a:lnTo>
                  <a:pt x="2828534" y="3565708"/>
                </a:lnTo>
                <a:lnTo>
                  <a:pt x="2775821" y="3606830"/>
                </a:lnTo>
                <a:lnTo>
                  <a:pt x="2752301" y="3626359"/>
                </a:lnTo>
                <a:lnTo>
                  <a:pt x="2739383" y="3635254"/>
                </a:lnTo>
                <a:lnTo>
                  <a:pt x="2714285" y="3654833"/>
                </a:lnTo>
                <a:lnTo>
                  <a:pt x="2650942" y="3696165"/>
                </a:lnTo>
                <a:lnTo>
                  <a:pt x="2624716" y="3714229"/>
                </a:lnTo>
                <a:lnTo>
                  <a:pt x="2614117" y="3720193"/>
                </a:lnTo>
                <a:lnTo>
                  <a:pt x="2592607" y="3734229"/>
                </a:lnTo>
                <a:lnTo>
                  <a:pt x="2516709" y="3775026"/>
                </a:lnTo>
                <a:lnTo>
                  <a:pt x="2489165" y="3790531"/>
                </a:lnTo>
                <a:lnTo>
                  <a:pt x="2481322" y="3794047"/>
                </a:lnTo>
                <a:lnTo>
                  <a:pt x="2464088" y="3803311"/>
                </a:lnTo>
                <a:lnTo>
                  <a:pt x="2371745" y="3843173"/>
                </a:lnTo>
                <a:lnTo>
                  <a:pt x="2346361" y="3854554"/>
                </a:lnTo>
                <a:lnTo>
                  <a:pt x="2341666" y="3856159"/>
                </a:lnTo>
                <a:lnTo>
                  <a:pt x="2329311" y="3861493"/>
                </a:lnTo>
                <a:lnTo>
                  <a:pt x="2208945" y="3901511"/>
                </a:lnTo>
                <a:lnTo>
                  <a:pt x="2197015" y="3905588"/>
                </a:lnTo>
                <a:lnTo>
                  <a:pt x="2195817" y="3905877"/>
                </a:lnTo>
                <a:lnTo>
                  <a:pt x="2188863" y="3908188"/>
                </a:lnTo>
                <a:cubicBezTo>
                  <a:pt x="2093469" y="3935361"/>
                  <a:pt x="1994687" y="3954486"/>
                  <a:pt x="1893294" y="3964784"/>
                </a:cubicBezTo>
                <a:lnTo>
                  <a:pt x="1886580" y="3965122"/>
                </a:lnTo>
                <a:lnTo>
                  <a:pt x="1881540" y="3965842"/>
                </a:lnTo>
                <a:lnTo>
                  <a:pt x="1798469" y="3969777"/>
                </a:lnTo>
                <a:lnTo>
                  <a:pt x="1798469" y="3973641"/>
                </a:lnTo>
                <a:lnTo>
                  <a:pt x="1717877" y="3973641"/>
                </a:lnTo>
                <a:lnTo>
                  <a:pt x="1717860" y="3973642"/>
                </a:lnTo>
                <a:lnTo>
                  <a:pt x="1717844" y="3973641"/>
                </a:lnTo>
                <a:lnTo>
                  <a:pt x="1716833" y="3973641"/>
                </a:lnTo>
                <a:lnTo>
                  <a:pt x="2030" y="3973641"/>
                </a:lnTo>
                <a:lnTo>
                  <a:pt x="2030" y="2348229"/>
                </a:lnTo>
                <a:lnTo>
                  <a:pt x="0" y="2348229"/>
                </a:lnTo>
                <a:lnTo>
                  <a:pt x="0" y="2257298"/>
                </a:lnTo>
                <a:lnTo>
                  <a:pt x="0" y="2033495"/>
                </a:lnTo>
                <a:lnTo>
                  <a:pt x="0" y="1928661"/>
                </a:lnTo>
                <a:lnTo>
                  <a:pt x="0" y="1742298"/>
                </a:lnTo>
                <a:lnTo>
                  <a:pt x="0" y="1716345"/>
                </a:lnTo>
                <a:lnTo>
                  <a:pt x="2050" y="1716345"/>
                </a:lnTo>
                <a:lnTo>
                  <a:pt x="2050" y="1715831"/>
                </a:lnTo>
                <a:lnTo>
                  <a:pt x="2050" y="1693813"/>
                </a:lnTo>
                <a:lnTo>
                  <a:pt x="2050" y="1625413"/>
                </a:lnTo>
                <a:lnTo>
                  <a:pt x="6332" y="1625413"/>
                </a:lnTo>
                <a:lnTo>
                  <a:pt x="9844" y="1551223"/>
                </a:lnTo>
                <a:lnTo>
                  <a:pt x="10737" y="1544843"/>
                </a:lnTo>
                <a:lnTo>
                  <a:pt x="10915" y="1541320"/>
                </a:lnTo>
                <a:lnTo>
                  <a:pt x="15915" y="1507860"/>
                </a:lnTo>
                <a:lnTo>
                  <a:pt x="30891" y="1400891"/>
                </a:lnTo>
                <a:lnTo>
                  <a:pt x="33737" y="1388588"/>
                </a:lnTo>
                <a:lnTo>
                  <a:pt x="34819" y="1381342"/>
                </a:lnTo>
                <a:lnTo>
                  <a:pt x="44066" y="1343936"/>
                </a:lnTo>
                <a:lnTo>
                  <a:pt x="64635" y="1255017"/>
                </a:lnTo>
                <a:lnTo>
                  <a:pt x="70493" y="1237029"/>
                </a:lnTo>
                <a:lnTo>
                  <a:pt x="73088" y="1226531"/>
                </a:lnTo>
                <a:lnTo>
                  <a:pt x="85564" y="1190746"/>
                </a:lnTo>
                <a:lnTo>
                  <a:pt x="110492" y="1114188"/>
                </a:lnTo>
                <a:lnTo>
                  <a:pt x="120353" y="1090957"/>
                </a:lnTo>
                <a:lnTo>
                  <a:pt x="125010" y="1077600"/>
                </a:lnTo>
                <a:lnTo>
                  <a:pt x="139776" y="1045196"/>
                </a:lnTo>
                <a:lnTo>
                  <a:pt x="167877" y="978988"/>
                </a:lnTo>
                <a:lnTo>
                  <a:pt x="182682" y="951041"/>
                </a:lnTo>
                <a:lnTo>
                  <a:pt x="189874" y="935257"/>
                </a:lnTo>
                <a:lnTo>
                  <a:pt x="206073" y="906886"/>
                </a:lnTo>
                <a:lnTo>
                  <a:pt x="236202" y="850005"/>
                </a:lnTo>
                <a:lnTo>
                  <a:pt x="256849" y="817942"/>
                </a:lnTo>
                <a:lnTo>
                  <a:pt x="266970" y="800216"/>
                </a:lnTo>
                <a:lnTo>
                  <a:pt x="283813" y="776072"/>
                </a:lnTo>
                <a:lnTo>
                  <a:pt x="314883" y="727822"/>
                </a:lnTo>
                <a:lnTo>
                  <a:pt x="342236" y="692324"/>
                </a:lnTo>
                <a:lnTo>
                  <a:pt x="355585" y="673187"/>
                </a:lnTo>
                <a:lnTo>
                  <a:pt x="372360" y="653227"/>
                </a:lnTo>
                <a:lnTo>
                  <a:pt x="403336" y="613025"/>
                </a:lnTo>
                <a:lnTo>
                  <a:pt x="438238" y="574838"/>
                </a:lnTo>
                <a:lnTo>
                  <a:pt x="455009" y="554882"/>
                </a:lnTo>
                <a:lnTo>
                  <a:pt x="471068" y="538919"/>
                </a:lnTo>
                <a:lnTo>
                  <a:pt x="500972" y="506200"/>
                </a:lnTo>
                <a:lnTo>
                  <a:pt x="544295" y="466127"/>
                </a:lnTo>
                <a:lnTo>
                  <a:pt x="564532" y="446010"/>
                </a:lnTo>
                <a:lnTo>
                  <a:pt x="579286" y="433761"/>
                </a:lnTo>
                <a:lnTo>
                  <a:pt x="607207" y="407933"/>
                </a:lnTo>
                <a:lnTo>
                  <a:pt x="659921" y="366813"/>
                </a:lnTo>
                <a:lnTo>
                  <a:pt x="683442" y="347283"/>
                </a:lnTo>
                <a:lnTo>
                  <a:pt x="696358" y="338388"/>
                </a:lnTo>
                <a:lnTo>
                  <a:pt x="721457" y="318809"/>
                </a:lnTo>
                <a:lnTo>
                  <a:pt x="784800" y="277477"/>
                </a:lnTo>
                <a:lnTo>
                  <a:pt x="811027" y="259414"/>
                </a:lnTo>
                <a:lnTo>
                  <a:pt x="821625" y="253449"/>
                </a:lnTo>
                <a:lnTo>
                  <a:pt x="843135" y="239414"/>
                </a:lnTo>
                <a:lnTo>
                  <a:pt x="919033" y="198616"/>
                </a:lnTo>
                <a:lnTo>
                  <a:pt x="946577" y="183112"/>
                </a:lnTo>
                <a:lnTo>
                  <a:pt x="954420" y="179595"/>
                </a:lnTo>
                <a:lnTo>
                  <a:pt x="971655" y="170331"/>
                </a:lnTo>
                <a:lnTo>
                  <a:pt x="1063997" y="130469"/>
                </a:lnTo>
                <a:lnTo>
                  <a:pt x="1089381" y="119088"/>
                </a:lnTo>
                <a:lnTo>
                  <a:pt x="1094076" y="117484"/>
                </a:lnTo>
                <a:lnTo>
                  <a:pt x="1106431" y="112150"/>
                </a:lnTo>
                <a:lnTo>
                  <a:pt x="1226798" y="72132"/>
                </a:lnTo>
                <a:lnTo>
                  <a:pt x="1238727" y="68054"/>
                </a:lnTo>
                <a:lnTo>
                  <a:pt x="1239925" y="67765"/>
                </a:lnTo>
                <a:lnTo>
                  <a:pt x="1246879" y="65454"/>
                </a:lnTo>
                <a:cubicBezTo>
                  <a:pt x="1342272" y="38282"/>
                  <a:pt x="1441055" y="19156"/>
                  <a:pt x="1542447" y="8859"/>
                </a:cubicBezTo>
                <a:lnTo>
                  <a:pt x="1549163" y="8521"/>
                </a:lnTo>
                <a:lnTo>
                  <a:pt x="1554203" y="7799"/>
                </a:lnTo>
                <a:lnTo>
                  <a:pt x="1637273" y="3866"/>
                </a:lnTo>
                <a:lnTo>
                  <a:pt x="1637273" y="1"/>
                </a:lnTo>
                <a:lnTo>
                  <a:pt x="1717865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947E5EA-7CD1-4AB9-8BF8-88EC6942AE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24250" y="264796"/>
            <a:ext cx="3203851" cy="6328408"/>
          </a:xfrm>
          <a:custGeom>
            <a:avLst/>
            <a:gdLst>
              <a:gd name="connsiteX0" fmla="*/ 1601915 w 3203851"/>
              <a:gd name="connsiteY0" fmla="*/ 0 h 6328408"/>
              <a:gd name="connsiteX1" fmla="*/ 1601931 w 3203851"/>
              <a:gd name="connsiteY1" fmla="*/ 1 h 6328408"/>
              <a:gd name="connsiteX2" fmla="*/ 1677083 w 3203851"/>
              <a:gd name="connsiteY2" fmla="*/ 1 h 6328408"/>
              <a:gd name="connsiteX3" fmla="*/ 1677083 w 3203851"/>
              <a:gd name="connsiteY3" fmla="*/ 3604 h 6328408"/>
              <a:gd name="connsiteX4" fmla="*/ 1754548 w 3203851"/>
              <a:gd name="connsiteY4" fmla="*/ 7273 h 6328408"/>
              <a:gd name="connsiteX5" fmla="*/ 1759248 w 3203851"/>
              <a:gd name="connsiteY5" fmla="*/ 7945 h 6328408"/>
              <a:gd name="connsiteX6" fmla="*/ 1765508 w 3203851"/>
              <a:gd name="connsiteY6" fmla="*/ 8260 h 6328408"/>
              <a:gd name="connsiteX7" fmla="*/ 2041128 w 3203851"/>
              <a:gd name="connsiteY7" fmla="*/ 61036 h 6328408"/>
              <a:gd name="connsiteX8" fmla="*/ 2047613 w 3203851"/>
              <a:gd name="connsiteY8" fmla="*/ 63191 h 6328408"/>
              <a:gd name="connsiteX9" fmla="*/ 2048730 w 3203851"/>
              <a:gd name="connsiteY9" fmla="*/ 63461 h 6328408"/>
              <a:gd name="connsiteX10" fmla="*/ 2059855 w 3203851"/>
              <a:gd name="connsiteY10" fmla="*/ 67262 h 6328408"/>
              <a:gd name="connsiteX11" fmla="*/ 2172097 w 3203851"/>
              <a:gd name="connsiteY11" fmla="*/ 104580 h 6328408"/>
              <a:gd name="connsiteX12" fmla="*/ 2183618 w 3203851"/>
              <a:gd name="connsiteY12" fmla="*/ 109554 h 6328408"/>
              <a:gd name="connsiteX13" fmla="*/ 2187996 w 3203851"/>
              <a:gd name="connsiteY13" fmla="*/ 111050 h 6328408"/>
              <a:gd name="connsiteX14" fmla="*/ 2211667 w 3203851"/>
              <a:gd name="connsiteY14" fmla="*/ 121663 h 6328408"/>
              <a:gd name="connsiteX15" fmla="*/ 2297777 w 3203851"/>
              <a:gd name="connsiteY15" fmla="*/ 158835 h 6328408"/>
              <a:gd name="connsiteX16" fmla="*/ 2313848 w 3203851"/>
              <a:gd name="connsiteY16" fmla="*/ 167473 h 6328408"/>
              <a:gd name="connsiteX17" fmla="*/ 2321162 w 3203851"/>
              <a:gd name="connsiteY17" fmla="*/ 170752 h 6328408"/>
              <a:gd name="connsiteX18" fmla="*/ 2346847 w 3203851"/>
              <a:gd name="connsiteY18" fmla="*/ 185211 h 6328408"/>
              <a:gd name="connsiteX19" fmla="*/ 2417622 w 3203851"/>
              <a:gd name="connsiteY19" fmla="*/ 223254 h 6328408"/>
              <a:gd name="connsiteX20" fmla="*/ 2437680 w 3203851"/>
              <a:gd name="connsiteY20" fmla="*/ 236343 h 6328408"/>
              <a:gd name="connsiteX21" fmla="*/ 2447564 w 3203851"/>
              <a:gd name="connsiteY21" fmla="*/ 241904 h 6328408"/>
              <a:gd name="connsiteX22" fmla="*/ 2472020 w 3203851"/>
              <a:gd name="connsiteY22" fmla="*/ 258749 h 6328408"/>
              <a:gd name="connsiteX23" fmla="*/ 2531088 w 3203851"/>
              <a:gd name="connsiteY23" fmla="*/ 297291 h 6328408"/>
              <a:gd name="connsiteX24" fmla="*/ 2554492 w 3203851"/>
              <a:gd name="connsiteY24" fmla="*/ 315549 h 6328408"/>
              <a:gd name="connsiteX25" fmla="*/ 2566538 w 3203851"/>
              <a:gd name="connsiteY25" fmla="*/ 323843 h 6328408"/>
              <a:gd name="connsiteX26" fmla="*/ 2588470 w 3203851"/>
              <a:gd name="connsiteY26" fmla="*/ 342054 h 6328408"/>
              <a:gd name="connsiteX27" fmla="*/ 2637626 w 3203851"/>
              <a:gd name="connsiteY27" fmla="*/ 380401 h 6328408"/>
              <a:gd name="connsiteX28" fmla="*/ 2663663 w 3203851"/>
              <a:gd name="connsiteY28" fmla="*/ 404485 h 6328408"/>
              <a:gd name="connsiteX29" fmla="*/ 2677421 w 3203851"/>
              <a:gd name="connsiteY29" fmla="*/ 415907 h 6328408"/>
              <a:gd name="connsiteX30" fmla="*/ 2696292 w 3203851"/>
              <a:gd name="connsiteY30" fmla="*/ 434665 h 6328408"/>
              <a:gd name="connsiteX31" fmla="*/ 2736691 w 3203851"/>
              <a:gd name="connsiteY31" fmla="*/ 472035 h 6328408"/>
              <a:gd name="connsiteX32" fmla="*/ 2764577 w 3203851"/>
              <a:gd name="connsiteY32" fmla="*/ 502545 h 6328408"/>
              <a:gd name="connsiteX33" fmla="*/ 2779552 w 3203851"/>
              <a:gd name="connsiteY33" fmla="*/ 517430 h 6328408"/>
              <a:gd name="connsiteX34" fmla="*/ 2795191 w 3203851"/>
              <a:gd name="connsiteY34" fmla="*/ 536039 h 6328408"/>
              <a:gd name="connsiteX35" fmla="*/ 2827738 w 3203851"/>
              <a:gd name="connsiteY35" fmla="*/ 571650 h 6328408"/>
              <a:gd name="connsiteX36" fmla="*/ 2856623 w 3203851"/>
              <a:gd name="connsiteY36" fmla="*/ 609138 h 6328408"/>
              <a:gd name="connsiteX37" fmla="*/ 2872266 w 3203851"/>
              <a:gd name="connsiteY37" fmla="*/ 627750 h 6328408"/>
              <a:gd name="connsiteX38" fmla="*/ 2884714 w 3203851"/>
              <a:gd name="connsiteY38" fmla="*/ 645596 h 6328408"/>
              <a:gd name="connsiteX39" fmla="*/ 2910220 w 3203851"/>
              <a:gd name="connsiteY39" fmla="*/ 678698 h 6328408"/>
              <a:gd name="connsiteX40" fmla="*/ 2939193 w 3203851"/>
              <a:gd name="connsiteY40" fmla="*/ 723692 h 6328408"/>
              <a:gd name="connsiteX41" fmla="*/ 2954901 w 3203851"/>
              <a:gd name="connsiteY41" fmla="*/ 746206 h 6328408"/>
              <a:gd name="connsiteX42" fmla="*/ 2964338 w 3203851"/>
              <a:gd name="connsiteY42" fmla="*/ 762736 h 6328408"/>
              <a:gd name="connsiteX43" fmla="*/ 2983591 w 3203851"/>
              <a:gd name="connsiteY43" fmla="*/ 792635 h 6328408"/>
              <a:gd name="connsiteX44" fmla="*/ 3011687 w 3203851"/>
              <a:gd name="connsiteY44" fmla="*/ 845676 h 6328408"/>
              <a:gd name="connsiteX45" fmla="*/ 3026792 w 3203851"/>
              <a:gd name="connsiteY45" fmla="*/ 872133 h 6328408"/>
              <a:gd name="connsiteX46" fmla="*/ 3033499 w 3203851"/>
              <a:gd name="connsiteY46" fmla="*/ 886851 h 6328408"/>
              <a:gd name="connsiteX47" fmla="*/ 3047305 w 3203851"/>
              <a:gd name="connsiteY47" fmla="*/ 912913 h 6328408"/>
              <a:gd name="connsiteX48" fmla="*/ 3073509 w 3203851"/>
              <a:gd name="connsiteY48" fmla="*/ 974652 h 6328408"/>
              <a:gd name="connsiteX49" fmla="*/ 3087279 w 3203851"/>
              <a:gd name="connsiteY49" fmla="*/ 1004869 h 6328408"/>
              <a:gd name="connsiteX50" fmla="*/ 3091621 w 3203851"/>
              <a:gd name="connsiteY50" fmla="*/ 1017323 h 6328408"/>
              <a:gd name="connsiteX51" fmla="*/ 3100816 w 3203851"/>
              <a:gd name="connsiteY51" fmla="*/ 1038987 h 6328408"/>
              <a:gd name="connsiteX52" fmla="*/ 3124063 w 3203851"/>
              <a:gd name="connsiteY52" fmla="*/ 1110377 h 6328408"/>
              <a:gd name="connsiteX53" fmla="*/ 3135696 w 3203851"/>
              <a:gd name="connsiteY53" fmla="*/ 1143748 h 6328408"/>
              <a:gd name="connsiteX54" fmla="*/ 3138116 w 3203851"/>
              <a:gd name="connsiteY54" fmla="*/ 1153536 h 6328408"/>
              <a:gd name="connsiteX55" fmla="*/ 3143578 w 3203851"/>
              <a:gd name="connsiteY55" fmla="*/ 1170312 h 6328408"/>
              <a:gd name="connsiteX56" fmla="*/ 3162759 w 3203851"/>
              <a:gd name="connsiteY56" fmla="*/ 1253229 h 6328408"/>
              <a:gd name="connsiteX57" fmla="*/ 3171382 w 3203851"/>
              <a:gd name="connsiteY57" fmla="*/ 1288110 h 6328408"/>
              <a:gd name="connsiteX58" fmla="*/ 3172391 w 3203851"/>
              <a:gd name="connsiteY58" fmla="*/ 1294867 h 6328408"/>
              <a:gd name="connsiteX59" fmla="*/ 3175045 w 3203851"/>
              <a:gd name="connsiteY59" fmla="*/ 1306339 h 6328408"/>
              <a:gd name="connsiteX60" fmla="*/ 3189010 w 3203851"/>
              <a:gd name="connsiteY60" fmla="*/ 1406089 h 6328408"/>
              <a:gd name="connsiteX61" fmla="*/ 3193673 w 3203851"/>
              <a:gd name="connsiteY61" fmla="*/ 1437290 h 6328408"/>
              <a:gd name="connsiteX62" fmla="*/ 3193839 w 3203851"/>
              <a:gd name="connsiteY62" fmla="*/ 1440576 h 6328408"/>
              <a:gd name="connsiteX63" fmla="*/ 3194671 w 3203851"/>
              <a:gd name="connsiteY63" fmla="*/ 1446524 h 6328408"/>
              <a:gd name="connsiteX64" fmla="*/ 3197947 w 3203851"/>
              <a:gd name="connsiteY64" fmla="*/ 1515708 h 6328408"/>
              <a:gd name="connsiteX65" fmla="*/ 3201939 w 3203851"/>
              <a:gd name="connsiteY65" fmla="*/ 1515708 h 6328408"/>
              <a:gd name="connsiteX66" fmla="*/ 3201939 w 3203851"/>
              <a:gd name="connsiteY66" fmla="*/ 1579492 h 6328408"/>
              <a:gd name="connsiteX67" fmla="*/ 3201939 w 3203851"/>
              <a:gd name="connsiteY67" fmla="*/ 1600023 h 6328408"/>
              <a:gd name="connsiteX68" fmla="*/ 3201939 w 3203851"/>
              <a:gd name="connsiteY68" fmla="*/ 1600501 h 6328408"/>
              <a:gd name="connsiteX69" fmla="*/ 3201939 w 3203851"/>
              <a:gd name="connsiteY69" fmla="*/ 1600502 h 6328408"/>
              <a:gd name="connsiteX70" fmla="*/ 3203851 w 3203851"/>
              <a:gd name="connsiteY70" fmla="*/ 1600502 h 6328408"/>
              <a:gd name="connsiteX71" fmla="*/ 3203851 w 3203851"/>
              <a:gd name="connsiteY71" fmla="*/ 1809199 h 6328408"/>
              <a:gd name="connsiteX72" fmla="*/ 3203851 w 3203851"/>
              <a:gd name="connsiteY72" fmla="*/ 1906957 h 6328408"/>
              <a:gd name="connsiteX73" fmla="*/ 3203851 w 3203851"/>
              <a:gd name="connsiteY73" fmla="*/ 2080742 h 6328408"/>
              <a:gd name="connsiteX74" fmla="*/ 3203851 w 3203851"/>
              <a:gd name="connsiteY74" fmla="*/ 2104943 h 6328408"/>
              <a:gd name="connsiteX75" fmla="*/ 3203851 w 3203851"/>
              <a:gd name="connsiteY75" fmla="*/ 2189738 h 6328408"/>
              <a:gd name="connsiteX76" fmla="*/ 3201959 w 3203851"/>
              <a:gd name="connsiteY76" fmla="*/ 2189738 h 6328408"/>
              <a:gd name="connsiteX77" fmla="*/ 3201959 w 3203851"/>
              <a:gd name="connsiteY77" fmla="*/ 2222055 h 6328408"/>
              <a:gd name="connsiteX78" fmla="*/ 1784816 w 3203851"/>
              <a:gd name="connsiteY78" fmla="*/ 2222055 h 6328408"/>
              <a:gd name="connsiteX79" fmla="*/ 2041128 w 3203851"/>
              <a:gd name="connsiteY79" fmla="*/ 2271133 h 6328408"/>
              <a:gd name="connsiteX80" fmla="*/ 2047613 w 3203851"/>
              <a:gd name="connsiteY80" fmla="*/ 2273288 h 6328408"/>
              <a:gd name="connsiteX81" fmla="*/ 2048730 w 3203851"/>
              <a:gd name="connsiteY81" fmla="*/ 2273558 h 6328408"/>
              <a:gd name="connsiteX82" fmla="*/ 2059854 w 3203851"/>
              <a:gd name="connsiteY82" fmla="*/ 2277361 h 6328408"/>
              <a:gd name="connsiteX83" fmla="*/ 2172097 w 3203851"/>
              <a:gd name="connsiteY83" fmla="*/ 2314678 h 6328408"/>
              <a:gd name="connsiteX84" fmla="*/ 2183618 w 3203851"/>
              <a:gd name="connsiteY84" fmla="*/ 2319652 h 6328408"/>
              <a:gd name="connsiteX85" fmla="*/ 2187996 w 3203851"/>
              <a:gd name="connsiteY85" fmla="*/ 2321147 h 6328408"/>
              <a:gd name="connsiteX86" fmla="*/ 2211667 w 3203851"/>
              <a:gd name="connsiteY86" fmla="*/ 2331760 h 6328408"/>
              <a:gd name="connsiteX87" fmla="*/ 2297776 w 3203851"/>
              <a:gd name="connsiteY87" fmla="*/ 2368932 h 6328408"/>
              <a:gd name="connsiteX88" fmla="*/ 2313848 w 3203851"/>
              <a:gd name="connsiteY88" fmla="*/ 2377571 h 6328408"/>
              <a:gd name="connsiteX89" fmla="*/ 2321162 w 3203851"/>
              <a:gd name="connsiteY89" fmla="*/ 2380850 h 6328408"/>
              <a:gd name="connsiteX90" fmla="*/ 2346847 w 3203851"/>
              <a:gd name="connsiteY90" fmla="*/ 2395308 h 6328408"/>
              <a:gd name="connsiteX91" fmla="*/ 2417622 w 3203851"/>
              <a:gd name="connsiteY91" fmla="*/ 2433352 h 6328408"/>
              <a:gd name="connsiteX92" fmla="*/ 2437680 w 3203851"/>
              <a:gd name="connsiteY92" fmla="*/ 2446440 h 6328408"/>
              <a:gd name="connsiteX93" fmla="*/ 2447563 w 3203851"/>
              <a:gd name="connsiteY93" fmla="*/ 2452002 h 6328408"/>
              <a:gd name="connsiteX94" fmla="*/ 2472020 w 3203851"/>
              <a:gd name="connsiteY94" fmla="*/ 2468846 h 6328408"/>
              <a:gd name="connsiteX95" fmla="*/ 2531088 w 3203851"/>
              <a:gd name="connsiteY95" fmla="*/ 2507389 h 6328408"/>
              <a:gd name="connsiteX96" fmla="*/ 2554493 w 3203851"/>
              <a:gd name="connsiteY96" fmla="*/ 2525646 h 6328408"/>
              <a:gd name="connsiteX97" fmla="*/ 2566537 w 3203851"/>
              <a:gd name="connsiteY97" fmla="*/ 2533941 h 6328408"/>
              <a:gd name="connsiteX98" fmla="*/ 2588470 w 3203851"/>
              <a:gd name="connsiteY98" fmla="*/ 2552153 h 6328408"/>
              <a:gd name="connsiteX99" fmla="*/ 2637626 w 3203851"/>
              <a:gd name="connsiteY99" fmla="*/ 2590497 h 6328408"/>
              <a:gd name="connsiteX100" fmla="*/ 2663663 w 3203851"/>
              <a:gd name="connsiteY100" fmla="*/ 2614582 h 6328408"/>
              <a:gd name="connsiteX101" fmla="*/ 2677421 w 3203851"/>
              <a:gd name="connsiteY101" fmla="*/ 2626004 h 6328408"/>
              <a:gd name="connsiteX102" fmla="*/ 2696292 w 3203851"/>
              <a:gd name="connsiteY102" fmla="*/ 2644763 h 6328408"/>
              <a:gd name="connsiteX103" fmla="*/ 2736691 w 3203851"/>
              <a:gd name="connsiteY103" fmla="*/ 2682132 h 6328408"/>
              <a:gd name="connsiteX104" fmla="*/ 2764577 w 3203851"/>
              <a:gd name="connsiteY104" fmla="*/ 2712642 h 6328408"/>
              <a:gd name="connsiteX105" fmla="*/ 2779552 w 3203851"/>
              <a:gd name="connsiteY105" fmla="*/ 2727528 h 6328408"/>
              <a:gd name="connsiteX106" fmla="*/ 2795191 w 3203851"/>
              <a:gd name="connsiteY106" fmla="*/ 2746137 h 6328408"/>
              <a:gd name="connsiteX107" fmla="*/ 2827737 w 3203851"/>
              <a:gd name="connsiteY107" fmla="*/ 2781747 h 6328408"/>
              <a:gd name="connsiteX108" fmla="*/ 2856623 w 3203851"/>
              <a:gd name="connsiteY108" fmla="*/ 2819235 h 6328408"/>
              <a:gd name="connsiteX109" fmla="*/ 2872266 w 3203851"/>
              <a:gd name="connsiteY109" fmla="*/ 2837848 h 6328408"/>
              <a:gd name="connsiteX110" fmla="*/ 2884714 w 3203851"/>
              <a:gd name="connsiteY110" fmla="*/ 2855694 h 6328408"/>
              <a:gd name="connsiteX111" fmla="*/ 2910220 w 3203851"/>
              <a:gd name="connsiteY111" fmla="*/ 2888796 h 6328408"/>
              <a:gd name="connsiteX112" fmla="*/ 2939193 w 3203851"/>
              <a:gd name="connsiteY112" fmla="*/ 2933789 h 6328408"/>
              <a:gd name="connsiteX113" fmla="*/ 2954900 w 3203851"/>
              <a:gd name="connsiteY113" fmla="*/ 2956304 h 6328408"/>
              <a:gd name="connsiteX114" fmla="*/ 2964337 w 3203851"/>
              <a:gd name="connsiteY114" fmla="*/ 2972833 h 6328408"/>
              <a:gd name="connsiteX115" fmla="*/ 2983591 w 3203851"/>
              <a:gd name="connsiteY115" fmla="*/ 3002732 h 6328408"/>
              <a:gd name="connsiteX116" fmla="*/ 3011686 w 3203851"/>
              <a:gd name="connsiteY116" fmla="*/ 3055774 h 6328408"/>
              <a:gd name="connsiteX117" fmla="*/ 3026792 w 3203851"/>
              <a:gd name="connsiteY117" fmla="*/ 3082230 h 6328408"/>
              <a:gd name="connsiteX118" fmla="*/ 3033499 w 3203851"/>
              <a:gd name="connsiteY118" fmla="*/ 3096949 h 6328408"/>
              <a:gd name="connsiteX119" fmla="*/ 3047304 w 3203851"/>
              <a:gd name="connsiteY119" fmla="*/ 3123010 h 6328408"/>
              <a:gd name="connsiteX120" fmla="*/ 3073509 w 3203851"/>
              <a:gd name="connsiteY120" fmla="*/ 3184749 h 6328408"/>
              <a:gd name="connsiteX121" fmla="*/ 3087278 w 3203851"/>
              <a:gd name="connsiteY121" fmla="*/ 3214966 h 6328408"/>
              <a:gd name="connsiteX122" fmla="*/ 3091621 w 3203851"/>
              <a:gd name="connsiteY122" fmla="*/ 3227421 h 6328408"/>
              <a:gd name="connsiteX123" fmla="*/ 3100816 w 3203851"/>
              <a:gd name="connsiteY123" fmla="*/ 3249084 h 6328408"/>
              <a:gd name="connsiteX124" fmla="*/ 3124062 w 3203851"/>
              <a:gd name="connsiteY124" fmla="*/ 3320475 h 6328408"/>
              <a:gd name="connsiteX125" fmla="*/ 3135696 w 3203851"/>
              <a:gd name="connsiteY125" fmla="*/ 3353845 h 6328408"/>
              <a:gd name="connsiteX126" fmla="*/ 3138116 w 3203851"/>
              <a:gd name="connsiteY126" fmla="*/ 3363634 h 6328408"/>
              <a:gd name="connsiteX127" fmla="*/ 3143578 w 3203851"/>
              <a:gd name="connsiteY127" fmla="*/ 3380408 h 6328408"/>
              <a:gd name="connsiteX128" fmla="*/ 3162759 w 3203851"/>
              <a:gd name="connsiteY128" fmla="*/ 3463326 h 6328408"/>
              <a:gd name="connsiteX129" fmla="*/ 3171382 w 3203851"/>
              <a:gd name="connsiteY129" fmla="*/ 3498207 h 6328408"/>
              <a:gd name="connsiteX130" fmla="*/ 3172391 w 3203851"/>
              <a:gd name="connsiteY130" fmla="*/ 3504964 h 6328408"/>
              <a:gd name="connsiteX131" fmla="*/ 3175045 w 3203851"/>
              <a:gd name="connsiteY131" fmla="*/ 3516437 h 6328408"/>
              <a:gd name="connsiteX132" fmla="*/ 3189010 w 3203851"/>
              <a:gd name="connsiteY132" fmla="*/ 3616186 h 6328408"/>
              <a:gd name="connsiteX133" fmla="*/ 3193672 w 3203851"/>
              <a:gd name="connsiteY133" fmla="*/ 3647388 h 6328408"/>
              <a:gd name="connsiteX134" fmla="*/ 3193838 w 3203851"/>
              <a:gd name="connsiteY134" fmla="*/ 3650673 h 6328408"/>
              <a:gd name="connsiteX135" fmla="*/ 3194671 w 3203851"/>
              <a:gd name="connsiteY135" fmla="*/ 3656622 h 6328408"/>
              <a:gd name="connsiteX136" fmla="*/ 3197946 w 3203851"/>
              <a:gd name="connsiteY136" fmla="*/ 3725805 h 6328408"/>
              <a:gd name="connsiteX137" fmla="*/ 3201939 w 3203851"/>
              <a:gd name="connsiteY137" fmla="*/ 3725805 h 6328408"/>
              <a:gd name="connsiteX138" fmla="*/ 3201939 w 3203851"/>
              <a:gd name="connsiteY138" fmla="*/ 3789588 h 6328408"/>
              <a:gd name="connsiteX139" fmla="*/ 3201939 w 3203851"/>
              <a:gd name="connsiteY139" fmla="*/ 3810120 h 6328408"/>
              <a:gd name="connsiteX140" fmla="*/ 3201939 w 3203851"/>
              <a:gd name="connsiteY140" fmla="*/ 3810600 h 6328408"/>
              <a:gd name="connsiteX141" fmla="*/ 3203851 w 3203851"/>
              <a:gd name="connsiteY141" fmla="*/ 3810600 h 6328408"/>
              <a:gd name="connsiteX142" fmla="*/ 3203851 w 3203851"/>
              <a:gd name="connsiteY142" fmla="*/ 3834801 h 6328408"/>
              <a:gd name="connsiteX143" fmla="*/ 3203851 w 3203851"/>
              <a:gd name="connsiteY143" fmla="*/ 4008586 h 6328408"/>
              <a:gd name="connsiteX144" fmla="*/ 3203851 w 3203851"/>
              <a:gd name="connsiteY144" fmla="*/ 4106344 h 6328408"/>
              <a:gd name="connsiteX145" fmla="*/ 3203851 w 3203851"/>
              <a:gd name="connsiteY145" fmla="*/ 4223465 h 6328408"/>
              <a:gd name="connsiteX146" fmla="*/ 3203851 w 3203851"/>
              <a:gd name="connsiteY146" fmla="*/ 4247666 h 6328408"/>
              <a:gd name="connsiteX147" fmla="*/ 3203851 w 3203851"/>
              <a:gd name="connsiteY147" fmla="*/ 4315042 h 6328408"/>
              <a:gd name="connsiteX148" fmla="*/ 3203851 w 3203851"/>
              <a:gd name="connsiteY148" fmla="*/ 4399835 h 6328408"/>
              <a:gd name="connsiteX149" fmla="*/ 3203851 w 3203851"/>
              <a:gd name="connsiteY149" fmla="*/ 4421451 h 6328408"/>
              <a:gd name="connsiteX150" fmla="*/ 3203851 w 3203851"/>
              <a:gd name="connsiteY150" fmla="*/ 4519209 h 6328408"/>
              <a:gd name="connsiteX151" fmla="*/ 3203851 w 3203851"/>
              <a:gd name="connsiteY151" fmla="*/ 4727907 h 6328408"/>
              <a:gd name="connsiteX152" fmla="*/ 3203851 w 3203851"/>
              <a:gd name="connsiteY152" fmla="*/ 4812700 h 6328408"/>
              <a:gd name="connsiteX153" fmla="*/ 3201958 w 3203851"/>
              <a:gd name="connsiteY153" fmla="*/ 4812700 h 6328408"/>
              <a:gd name="connsiteX154" fmla="*/ 3201958 w 3203851"/>
              <a:gd name="connsiteY154" fmla="*/ 5915542 h 6328408"/>
              <a:gd name="connsiteX155" fmla="*/ 3201958 w 3203851"/>
              <a:gd name="connsiteY155" fmla="*/ 6328407 h 6328408"/>
              <a:gd name="connsiteX156" fmla="*/ 1602893 w 3203851"/>
              <a:gd name="connsiteY156" fmla="*/ 6328407 h 6328408"/>
              <a:gd name="connsiteX157" fmla="*/ 1601950 w 3203851"/>
              <a:gd name="connsiteY157" fmla="*/ 6328407 h 6328408"/>
              <a:gd name="connsiteX158" fmla="*/ 1601936 w 3203851"/>
              <a:gd name="connsiteY158" fmla="*/ 6328408 h 6328408"/>
              <a:gd name="connsiteX159" fmla="*/ 1601920 w 3203851"/>
              <a:gd name="connsiteY159" fmla="*/ 6328407 h 6328408"/>
              <a:gd name="connsiteX160" fmla="*/ 1526767 w 3203851"/>
              <a:gd name="connsiteY160" fmla="*/ 6328407 h 6328408"/>
              <a:gd name="connsiteX161" fmla="*/ 1526767 w 3203851"/>
              <a:gd name="connsiteY161" fmla="*/ 6324804 h 6328408"/>
              <a:gd name="connsiteX162" fmla="*/ 1449303 w 3203851"/>
              <a:gd name="connsiteY162" fmla="*/ 6321135 h 6328408"/>
              <a:gd name="connsiteX163" fmla="*/ 1444603 w 3203851"/>
              <a:gd name="connsiteY163" fmla="*/ 6320463 h 6328408"/>
              <a:gd name="connsiteX164" fmla="*/ 1438342 w 3203851"/>
              <a:gd name="connsiteY164" fmla="*/ 6320148 h 6328408"/>
              <a:gd name="connsiteX165" fmla="*/ 1162722 w 3203851"/>
              <a:gd name="connsiteY165" fmla="*/ 6267372 h 6328408"/>
              <a:gd name="connsiteX166" fmla="*/ 1156238 w 3203851"/>
              <a:gd name="connsiteY166" fmla="*/ 6265217 h 6328408"/>
              <a:gd name="connsiteX167" fmla="*/ 1155121 w 3203851"/>
              <a:gd name="connsiteY167" fmla="*/ 6264947 h 6328408"/>
              <a:gd name="connsiteX168" fmla="*/ 1143996 w 3203851"/>
              <a:gd name="connsiteY168" fmla="*/ 6261146 h 6328408"/>
              <a:gd name="connsiteX169" fmla="*/ 1031754 w 3203851"/>
              <a:gd name="connsiteY169" fmla="*/ 6223828 h 6328408"/>
              <a:gd name="connsiteX170" fmla="*/ 1020233 w 3203851"/>
              <a:gd name="connsiteY170" fmla="*/ 6218854 h 6328408"/>
              <a:gd name="connsiteX171" fmla="*/ 1015855 w 3203851"/>
              <a:gd name="connsiteY171" fmla="*/ 6217358 h 6328408"/>
              <a:gd name="connsiteX172" fmla="*/ 992184 w 3203851"/>
              <a:gd name="connsiteY172" fmla="*/ 6206745 h 6328408"/>
              <a:gd name="connsiteX173" fmla="*/ 906073 w 3203851"/>
              <a:gd name="connsiteY173" fmla="*/ 6169573 h 6328408"/>
              <a:gd name="connsiteX174" fmla="*/ 890003 w 3203851"/>
              <a:gd name="connsiteY174" fmla="*/ 6160935 h 6328408"/>
              <a:gd name="connsiteX175" fmla="*/ 882689 w 3203851"/>
              <a:gd name="connsiteY175" fmla="*/ 6157656 h 6328408"/>
              <a:gd name="connsiteX176" fmla="*/ 857004 w 3203851"/>
              <a:gd name="connsiteY176" fmla="*/ 6143197 h 6328408"/>
              <a:gd name="connsiteX177" fmla="*/ 786229 w 3203851"/>
              <a:gd name="connsiteY177" fmla="*/ 6105154 h 6328408"/>
              <a:gd name="connsiteX178" fmla="*/ 766170 w 3203851"/>
              <a:gd name="connsiteY178" fmla="*/ 6092065 h 6328408"/>
              <a:gd name="connsiteX179" fmla="*/ 756287 w 3203851"/>
              <a:gd name="connsiteY179" fmla="*/ 6086504 h 6328408"/>
              <a:gd name="connsiteX180" fmla="*/ 731831 w 3203851"/>
              <a:gd name="connsiteY180" fmla="*/ 6069659 h 6328408"/>
              <a:gd name="connsiteX181" fmla="*/ 672763 w 3203851"/>
              <a:gd name="connsiteY181" fmla="*/ 6031117 h 6328408"/>
              <a:gd name="connsiteX182" fmla="*/ 649359 w 3203851"/>
              <a:gd name="connsiteY182" fmla="*/ 6012859 h 6328408"/>
              <a:gd name="connsiteX183" fmla="*/ 637313 w 3203851"/>
              <a:gd name="connsiteY183" fmla="*/ 6004565 h 6328408"/>
              <a:gd name="connsiteX184" fmla="*/ 615380 w 3203851"/>
              <a:gd name="connsiteY184" fmla="*/ 5986354 h 6328408"/>
              <a:gd name="connsiteX185" fmla="*/ 566225 w 3203851"/>
              <a:gd name="connsiteY185" fmla="*/ 5948007 h 6328408"/>
              <a:gd name="connsiteX186" fmla="*/ 540188 w 3203851"/>
              <a:gd name="connsiteY186" fmla="*/ 5923923 h 6328408"/>
              <a:gd name="connsiteX187" fmla="*/ 526430 w 3203851"/>
              <a:gd name="connsiteY187" fmla="*/ 5912501 h 6328408"/>
              <a:gd name="connsiteX188" fmla="*/ 507558 w 3203851"/>
              <a:gd name="connsiteY188" fmla="*/ 5893743 h 6328408"/>
              <a:gd name="connsiteX189" fmla="*/ 467159 w 3203851"/>
              <a:gd name="connsiteY189" fmla="*/ 5856373 h 6328408"/>
              <a:gd name="connsiteX190" fmla="*/ 439274 w 3203851"/>
              <a:gd name="connsiteY190" fmla="*/ 5825863 h 6328408"/>
              <a:gd name="connsiteX191" fmla="*/ 424299 w 3203851"/>
              <a:gd name="connsiteY191" fmla="*/ 5810978 h 6328408"/>
              <a:gd name="connsiteX192" fmla="*/ 408660 w 3203851"/>
              <a:gd name="connsiteY192" fmla="*/ 5792369 h 6328408"/>
              <a:gd name="connsiteX193" fmla="*/ 376113 w 3203851"/>
              <a:gd name="connsiteY193" fmla="*/ 5756758 h 6328408"/>
              <a:gd name="connsiteX194" fmla="*/ 347228 w 3203851"/>
              <a:gd name="connsiteY194" fmla="*/ 5719270 h 6328408"/>
              <a:gd name="connsiteX195" fmla="*/ 331585 w 3203851"/>
              <a:gd name="connsiteY195" fmla="*/ 5700658 h 6328408"/>
              <a:gd name="connsiteX196" fmla="*/ 319137 w 3203851"/>
              <a:gd name="connsiteY196" fmla="*/ 5682812 h 6328408"/>
              <a:gd name="connsiteX197" fmla="*/ 293630 w 3203851"/>
              <a:gd name="connsiteY197" fmla="*/ 5649710 h 6328408"/>
              <a:gd name="connsiteX198" fmla="*/ 264657 w 3203851"/>
              <a:gd name="connsiteY198" fmla="*/ 5604716 h 6328408"/>
              <a:gd name="connsiteX199" fmla="*/ 248950 w 3203851"/>
              <a:gd name="connsiteY199" fmla="*/ 5582202 h 6328408"/>
              <a:gd name="connsiteX200" fmla="*/ 239513 w 3203851"/>
              <a:gd name="connsiteY200" fmla="*/ 5565672 h 6328408"/>
              <a:gd name="connsiteX201" fmla="*/ 220260 w 3203851"/>
              <a:gd name="connsiteY201" fmla="*/ 5535773 h 6328408"/>
              <a:gd name="connsiteX202" fmla="*/ 192164 w 3203851"/>
              <a:gd name="connsiteY202" fmla="*/ 5482732 h 6328408"/>
              <a:gd name="connsiteX203" fmla="*/ 177059 w 3203851"/>
              <a:gd name="connsiteY203" fmla="*/ 5456275 h 6328408"/>
              <a:gd name="connsiteX204" fmla="*/ 170352 w 3203851"/>
              <a:gd name="connsiteY204" fmla="*/ 5441557 h 6328408"/>
              <a:gd name="connsiteX205" fmla="*/ 156546 w 3203851"/>
              <a:gd name="connsiteY205" fmla="*/ 5415495 h 6328408"/>
              <a:gd name="connsiteX206" fmla="*/ 130342 w 3203851"/>
              <a:gd name="connsiteY206" fmla="*/ 5353756 h 6328408"/>
              <a:gd name="connsiteX207" fmla="*/ 116572 w 3203851"/>
              <a:gd name="connsiteY207" fmla="*/ 5323539 h 6328408"/>
              <a:gd name="connsiteX208" fmla="*/ 112230 w 3203851"/>
              <a:gd name="connsiteY208" fmla="*/ 5311085 h 6328408"/>
              <a:gd name="connsiteX209" fmla="*/ 103034 w 3203851"/>
              <a:gd name="connsiteY209" fmla="*/ 5289421 h 6328408"/>
              <a:gd name="connsiteX210" fmla="*/ 79788 w 3203851"/>
              <a:gd name="connsiteY210" fmla="*/ 5218031 h 6328408"/>
              <a:gd name="connsiteX211" fmla="*/ 68155 w 3203851"/>
              <a:gd name="connsiteY211" fmla="*/ 5184660 h 6328408"/>
              <a:gd name="connsiteX212" fmla="*/ 65735 w 3203851"/>
              <a:gd name="connsiteY212" fmla="*/ 5174872 h 6328408"/>
              <a:gd name="connsiteX213" fmla="*/ 60272 w 3203851"/>
              <a:gd name="connsiteY213" fmla="*/ 5158096 h 6328408"/>
              <a:gd name="connsiteX214" fmla="*/ 41092 w 3203851"/>
              <a:gd name="connsiteY214" fmla="*/ 5075179 h 6328408"/>
              <a:gd name="connsiteX215" fmla="*/ 32469 w 3203851"/>
              <a:gd name="connsiteY215" fmla="*/ 5040298 h 6328408"/>
              <a:gd name="connsiteX216" fmla="*/ 31460 w 3203851"/>
              <a:gd name="connsiteY216" fmla="*/ 5033541 h 6328408"/>
              <a:gd name="connsiteX217" fmla="*/ 28806 w 3203851"/>
              <a:gd name="connsiteY217" fmla="*/ 5022069 h 6328408"/>
              <a:gd name="connsiteX218" fmla="*/ 14841 w 3203851"/>
              <a:gd name="connsiteY218" fmla="*/ 4922319 h 6328408"/>
              <a:gd name="connsiteX219" fmla="*/ 10178 w 3203851"/>
              <a:gd name="connsiteY219" fmla="*/ 4891118 h 6328408"/>
              <a:gd name="connsiteX220" fmla="*/ 10012 w 3203851"/>
              <a:gd name="connsiteY220" fmla="*/ 4887832 h 6328408"/>
              <a:gd name="connsiteX221" fmla="*/ 9179 w 3203851"/>
              <a:gd name="connsiteY221" fmla="*/ 4881884 h 6328408"/>
              <a:gd name="connsiteX222" fmla="*/ 5904 w 3203851"/>
              <a:gd name="connsiteY222" fmla="*/ 4812700 h 6328408"/>
              <a:gd name="connsiteX223" fmla="*/ 1912 w 3203851"/>
              <a:gd name="connsiteY223" fmla="*/ 4812700 h 6328408"/>
              <a:gd name="connsiteX224" fmla="*/ 1912 w 3203851"/>
              <a:gd name="connsiteY224" fmla="*/ 4748916 h 6328408"/>
              <a:gd name="connsiteX225" fmla="*/ 1912 w 3203851"/>
              <a:gd name="connsiteY225" fmla="*/ 4728385 h 6328408"/>
              <a:gd name="connsiteX226" fmla="*/ 1912 w 3203851"/>
              <a:gd name="connsiteY226" fmla="*/ 4727907 h 6328408"/>
              <a:gd name="connsiteX227" fmla="*/ 1912 w 3203851"/>
              <a:gd name="connsiteY227" fmla="*/ 4727906 h 6328408"/>
              <a:gd name="connsiteX228" fmla="*/ 0 w 3203851"/>
              <a:gd name="connsiteY228" fmla="*/ 4727906 h 6328408"/>
              <a:gd name="connsiteX229" fmla="*/ 0 w 3203851"/>
              <a:gd name="connsiteY229" fmla="*/ 4519209 h 6328408"/>
              <a:gd name="connsiteX230" fmla="*/ 0 w 3203851"/>
              <a:gd name="connsiteY230" fmla="*/ 4421451 h 6328408"/>
              <a:gd name="connsiteX231" fmla="*/ 0 w 3203851"/>
              <a:gd name="connsiteY231" fmla="*/ 4315041 h 6328408"/>
              <a:gd name="connsiteX232" fmla="*/ 0 w 3203851"/>
              <a:gd name="connsiteY232" fmla="*/ 4247666 h 6328408"/>
              <a:gd name="connsiteX233" fmla="*/ 0 w 3203851"/>
              <a:gd name="connsiteY233" fmla="*/ 4223465 h 6328408"/>
              <a:gd name="connsiteX234" fmla="*/ 0 w 3203851"/>
              <a:gd name="connsiteY234" fmla="*/ 4138670 h 6328408"/>
              <a:gd name="connsiteX235" fmla="*/ 0 w 3203851"/>
              <a:gd name="connsiteY235" fmla="*/ 4106344 h 6328408"/>
              <a:gd name="connsiteX236" fmla="*/ 0 w 3203851"/>
              <a:gd name="connsiteY236" fmla="*/ 4008586 h 6328408"/>
              <a:gd name="connsiteX237" fmla="*/ 0 w 3203851"/>
              <a:gd name="connsiteY237" fmla="*/ 3834801 h 6328408"/>
              <a:gd name="connsiteX238" fmla="*/ 0 w 3203851"/>
              <a:gd name="connsiteY238" fmla="*/ 3810600 h 6328408"/>
              <a:gd name="connsiteX239" fmla="*/ 0 w 3203851"/>
              <a:gd name="connsiteY239" fmla="*/ 3725805 h 6328408"/>
              <a:gd name="connsiteX240" fmla="*/ 1892 w 3203851"/>
              <a:gd name="connsiteY240" fmla="*/ 3725805 h 6328408"/>
              <a:gd name="connsiteX241" fmla="*/ 1892 w 3203851"/>
              <a:gd name="connsiteY241" fmla="*/ 2622963 h 6328408"/>
              <a:gd name="connsiteX242" fmla="*/ 1892 w 3203851"/>
              <a:gd name="connsiteY242" fmla="*/ 2210098 h 6328408"/>
              <a:gd name="connsiteX243" fmla="*/ 6868 w 3203851"/>
              <a:gd name="connsiteY243" fmla="*/ 2210098 h 6328408"/>
              <a:gd name="connsiteX244" fmla="*/ 5904 w 3203851"/>
              <a:gd name="connsiteY244" fmla="*/ 2189738 h 6328408"/>
              <a:gd name="connsiteX245" fmla="*/ 1911 w 3203851"/>
              <a:gd name="connsiteY245" fmla="*/ 2189738 h 6328408"/>
              <a:gd name="connsiteX246" fmla="*/ 1911 w 3203851"/>
              <a:gd name="connsiteY246" fmla="*/ 2125955 h 6328408"/>
              <a:gd name="connsiteX247" fmla="*/ 1911 w 3203851"/>
              <a:gd name="connsiteY247" fmla="*/ 2105423 h 6328408"/>
              <a:gd name="connsiteX248" fmla="*/ 1911 w 3203851"/>
              <a:gd name="connsiteY248" fmla="*/ 2104943 h 6328408"/>
              <a:gd name="connsiteX249" fmla="*/ 0 w 3203851"/>
              <a:gd name="connsiteY249" fmla="*/ 2104943 h 6328408"/>
              <a:gd name="connsiteX250" fmla="*/ 0 w 3203851"/>
              <a:gd name="connsiteY250" fmla="*/ 2080742 h 6328408"/>
              <a:gd name="connsiteX251" fmla="*/ 0 w 3203851"/>
              <a:gd name="connsiteY251" fmla="*/ 1906957 h 6328408"/>
              <a:gd name="connsiteX252" fmla="*/ 0 w 3203851"/>
              <a:gd name="connsiteY252" fmla="*/ 1809199 h 6328408"/>
              <a:gd name="connsiteX253" fmla="*/ 0 w 3203851"/>
              <a:gd name="connsiteY253" fmla="*/ 1600501 h 6328408"/>
              <a:gd name="connsiteX254" fmla="*/ 0 w 3203851"/>
              <a:gd name="connsiteY254" fmla="*/ 1515708 h 6328408"/>
              <a:gd name="connsiteX255" fmla="*/ 1893 w 3203851"/>
              <a:gd name="connsiteY255" fmla="*/ 1515708 h 6328408"/>
              <a:gd name="connsiteX256" fmla="*/ 1893 w 3203851"/>
              <a:gd name="connsiteY256" fmla="*/ 1 h 6328408"/>
              <a:gd name="connsiteX257" fmla="*/ 1600957 w 3203851"/>
              <a:gd name="connsiteY257" fmla="*/ 1 h 6328408"/>
              <a:gd name="connsiteX258" fmla="*/ 1601900 w 3203851"/>
              <a:gd name="connsiteY258" fmla="*/ 1 h 6328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</a:cxnLst>
            <a:rect l="l" t="t" r="r" b="b"/>
            <a:pathLst>
              <a:path w="3203851" h="6328408">
                <a:moveTo>
                  <a:pt x="1601915" y="0"/>
                </a:moveTo>
                <a:lnTo>
                  <a:pt x="1601931" y="1"/>
                </a:lnTo>
                <a:lnTo>
                  <a:pt x="1677083" y="1"/>
                </a:lnTo>
                <a:lnTo>
                  <a:pt x="1677083" y="3604"/>
                </a:lnTo>
                <a:lnTo>
                  <a:pt x="1754548" y="7273"/>
                </a:lnTo>
                <a:lnTo>
                  <a:pt x="1759248" y="7945"/>
                </a:lnTo>
                <a:lnTo>
                  <a:pt x="1765508" y="8260"/>
                </a:lnTo>
                <a:cubicBezTo>
                  <a:pt x="1860058" y="17863"/>
                  <a:pt x="1952173" y="35697"/>
                  <a:pt x="2041128" y="61036"/>
                </a:cubicBezTo>
                <a:lnTo>
                  <a:pt x="2047613" y="63191"/>
                </a:lnTo>
                <a:lnTo>
                  <a:pt x="2048730" y="63461"/>
                </a:lnTo>
                <a:lnTo>
                  <a:pt x="2059855" y="67262"/>
                </a:lnTo>
                <a:lnTo>
                  <a:pt x="2172097" y="104580"/>
                </a:lnTo>
                <a:lnTo>
                  <a:pt x="2183618" y="109554"/>
                </a:lnTo>
                <a:lnTo>
                  <a:pt x="2187996" y="111050"/>
                </a:lnTo>
                <a:lnTo>
                  <a:pt x="2211667" y="121663"/>
                </a:lnTo>
                <a:lnTo>
                  <a:pt x="2297777" y="158835"/>
                </a:lnTo>
                <a:lnTo>
                  <a:pt x="2313848" y="167473"/>
                </a:lnTo>
                <a:lnTo>
                  <a:pt x="2321162" y="170752"/>
                </a:lnTo>
                <a:lnTo>
                  <a:pt x="2346847" y="185211"/>
                </a:lnTo>
                <a:lnTo>
                  <a:pt x="2417622" y="223254"/>
                </a:lnTo>
                <a:lnTo>
                  <a:pt x="2437680" y="236343"/>
                </a:lnTo>
                <a:lnTo>
                  <a:pt x="2447564" y="241904"/>
                </a:lnTo>
                <a:lnTo>
                  <a:pt x="2472020" y="258749"/>
                </a:lnTo>
                <a:lnTo>
                  <a:pt x="2531088" y="297291"/>
                </a:lnTo>
                <a:lnTo>
                  <a:pt x="2554492" y="315549"/>
                </a:lnTo>
                <a:lnTo>
                  <a:pt x="2566538" y="323843"/>
                </a:lnTo>
                <a:lnTo>
                  <a:pt x="2588470" y="342054"/>
                </a:lnTo>
                <a:lnTo>
                  <a:pt x="2637626" y="380401"/>
                </a:lnTo>
                <a:lnTo>
                  <a:pt x="2663663" y="404485"/>
                </a:lnTo>
                <a:lnTo>
                  <a:pt x="2677421" y="415907"/>
                </a:lnTo>
                <a:lnTo>
                  <a:pt x="2696292" y="434665"/>
                </a:lnTo>
                <a:lnTo>
                  <a:pt x="2736691" y="472035"/>
                </a:lnTo>
                <a:lnTo>
                  <a:pt x="2764577" y="502545"/>
                </a:lnTo>
                <a:lnTo>
                  <a:pt x="2779552" y="517430"/>
                </a:lnTo>
                <a:lnTo>
                  <a:pt x="2795191" y="536039"/>
                </a:lnTo>
                <a:lnTo>
                  <a:pt x="2827738" y="571650"/>
                </a:lnTo>
                <a:lnTo>
                  <a:pt x="2856623" y="609138"/>
                </a:lnTo>
                <a:lnTo>
                  <a:pt x="2872266" y="627750"/>
                </a:lnTo>
                <a:lnTo>
                  <a:pt x="2884714" y="645596"/>
                </a:lnTo>
                <a:lnTo>
                  <a:pt x="2910220" y="678698"/>
                </a:lnTo>
                <a:lnTo>
                  <a:pt x="2939193" y="723692"/>
                </a:lnTo>
                <a:lnTo>
                  <a:pt x="2954901" y="746206"/>
                </a:lnTo>
                <a:lnTo>
                  <a:pt x="2964338" y="762736"/>
                </a:lnTo>
                <a:lnTo>
                  <a:pt x="2983591" y="792635"/>
                </a:lnTo>
                <a:lnTo>
                  <a:pt x="3011687" y="845676"/>
                </a:lnTo>
                <a:lnTo>
                  <a:pt x="3026792" y="872133"/>
                </a:lnTo>
                <a:lnTo>
                  <a:pt x="3033499" y="886851"/>
                </a:lnTo>
                <a:lnTo>
                  <a:pt x="3047305" y="912913"/>
                </a:lnTo>
                <a:lnTo>
                  <a:pt x="3073509" y="974652"/>
                </a:lnTo>
                <a:lnTo>
                  <a:pt x="3087279" y="1004869"/>
                </a:lnTo>
                <a:lnTo>
                  <a:pt x="3091621" y="1017323"/>
                </a:lnTo>
                <a:lnTo>
                  <a:pt x="3100816" y="1038987"/>
                </a:lnTo>
                <a:lnTo>
                  <a:pt x="3124063" y="1110377"/>
                </a:lnTo>
                <a:lnTo>
                  <a:pt x="3135696" y="1143748"/>
                </a:lnTo>
                <a:lnTo>
                  <a:pt x="3138116" y="1153536"/>
                </a:lnTo>
                <a:lnTo>
                  <a:pt x="3143578" y="1170312"/>
                </a:lnTo>
                <a:lnTo>
                  <a:pt x="3162759" y="1253229"/>
                </a:lnTo>
                <a:lnTo>
                  <a:pt x="3171382" y="1288110"/>
                </a:lnTo>
                <a:lnTo>
                  <a:pt x="3172391" y="1294867"/>
                </a:lnTo>
                <a:lnTo>
                  <a:pt x="3175045" y="1306339"/>
                </a:lnTo>
                <a:lnTo>
                  <a:pt x="3189010" y="1406089"/>
                </a:lnTo>
                <a:lnTo>
                  <a:pt x="3193673" y="1437290"/>
                </a:lnTo>
                <a:lnTo>
                  <a:pt x="3193839" y="1440576"/>
                </a:lnTo>
                <a:lnTo>
                  <a:pt x="3194671" y="1446524"/>
                </a:lnTo>
                <a:lnTo>
                  <a:pt x="3197947" y="1515708"/>
                </a:lnTo>
                <a:lnTo>
                  <a:pt x="3201939" y="1515708"/>
                </a:lnTo>
                <a:lnTo>
                  <a:pt x="3201939" y="1579492"/>
                </a:lnTo>
                <a:lnTo>
                  <a:pt x="3201939" y="1600023"/>
                </a:lnTo>
                <a:lnTo>
                  <a:pt x="3201939" y="1600501"/>
                </a:lnTo>
                <a:lnTo>
                  <a:pt x="3201939" y="1600502"/>
                </a:lnTo>
                <a:lnTo>
                  <a:pt x="3203851" y="1600502"/>
                </a:lnTo>
                <a:lnTo>
                  <a:pt x="3203851" y="1809199"/>
                </a:lnTo>
                <a:lnTo>
                  <a:pt x="3203851" y="1906957"/>
                </a:lnTo>
                <a:lnTo>
                  <a:pt x="3203851" y="2080742"/>
                </a:lnTo>
                <a:lnTo>
                  <a:pt x="3203851" y="2104943"/>
                </a:lnTo>
                <a:lnTo>
                  <a:pt x="3203851" y="2189738"/>
                </a:lnTo>
                <a:lnTo>
                  <a:pt x="3201959" y="2189738"/>
                </a:lnTo>
                <a:lnTo>
                  <a:pt x="3201959" y="2222055"/>
                </a:lnTo>
                <a:lnTo>
                  <a:pt x="1784816" y="2222055"/>
                </a:lnTo>
                <a:lnTo>
                  <a:pt x="2041128" y="2271133"/>
                </a:lnTo>
                <a:lnTo>
                  <a:pt x="2047613" y="2273288"/>
                </a:lnTo>
                <a:lnTo>
                  <a:pt x="2048730" y="2273558"/>
                </a:lnTo>
                <a:lnTo>
                  <a:pt x="2059854" y="2277361"/>
                </a:lnTo>
                <a:lnTo>
                  <a:pt x="2172097" y="2314678"/>
                </a:lnTo>
                <a:lnTo>
                  <a:pt x="2183618" y="2319652"/>
                </a:lnTo>
                <a:lnTo>
                  <a:pt x="2187996" y="2321147"/>
                </a:lnTo>
                <a:lnTo>
                  <a:pt x="2211667" y="2331760"/>
                </a:lnTo>
                <a:lnTo>
                  <a:pt x="2297776" y="2368932"/>
                </a:lnTo>
                <a:lnTo>
                  <a:pt x="2313848" y="2377571"/>
                </a:lnTo>
                <a:lnTo>
                  <a:pt x="2321162" y="2380850"/>
                </a:lnTo>
                <a:lnTo>
                  <a:pt x="2346847" y="2395308"/>
                </a:lnTo>
                <a:lnTo>
                  <a:pt x="2417622" y="2433352"/>
                </a:lnTo>
                <a:lnTo>
                  <a:pt x="2437680" y="2446440"/>
                </a:lnTo>
                <a:lnTo>
                  <a:pt x="2447563" y="2452002"/>
                </a:lnTo>
                <a:lnTo>
                  <a:pt x="2472020" y="2468846"/>
                </a:lnTo>
                <a:lnTo>
                  <a:pt x="2531088" y="2507389"/>
                </a:lnTo>
                <a:lnTo>
                  <a:pt x="2554493" y="2525646"/>
                </a:lnTo>
                <a:lnTo>
                  <a:pt x="2566537" y="2533941"/>
                </a:lnTo>
                <a:lnTo>
                  <a:pt x="2588470" y="2552153"/>
                </a:lnTo>
                <a:lnTo>
                  <a:pt x="2637626" y="2590497"/>
                </a:lnTo>
                <a:lnTo>
                  <a:pt x="2663663" y="2614582"/>
                </a:lnTo>
                <a:lnTo>
                  <a:pt x="2677421" y="2626004"/>
                </a:lnTo>
                <a:lnTo>
                  <a:pt x="2696292" y="2644763"/>
                </a:lnTo>
                <a:lnTo>
                  <a:pt x="2736691" y="2682132"/>
                </a:lnTo>
                <a:lnTo>
                  <a:pt x="2764577" y="2712642"/>
                </a:lnTo>
                <a:lnTo>
                  <a:pt x="2779552" y="2727528"/>
                </a:lnTo>
                <a:lnTo>
                  <a:pt x="2795191" y="2746137"/>
                </a:lnTo>
                <a:lnTo>
                  <a:pt x="2827737" y="2781747"/>
                </a:lnTo>
                <a:lnTo>
                  <a:pt x="2856623" y="2819235"/>
                </a:lnTo>
                <a:lnTo>
                  <a:pt x="2872266" y="2837848"/>
                </a:lnTo>
                <a:lnTo>
                  <a:pt x="2884714" y="2855694"/>
                </a:lnTo>
                <a:lnTo>
                  <a:pt x="2910220" y="2888796"/>
                </a:lnTo>
                <a:lnTo>
                  <a:pt x="2939193" y="2933789"/>
                </a:lnTo>
                <a:lnTo>
                  <a:pt x="2954900" y="2956304"/>
                </a:lnTo>
                <a:lnTo>
                  <a:pt x="2964337" y="2972833"/>
                </a:lnTo>
                <a:lnTo>
                  <a:pt x="2983591" y="3002732"/>
                </a:lnTo>
                <a:lnTo>
                  <a:pt x="3011686" y="3055774"/>
                </a:lnTo>
                <a:lnTo>
                  <a:pt x="3026792" y="3082230"/>
                </a:lnTo>
                <a:lnTo>
                  <a:pt x="3033499" y="3096949"/>
                </a:lnTo>
                <a:lnTo>
                  <a:pt x="3047304" y="3123010"/>
                </a:lnTo>
                <a:lnTo>
                  <a:pt x="3073509" y="3184749"/>
                </a:lnTo>
                <a:lnTo>
                  <a:pt x="3087278" y="3214966"/>
                </a:lnTo>
                <a:lnTo>
                  <a:pt x="3091621" y="3227421"/>
                </a:lnTo>
                <a:lnTo>
                  <a:pt x="3100816" y="3249084"/>
                </a:lnTo>
                <a:lnTo>
                  <a:pt x="3124062" y="3320475"/>
                </a:lnTo>
                <a:lnTo>
                  <a:pt x="3135696" y="3353845"/>
                </a:lnTo>
                <a:lnTo>
                  <a:pt x="3138116" y="3363634"/>
                </a:lnTo>
                <a:lnTo>
                  <a:pt x="3143578" y="3380408"/>
                </a:lnTo>
                <a:lnTo>
                  <a:pt x="3162759" y="3463326"/>
                </a:lnTo>
                <a:lnTo>
                  <a:pt x="3171382" y="3498207"/>
                </a:lnTo>
                <a:lnTo>
                  <a:pt x="3172391" y="3504964"/>
                </a:lnTo>
                <a:lnTo>
                  <a:pt x="3175045" y="3516437"/>
                </a:lnTo>
                <a:lnTo>
                  <a:pt x="3189010" y="3616186"/>
                </a:lnTo>
                <a:lnTo>
                  <a:pt x="3193672" y="3647388"/>
                </a:lnTo>
                <a:lnTo>
                  <a:pt x="3193838" y="3650673"/>
                </a:lnTo>
                <a:lnTo>
                  <a:pt x="3194671" y="3656622"/>
                </a:lnTo>
                <a:lnTo>
                  <a:pt x="3197946" y="3725805"/>
                </a:lnTo>
                <a:lnTo>
                  <a:pt x="3201939" y="3725805"/>
                </a:lnTo>
                <a:lnTo>
                  <a:pt x="3201939" y="3789588"/>
                </a:lnTo>
                <a:lnTo>
                  <a:pt x="3201939" y="3810120"/>
                </a:lnTo>
                <a:lnTo>
                  <a:pt x="3201939" y="3810600"/>
                </a:lnTo>
                <a:lnTo>
                  <a:pt x="3203851" y="3810600"/>
                </a:lnTo>
                <a:lnTo>
                  <a:pt x="3203851" y="3834801"/>
                </a:lnTo>
                <a:lnTo>
                  <a:pt x="3203851" y="4008586"/>
                </a:lnTo>
                <a:lnTo>
                  <a:pt x="3203851" y="4106344"/>
                </a:lnTo>
                <a:lnTo>
                  <a:pt x="3203851" y="4223465"/>
                </a:lnTo>
                <a:lnTo>
                  <a:pt x="3203851" y="4247666"/>
                </a:lnTo>
                <a:lnTo>
                  <a:pt x="3203851" y="4315042"/>
                </a:lnTo>
                <a:lnTo>
                  <a:pt x="3203851" y="4399835"/>
                </a:lnTo>
                <a:lnTo>
                  <a:pt x="3203851" y="4421451"/>
                </a:lnTo>
                <a:lnTo>
                  <a:pt x="3203851" y="4519209"/>
                </a:lnTo>
                <a:lnTo>
                  <a:pt x="3203851" y="4727907"/>
                </a:lnTo>
                <a:lnTo>
                  <a:pt x="3203851" y="4812700"/>
                </a:lnTo>
                <a:lnTo>
                  <a:pt x="3201958" y="4812700"/>
                </a:lnTo>
                <a:lnTo>
                  <a:pt x="3201958" y="5915542"/>
                </a:lnTo>
                <a:lnTo>
                  <a:pt x="3201958" y="6328407"/>
                </a:lnTo>
                <a:lnTo>
                  <a:pt x="1602893" y="6328407"/>
                </a:lnTo>
                <a:lnTo>
                  <a:pt x="1601950" y="6328407"/>
                </a:lnTo>
                <a:lnTo>
                  <a:pt x="1601936" y="6328408"/>
                </a:lnTo>
                <a:lnTo>
                  <a:pt x="1601920" y="6328407"/>
                </a:lnTo>
                <a:lnTo>
                  <a:pt x="1526767" y="6328407"/>
                </a:lnTo>
                <a:lnTo>
                  <a:pt x="1526767" y="6324804"/>
                </a:lnTo>
                <a:lnTo>
                  <a:pt x="1449303" y="6321135"/>
                </a:lnTo>
                <a:lnTo>
                  <a:pt x="1444603" y="6320463"/>
                </a:lnTo>
                <a:lnTo>
                  <a:pt x="1438342" y="6320148"/>
                </a:lnTo>
                <a:cubicBezTo>
                  <a:pt x="1343793" y="6310545"/>
                  <a:pt x="1251678" y="6292711"/>
                  <a:pt x="1162722" y="6267372"/>
                </a:cubicBezTo>
                <a:lnTo>
                  <a:pt x="1156238" y="6265217"/>
                </a:lnTo>
                <a:lnTo>
                  <a:pt x="1155121" y="6264947"/>
                </a:lnTo>
                <a:lnTo>
                  <a:pt x="1143996" y="6261146"/>
                </a:lnTo>
                <a:lnTo>
                  <a:pt x="1031754" y="6223828"/>
                </a:lnTo>
                <a:lnTo>
                  <a:pt x="1020233" y="6218854"/>
                </a:lnTo>
                <a:lnTo>
                  <a:pt x="1015855" y="6217358"/>
                </a:lnTo>
                <a:lnTo>
                  <a:pt x="992184" y="6206745"/>
                </a:lnTo>
                <a:lnTo>
                  <a:pt x="906073" y="6169573"/>
                </a:lnTo>
                <a:lnTo>
                  <a:pt x="890003" y="6160935"/>
                </a:lnTo>
                <a:lnTo>
                  <a:pt x="882689" y="6157656"/>
                </a:lnTo>
                <a:lnTo>
                  <a:pt x="857004" y="6143197"/>
                </a:lnTo>
                <a:lnTo>
                  <a:pt x="786229" y="6105154"/>
                </a:lnTo>
                <a:lnTo>
                  <a:pt x="766170" y="6092065"/>
                </a:lnTo>
                <a:lnTo>
                  <a:pt x="756287" y="6086504"/>
                </a:lnTo>
                <a:lnTo>
                  <a:pt x="731831" y="6069659"/>
                </a:lnTo>
                <a:lnTo>
                  <a:pt x="672763" y="6031117"/>
                </a:lnTo>
                <a:lnTo>
                  <a:pt x="649359" y="6012859"/>
                </a:lnTo>
                <a:lnTo>
                  <a:pt x="637313" y="6004565"/>
                </a:lnTo>
                <a:lnTo>
                  <a:pt x="615380" y="5986354"/>
                </a:lnTo>
                <a:lnTo>
                  <a:pt x="566225" y="5948007"/>
                </a:lnTo>
                <a:lnTo>
                  <a:pt x="540188" y="5923923"/>
                </a:lnTo>
                <a:lnTo>
                  <a:pt x="526430" y="5912501"/>
                </a:lnTo>
                <a:lnTo>
                  <a:pt x="507558" y="5893743"/>
                </a:lnTo>
                <a:lnTo>
                  <a:pt x="467159" y="5856373"/>
                </a:lnTo>
                <a:lnTo>
                  <a:pt x="439274" y="5825863"/>
                </a:lnTo>
                <a:lnTo>
                  <a:pt x="424299" y="5810978"/>
                </a:lnTo>
                <a:lnTo>
                  <a:pt x="408660" y="5792369"/>
                </a:lnTo>
                <a:lnTo>
                  <a:pt x="376113" y="5756758"/>
                </a:lnTo>
                <a:lnTo>
                  <a:pt x="347228" y="5719270"/>
                </a:lnTo>
                <a:lnTo>
                  <a:pt x="331585" y="5700658"/>
                </a:lnTo>
                <a:lnTo>
                  <a:pt x="319137" y="5682812"/>
                </a:lnTo>
                <a:lnTo>
                  <a:pt x="293630" y="5649710"/>
                </a:lnTo>
                <a:lnTo>
                  <a:pt x="264657" y="5604716"/>
                </a:lnTo>
                <a:lnTo>
                  <a:pt x="248950" y="5582202"/>
                </a:lnTo>
                <a:lnTo>
                  <a:pt x="239513" y="5565672"/>
                </a:lnTo>
                <a:lnTo>
                  <a:pt x="220260" y="5535773"/>
                </a:lnTo>
                <a:lnTo>
                  <a:pt x="192164" y="5482732"/>
                </a:lnTo>
                <a:lnTo>
                  <a:pt x="177059" y="5456275"/>
                </a:lnTo>
                <a:lnTo>
                  <a:pt x="170352" y="5441557"/>
                </a:lnTo>
                <a:lnTo>
                  <a:pt x="156546" y="5415495"/>
                </a:lnTo>
                <a:lnTo>
                  <a:pt x="130342" y="5353756"/>
                </a:lnTo>
                <a:lnTo>
                  <a:pt x="116572" y="5323539"/>
                </a:lnTo>
                <a:lnTo>
                  <a:pt x="112230" y="5311085"/>
                </a:lnTo>
                <a:lnTo>
                  <a:pt x="103034" y="5289421"/>
                </a:lnTo>
                <a:lnTo>
                  <a:pt x="79788" y="5218031"/>
                </a:lnTo>
                <a:lnTo>
                  <a:pt x="68155" y="5184660"/>
                </a:lnTo>
                <a:lnTo>
                  <a:pt x="65735" y="5174872"/>
                </a:lnTo>
                <a:lnTo>
                  <a:pt x="60272" y="5158096"/>
                </a:lnTo>
                <a:lnTo>
                  <a:pt x="41092" y="5075179"/>
                </a:lnTo>
                <a:lnTo>
                  <a:pt x="32469" y="5040298"/>
                </a:lnTo>
                <a:lnTo>
                  <a:pt x="31460" y="5033541"/>
                </a:lnTo>
                <a:lnTo>
                  <a:pt x="28806" y="5022069"/>
                </a:lnTo>
                <a:lnTo>
                  <a:pt x="14841" y="4922319"/>
                </a:lnTo>
                <a:lnTo>
                  <a:pt x="10178" y="4891118"/>
                </a:lnTo>
                <a:lnTo>
                  <a:pt x="10012" y="4887832"/>
                </a:lnTo>
                <a:lnTo>
                  <a:pt x="9179" y="4881884"/>
                </a:lnTo>
                <a:lnTo>
                  <a:pt x="5904" y="4812700"/>
                </a:lnTo>
                <a:lnTo>
                  <a:pt x="1912" y="4812700"/>
                </a:lnTo>
                <a:lnTo>
                  <a:pt x="1912" y="4748916"/>
                </a:lnTo>
                <a:lnTo>
                  <a:pt x="1912" y="4728385"/>
                </a:lnTo>
                <a:lnTo>
                  <a:pt x="1912" y="4727907"/>
                </a:lnTo>
                <a:lnTo>
                  <a:pt x="1912" y="4727906"/>
                </a:lnTo>
                <a:lnTo>
                  <a:pt x="0" y="4727906"/>
                </a:lnTo>
                <a:lnTo>
                  <a:pt x="0" y="4519209"/>
                </a:lnTo>
                <a:lnTo>
                  <a:pt x="0" y="4421451"/>
                </a:lnTo>
                <a:lnTo>
                  <a:pt x="0" y="4315041"/>
                </a:lnTo>
                <a:lnTo>
                  <a:pt x="0" y="4247666"/>
                </a:lnTo>
                <a:lnTo>
                  <a:pt x="0" y="4223465"/>
                </a:lnTo>
                <a:lnTo>
                  <a:pt x="0" y="4138670"/>
                </a:lnTo>
                <a:lnTo>
                  <a:pt x="0" y="4106344"/>
                </a:lnTo>
                <a:lnTo>
                  <a:pt x="0" y="4008586"/>
                </a:lnTo>
                <a:lnTo>
                  <a:pt x="0" y="3834801"/>
                </a:lnTo>
                <a:lnTo>
                  <a:pt x="0" y="3810600"/>
                </a:lnTo>
                <a:lnTo>
                  <a:pt x="0" y="3725805"/>
                </a:lnTo>
                <a:lnTo>
                  <a:pt x="1892" y="3725805"/>
                </a:lnTo>
                <a:lnTo>
                  <a:pt x="1892" y="2622963"/>
                </a:lnTo>
                <a:lnTo>
                  <a:pt x="1892" y="2210098"/>
                </a:lnTo>
                <a:lnTo>
                  <a:pt x="6868" y="2210098"/>
                </a:lnTo>
                <a:lnTo>
                  <a:pt x="5904" y="2189738"/>
                </a:lnTo>
                <a:lnTo>
                  <a:pt x="1911" y="2189738"/>
                </a:lnTo>
                <a:lnTo>
                  <a:pt x="1911" y="2125955"/>
                </a:lnTo>
                <a:lnTo>
                  <a:pt x="1911" y="2105423"/>
                </a:lnTo>
                <a:lnTo>
                  <a:pt x="1911" y="2104943"/>
                </a:lnTo>
                <a:lnTo>
                  <a:pt x="0" y="2104943"/>
                </a:lnTo>
                <a:lnTo>
                  <a:pt x="0" y="2080742"/>
                </a:lnTo>
                <a:lnTo>
                  <a:pt x="0" y="1906957"/>
                </a:lnTo>
                <a:lnTo>
                  <a:pt x="0" y="1809199"/>
                </a:lnTo>
                <a:lnTo>
                  <a:pt x="0" y="1600501"/>
                </a:lnTo>
                <a:lnTo>
                  <a:pt x="0" y="1515708"/>
                </a:lnTo>
                <a:lnTo>
                  <a:pt x="1893" y="1515708"/>
                </a:lnTo>
                <a:lnTo>
                  <a:pt x="1893" y="1"/>
                </a:lnTo>
                <a:lnTo>
                  <a:pt x="1600957" y="1"/>
                </a:lnTo>
                <a:lnTo>
                  <a:pt x="1601900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48909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F148A77-634B-4BCB-AB09-F77C7AE22C7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764009" y="3697260"/>
            <a:ext cx="6064842" cy="2824212"/>
          </a:xfrm>
          <a:custGeom>
            <a:avLst/>
            <a:gdLst>
              <a:gd name="connsiteX0" fmla="*/ 0 w 6064842"/>
              <a:gd name="connsiteY0" fmla="*/ 0 h 2824212"/>
              <a:gd name="connsiteX1" fmla="*/ 670946 w 6064842"/>
              <a:gd name="connsiteY1" fmla="*/ 0 h 2824212"/>
              <a:gd name="connsiteX2" fmla="*/ 708481 w 6064842"/>
              <a:gd name="connsiteY2" fmla="*/ 0 h 2824212"/>
              <a:gd name="connsiteX3" fmla="*/ 1747470 w 6064842"/>
              <a:gd name="connsiteY3" fmla="*/ 0 h 2824212"/>
              <a:gd name="connsiteX4" fmla="*/ 1885136 w 6064842"/>
              <a:gd name="connsiteY4" fmla="*/ 0 h 2824212"/>
              <a:gd name="connsiteX5" fmla="*/ 2189625 w 6064842"/>
              <a:gd name="connsiteY5" fmla="*/ 0 h 2824212"/>
              <a:gd name="connsiteX6" fmla="*/ 2418416 w 6064842"/>
              <a:gd name="connsiteY6" fmla="*/ 0 h 2824212"/>
              <a:gd name="connsiteX7" fmla="*/ 2455951 w 6064842"/>
              <a:gd name="connsiteY7" fmla="*/ 0 h 2824212"/>
              <a:gd name="connsiteX8" fmla="*/ 3304400 w 6064842"/>
              <a:gd name="connsiteY8" fmla="*/ 0 h 2824212"/>
              <a:gd name="connsiteX9" fmla="*/ 3608890 w 6064842"/>
              <a:gd name="connsiteY9" fmla="*/ 0 h 2824212"/>
              <a:gd name="connsiteX10" fmla="*/ 3632605 w 6064842"/>
              <a:gd name="connsiteY10" fmla="*/ 0 h 2824212"/>
              <a:gd name="connsiteX11" fmla="*/ 3937095 w 6064842"/>
              <a:gd name="connsiteY11" fmla="*/ 0 h 2824212"/>
              <a:gd name="connsiteX12" fmla="*/ 5051870 w 6064842"/>
              <a:gd name="connsiteY12" fmla="*/ 0 h 2824212"/>
              <a:gd name="connsiteX13" fmla="*/ 5356360 w 6064842"/>
              <a:gd name="connsiteY13" fmla="*/ 0 h 2824212"/>
              <a:gd name="connsiteX14" fmla="*/ 5356360 w 6064842"/>
              <a:gd name="connsiteY14" fmla="*/ 930 h 2824212"/>
              <a:gd name="connsiteX15" fmla="*/ 5356361 w 6064842"/>
              <a:gd name="connsiteY15" fmla="*/ 930 h 2824212"/>
              <a:gd name="connsiteX16" fmla="*/ 5356573 w 6064842"/>
              <a:gd name="connsiteY16" fmla="*/ 930 h 2824212"/>
              <a:gd name="connsiteX17" fmla="*/ 5365661 w 6064842"/>
              <a:gd name="connsiteY17" fmla="*/ 930 h 2824212"/>
              <a:gd name="connsiteX18" fmla="*/ 5393896 w 6064842"/>
              <a:gd name="connsiteY18" fmla="*/ 930 h 2824212"/>
              <a:gd name="connsiteX19" fmla="*/ 5393896 w 6064842"/>
              <a:gd name="connsiteY19" fmla="*/ 2870 h 2824212"/>
              <a:gd name="connsiteX20" fmla="*/ 5424521 w 6064842"/>
              <a:gd name="connsiteY20" fmla="*/ 4461 h 2824212"/>
              <a:gd name="connsiteX21" fmla="*/ 5427155 w 6064842"/>
              <a:gd name="connsiteY21" fmla="*/ 4866 h 2824212"/>
              <a:gd name="connsiteX22" fmla="*/ 5428608 w 6064842"/>
              <a:gd name="connsiteY22" fmla="*/ 4946 h 2824212"/>
              <a:gd name="connsiteX23" fmla="*/ 5442420 w 6064842"/>
              <a:gd name="connsiteY23" fmla="*/ 7212 h 2824212"/>
              <a:gd name="connsiteX24" fmla="*/ 5486575 w 6064842"/>
              <a:gd name="connsiteY24" fmla="*/ 13997 h 2824212"/>
              <a:gd name="connsiteX25" fmla="*/ 5491653 w 6064842"/>
              <a:gd name="connsiteY25" fmla="*/ 15287 h 2824212"/>
              <a:gd name="connsiteX26" fmla="*/ 5494644 w 6064842"/>
              <a:gd name="connsiteY26" fmla="*/ 15777 h 2824212"/>
              <a:gd name="connsiteX27" fmla="*/ 5510085 w 6064842"/>
              <a:gd name="connsiteY27" fmla="*/ 19968 h 2824212"/>
              <a:gd name="connsiteX28" fmla="*/ 5546790 w 6064842"/>
              <a:gd name="connsiteY28" fmla="*/ 29287 h 2824212"/>
              <a:gd name="connsiteX29" fmla="*/ 5554216 w 6064842"/>
              <a:gd name="connsiteY29" fmla="*/ 31942 h 2824212"/>
              <a:gd name="connsiteX30" fmla="*/ 5558548 w 6064842"/>
              <a:gd name="connsiteY30" fmla="*/ 33117 h 2824212"/>
              <a:gd name="connsiteX31" fmla="*/ 5573320 w 6064842"/>
              <a:gd name="connsiteY31" fmla="*/ 38769 h 2824212"/>
              <a:gd name="connsiteX32" fmla="*/ 5604922 w 6064842"/>
              <a:gd name="connsiteY32" fmla="*/ 50066 h 2824212"/>
              <a:gd name="connsiteX33" fmla="*/ 5614512 w 6064842"/>
              <a:gd name="connsiteY33" fmla="*/ 54533 h 2824212"/>
              <a:gd name="connsiteX34" fmla="*/ 5620025 w 6064842"/>
              <a:gd name="connsiteY34" fmla="*/ 56644 h 2824212"/>
              <a:gd name="connsiteX35" fmla="*/ 5633401 w 6064842"/>
              <a:gd name="connsiteY35" fmla="*/ 63334 h 2824212"/>
              <a:gd name="connsiteX36" fmla="*/ 5660731 w 6064842"/>
              <a:gd name="connsiteY36" fmla="*/ 76066 h 2824212"/>
              <a:gd name="connsiteX37" fmla="*/ 5672267 w 6064842"/>
              <a:gd name="connsiteY37" fmla="*/ 82775 h 2824212"/>
              <a:gd name="connsiteX38" fmla="*/ 5678782 w 6064842"/>
              <a:gd name="connsiteY38" fmla="*/ 86034 h 2824212"/>
              <a:gd name="connsiteX39" fmla="*/ 5690493 w 6064842"/>
              <a:gd name="connsiteY39" fmla="*/ 93373 h 2824212"/>
              <a:gd name="connsiteX40" fmla="*/ 5713973 w 6064842"/>
              <a:gd name="connsiteY40" fmla="*/ 107025 h 2824212"/>
              <a:gd name="connsiteX41" fmla="*/ 5727208 w 6064842"/>
              <a:gd name="connsiteY41" fmla="*/ 116381 h 2824212"/>
              <a:gd name="connsiteX42" fmla="*/ 5734525 w 6064842"/>
              <a:gd name="connsiteY42" fmla="*/ 120966 h 2824212"/>
              <a:gd name="connsiteX43" fmla="*/ 5744491 w 6064842"/>
              <a:gd name="connsiteY43" fmla="*/ 128598 h 2824212"/>
              <a:gd name="connsiteX44" fmla="*/ 5764408 w 6064842"/>
              <a:gd name="connsiteY44" fmla="*/ 142676 h 2824212"/>
              <a:gd name="connsiteX45" fmla="*/ 5779061 w 6064842"/>
              <a:gd name="connsiteY45" fmla="*/ 155070 h 2824212"/>
              <a:gd name="connsiteX46" fmla="*/ 5786961 w 6064842"/>
              <a:gd name="connsiteY46" fmla="*/ 161118 h 2824212"/>
              <a:gd name="connsiteX47" fmla="*/ 5795200 w 6064842"/>
              <a:gd name="connsiteY47" fmla="*/ 168719 h 2824212"/>
              <a:gd name="connsiteX48" fmla="*/ 5811795 w 6064842"/>
              <a:gd name="connsiteY48" fmla="*/ 182754 h 2824212"/>
              <a:gd name="connsiteX49" fmla="*/ 5827557 w 6064842"/>
              <a:gd name="connsiteY49" fmla="*/ 198569 h 2824212"/>
              <a:gd name="connsiteX50" fmla="*/ 5835795 w 6064842"/>
              <a:gd name="connsiteY50" fmla="*/ 206168 h 2824212"/>
              <a:gd name="connsiteX51" fmla="*/ 5842384 w 6064842"/>
              <a:gd name="connsiteY51" fmla="*/ 213444 h 2824212"/>
              <a:gd name="connsiteX52" fmla="*/ 5855890 w 6064842"/>
              <a:gd name="connsiteY52" fmla="*/ 226994 h 2824212"/>
              <a:gd name="connsiteX53" fmla="*/ 5872433 w 6064842"/>
              <a:gd name="connsiteY53" fmla="*/ 246624 h 2824212"/>
              <a:gd name="connsiteX54" fmla="*/ 5880736 w 6064842"/>
              <a:gd name="connsiteY54" fmla="*/ 255793 h 2824212"/>
              <a:gd name="connsiteX55" fmla="*/ 5885792 w 6064842"/>
              <a:gd name="connsiteY55" fmla="*/ 262478 h 2824212"/>
              <a:gd name="connsiteX56" fmla="*/ 5896454 w 6064842"/>
              <a:gd name="connsiteY56" fmla="*/ 275129 h 2824212"/>
              <a:gd name="connsiteX57" fmla="*/ 5913427 w 6064842"/>
              <a:gd name="connsiteY57" fmla="*/ 299015 h 2824212"/>
              <a:gd name="connsiteX58" fmla="*/ 5921489 w 6064842"/>
              <a:gd name="connsiteY58" fmla="*/ 309671 h 2824212"/>
              <a:gd name="connsiteX59" fmla="*/ 5925161 w 6064842"/>
              <a:gd name="connsiteY59" fmla="*/ 315524 h 2824212"/>
              <a:gd name="connsiteX60" fmla="*/ 5933243 w 6064842"/>
              <a:gd name="connsiteY60" fmla="*/ 326896 h 2824212"/>
              <a:gd name="connsiteX61" fmla="*/ 5950304 w 6064842"/>
              <a:gd name="connsiteY61" fmla="*/ 355597 h 2824212"/>
              <a:gd name="connsiteX62" fmla="*/ 5957761 w 6064842"/>
              <a:gd name="connsiteY62" fmla="*/ 367482 h 2824212"/>
              <a:gd name="connsiteX63" fmla="*/ 5960223 w 6064842"/>
              <a:gd name="connsiteY63" fmla="*/ 372282 h 2824212"/>
              <a:gd name="connsiteX64" fmla="*/ 5966016 w 6064842"/>
              <a:gd name="connsiteY64" fmla="*/ 382028 h 2824212"/>
              <a:gd name="connsiteX65" fmla="*/ 5982857 w 6064842"/>
              <a:gd name="connsiteY65" fmla="*/ 416419 h 2824212"/>
              <a:gd name="connsiteX66" fmla="*/ 5989257 w 6064842"/>
              <a:gd name="connsiteY66" fmla="*/ 428899 h 2824212"/>
              <a:gd name="connsiteX67" fmla="*/ 5990707 w 6064842"/>
              <a:gd name="connsiteY67" fmla="*/ 432453 h 2824212"/>
              <a:gd name="connsiteX68" fmla="*/ 5994531 w 6064842"/>
              <a:gd name="connsiteY68" fmla="*/ 440261 h 2824212"/>
              <a:gd name="connsiteX69" fmla="*/ 6010987 w 6064842"/>
              <a:gd name="connsiteY69" fmla="*/ 482102 h 2824212"/>
              <a:gd name="connsiteX70" fmla="*/ 6015685 w 6064842"/>
              <a:gd name="connsiteY70" fmla="*/ 493604 h 2824212"/>
              <a:gd name="connsiteX71" fmla="*/ 6016347 w 6064842"/>
              <a:gd name="connsiteY71" fmla="*/ 495732 h 2824212"/>
              <a:gd name="connsiteX72" fmla="*/ 6018549 w 6064842"/>
              <a:gd name="connsiteY72" fmla="*/ 501331 h 2824212"/>
              <a:gd name="connsiteX73" fmla="*/ 6035067 w 6064842"/>
              <a:gd name="connsiteY73" fmla="*/ 555868 h 2824212"/>
              <a:gd name="connsiteX74" fmla="*/ 6036751 w 6064842"/>
              <a:gd name="connsiteY74" fmla="*/ 561273 h 2824212"/>
              <a:gd name="connsiteX75" fmla="*/ 6036869 w 6064842"/>
              <a:gd name="connsiteY75" fmla="*/ 561817 h 2824212"/>
              <a:gd name="connsiteX76" fmla="*/ 6037825 w 6064842"/>
              <a:gd name="connsiteY76" fmla="*/ 564967 h 2824212"/>
              <a:gd name="connsiteX77" fmla="*/ 6061185 w 6064842"/>
              <a:gd name="connsiteY77" fmla="*/ 698891 h 2824212"/>
              <a:gd name="connsiteX78" fmla="*/ 6061325 w 6064842"/>
              <a:gd name="connsiteY78" fmla="*/ 701933 h 2824212"/>
              <a:gd name="connsiteX79" fmla="*/ 6061623 w 6064842"/>
              <a:gd name="connsiteY79" fmla="*/ 704217 h 2824212"/>
              <a:gd name="connsiteX80" fmla="*/ 6063246 w 6064842"/>
              <a:gd name="connsiteY80" fmla="*/ 741856 h 2824212"/>
              <a:gd name="connsiteX81" fmla="*/ 6064842 w 6064842"/>
              <a:gd name="connsiteY81" fmla="*/ 741856 h 2824212"/>
              <a:gd name="connsiteX82" fmla="*/ 6064842 w 6064842"/>
              <a:gd name="connsiteY82" fmla="*/ 778373 h 2824212"/>
              <a:gd name="connsiteX83" fmla="*/ 6064842 w 6064842"/>
              <a:gd name="connsiteY83" fmla="*/ 778380 h 2824212"/>
              <a:gd name="connsiteX84" fmla="*/ 6064842 w 6064842"/>
              <a:gd name="connsiteY84" fmla="*/ 778388 h 2824212"/>
              <a:gd name="connsiteX85" fmla="*/ 6064842 w 6064842"/>
              <a:gd name="connsiteY85" fmla="*/ 778846 h 2824212"/>
              <a:gd name="connsiteX86" fmla="*/ 6064842 w 6064842"/>
              <a:gd name="connsiteY86" fmla="*/ 786226 h 2824212"/>
              <a:gd name="connsiteX87" fmla="*/ 6064842 w 6064842"/>
              <a:gd name="connsiteY87" fmla="*/ 1259616 h 2824212"/>
              <a:gd name="connsiteX88" fmla="*/ 6064842 w 6064842"/>
              <a:gd name="connsiteY88" fmla="*/ 1564605 h 2824212"/>
              <a:gd name="connsiteX89" fmla="*/ 6064842 w 6064842"/>
              <a:gd name="connsiteY89" fmla="*/ 2045841 h 2824212"/>
              <a:gd name="connsiteX90" fmla="*/ 6064842 w 6064842"/>
              <a:gd name="connsiteY90" fmla="*/ 2824212 h 2824212"/>
              <a:gd name="connsiteX91" fmla="*/ 5393896 w 6064842"/>
              <a:gd name="connsiteY91" fmla="*/ 2824212 h 2824212"/>
              <a:gd name="connsiteX92" fmla="*/ 5356361 w 6064842"/>
              <a:gd name="connsiteY92" fmla="*/ 2824212 h 2824212"/>
              <a:gd name="connsiteX93" fmla="*/ 4645577 w 6064842"/>
              <a:gd name="connsiteY93" fmla="*/ 2824212 h 2824212"/>
              <a:gd name="connsiteX94" fmla="*/ 4317372 w 6064842"/>
              <a:gd name="connsiteY94" fmla="*/ 2824212 h 2824212"/>
              <a:gd name="connsiteX95" fmla="*/ 4179707 w 6064842"/>
              <a:gd name="connsiteY95" fmla="*/ 2824212 h 2824212"/>
              <a:gd name="connsiteX96" fmla="*/ 3974631 w 6064842"/>
              <a:gd name="connsiteY96" fmla="*/ 2824212 h 2824212"/>
              <a:gd name="connsiteX97" fmla="*/ 3937096 w 6064842"/>
              <a:gd name="connsiteY97" fmla="*/ 2824212 h 2824212"/>
              <a:gd name="connsiteX98" fmla="*/ 3875217 w 6064842"/>
              <a:gd name="connsiteY98" fmla="*/ 2824212 h 2824212"/>
              <a:gd name="connsiteX99" fmla="*/ 3646426 w 6064842"/>
              <a:gd name="connsiteY99" fmla="*/ 2824212 h 2824212"/>
              <a:gd name="connsiteX100" fmla="*/ 3608891 w 6064842"/>
              <a:gd name="connsiteY100" fmla="*/ 2824212 h 2824212"/>
              <a:gd name="connsiteX101" fmla="*/ 2898107 w 6064842"/>
              <a:gd name="connsiteY101" fmla="*/ 2824212 h 2824212"/>
              <a:gd name="connsiteX102" fmla="*/ 2760442 w 6064842"/>
              <a:gd name="connsiteY102" fmla="*/ 2824212 h 2824212"/>
              <a:gd name="connsiteX103" fmla="*/ 2455952 w 6064842"/>
              <a:gd name="connsiteY103" fmla="*/ 2824212 h 2824212"/>
              <a:gd name="connsiteX104" fmla="*/ 2432237 w 6064842"/>
              <a:gd name="connsiteY104" fmla="*/ 2824212 h 2824212"/>
              <a:gd name="connsiteX105" fmla="*/ 2227161 w 6064842"/>
              <a:gd name="connsiteY105" fmla="*/ 2824212 h 2824212"/>
              <a:gd name="connsiteX106" fmla="*/ 2189626 w 6064842"/>
              <a:gd name="connsiteY106" fmla="*/ 2824212 h 2824212"/>
              <a:gd name="connsiteX107" fmla="*/ 2127747 w 6064842"/>
              <a:gd name="connsiteY107" fmla="*/ 2824212 h 2824212"/>
              <a:gd name="connsiteX108" fmla="*/ 1012971 w 6064842"/>
              <a:gd name="connsiteY108" fmla="*/ 2824212 h 2824212"/>
              <a:gd name="connsiteX109" fmla="*/ 708482 w 6064842"/>
              <a:gd name="connsiteY109" fmla="*/ 2824212 h 2824212"/>
              <a:gd name="connsiteX110" fmla="*/ 708482 w 6064842"/>
              <a:gd name="connsiteY110" fmla="*/ 2823282 h 2824212"/>
              <a:gd name="connsiteX111" fmla="*/ 708481 w 6064842"/>
              <a:gd name="connsiteY111" fmla="*/ 2823282 h 2824212"/>
              <a:gd name="connsiteX112" fmla="*/ 708269 w 6064842"/>
              <a:gd name="connsiteY112" fmla="*/ 2823282 h 2824212"/>
              <a:gd name="connsiteX113" fmla="*/ 699181 w 6064842"/>
              <a:gd name="connsiteY113" fmla="*/ 2823282 h 2824212"/>
              <a:gd name="connsiteX114" fmla="*/ 670946 w 6064842"/>
              <a:gd name="connsiteY114" fmla="*/ 2823282 h 2824212"/>
              <a:gd name="connsiteX115" fmla="*/ 670946 w 6064842"/>
              <a:gd name="connsiteY115" fmla="*/ 2821342 h 2824212"/>
              <a:gd name="connsiteX116" fmla="*/ 640321 w 6064842"/>
              <a:gd name="connsiteY116" fmla="*/ 2819751 h 2824212"/>
              <a:gd name="connsiteX117" fmla="*/ 637688 w 6064842"/>
              <a:gd name="connsiteY117" fmla="*/ 2819346 h 2824212"/>
              <a:gd name="connsiteX118" fmla="*/ 636234 w 6064842"/>
              <a:gd name="connsiteY118" fmla="*/ 2819266 h 2824212"/>
              <a:gd name="connsiteX119" fmla="*/ 622422 w 6064842"/>
              <a:gd name="connsiteY119" fmla="*/ 2817000 h 2824212"/>
              <a:gd name="connsiteX120" fmla="*/ 578267 w 6064842"/>
              <a:gd name="connsiteY120" fmla="*/ 2810215 h 2824212"/>
              <a:gd name="connsiteX121" fmla="*/ 573188 w 6064842"/>
              <a:gd name="connsiteY121" fmla="*/ 2808925 h 2824212"/>
              <a:gd name="connsiteX122" fmla="*/ 570198 w 6064842"/>
              <a:gd name="connsiteY122" fmla="*/ 2808435 h 2824212"/>
              <a:gd name="connsiteX123" fmla="*/ 554757 w 6064842"/>
              <a:gd name="connsiteY123" fmla="*/ 2804244 h 2824212"/>
              <a:gd name="connsiteX124" fmla="*/ 518052 w 6064842"/>
              <a:gd name="connsiteY124" fmla="*/ 2794925 h 2824212"/>
              <a:gd name="connsiteX125" fmla="*/ 510626 w 6064842"/>
              <a:gd name="connsiteY125" fmla="*/ 2792270 h 2824212"/>
              <a:gd name="connsiteX126" fmla="*/ 506294 w 6064842"/>
              <a:gd name="connsiteY126" fmla="*/ 2791095 h 2824212"/>
              <a:gd name="connsiteX127" fmla="*/ 491522 w 6064842"/>
              <a:gd name="connsiteY127" fmla="*/ 2785443 h 2824212"/>
              <a:gd name="connsiteX128" fmla="*/ 459920 w 6064842"/>
              <a:gd name="connsiteY128" fmla="*/ 2774146 h 2824212"/>
              <a:gd name="connsiteX129" fmla="*/ 450331 w 6064842"/>
              <a:gd name="connsiteY129" fmla="*/ 2769679 h 2824212"/>
              <a:gd name="connsiteX130" fmla="*/ 444817 w 6064842"/>
              <a:gd name="connsiteY130" fmla="*/ 2767568 h 2824212"/>
              <a:gd name="connsiteX131" fmla="*/ 431441 w 6064842"/>
              <a:gd name="connsiteY131" fmla="*/ 2760878 h 2824212"/>
              <a:gd name="connsiteX132" fmla="*/ 404112 w 6064842"/>
              <a:gd name="connsiteY132" fmla="*/ 2748146 h 2824212"/>
              <a:gd name="connsiteX133" fmla="*/ 392575 w 6064842"/>
              <a:gd name="connsiteY133" fmla="*/ 2741437 h 2824212"/>
              <a:gd name="connsiteX134" fmla="*/ 386060 w 6064842"/>
              <a:gd name="connsiteY134" fmla="*/ 2738178 h 2824212"/>
              <a:gd name="connsiteX135" fmla="*/ 374349 w 6064842"/>
              <a:gd name="connsiteY135" fmla="*/ 2730839 h 2824212"/>
              <a:gd name="connsiteX136" fmla="*/ 350870 w 6064842"/>
              <a:gd name="connsiteY136" fmla="*/ 2717187 h 2824212"/>
              <a:gd name="connsiteX137" fmla="*/ 337634 w 6064842"/>
              <a:gd name="connsiteY137" fmla="*/ 2707831 h 2824212"/>
              <a:gd name="connsiteX138" fmla="*/ 330317 w 6064842"/>
              <a:gd name="connsiteY138" fmla="*/ 2703246 h 2824212"/>
              <a:gd name="connsiteX139" fmla="*/ 320351 w 6064842"/>
              <a:gd name="connsiteY139" fmla="*/ 2695614 h 2824212"/>
              <a:gd name="connsiteX140" fmla="*/ 300434 w 6064842"/>
              <a:gd name="connsiteY140" fmla="*/ 2681536 h 2824212"/>
              <a:gd name="connsiteX141" fmla="*/ 285780 w 6064842"/>
              <a:gd name="connsiteY141" fmla="*/ 2669142 h 2824212"/>
              <a:gd name="connsiteX142" fmla="*/ 277881 w 6064842"/>
              <a:gd name="connsiteY142" fmla="*/ 2663094 h 2824212"/>
              <a:gd name="connsiteX143" fmla="*/ 269642 w 6064842"/>
              <a:gd name="connsiteY143" fmla="*/ 2655493 h 2824212"/>
              <a:gd name="connsiteX144" fmla="*/ 253047 w 6064842"/>
              <a:gd name="connsiteY144" fmla="*/ 2641458 h 2824212"/>
              <a:gd name="connsiteX145" fmla="*/ 237284 w 6064842"/>
              <a:gd name="connsiteY145" fmla="*/ 2625643 h 2824212"/>
              <a:gd name="connsiteX146" fmla="*/ 229047 w 6064842"/>
              <a:gd name="connsiteY146" fmla="*/ 2618044 h 2824212"/>
              <a:gd name="connsiteX147" fmla="*/ 222457 w 6064842"/>
              <a:gd name="connsiteY147" fmla="*/ 2610768 h 2824212"/>
              <a:gd name="connsiteX148" fmla="*/ 208952 w 6064842"/>
              <a:gd name="connsiteY148" fmla="*/ 2597218 h 2824212"/>
              <a:gd name="connsiteX149" fmla="*/ 192410 w 6064842"/>
              <a:gd name="connsiteY149" fmla="*/ 2577589 h 2824212"/>
              <a:gd name="connsiteX150" fmla="*/ 184106 w 6064842"/>
              <a:gd name="connsiteY150" fmla="*/ 2568419 h 2824212"/>
              <a:gd name="connsiteX151" fmla="*/ 179049 w 6064842"/>
              <a:gd name="connsiteY151" fmla="*/ 2561734 h 2824212"/>
              <a:gd name="connsiteX152" fmla="*/ 168389 w 6064842"/>
              <a:gd name="connsiteY152" fmla="*/ 2549083 h 2824212"/>
              <a:gd name="connsiteX153" fmla="*/ 151415 w 6064842"/>
              <a:gd name="connsiteY153" fmla="*/ 2525197 h 2824212"/>
              <a:gd name="connsiteX154" fmla="*/ 143353 w 6064842"/>
              <a:gd name="connsiteY154" fmla="*/ 2514541 h 2824212"/>
              <a:gd name="connsiteX155" fmla="*/ 139681 w 6064842"/>
              <a:gd name="connsiteY155" fmla="*/ 2508687 h 2824212"/>
              <a:gd name="connsiteX156" fmla="*/ 131599 w 6064842"/>
              <a:gd name="connsiteY156" fmla="*/ 2497316 h 2824212"/>
              <a:gd name="connsiteX157" fmla="*/ 114539 w 6064842"/>
              <a:gd name="connsiteY157" fmla="*/ 2468615 h 2824212"/>
              <a:gd name="connsiteX158" fmla="*/ 107082 w 6064842"/>
              <a:gd name="connsiteY158" fmla="*/ 2456730 h 2824212"/>
              <a:gd name="connsiteX159" fmla="*/ 104620 w 6064842"/>
              <a:gd name="connsiteY159" fmla="*/ 2451929 h 2824212"/>
              <a:gd name="connsiteX160" fmla="*/ 98826 w 6064842"/>
              <a:gd name="connsiteY160" fmla="*/ 2442184 h 2824212"/>
              <a:gd name="connsiteX161" fmla="*/ 81986 w 6064842"/>
              <a:gd name="connsiteY161" fmla="*/ 2407793 h 2824212"/>
              <a:gd name="connsiteX162" fmla="*/ 75586 w 6064842"/>
              <a:gd name="connsiteY162" fmla="*/ 2395313 h 2824212"/>
              <a:gd name="connsiteX163" fmla="*/ 74134 w 6064842"/>
              <a:gd name="connsiteY163" fmla="*/ 2391759 h 2824212"/>
              <a:gd name="connsiteX164" fmla="*/ 70310 w 6064842"/>
              <a:gd name="connsiteY164" fmla="*/ 2383951 h 2824212"/>
              <a:gd name="connsiteX165" fmla="*/ 53855 w 6064842"/>
              <a:gd name="connsiteY165" fmla="*/ 2342110 h 2824212"/>
              <a:gd name="connsiteX166" fmla="*/ 49158 w 6064842"/>
              <a:gd name="connsiteY166" fmla="*/ 2330608 h 2824212"/>
              <a:gd name="connsiteX167" fmla="*/ 48496 w 6064842"/>
              <a:gd name="connsiteY167" fmla="*/ 2328480 h 2824212"/>
              <a:gd name="connsiteX168" fmla="*/ 46294 w 6064842"/>
              <a:gd name="connsiteY168" fmla="*/ 2322881 h 2824212"/>
              <a:gd name="connsiteX169" fmla="*/ 29774 w 6064842"/>
              <a:gd name="connsiteY169" fmla="*/ 2268344 h 2824212"/>
              <a:gd name="connsiteX170" fmla="*/ 28091 w 6064842"/>
              <a:gd name="connsiteY170" fmla="*/ 2262939 h 2824212"/>
              <a:gd name="connsiteX171" fmla="*/ 27973 w 6064842"/>
              <a:gd name="connsiteY171" fmla="*/ 2262395 h 2824212"/>
              <a:gd name="connsiteX172" fmla="*/ 27018 w 6064842"/>
              <a:gd name="connsiteY172" fmla="*/ 2259244 h 2824212"/>
              <a:gd name="connsiteX173" fmla="*/ 3657 w 6064842"/>
              <a:gd name="connsiteY173" fmla="*/ 2125321 h 2824212"/>
              <a:gd name="connsiteX174" fmla="*/ 3517 w 6064842"/>
              <a:gd name="connsiteY174" fmla="*/ 2122278 h 2824212"/>
              <a:gd name="connsiteX175" fmla="*/ 3219 w 6064842"/>
              <a:gd name="connsiteY175" fmla="*/ 2119995 h 2824212"/>
              <a:gd name="connsiteX176" fmla="*/ 1596 w 6064842"/>
              <a:gd name="connsiteY176" fmla="*/ 2082356 h 2824212"/>
              <a:gd name="connsiteX177" fmla="*/ 1 w 6064842"/>
              <a:gd name="connsiteY177" fmla="*/ 2082356 h 2824212"/>
              <a:gd name="connsiteX178" fmla="*/ 1 w 6064842"/>
              <a:gd name="connsiteY178" fmla="*/ 2045838 h 2824212"/>
              <a:gd name="connsiteX179" fmla="*/ 0 w 6064842"/>
              <a:gd name="connsiteY179" fmla="*/ 2045832 h 2824212"/>
              <a:gd name="connsiteX180" fmla="*/ 1 w 6064842"/>
              <a:gd name="connsiteY180" fmla="*/ 2045824 h 2824212"/>
              <a:gd name="connsiteX181" fmla="*/ 1 w 6064842"/>
              <a:gd name="connsiteY181" fmla="*/ 2045366 h 2824212"/>
              <a:gd name="connsiteX182" fmla="*/ 1 w 6064842"/>
              <a:gd name="connsiteY182" fmla="*/ 2037986 h 2824212"/>
              <a:gd name="connsiteX183" fmla="*/ 0 w 6064842"/>
              <a:gd name="connsiteY183" fmla="*/ 2037986 h 2824212"/>
              <a:gd name="connsiteX184" fmla="*/ 0 w 6064842"/>
              <a:gd name="connsiteY184" fmla="*/ 1564597 h 2824212"/>
              <a:gd name="connsiteX185" fmla="*/ 0 w 6064842"/>
              <a:gd name="connsiteY185" fmla="*/ 1564596 h 2824212"/>
              <a:gd name="connsiteX186" fmla="*/ 0 w 6064842"/>
              <a:gd name="connsiteY186" fmla="*/ 1564595 h 2824212"/>
              <a:gd name="connsiteX187" fmla="*/ 0 w 6064842"/>
              <a:gd name="connsiteY187" fmla="*/ 1259607 h 2824212"/>
              <a:gd name="connsiteX188" fmla="*/ 0 w 6064842"/>
              <a:gd name="connsiteY188" fmla="*/ 778372 h 2824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6064842" h="2824212">
                <a:moveTo>
                  <a:pt x="0" y="0"/>
                </a:moveTo>
                <a:lnTo>
                  <a:pt x="670946" y="0"/>
                </a:lnTo>
                <a:lnTo>
                  <a:pt x="708481" y="0"/>
                </a:lnTo>
                <a:lnTo>
                  <a:pt x="1747470" y="0"/>
                </a:lnTo>
                <a:lnTo>
                  <a:pt x="1885136" y="0"/>
                </a:lnTo>
                <a:lnTo>
                  <a:pt x="2189625" y="0"/>
                </a:lnTo>
                <a:lnTo>
                  <a:pt x="2418416" y="0"/>
                </a:lnTo>
                <a:lnTo>
                  <a:pt x="2455951" y="0"/>
                </a:lnTo>
                <a:lnTo>
                  <a:pt x="3304400" y="0"/>
                </a:lnTo>
                <a:lnTo>
                  <a:pt x="3608890" y="0"/>
                </a:lnTo>
                <a:lnTo>
                  <a:pt x="3632605" y="0"/>
                </a:lnTo>
                <a:lnTo>
                  <a:pt x="3937095" y="0"/>
                </a:lnTo>
                <a:lnTo>
                  <a:pt x="5051870" y="0"/>
                </a:lnTo>
                <a:lnTo>
                  <a:pt x="5356360" y="0"/>
                </a:lnTo>
                <a:lnTo>
                  <a:pt x="5356360" y="930"/>
                </a:lnTo>
                <a:lnTo>
                  <a:pt x="5356361" y="930"/>
                </a:lnTo>
                <a:lnTo>
                  <a:pt x="5356573" y="930"/>
                </a:lnTo>
                <a:lnTo>
                  <a:pt x="5365661" y="930"/>
                </a:lnTo>
                <a:lnTo>
                  <a:pt x="5393896" y="930"/>
                </a:lnTo>
                <a:lnTo>
                  <a:pt x="5393896" y="2870"/>
                </a:lnTo>
                <a:lnTo>
                  <a:pt x="5424521" y="4461"/>
                </a:lnTo>
                <a:lnTo>
                  <a:pt x="5427155" y="4866"/>
                </a:lnTo>
                <a:lnTo>
                  <a:pt x="5428608" y="4946"/>
                </a:lnTo>
                <a:lnTo>
                  <a:pt x="5442420" y="7212"/>
                </a:lnTo>
                <a:lnTo>
                  <a:pt x="5486575" y="13997"/>
                </a:lnTo>
                <a:lnTo>
                  <a:pt x="5491653" y="15287"/>
                </a:lnTo>
                <a:lnTo>
                  <a:pt x="5494644" y="15777"/>
                </a:lnTo>
                <a:lnTo>
                  <a:pt x="5510085" y="19968"/>
                </a:lnTo>
                <a:lnTo>
                  <a:pt x="5546790" y="29287"/>
                </a:lnTo>
                <a:lnTo>
                  <a:pt x="5554216" y="31942"/>
                </a:lnTo>
                <a:lnTo>
                  <a:pt x="5558548" y="33117"/>
                </a:lnTo>
                <a:lnTo>
                  <a:pt x="5573320" y="38769"/>
                </a:lnTo>
                <a:lnTo>
                  <a:pt x="5604922" y="50066"/>
                </a:lnTo>
                <a:lnTo>
                  <a:pt x="5614512" y="54533"/>
                </a:lnTo>
                <a:lnTo>
                  <a:pt x="5620025" y="56644"/>
                </a:lnTo>
                <a:lnTo>
                  <a:pt x="5633401" y="63334"/>
                </a:lnTo>
                <a:lnTo>
                  <a:pt x="5660731" y="76066"/>
                </a:lnTo>
                <a:lnTo>
                  <a:pt x="5672267" y="82775"/>
                </a:lnTo>
                <a:lnTo>
                  <a:pt x="5678782" y="86034"/>
                </a:lnTo>
                <a:lnTo>
                  <a:pt x="5690493" y="93373"/>
                </a:lnTo>
                <a:lnTo>
                  <a:pt x="5713973" y="107025"/>
                </a:lnTo>
                <a:lnTo>
                  <a:pt x="5727208" y="116381"/>
                </a:lnTo>
                <a:lnTo>
                  <a:pt x="5734525" y="120966"/>
                </a:lnTo>
                <a:lnTo>
                  <a:pt x="5744491" y="128598"/>
                </a:lnTo>
                <a:lnTo>
                  <a:pt x="5764408" y="142676"/>
                </a:lnTo>
                <a:lnTo>
                  <a:pt x="5779061" y="155070"/>
                </a:lnTo>
                <a:lnTo>
                  <a:pt x="5786961" y="161118"/>
                </a:lnTo>
                <a:lnTo>
                  <a:pt x="5795200" y="168719"/>
                </a:lnTo>
                <a:lnTo>
                  <a:pt x="5811795" y="182754"/>
                </a:lnTo>
                <a:lnTo>
                  <a:pt x="5827557" y="198569"/>
                </a:lnTo>
                <a:lnTo>
                  <a:pt x="5835795" y="206168"/>
                </a:lnTo>
                <a:lnTo>
                  <a:pt x="5842384" y="213444"/>
                </a:lnTo>
                <a:lnTo>
                  <a:pt x="5855890" y="226994"/>
                </a:lnTo>
                <a:lnTo>
                  <a:pt x="5872433" y="246624"/>
                </a:lnTo>
                <a:lnTo>
                  <a:pt x="5880736" y="255793"/>
                </a:lnTo>
                <a:lnTo>
                  <a:pt x="5885792" y="262478"/>
                </a:lnTo>
                <a:lnTo>
                  <a:pt x="5896454" y="275129"/>
                </a:lnTo>
                <a:lnTo>
                  <a:pt x="5913427" y="299015"/>
                </a:lnTo>
                <a:lnTo>
                  <a:pt x="5921489" y="309671"/>
                </a:lnTo>
                <a:lnTo>
                  <a:pt x="5925161" y="315524"/>
                </a:lnTo>
                <a:lnTo>
                  <a:pt x="5933243" y="326896"/>
                </a:lnTo>
                <a:lnTo>
                  <a:pt x="5950304" y="355597"/>
                </a:lnTo>
                <a:lnTo>
                  <a:pt x="5957761" y="367482"/>
                </a:lnTo>
                <a:lnTo>
                  <a:pt x="5960223" y="372282"/>
                </a:lnTo>
                <a:lnTo>
                  <a:pt x="5966016" y="382028"/>
                </a:lnTo>
                <a:lnTo>
                  <a:pt x="5982857" y="416419"/>
                </a:lnTo>
                <a:lnTo>
                  <a:pt x="5989257" y="428899"/>
                </a:lnTo>
                <a:lnTo>
                  <a:pt x="5990707" y="432453"/>
                </a:lnTo>
                <a:lnTo>
                  <a:pt x="5994531" y="440261"/>
                </a:lnTo>
                <a:lnTo>
                  <a:pt x="6010987" y="482102"/>
                </a:lnTo>
                <a:lnTo>
                  <a:pt x="6015685" y="493604"/>
                </a:lnTo>
                <a:lnTo>
                  <a:pt x="6016347" y="495732"/>
                </a:lnTo>
                <a:lnTo>
                  <a:pt x="6018549" y="501331"/>
                </a:lnTo>
                <a:lnTo>
                  <a:pt x="6035067" y="555868"/>
                </a:lnTo>
                <a:lnTo>
                  <a:pt x="6036751" y="561273"/>
                </a:lnTo>
                <a:lnTo>
                  <a:pt x="6036869" y="561817"/>
                </a:lnTo>
                <a:lnTo>
                  <a:pt x="6037825" y="564967"/>
                </a:lnTo>
                <a:cubicBezTo>
                  <a:pt x="6049041" y="608191"/>
                  <a:pt x="6056935" y="652950"/>
                  <a:pt x="6061185" y="698891"/>
                </a:cubicBezTo>
                <a:lnTo>
                  <a:pt x="6061325" y="701933"/>
                </a:lnTo>
                <a:lnTo>
                  <a:pt x="6061623" y="704217"/>
                </a:lnTo>
                <a:lnTo>
                  <a:pt x="6063246" y="741856"/>
                </a:lnTo>
                <a:lnTo>
                  <a:pt x="6064842" y="741856"/>
                </a:lnTo>
                <a:lnTo>
                  <a:pt x="6064842" y="778373"/>
                </a:lnTo>
                <a:lnTo>
                  <a:pt x="6064842" y="778380"/>
                </a:lnTo>
                <a:lnTo>
                  <a:pt x="6064842" y="778388"/>
                </a:lnTo>
                <a:lnTo>
                  <a:pt x="6064842" y="778846"/>
                </a:lnTo>
                <a:lnTo>
                  <a:pt x="6064842" y="786226"/>
                </a:lnTo>
                <a:lnTo>
                  <a:pt x="6064842" y="1259616"/>
                </a:lnTo>
                <a:lnTo>
                  <a:pt x="6064842" y="1564605"/>
                </a:lnTo>
                <a:lnTo>
                  <a:pt x="6064842" y="2045841"/>
                </a:lnTo>
                <a:lnTo>
                  <a:pt x="6064842" y="2824212"/>
                </a:lnTo>
                <a:lnTo>
                  <a:pt x="5393896" y="2824212"/>
                </a:lnTo>
                <a:lnTo>
                  <a:pt x="5356361" y="2824212"/>
                </a:lnTo>
                <a:lnTo>
                  <a:pt x="4645577" y="2824212"/>
                </a:lnTo>
                <a:lnTo>
                  <a:pt x="4317372" y="2824212"/>
                </a:lnTo>
                <a:lnTo>
                  <a:pt x="4179707" y="2824212"/>
                </a:lnTo>
                <a:lnTo>
                  <a:pt x="3974631" y="2824212"/>
                </a:lnTo>
                <a:lnTo>
                  <a:pt x="3937096" y="2824212"/>
                </a:lnTo>
                <a:lnTo>
                  <a:pt x="3875217" y="2824212"/>
                </a:lnTo>
                <a:lnTo>
                  <a:pt x="3646426" y="2824212"/>
                </a:lnTo>
                <a:lnTo>
                  <a:pt x="3608891" y="2824212"/>
                </a:lnTo>
                <a:lnTo>
                  <a:pt x="2898107" y="2824212"/>
                </a:lnTo>
                <a:lnTo>
                  <a:pt x="2760442" y="2824212"/>
                </a:lnTo>
                <a:lnTo>
                  <a:pt x="2455952" y="2824212"/>
                </a:lnTo>
                <a:lnTo>
                  <a:pt x="2432237" y="2824212"/>
                </a:lnTo>
                <a:lnTo>
                  <a:pt x="2227161" y="2824212"/>
                </a:lnTo>
                <a:lnTo>
                  <a:pt x="2189626" y="2824212"/>
                </a:lnTo>
                <a:lnTo>
                  <a:pt x="2127747" y="2824212"/>
                </a:lnTo>
                <a:lnTo>
                  <a:pt x="1012971" y="2824212"/>
                </a:lnTo>
                <a:lnTo>
                  <a:pt x="708482" y="2824212"/>
                </a:lnTo>
                <a:lnTo>
                  <a:pt x="708482" y="2823282"/>
                </a:lnTo>
                <a:lnTo>
                  <a:pt x="708481" y="2823282"/>
                </a:lnTo>
                <a:lnTo>
                  <a:pt x="708269" y="2823282"/>
                </a:lnTo>
                <a:lnTo>
                  <a:pt x="699181" y="2823282"/>
                </a:lnTo>
                <a:lnTo>
                  <a:pt x="670946" y="2823282"/>
                </a:lnTo>
                <a:lnTo>
                  <a:pt x="670946" y="2821342"/>
                </a:lnTo>
                <a:lnTo>
                  <a:pt x="640321" y="2819751"/>
                </a:lnTo>
                <a:lnTo>
                  <a:pt x="637688" y="2819346"/>
                </a:lnTo>
                <a:lnTo>
                  <a:pt x="636234" y="2819266"/>
                </a:lnTo>
                <a:lnTo>
                  <a:pt x="622422" y="2817000"/>
                </a:lnTo>
                <a:lnTo>
                  <a:pt x="578267" y="2810215"/>
                </a:lnTo>
                <a:lnTo>
                  <a:pt x="573188" y="2808925"/>
                </a:lnTo>
                <a:lnTo>
                  <a:pt x="570198" y="2808435"/>
                </a:lnTo>
                <a:lnTo>
                  <a:pt x="554757" y="2804244"/>
                </a:lnTo>
                <a:lnTo>
                  <a:pt x="518052" y="2794925"/>
                </a:lnTo>
                <a:lnTo>
                  <a:pt x="510626" y="2792270"/>
                </a:lnTo>
                <a:lnTo>
                  <a:pt x="506294" y="2791095"/>
                </a:lnTo>
                <a:lnTo>
                  <a:pt x="491522" y="2785443"/>
                </a:lnTo>
                <a:lnTo>
                  <a:pt x="459920" y="2774146"/>
                </a:lnTo>
                <a:lnTo>
                  <a:pt x="450331" y="2769679"/>
                </a:lnTo>
                <a:lnTo>
                  <a:pt x="444817" y="2767568"/>
                </a:lnTo>
                <a:lnTo>
                  <a:pt x="431441" y="2760878"/>
                </a:lnTo>
                <a:lnTo>
                  <a:pt x="404112" y="2748146"/>
                </a:lnTo>
                <a:lnTo>
                  <a:pt x="392575" y="2741437"/>
                </a:lnTo>
                <a:lnTo>
                  <a:pt x="386060" y="2738178"/>
                </a:lnTo>
                <a:lnTo>
                  <a:pt x="374349" y="2730839"/>
                </a:lnTo>
                <a:lnTo>
                  <a:pt x="350870" y="2717187"/>
                </a:lnTo>
                <a:lnTo>
                  <a:pt x="337634" y="2707831"/>
                </a:lnTo>
                <a:lnTo>
                  <a:pt x="330317" y="2703246"/>
                </a:lnTo>
                <a:lnTo>
                  <a:pt x="320351" y="2695614"/>
                </a:lnTo>
                <a:lnTo>
                  <a:pt x="300434" y="2681536"/>
                </a:lnTo>
                <a:lnTo>
                  <a:pt x="285780" y="2669142"/>
                </a:lnTo>
                <a:lnTo>
                  <a:pt x="277881" y="2663094"/>
                </a:lnTo>
                <a:lnTo>
                  <a:pt x="269642" y="2655493"/>
                </a:lnTo>
                <a:lnTo>
                  <a:pt x="253047" y="2641458"/>
                </a:lnTo>
                <a:lnTo>
                  <a:pt x="237284" y="2625643"/>
                </a:lnTo>
                <a:lnTo>
                  <a:pt x="229047" y="2618044"/>
                </a:lnTo>
                <a:lnTo>
                  <a:pt x="222457" y="2610768"/>
                </a:lnTo>
                <a:lnTo>
                  <a:pt x="208952" y="2597218"/>
                </a:lnTo>
                <a:lnTo>
                  <a:pt x="192410" y="2577589"/>
                </a:lnTo>
                <a:lnTo>
                  <a:pt x="184106" y="2568419"/>
                </a:lnTo>
                <a:lnTo>
                  <a:pt x="179049" y="2561734"/>
                </a:lnTo>
                <a:lnTo>
                  <a:pt x="168389" y="2549083"/>
                </a:lnTo>
                <a:lnTo>
                  <a:pt x="151415" y="2525197"/>
                </a:lnTo>
                <a:lnTo>
                  <a:pt x="143353" y="2514541"/>
                </a:lnTo>
                <a:lnTo>
                  <a:pt x="139681" y="2508687"/>
                </a:lnTo>
                <a:lnTo>
                  <a:pt x="131599" y="2497316"/>
                </a:lnTo>
                <a:lnTo>
                  <a:pt x="114539" y="2468615"/>
                </a:lnTo>
                <a:lnTo>
                  <a:pt x="107082" y="2456730"/>
                </a:lnTo>
                <a:lnTo>
                  <a:pt x="104620" y="2451929"/>
                </a:lnTo>
                <a:lnTo>
                  <a:pt x="98826" y="2442184"/>
                </a:lnTo>
                <a:lnTo>
                  <a:pt x="81986" y="2407793"/>
                </a:lnTo>
                <a:lnTo>
                  <a:pt x="75586" y="2395313"/>
                </a:lnTo>
                <a:lnTo>
                  <a:pt x="74134" y="2391759"/>
                </a:lnTo>
                <a:lnTo>
                  <a:pt x="70310" y="2383951"/>
                </a:lnTo>
                <a:lnTo>
                  <a:pt x="53855" y="2342110"/>
                </a:lnTo>
                <a:lnTo>
                  <a:pt x="49158" y="2330608"/>
                </a:lnTo>
                <a:lnTo>
                  <a:pt x="48496" y="2328480"/>
                </a:lnTo>
                <a:lnTo>
                  <a:pt x="46294" y="2322881"/>
                </a:lnTo>
                <a:lnTo>
                  <a:pt x="29774" y="2268344"/>
                </a:lnTo>
                <a:lnTo>
                  <a:pt x="28091" y="2262939"/>
                </a:lnTo>
                <a:lnTo>
                  <a:pt x="27973" y="2262395"/>
                </a:lnTo>
                <a:lnTo>
                  <a:pt x="27018" y="2259244"/>
                </a:lnTo>
                <a:cubicBezTo>
                  <a:pt x="15802" y="2216021"/>
                  <a:pt x="7907" y="2171262"/>
                  <a:pt x="3657" y="2125321"/>
                </a:cubicBezTo>
                <a:lnTo>
                  <a:pt x="3517" y="2122278"/>
                </a:lnTo>
                <a:lnTo>
                  <a:pt x="3219" y="2119995"/>
                </a:lnTo>
                <a:lnTo>
                  <a:pt x="1596" y="2082356"/>
                </a:lnTo>
                <a:lnTo>
                  <a:pt x="1" y="2082356"/>
                </a:lnTo>
                <a:lnTo>
                  <a:pt x="1" y="2045838"/>
                </a:lnTo>
                <a:lnTo>
                  <a:pt x="0" y="2045832"/>
                </a:lnTo>
                <a:lnTo>
                  <a:pt x="1" y="2045824"/>
                </a:lnTo>
                <a:lnTo>
                  <a:pt x="1" y="2045366"/>
                </a:lnTo>
                <a:lnTo>
                  <a:pt x="1" y="2037986"/>
                </a:lnTo>
                <a:lnTo>
                  <a:pt x="0" y="2037986"/>
                </a:lnTo>
                <a:lnTo>
                  <a:pt x="0" y="1564597"/>
                </a:lnTo>
                <a:lnTo>
                  <a:pt x="0" y="1564596"/>
                </a:lnTo>
                <a:lnTo>
                  <a:pt x="0" y="1564595"/>
                </a:lnTo>
                <a:lnTo>
                  <a:pt x="0" y="1259607"/>
                </a:lnTo>
                <a:lnTo>
                  <a:pt x="0" y="77837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A510A09-F8B7-4CA9-87E5-01FC06B89F0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3749" y="351563"/>
            <a:ext cx="5058243" cy="3308853"/>
          </a:xfrm>
          <a:custGeom>
            <a:avLst/>
            <a:gdLst>
              <a:gd name="connsiteX0" fmla="*/ 0 w 5058243"/>
              <a:gd name="connsiteY0" fmla="*/ 0 h 3308853"/>
              <a:gd name="connsiteX1" fmla="*/ 786082 w 5058243"/>
              <a:gd name="connsiteY1" fmla="*/ 0 h 3308853"/>
              <a:gd name="connsiteX2" fmla="*/ 830058 w 5058243"/>
              <a:gd name="connsiteY2" fmla="*/ 0 h 3308853"/>
              <a:gd name="connsiteX3" fmla="*/ 2208629 w 5058243"/>
              <a:gd name="connsiteY3" fmla="*/ 0 h 3308853"/>
              <a:gd name="connsiteX4" fmla="*/ 2565370 w 5058243"/>
              <a:gd name="connsiteY4" fmla="*/ 0 h 3308853"/>
              <a:gd name="connsiteX5" fmla="*/ 3871443 w 5058243"/>
              <a:gd name="connsiteY5" fmla="*/ 0 h 3308853"/>
              <a:gd name="connsiteX6" fmla="*/ 4228184 w 5058243"/>
              <a:gd name="connsiteY6" fmla="*/ 0 h 3308853"/>
              <a:gd name="connsiteX7" fmla="*/ 4228184 w 5058243"/>
              <a:gd name="connsiteY7" fmla="*/ 1089 h 3308853"/>
              <a:gd name="connsiteX8" fmla="*/ 4228185 w 5058243"/>
              <a:gd name="connsiteY8" fmla="*/ 1089 h 3308853"/>
              <a:gd name="connsiteX9" fmla="*/ 4228433 w 5058243"/>
              <a:gd name="connsiteY9" fmla="*/ 1089 h 3308853"/>
              <a:gd name="connsiteX10" fmla="*/ 4239081 w 5058243"/>
              <a:gd name="connsiteY10" fmla="*/ 1089 h 3308853"/>
              <a:gd name="connsiteX11" fmla="*/ 4272161 w 5058243"/>
              <a:gd name="connsiteY11" fmla="*/ 1089 h 3308853"/>
              <a:gd name="connsiteX12" fmla="*/ 4272161 w 5058243"/>
              <a:gd name="connsiteY12" fmla="*/ 3362 h 3308853"/>
              <a:gd name="connsiteX13" fmla="*/ 4308041 w 5058243"/>
              <a:gd name="connsiteY13" fmla="*/ 5226 h 3308853"/>
              <a:gd name="connsiteX14" fmla="*/ 4311127 w 5058243"/>
              <a:gd name="connsiteY14" fmla="*/ 5701 h 3308853"/>
              <a:gd name="connsiteX15" fmla="*/ 4312830 w 5058243"/>
              <a:gd name="connsiteY15" fmla="*/ 5795 h 3308853"/>
              <a:gd name="connsiteX16" fmla="*/ 4329012 w 5058243"/>
              <a:gd name="connsiteY16" fmla="*/ 8449 h 3308853"/>
              <a:gd name="connsiteX17" fmla="*/ 4380744 w 5058243"/>
              <a:gd name="connsiteY17" fmla="*/ 16399 h 3308853"/>
              <a:gd name="connsiteX18" fmla="*/ 4386694 w 5058243"/>
              <a:gd name="connsiteY18" fmla="*/ 17910 h 3308853"/>
              <a:gd name="connsiteX19" fmla="*/ 4390198 w 5058243"/>
              <a:gd name="connsiteY19" fmla="*/ 18484 h 3308853"/>
              <a:gd name="connsiteX20" fmla="*/ 4408289 w 5058243"/>
              <a:gd name="connsiteY20" fmla="*/ 23394 h 3308853"/>
              <a:gd name="connsiteX21" fmla="*/ 4451292 w 5058243"/>
              <a:gd name="connsiteY21" fmla="*/ 34313 h 3308853"/>
              <a:gd name="connsiteX22" fmla="*/ 4459992 w 5058243"/>
              <a:gd name="connsiteY22" fmla="*/ 37423 h 3308853"/>
              <a:gd name="connsiteX23" fmla="*/ 4465068 w 5058243"/>
              <a:gd name="connsiteY23" fmla="*/ 38800 h 3308853"/>
              <a:gd name="connsiteX24" fmla="*/ 4482375 w 5058243"/>
              <a:gd name="connsiteY24" fmla="*/ 45422 h 3308853"/>
              <a:gd name="connsiteX25" fmla="*/ 4519400 w 5058243"/>
              <a:gd name="connsiteY25" fmla="*/ 58657 h 3308853"/>
              <a:gd name="connsiteX26" fmla="*/ 4530635 w 5058243"/>
              <a:gd name="connsiteY26" fmla="*/ 63891 h 3308853"/>
              <a:gd name="connsiteX27" fmla="*/ 4537095 w 5058243"/>
              <a:gd name="connsiteY27" fmla="*/ 66364 h 3308853"/>
              <a:gd name="connsiteX28" fmla="*/ 4552766 w 5058243"/>
              <a:gd name="connsiteY28" fmla="*/ 74202 h 3308853"/>
              <a:gd name="connsiteX29" fmla="*/ 4584785 w 5058243"/>
              <a:gd name="connsiteY29" fmla="*/ 89119 h 3308853"/>
              <a:gd name="connsiteX30" fmla="*/ 4598301 w 5058243"/>
              <a:gd name="connsiteY30" fmla="*/ 96979 h 3308853"/>
              <a:gd name="connsiteX31" fmla="*/ 4605934 w 5058243"/>
              <a:gd name="connsiteY31" fmla="*/ 100797 h 3308853"/>
              <a:gd name="connsiteX32" fmla="*/ 4619655 w 5058243"/>
              <a:gd name="connsiteY32" fmla="*/ 109396 h 3308853"/>
              <a:gd name="connsiteX33" fmla="*/ 4647164 w 5058243"/>
              <a:gd name="connsiteY33" fmla="*/ 125391 h 3308853"/>
              <a:gd name="connsiteX34" fmla="*/ 4662670 w 5058243"/>
              <a:gd name="connsiteY34" fmla="*/ 136352 h 3308853"/>
              <a:gd name="connsiteX35" fmla="*/ 4671243 w 5058243"/>
              <a:gd name="connsiteY35" fmla="*/ 141724 h 3308853"/>
              <a:gd name="connsiteX36" fmla="*/ 4682919 w 5058243"/>
              <a:gd name="connsiteY36" fmla="*/ 150665 h 3308853"/>
              <a:gd name="connsiteX37" fmla="*/ 4706254 w 5058243"/>
              <a:gd name="connsiteY37" fmla="*/ 167159 h 3308853"/>
              <a:gd name="connsiteX38" fmla="*/ 4723422 w 5058243"/>
              <a:gd name="connsiteY38" fmla="*/ 181680 h 3308853"/>
              <a:gd name="connsiteX39" fmla="*/ 4732677 w 5058243"/>
              <a:gd name="connsiteY39" fmla="*/ 188766 h 3308853"/>
              <a:gd name="connsiteX40" fmla="*/ 4742330 w 5058243"/>
              <a:gd name="connsiteY40" fmla="*/ 197671 h 3308853"/>
              <a:gd name="connsiteX41" fmla="*/ 4761772 w 5058243"/>
              <a:gd name="connsiteY41" fmla="*/ 214115 h 3308853"/>
              <a:gd name="connsiteX42" fmla="*/ 4780240 w 5058243"/>
              <a:gd name="connsiteY42" fmla="*/ 232644 h 3308853"/>
              <a:gd name="connsiteX43" fmla="*/ 4789891 w 5058243"/>
              <a:gd name="connsiteY43" fmla="*/ 241547 h 3308853"/>
              <a:gd name="connsiteX44" fmla="*/ 4797611 w 5058243"/>
              <a:gd name="connsiteY44" fmla="*/ 250071 h 3308853"/>
              <a:gd name="connsiteX45" fmla="*/ 4813434 w 5058243"/>
              <a:gd name="connsiteY45" fmla="*/ 265946 h 3308853"/>
              <a:gd name="connsiteX46" fmla="*/ 4832816 w 5058243"/>
              <a:gd name="connsiteY46" fmla="*/ 288945 h 3308853"/>
              <a:gd name="connsiteX47" fmla="*/ 4842544 w 5058243"/>
              <a:gd name="connsiteY47" fmla="*/ 299687 h 3308853"/>
              <a:gd name="connsiteX48" fmla="*/ 4848468 w 5058243"/>
              <a:gd name="connsiteY48" fmla="*/ 307520 h 3308853"/>
              <a:gd name="connsiteX49" fmla="*/ 4860959 w 5058243"/>
              <a:gd name="connsiteY49" fmla="*/ 322342 h 3308853"/>
              <a:gd name="connsiteX50" fmla="*/ 4880845 w 5058243"/>
              <a:gd name="connsiteY50" fmla="*/ 350326 h 3308853"/>
              <a:gd name="connsiteX51" fmla="*/ 4890290 w 5058243"/>
              <a:gd name="connsiteY51" fmla="*/ 362811 h 3308853"/>
              <a:gd name="connsiteX52" fmla="*/ 4894592 w 5058243"/>
              <a:gd name="connsiteY52" fmla="*/ 369669 h 3308853"/>
              <a:gd name="connsiteX53" fmla="*/ 4904061 w 5058243"/>
              <a:gd name="connsiteY53" fmla="*/ 382992 h 3308853"/>
              <a:gd name="connsiteX54" fmla="*/ 4924050 w 5058243"/>
              <a:gd name="connsiteY54" fmla="*/ 416618 h 3308853"/>
              <a:gd name="connsiteX55" fmla="*/ 4932786 w 5058243"/>
              <a:gd name="connsiteY55" fmla="*/ 430542 h 3308853"/>
              <a:gd name="connsiteX56" fmla="*/ 4935671 w 5058243"/>
              <a:gd name="connsiteY56" fmla="*/ 436166 h 3308853"/>
              <a:gd name="connsiteX57" fmla="*/ 4942458 w 5058243"/>
              <a:gd name="connsiteY57" fmla="*/ 447585 h 3308853"/>
              <a:gd name="connsiteX58" fmla="*/ 4962189 w 5058243"/>
              <a:gd name="connsiteY58" fmla="*/ 487877 h 3308853"/>
              <a:gd name="connsiteX59" fmla="*/ 4969687 w 5058243"/>
              <a:gd name="connsiteY59" fmla="*/ 502499 h 3308853"/>
              <a:gd name="connsiteX60" fmla="*/ 4971387 w 5058243"/>
              <a:gd name="connsiteY60" fmla="*/ 506663 h 3308853"/>
              <a:gd name="connsiteX61" fmla="*/ 4975867 w 5058243"/>
              <a:gd name="connsiteY61" fmla="*/ 515811 h 3308853"/>
              <a:gd name="connsiteX62" fmla="*/ 4995146 w 5058243"/>
              <a:gd name="connsiteY62" fmla="*/ 564832 h 3308853"/>
              <a:gd name="connsiteX63" fmla="*/ 5000650 w 5058243"/>
              <a:gd name="connsiteY63" fmla="*/ 578307 h 3308853"/>
              <a:gd name="connsiteX64" fmla="*/ 5001426 w 5058243"/>
              <a:gd name="connsiteY64" fmla="*/ 580801 h 3308853"/>
              <a:gd name="connsiteX65" fmla="*/ 5004006 w 5058243"/>
              <a:gd name="connsiteY65" fmla="*/ 587360 h 3308853"/>
              <a:gd name="connsiteX66" fmla="*/ 5023359 w 5058243"/>
              <a:gd name="connsiteY66" fmla="*/ 651256 h 3308853"/>
              <a:gd name="connsiteX67" fmla="*/ 5025331 w 5058243"/>
              <a:gd name="connsiteY67" fmla="*/ 657589 h 3308853"/>
              <a:gd name="connsiteX68" fmla="*/ 5025470 w 5058243"/>
              <a:gd name="connsiteY68" fmla="*/ 658226 h 3308853"/>
              <a:gd name="connsiteX69" fmla="*/ 5026589 w 5058243"/>
              <a:gd name="connsiteY69" fmla="*/ 661917 h 3308853"/>
              <a:gd name="connsiteX70" fmla="*/ 5053959 w 5058243"/>
              <a:gd name="connsiteY70" fmla="*/ 818822 h 3308853"/>
              <a:gd name="connsiteX71" fmla="*/ 5054122 w 5058243"/>
              <a:gd name="connsiteY71" fmla="*/ 822386 h 3308853"/>
              <a:gd name="connsiteX72" fmla="*/ 5054471 w 5058243"/>
              <a:gd name="connsiteY72" fmla="*/ 825062 h 3308853"/>
              <a:gd name="connsiteX73" fmla="*/ 5056373 w 5058243"/>
              <a:gd name="connsiteY73" fmla="*/ 869160 h 3308853"/>
              <a:gd name="connsiteX74" fmla="*/ 5058243 w 5058243"/>
              <a:gd name="connsiteY74" fmla="*/ 869160 h 3308853"/>
              <a:gd name="connsiteX75" fmla="*/ 5058243 w 5058243"/>
              <a:gd name="connsiteY75" fmla="*/ 911943 h 3308853"/>
              <a:gd name="connsiteX76" fmla="*/ 5058243 w 5058243"/>
              <a:gd name="connsiteY76" fmla="*/ 911952 h 3308853"/>
              <a:gd name="connsiteX77" fmla="*/ 5058243 w 5058243"/>
              <a:gd name="connsiteY77" fmla="*/ 911961 h 3308853"/>
              <a:gd name="connsiteX78" fmla="*/ 5058243 w 5058243"/>
              <a:gd name="connsiteY78" fmla="*/ 912498 h 3308853"/>
              <a:gd name="connsiteX79" fmla="*/ 5058243 w 5058243"/>
              <a:gd name="connsiteY79" fmla="*/ 921144 h 3308853"/>
              <a:gd name="connsiteX80" fmla="*/ 5058243 w 5058243"/>
              <a:gd name="connsiteY80" fmla="*/ 1475769 h 3308853"/>
              <a:gd name="connsiteX81" fmla="*/ 5058243 w 5058243"/>
              <a:gd name="connsiteY81" fmla="*/ 1833094 h 3308853"/>
              <a:gd name="connsiteX82" fmla="*/ 5058243 w 5058243"/>
              <a:gd name="connsiteY82" fmla="*/ 2396911 h 3308853"/>
              <a:gd name="connsiteX83" fmla="*/ 5058243 w 5058243"/>
              <a:gd name="connsiteY83" fmla="*/ 3308853 h 3308853"/>
              <a:gd name="connsiteX84" fmla="*/ 4272161 w 5058243"/>
              <a:gd name="connsiteY84" fmla="*/ 3308853 h 3308853"/>
              <a:gd name="connsiteX85" fmla="*/ 4228185 w 5058243"/>
              <a:gd name="connsiteY85" fmla="*/ 3308853 h 3308853"/>
              <a:gd name="connsiteX86" fmla="*/ 3395429 w 5058243"/>
              <a:gd name="connsiteY86" fmla="*/ 3308853 h 3308853"/>
              <a:gd name="connsiteX87" fmla="*/ 2849614 w 5058243"/>
              <a:gd name="connsiteY87" fmla="*/ 3308853 h 3308853"/>
              <a:gd name="connsiteX88" fmla="*/ 2609347 w 5058243"/>
              <a:gd name="connsiteY88" fmla="*/ 3308853 h 3308853"/>
              <a:gd name="connsiteX89" fmla="*/ 2565371 w 5058243"/>
              <a:gd name="connsiteY89" fmla="*/ 3308853 h 3308853"/>
              <a:gd name="connsiteX90" fmla="*/ 2492873 w 5058243"/>
              <a:gd name="connsiteY90" fmla="*/ 3308853 h 3308853"/>
              <a:gd name="connsiteX91" fmla="*/ 1186800 w 5058243"/>
              <a:gd name="connsiteY91" fmla="*/ 3308853 h 3308853"/>
              <a:gd name="connsiteX92" fmla="*/ 830059 w 5058243"/>
              <a:gd name="connsiteY92" fmla="*/ 3308853 h 3308853"/>
              <a:gd name="connsiteX93" fmla="*/ 830059 w 5058243"/>
              <a:gd name="connsiteY93" fmla="*/ 3307764 h 3308853"/>
              <a:gd name="connsiteX94" fmla="*/ 830058 w 5058243"/>
              <a:gd name="connsiteY94" fmla="*/ 3307764 h 3308853"/>
              <a:gd name="connsiteX95" fmla="*/ 829810 w 5058243"/>
              <a:gd name="connsiteY95" fmla="*/ 3307764 h 3308853"/>
              <a:gd name="connsiteX96" fmla="*/ 819162 w 5058243"/>
              <a:gd name="connsiteY96" fmla="*/ 3307764 h 3308853"/>
              <a:gd name="connsiteX97" fmla="*/ 786082 w 5058243"/>
              <a:gd name="connsiteY97" fmla="*/ 3307764 h 3308853"/>
              <a:gd name="connsiteX98" fmla="*/ 786082 w 5058243"/>
              <a:gd name="connsiteY98" fmla="*/ 3305491 h 3308853"/>
              <a:gd name="connsiteX99" fmla="*/ 750202 w 5058243"/>
              <a:gd name="connsiteY99" fmla="*/ 3303627 h 3308853"/>
              <a:gd name="connsiteX100" fmla="*/ 747117 w 5058243"/>
              <a:gd name="connsiteY100" fmla="*/ 3303152 h 3308853"/>
              <a:gd name="connsiteX101" fmla="*/ 745413 w 5058243"/>
              <a:gd name="connsiteY101" fmla="*/ 3303058 h 3308853"/>
              <a:gd name="connsiteX102" fmla="*/ 729231 w 5058243"/>
              <a:gd name="connsiteY102" fmla="*/ 3300404 h 3308853"/>
              <a:gd name="connsiteX103" fmla="*/ 677499 w 5058243"/>
              <a:gd name="connsiteY103" fmla="*/ 3292454 h 3308853"/>
              <a:gd name="connsiteX104" fmla="*/ 671549 w 5058243"/>
              <a:gd name="connsiteY104" fmla="*/ 3290943 h 3308853"/>
              <a:gd name="connsiteX105" fmla="*/ 668045 w 5058243"/>
              <a:gd name="connsiteY105" fmla="*/ 3290369 h 3308853"/>
              <a:gd name="connsiteX106" fmla="*/ 649955 w 5058243"/>
              <a:gd name="connsiteY106" fmla="*/ 3285459 h 3308853"/>
              <a:gd name="connsiteX107" fmla="*/ 606951 w 5058243"/>
              <a:gd name="connsiteY107" fmla="*/ 3274540 h 3308853"/>
              <a:gd name="connsiteX108" fmla="*/ 598251 w 5058243"/>
              <a:gd name="connsiteY108" fmla="*/ 3271430 h 3308853"/>
              <a:gd name="connsiteX109" fmla="*/ 593175 w 5058243"/>
              <a:gd name="connsiteY109" fmla="*/ 3270053 h 3308853"/>
              <a:gd name="connsiteX110" fmla="*/ 575868 w 5058243"/>
              <a:gd name="connsiteY110" fmla="*/ 3263431 h 3308853"/>
              <a:gd name="connsiteX111" fmla="*/ 538844 w 5058243"/>
              <a:gd name="connsiteY111" fmla="*/ 3250196 h 3308853"/>
              <a:gd name="connsiteX112" fmla="*/ 527609 w 5058243"/>
              <a:gd name="connsiteY112" fmla="*/ 3244962 h 3308853"/>
              <a:gd name="connsiteX113" fmla="*/ 521149 w 5058243"/>
              <a:gd name="connsiteY113" fmla="*/ 3242489 h 3308853"/>
              <a:gd name="connsiteX114" fmla="*/ 505478 w 5058243"/>
              <a:gd name="connsiteY114" fmla="*/ 3234651 h 3308853"/>
              <a:gd name="connsiteX115" fmla="*/ 473459 w 5058243"/>
              <a:gd name="connsiteY115" fmla="*/ 3219734 h 3308853"/>
              <a:gd name="connsiteX116" fmla="*/ 459942 w 5058243"/>
              <a:gd name="connsiteY116" fmla="*/ 3211874 h 3308853"/>
              <a:gd name="connsiteX117" fmla="*/ 452309 w 5058243"/>
              <a:gd name="connsiteY117" fmla="*/ 3208056 h 3308853"/>
              <a:gd name="connsiteX118" fmla="*/ 438588 w 5058243"/>
              <a:gd name="connsiteY118" fmla="*/ 3199457 h 3308853"/>
              <a:gd name="connsiteX119" fmla="*/ 411080 w 5058243"/>
              <a:gd name="connsiteY119" fmla="*/ 3183462 h 3308853"/>
              <a:gd name="connsiteX120" fmla="*/ 395573 w 5058243"/>
              <a:gd name="connsiteY120" fmla="*/ 3172501 h 3308853"/>
              <a:gd name="connsiteX121" fmla="*/ 387001 w 5058243"/>
              <a:gd name="connsiteY121" fmla="*/ 3167129 h 3308853"/>
              <a:gd name="connsiteX122" fmla="*/ 375324 w 5058243"/>
              <a:gd name="connsiteY122" fmla="*/ 3158188 h 3308853"/>
              <a:gd name="connsiteX123" fmla="*/ 351989 w 5058243"/>
              <a:gd name="connsiteY123" fmla="*/ 3141694 h 3308853"/>
              <a:gd name="connsiteX124" fmla="*/ 334821 w 5058243"/>
              <a:gd name="connsiteY124" fmla="*/ 3127173 h 3308853"/>
              <a:gd name="connsiteX125" fmla="*/ 325566 w 5058243"/>
              <a:gd name="connsiteY125" fmla="*/ 3120087 h 3308853"/>
              <a:gd name="connsiteX126" fmla="*/ 315914 w 5058243"/>
              <a:gd name="connsiteY126" fmla="*/ 3111182 h 3308853"/>
              <a:gd name="connsiteX127" fmla="*/ 296471 w 5058243"/>
              <a:gd name="connsiteY127" fmla="*/ 3094738 h 3308853"/>
              <a:gd name="connsiteX128" fmla="*/ 278003 w 5058243"/>
              <a:gd name="connsiteY128" fmla="*/ 3076209 h 3308853"/>
              <a:gd name="connsiteX129" fmla="*/ 268352 w 5058243"/>
              <a:gd name="connsiteY129" fmla="*/ 3067306 h 3308853"/>
              <a:gd name="connsiteX130" fmla="*/ 260632 w 5058243"/>
              <a:gd name="connsiteY130" fmla="*/ 3058782 h 3308853"/>
              <a:gd name="connsiteX131" fmla="*/ 244809 w 5058243"/>
              <a:gd name="connsiteY131" fmla="*/ 3042907 h 3308853"/>
              <a:gd name="connsiteX132" fmla="*/ 225428 w 5058243"/>
              <a:gd name="connsiteY132" fmla="*/ 3019909 h 3308853"/>
              <a:gd name="connsiteX133" fmla="*/ 215699 w 5058243"/>
              <a:gd name="connsiteY133" fmla="*/ 3009166 h 3308853"/>
              <a:gd name="connsiteX134" fmla="*/ 209775 w 5058243"/>
              <a:gd name="connsiteY134" fmla="*/ 3001333 h 3308853"/>
              <a:gd name="connsiteX135" fmla="*/ 197285 w 5058243"/>
              <a:gd name="connsiteY135" fmla="*/ 2986511 h 3308853"/>
              <a:gd name="connsiteX136" fmla="*/ 177398 w 5058243"/>
              <a:gd name="connsiteY136" fmla="*/ 2958527 h 3308853"/>
              <a:gd name="connsiteX137" fmla="*/ 167953 w 5058243"/>
              <a:gd name="connsiteY137" fmla="*/ 2946042 h 3308853"/>
              <a:gd name="connsiteX138" fmla="*/ 163651 w 5058243"/>
              <a:gd name="connsiteY138" fmla="*/ 2939184 h 3308853"/>
              <a:gd name="connsiteX139" fmla="*/ 154182 w 5058243"/>
              <a:gd name="connsiteY139" fmla="*/ 2925861 h 3308853"/>
              <a:gd name="connsiteX140" fmla="*/ 134194 w 5058243"/>
              <a:gd name="connsiteY140" fmla="*/ 2892235 h 3308853"/>
              <a:gd name="connsiteX141" fmla="*/ 125458 w 5058243"/>
              <a:gd name="connsiteY141" fmla="*/ 2878311 h 3308853"/>
              <a:gd name="connsiteX142" fmla="*/ 122573 w 5058243"/>
              <a:gd name="connsiteY142" fmla="*/ 2872686 h 3308853"/>
              <a:gd name="connsiteX143" fmla="*/ 115785 w 5058243"/>
              <a:gd name="connsiteY143" fmla="*/ 2861268 h 3308853"/>
              <a:gd name="connsiteX144" fmla="*/ 96055 w 5058243"/>
              <a:gd name="connsiteY144" fmla="*/ 2820976 h 3308853"/>
              <a:gd name="connsiteX145" fmla="*/ 88557 w 5058243"/>
              <a:gd name="connsiteY145" fmla="*/ 2806354 h 3308853"/>
              <a:gd name="connsiteX146" fmla="*/ 86856 w 5058243"/>
              <a:gd name="connsiteY146" fmla="*/ 2802190 h 3308853"/>
              <a:gd name="connsiteX147" fmla="*/ 82376 w 5058243"/>
              <a:gd name="connsiteY147" fmla="*/ 2793042 h 3308853"/>
              <a:gd name="connsiteX148" fmla="*/ 63097 w 5058243"/>
              <a:gd name="connsiteY148" fmla="*/ 2744021 h 3308853"/>
              <a:gd name="connsiteX149" fmla="*/ 57594 w 5058243"/>
              <a:gd name="connsiteY149" fmla="*/ 2730546 h 3308853"/>
              <a:gd name="connsiteX150" fmla="*/ 56818 w 5058243"/>
              <a:gd name="connsiteY150" fmla="*/ 2728052 h 3308853"/>
              <a:gd name="connsiteX151" fmla="*/ 54238 w 5058243"/>
              <a:gd name="connsiteY151" fmla="*/ 2721493 h 3308853"/>
              <a:gd name="connsiteX152" fmla="*/ 34884 w 5058243"/>
              <a:gd name="connsiteY152" fmla="*/ 2657597 h 3308853"/>
              <a:gd name="connsiteX153" fmla="*/ 32912 w 5058243"/>
              <a:gd name="connsiteY153" fmla="*/ 2651264 h 3308853"/>
              <a:gd name="connsiteX154" fmla="*/ 32773 w 5058243"/>
              <a:gd name="connsiteY154" fmla="*/ 2650627 h 3308853"/>
              <a:gd name="connsiteX155" fmla="*/ 31655 w 5058243"/>
              <a:gd name="connsiteY155" fmla="*/ 2646936 h 3308853"/>
              <a:gd name="connsiteX156" fmla="*/ 4285 w 5058243"/>
              <a:gd name="connsiteY156" fmla="*/ 2490031 h 3308853"/>
              <a:gd name="connsiteX157" fmla="*/ 4121 w 5058243"/>
              <a:gd name="connsiteY157" fmla="*/ 2486466 h 3308853"/>
              <a:gd name="connsiteX158" fmla="*/ 3772 w 5058243"/>
              <a:gd name="connsiteY158" fmla="*/ 2483791 h 3308853"/>
              <a:gd name="connsiteX159" fmla="*/ 1870 w 5058243"/>
              <a:gd name="connsiteY159" fmla="*/ 2439693 h 3308853"/>
              <a:gd name="connsiteX160" fmla="*/ 1 w 5058243"/>
              <a:gd name="connsiteY160" fmla="*/ 2439693 h 3308853"/>
              <a:gd name="connsiteX161" fmla="*/ 1 w 5058243"/>
              <a:gd name="connsiteY161" fmla="*/ 2396909 h 3308853"/>
              <a:gd name="connsiteX162" fmla="*/ 0 w 5058243"/>
              <a:gd name="connsiteY162" fmla="*/ 2396901 h 3308853"/>
              <a:gd name="connsiteX163" fmla="*/ 1 w 5058243"/>
              <a:gd name="connsiteY163" fmla="*/ 2396892 h 3308853"/>
              <a:gd name="connsiteX164" fmla="*/ 1 w 5058243"/>
              <a:gd name="connsiteY164" fmla="*/ 2396355 h 3308853"/>
              <a:gd name="connsiteX165" fmla="*/ 1 w 5058243"/>
              <a:gd name="connsiteY165" fmla="*/ 2387709 h 3308853"/>
              <a:gd name="connsiteX166" fmla="*/ 0 w 5058243"/>
              <a:gd name="connsiteY166" fmla="*/ 2387709 h 3308853"/>
              <a:gd name="connsiteX167" fmla="*/ 0 w 5058243"/>
              <a:gd name="connsiteY167" fmla="*/ 1833085 h 3308853"/>
              <a:gd name="connsiteX168" fmla="*/ 0 w 5058243"/>
              <a:gd name="connsiteY168" fmla="*/ 1833084 h 3308853"/>
              <a:gd name="connsiteX169" fmla="*/ 0 w 5058243"/>
              <a:gd name="connsiteY169" fmla="*/ 1833083 h 3308853"/>
              <a:gd name="connsiteX170" fmla="*/ 0 w 5058243"/>
              <a:gd name="connsiteY170" fmla="*/ 1475758 h 3308853"/>
              <a:gd name="connsiteX171" fmla="*/ 0 w 5058243"/>
              <a:gd name="connsiteY171" fmla="*/ 911942 h 3308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</a:cxnLst>
            <a:rect l="l" t="t" r="r" b="b"/>
            <a:pathLst>
              <a:path w="5058243" h="3308853">
                <a:moveTo>
                  <a:pt x="0" y="0"/>
                </a:moveTo>
                <a:lnTo>
                  <a:pt x="786082" y="0"/>
                </a:lnTo>
                <a:lnTo>
                  <a:pt x="830058" y="0"/>
                </a:lnTo>
                <a:lnTo>
                  <a:pt x="2208629" y="0"/>
                </a:lnTo>
                <a:lnTo>
                  <a:pt x="2565370" y="0"/>
                </a:lnTo>
                <a:lnTo>
                  <a:pt x="3871443" y="0"/>
                </a:lnTo>
                <a:lnTo>
                  <a:pt x="4228184" y="0"/>
                </a:lnTo>
                <a:lnTo>
                  <a:pt x="4228184" y="1089"/>
                </a:lnTo>
                <a:lnTo>
                  <a:pt x="4228185" y="1089"/>
                </a:lnTo>
                <a:lnTo>
                  <a:pt x="4228433" y="1089"/>
                </a:lnTo>
                <a:lnTo>
                  <a:pt x="4239081" y="1089"/>
                </a:lnTo>
                <a:lnTo>
                  <a:pt x="4272161" y="1089"/>
                </a:lnTo>
                <a:lnTo>
                  <a:pt x="4272161" y="3362"/>
                </a:lnTo>
                <a:lnTo>
                  <a:pt x="4308041" y="5226"/>
                </a:lnTo>
                <a:lnTo>
                  <a:pt x="4311127" y="5701"/>
                </a:lnTo>
                <a:lnTo>
                  <a:pt x="4312830" y="5795"/>
                </a:lnTo>
                <a:lnTo>
                  <a:pt x="4329012" y="8449"/>
                </a:lnTo>
                <a:lnTo>
                  <a:pt x="4380744" y="16399"/>
                </a:lnTo>
                <a:lnTo>
                  <a:pt x="4386694" y="17910"/>
                </a:lnTo>
                <a:lnTo>
                  <a:pt x="4390198" y="18484"/>
                </a:lnTo>
                <a:lnTo>
                  <a:pt x="4408289" y="23394"/>
                </a:lnTo>
                <a:lnTo>
                  <a:pt x="4451292" y="34313"/>
                </a:lnTo>
                <a:lnTo>
                  <a:pt x="4459992" y="37423"/>
                </a:lnTo>
                <a:lnTo>
                  <a:pt x="4465068" y="38800"/>
                </a:lnTo>
                <a:lnTo>
                  <a:pt x="4482375" y="45422"/>
                </a:lnTo>
                <a:lnTo>
                  <a:pt x="4519400" y="58657"/>
                </a:lnTo>
                <a:lnTo>
                  <a:pt x="4530635" y="63891"/>
                </a:lnTo>
                <a:lnTo>
                  <a:pt x="4537095" y="66364"/>
                </a:lnTo>
                <a:lnTo>
                  <a:pt x="4552766" y="74202"/>
                </a:lnTo>
                <a:lnTo>
                  <a:pt x="4584785" y="89119"/>
                </a:lnTo>
                <a:lnTo>
                  <a:pt x="4598301" y="96979"/>
                </a:lnTo>
                <a:lnTo>
                  <a:pt x="4605934" y="100797"/>
                </a:lnTo>
                <a:lnTo>
                  <a:pt x="4619655" y="109396"/>
                </a:lnTo>
                <a:lnTo>
                  <a:pt x="4647164" y="125391"/>
                </a:lnTo>
                <a:lnTo>
                  <a:pt x="4662670" y="136352"/>
                </a:lnTo>
                <a:lnTo>
                  <a:pt x="4671243" y="141724"/>
                </a:lnTo>
                <a:lnTo>
                  <a:pt x="4682919" y="150665"/>
                </a:lnTo>
                <a:lnTo>
                  <a:pt x="4706254" y="167159"/>
                </a:lnTo>
                <a:lnTo>
                  <a:pt x="4723422" y="181680"/>
                </a:lnTo>
                <a:lnTo>
                  <a:pt x="4732677" y="188766"/>
                </a:lnTo>
                <a:lnTo>
                  <a:pt x="4742330" y="197671"/>
                </a:lnTo>
                <a:lnTo>
                  <a:pt x="4761772" y="214115"/>
                </a:lnTo>
                <a:lnTo>
                  <a:pt x="4780240" y="232644"/>
                </a:lnTo>
                <a:lnTo>
                  <a:pt x="4789891" y="241547"/>
                </a:lnTo>
                <a:lnTo>
                  <a:pt x="4797611" y="250071"/>
                </a:lnTo>
                <a:lnTo>
                  <a:pt x="4813434" y="265946"/>
                </a:lnTo>
                <a:lnTo>
                  <a:pt x="4832816" y="288945"/>
                </a:lnTo>
                <a:lnTo>
                  <a:pt x="4842544" y="299687"/>
                </a:lnTo>
                <a:lnTo>
                  <a:pt x="4848468" y="307520"/>
                </a:lnTo>
                <a:lnTo>
                  <a:pt x="4860959" y="322342"/>
                </a:lnTo>
                <a:lnTo>
                  <a:pt x="4880845" y="350326"/>
                </a:lnTo>
                <a:lnTo>
                  <a:pt x="4890290" y="362811"/>
                </a:lnTo>
                <a:lnTo>
                  <a:pt x="4894592" y="369669"/>
                </a:lnTo>
                <a:lnTo>
                  <a:pt x="4904061" y="382992"/>
                </a:lnTo>
                <a:lnTo>
                  <a:pt x="4924050" y="416618"/>
                </a:lnTo>
                <a:lnTo>
                  <a:pt x="4932786" y="430542"/>
                </a:lnTo>
                <a:lnTo>
                  <a:pt x="4935671" y="436166"/>
                </a:lnTo>
                <a:lnTo>
                  <a:pt x="4942458" y="447585"/>
                </a:lnTo>
                <a:lnTo>
                  <a:pt x="4962189" y="487877"/>
                </a:lnTo>
                <a:lnTo>
                  <a:pt x="4969687" y="502499"/>
                </a:lnTo>
                <a:lnTo>
                  <a:pt x="4971387" y="506663"/>
                </a:lnTo>
                <a:lnTo>
                  <a:pt x="4975867" y="515811"/>
                </a:lnTo>
                <a:lnTo>
                  <a:pt x="4995146" y="564832"/>
                </a:lnTo>
                <a:lnTo>
                  <a:pt x="5000650" y="578307"/>
                </a:lnTo>
                <a:lnTo>
                  <a:pt x="5001426" y="580801"/>
                </a:lnTo>
                <a:lnTo>
                  <a:pt x="5004006" y="587360"/>
                </a:lnTo>
                <a:lnTo>
                  <a:pt x="5023359" y="651256"/>
                </a:lnTo>
                <a:lnTo>
                  <a:pt x="5025331" y="657589"/>
                </a:lnTo>
                <a:lnTo>
                  <a:pt x="5025470" y="658226"/>
                </a:lnTo>
                <a:lnTo>
                  <a:pt x="5026589" y="661917"/>
                </a:lnTo>
                <a:cubicBezTo>
                  <a:pt x="5039730" y="712558"/>
                  <a:pt x="5048979" y="764997"/>
                  <a:pt x="5053959" y="818822"/>
                </a:cubicBezTo>
                <a:lnTo>
                  <a:pt x="5054122" y="822386"/>
                </a:lnTo>
                <a:lnTo>
                  <a:pt x="5054471" y="825062"/>
                </a:lnTo>
                <a:lnTo>
                  <a:pt x="5056373" y="869160"/>
                </a:lnTo>
                <a:lnTo>
                  <a:pt x="5058243" y="869160"/>
                </a:lnTo>
                <a:lnTo>
                  <a:pt x="5058243" y="911943"/>
                </a:lnTo>
                <a:lnTo>
                  <a:pt x="5058243" y="911952"/>
                </a:lnTo>
                <a:lnTo>
                  <a:pt x="5058243" y="911961"/>
                </a:lnTo>
                <a:lnTo>
                  <a:pt x="5058243" y="912498"/>
                </a:lnTo>
                <a:lnTo>
                  <a:pt x="5058243" y="921144"/>
                </a:lnTo>
                <a:lnTo>
                  <a:pt x="5058243" y="1475769"/>
                </a:lnTo>
                <a:lnTo>
                  <a:pt x="5058243" y="1833094"/>
                </a:lnTo>
                <a:lnTo>
                  <a:pt x="5058243" y="2396911"/>
                </a:lnTo>
                <a:lnTo>
                  <a:pt x="5058243" y="3308853"/>
                </a:lnTo>
                <a:lnTo>
                  <a:pt x="4272161" y="3308853"/>
                </a:lnTo>
                <a:lnTo>
                  <a:pt x="4228185" y="3308853"/>
                </a:lnTo>
                <a:lnTo>
                  <a:pt x="3395429" y="3308853"/>
                </a:lnTo>
                <a:lnTo>
                  <a:pt x="2849614" y="3308853"/>
                </a:lnTo>
                <a:lnTo>
                  <a:pt x="2609347" y="3308853"/>
                </a:lnTo>
                <a:lnTo>
                  <a:pt x="2565371" y="3308853"/>
                </a:lnTo>
                <a:lnTo>
                  <a:pt x="2492873" y="3308853"/>
                </a:lnTo>
                <a:lnTo>
                  <a:pt x="1186800" y="3308853"/>
                </a:lnTo>
                <a:lnTo>
                  <a:pt x="830059" y="3308853"/>
                </a:lnTo>
                <a:lnTo>
                  <a:pt x="830059" y="3307764"/>
                </a:lnTo>
                <a:lnTo>
                  <a:pt x="830058" y="3307764"/>
                </a:lnTo>
                <a:lnTo>
                  <a:pt x="829810" y="3307764"/>
                </a:lnTo>
                <a:lnTo>
                  <a:pt x="819162" y="3307764"/>
                </a:lnTo>
                <a:lnTo>
                  <a:pt x="786082" y="3307764"/>
                </a:lnTo>
                <a:lnTo>
                  <a:pt x="786082" y="3305491"/>
                </a:lnTo>
                <a:lnTo>
                  <a:pt x="750202" y="3303627"/>
                </a:lnTo>
                <a:lnTo>
                  <a:pt x="747117" y="3303152"/>
                </a:lnTo>
                <a:lnTo>
                  <a:pt x="745413" y="3303058"/>
                </a:lnTo>
                <a:lnTo>
                  <a:pt x="729231" y="3300404"/>
                </a:lnTo>
                <a:lnTo>
                  <a:pt x="677499" y="3292454"/>
                </a:lnTo>
                <a:lnTo>
                  <a:pt x="671549" y="3290943"/>
                </a:lnTo>
                <a:lnTo>
                  <a:pt x="668045" y="3290369"/>
                </a:lnTo>
                <a:lnTo>
                  <a:pt x="649955" y="3285459"/>
                </a:lnTo>
                <a:lnTo>
                  <a:pt x="606951" y="3274540"/>
                </a:lnTo>
                <a:lnTo>
                  <a:pt x="598251" y="3271430"/>
                </a:lnTo>
                <a:lnTo>
                  <a:pt x="593175" y="3270053"/>
                </a:lnTo>
                <a:lnTo>
                  <a:pt x="575868" y="3263431"/>
                </a:lnTo>
                <a:lnTo>
                  <a:pt x="538844" y="3250196"/>
                </a:lnTo>
                <a:lnTo>
                  <a:pt x="527609" y="3244962"/>
                </a:lnTo>
                <a:lnTo>
                  <a:pt x="521149" y="3242489"/>
                </a:lnTo>
                <a:lnTo>
                  <a:pt x="505478" y="3234651"/>
                </a:lnTo>
                <a:lnTo>
                  <a:pt x="473459" y="3219734"/>
                </a:lnTo>
                <a:lnTo>
                  <a:pt x="459942" y="3211874"/>
                </a:lnTo>
                <a:lnTo>
                  <a:pt x="452309" y="3208056"/>
                </a:lnTo>
                <a:lnTo>
                  <a:pt x="438588" y="3199457"/>
                </a:lnTo>
                <a:lnTo>
                  <a:pt x="411080" y="3183462"/>
                </a:lnTo>
                <a:lnTo>
                  <a:pt x="395573" y="3172501"/>
                </a:lnTo>
                <a:lnTo>
                  <a:pt x="387001" y="3167129"/>
                </a:lnTo>
                <a:lnTo>
                  <a:pt x="375324" y="3158188"/>
                </a:lnTo>
                <a:lnTo>
                  <a:pt x="351989" y="3141694"/>
                </a:lnTo>
                <a:lnTo>
                  <a:pt x="334821" y="3127173"/>
                </a:lnTo>
                <a:lnTo>
                  <a:pt x="325566" y="3120087"/>
                </a:lnTo>
                <a:lnTo>
                  <a:pt x="315914" y="3111182"/>
                </a:lnTo>
                <a:lnTo>
                  <a:pt x="296471" y="3094738"/>
                </a:lnTo>
                <a:lnTo>
                  <a:pt x="278003" y="3076209"/>
                </a:lnTo>
                <a:lnTo>
                  <a:pt x="268352" y="3067306"/>
                </a:lnTo>
                <a:lnTo>
                  <a:pt x="260632" y="3058782"/>
                </a:lnTo>
                <a:lnTo>
                  <a:pt x="244809" y="3042907"/>
                </a:lnTo>
                <a:lnTo>
                  <a:pt x="225428" y="3019909"/>
                </a:lnTo>
                <a:lnTo>
                  <a:pt x="215699" y="3009166"/>
                </a:lnTo>
                <a:lnTo>
                  <a:pt x="209775" y="3001333"/>
                </a:lnTo>
                <a:lnTo>
                  <a:pt x="197285" y="2986511"/>
                </a:lnTo>
                <a:lnTo>
                  <a:pt x="177398" y="2958527"/>
                </a:lnTo>
                <a:lnTo>
                  <a:pt x="167953" y="2946042"/>
                </a:lnTo>
                <a:lnTo>
                  <a:pt x="163651" y="2939184"/>
                </a:lnTo>
                <a:lnTo>
                  <a:pt x="154182" y="2925861"/>
                </a:lnTo>
                <a:lnTo>
                  <a:pt x="134194" y="2892235"/>
                </a:lnTo>
                <a:lnTo>
                  <a:pt x="125458" y="2878311"/>
                </a:lnTo>
                <a:lnTo>
                  <a:pt x="122573" y="2872686"/>
                </a:lnTo>
                <a:lnTo>
                  <a:pt x="115785" y="2861268"/>
                </a:lnTo>
                <a:lnTo>
                  <a:pt x="96055" y="2820976"/>
                </a:lnTo>
                <a:lnTo>
                  <a:pt x="88557" y="2806354"/>
                </a:lnTo>
                <a:lnTo>
                  <a:pt x="86856" y="2802190"/>
                </a:lnTo>
                <a:lnTo>
                  <a:pt x="82376" y="2793042"/>
                </a:lnTo>
                <a:lnTo>
                  <a:pt x="63097" y="2744021"/>
                </a:lnTo>
                <a:lnTo>
                  <a:pt x="57594" y="2730546"/>
                </a:lnTo>
                <a:lnTo>
                  <a:pt x="56818" y="2728052"/>
                </a:lnTo>
                <a:lnTo>
                  <a:pt x="54238" y="2721493"/>
                </a:lnTo>
                <a:lnTo>
                  <a:pt x="34884" y="2657597"/>
                </a:lnTo>
                <a:lnTo>
                  <a:pt x="32912" y="2651264"/>
                </a:lnTo>
                <a:lnTo>
                  <a:pt x="32773" y="2650627"/>
                </a:lnTo>
                <a:lnTo>
                  <a:pt x="31655" y="2646936"/>
                </a:lnTo>
                <a:cubicBezTo>
                  <a:pt x="18514" y="2596295"/>
                  <a:pt x="9264" y="2543856"/>
                  <a:pt x="4285" y="2490031"/>
                </a:cubicBezTo>
                <a:lnTo>
                  <a:pt x="4121" y="2486466"/>
                </a:lnTo>
                <a:lnTo>
                  <a:pt x="3772" y="2483791"/>
                </a:lnTo>
                <a:lnTo>
                  <a:pt x="1870" y="2439693"/>
                </a:lnTo>
                <a:lnTo>
                  <a:pt x="1" y="2439693"/>
                </a:lnTo>
                <a:lnTo>
                  <a:pt x="1" y="2396909"/>
                </a:lnTo>
                <a:lnTo>
                  <a:pt x="0" y="2396901"/>
                </a:lnTo>
                <a:lnTo>
                  <a:pt x="1" y="2396892"/>
                </a:lnTo>
                <a:lnTo>
                  <a:pt x="1" y="2396355"/>
                </a:lnTo>
                <a:lnTo>
                  <a:pt x="1" y="2387709"/>
                </a:lnTo>
                <a:lnTo>
                  <a:pt x="0" y="2387709"/>
                </a:lnTo>
                <a:lnTo>
                  <a:pt x="0" y="1833085"/>
                </a:lnTo>
                <a:lnTo>
                  <a:pt x="0" y="1833084"/>
                </a:lnTo>
                <a:lnTo>
                  <a:pt x="0" y="1833083"/>
                </a:lnTo>
                <a:lnTo>
                  <a:pt x="0" y="1475758"/>
                </a:lnTo>
                <a:lnTo>
                  <a:pt x="0" y="91194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85108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5D3C7B6-CC75-401E-9787-A9ACE4C59D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77350" y="0"/>
            <a:ext cx="2933700" cy="2463507"/>
          </a:xfrm>
          <a:custGeom>
            <a:avLst/>
            <a:gdLst>
              <a:gd name="connsiteX0" fmla="*/ 677230 w 2933700"/>
              <a:gd name="connsiteY0" fmla="*/ 0 h 2463507"/>
              <a:gd name="connsiteX1" fmla="*/ 910198 w 2933700"/>
              <a:gd name="connsiteY1" fmla="*/ 0 h 2463507"/>
              <a:gd name="connsiteX2" fmla="*/ 938962 w 2933700"/>
              <a:gd name="connsiteY2" fmla="*/ 0 h 2463507"/>
              <a:gd name="connsiteX3" fmla="*/ 956411 w 2933700"/>
              <a:gd name="connsiteY3" fmla="*/ 0 h 2463507"/>
              <a:gd name="connsiteX4" fmla="*/ 1051743 w 2933700"/>
              <a:gd name="connsiteY4" fmla="*/ 0 h 2463507"/>
              <a:gd name="connsiteX5" fmla="*/ 1062768 w 2933700"/>
              <a:gd name="connsiteY5" fmla="*/ 0 h 2463507"/>
              <a:gd name="connsiteX6" fmla="*/ 1204313 w 2933700"/>
              <a:gd name="connsiteY6" fmla="*/ 0 h 2463507"/>
              <a:gd name="connsiteX7" fmla="*/ 1268308 w 2933700"/>
              <a:gd name="connsiteY7" fmla="*/ 0 h 2463507"/>
              <a:gd name="connsiteX8" fmla="*/ 1598724 w 2933700"/>
              <a:gd name="connsiteY8" fmla="*/ 0 h 2463507"/>
              <a:gd name="connsiteX9" fmla="*/ 1616172 w 2933700"/>
              <a:gd name="connsiteY9" fmla="*/ 0 h 2463507"/>
              <a:gd name="connsiteX10" fmla="*/ 1722529 w 2933700"/>
              <a:gd name="connsiteY10" fmla="*/ 0 h 2463507"/>
              <a:gd name="connsiteX11" fmla="*/ 1751294 w 2933700"/>
              <a:gd name="connsiteY11" fmla="*/ 0 h 2463507"/>
              <a:gd name="connsiteX12" fmla="*/ 1768742 w 2933700"/>
              <a:gd name="connsiteY12" fmla="*/ 0 h 2463507"/>
              <a:gd name="connsiteX13" fmla="*/ 1864074 w 2933700"/>
              <a:gd name="connsiteY13" fmla="*/ 0 h 2463507"/>
              <a:gd name="connsiteX14" fmla="*/ 1928069 w 2933700"/>
              <a:gd name="connsiteY14" fmla="*/ 0 h 2463507"/>
              <a:gd name="connsiteX15" fmla="*/ 2080639 w 2933700"/>
              <a:gd name="connsiteY15" fmla="*/ 0 h 2463507"/>
              <a:gd name="connsiteX16" fmla="*/ 2256470 w 2933700"/>
              <a:gd name="connsiteY16" fmla="*/ 0 h 2463507"/>
              <a:gd name="connsiteX17" fmla="*/ 2256470 w 2933700"/>
              <a:gd name="connsiteY17" fmla="*/ 1 h 2463507"/>
              <a:gd name="connsiteX18" fmla="*/ 2323152 w 2933700"/>
              <a:gd name="connsiteY18" fmla="*/ 1 h 2463507"/>
              <a:gd name="connsiteX19" fmla="*/ 2355498 w 2933700"/>
              <a:gd name="connsiteY19" fmla="*/ 1 h 2463507"/>
              <a:gd name="connsiteX20" fmla="*/ 2933700 w 2933700"/>
              <a:gd name="connsiteY20" fmla="*/ 1 h 2463507"/>
              <a:gd name="connsiteX21" fmla="*/ 2933700 w 2933700"/>
              <a:gd name="connsiteY21" fmla="*/ 678959 h 2463507"/>
              <a:gd name="connsiteX22" fmla="*/ 2933700 w 2933700"/>
              <a:gd name="connsiteY22" fmla="*/ 1098732 h 2463507"/>
              <a:gd name="connsiteX23" fmla="*/ 2933700 w 2933700"/>
              <a:gd name="connsiteY23" fmla="*/ 1364768 h 2463507"/>
              <a:gd name="connsiteX24" fmla="*/ 2933700 w 2933700"/>
              <a:gd name="connsiteY24" fmla="*/ 1777698 h 2463507"/>
              <a:gd name="connsiteX25" fmla="*/ 2933700 w 2933700"/>
              <a:gd name="connsiteY25" fmla="*/ 1784134 h 2463507"/>
              <a:gd name="connsiteX26" fmla="*/ 2933700 w 2933700"/>
              <a:gd name="connsiteY26" fmla="*/ 1784534 h 2463507"/>
              <a:gd name="connsiteX27" fmla="*/ 2933700 w 2933700"/>
              <a:gd name="connsiteY27" fmla="*/ 1784541 h 2463507"/>
              <a:gd name="connsiteX28" fmla="*/ 2933700 w 2933700"/>
              <a:gd name="connsiteY28" fmla="*/ 1784547 h 2463507"/>
              <a:gd name="connsiteX29" fmla="*/ 2933700 w 2933700"/>
              <a:gd name="connsiteY29" fmla="*/ 1816401 h 2463507"/>
              <a:gd name="connsiteX30" fmla="*/ 2932325 w 2933700"/>
              <a:gd name="connsiteY30" fmla="*/ 1816401 h 2463507"/>
              <a:gd name="connsiteX31" fmla="*/ 2930926 w 2933700"/>
              <a:gd name="connsiteY31" fmla="*/ 1849232 h 2463507"/>
              <a:gd name="connsiteX32" fmla="*/ 2930669 w 2933700"/>
              <a:gd name="connsiteY32" fmla="*/ 1851224 h 2463507"/>
              <a:gd name="connsiteX33" fmla="*/ 2930549 w 2933700"/>
              <a:gd name="connsiteY33" fmla="*/ 1853877 h 2463507"/>
              <a:gd name="connsiteX34" fmla="*/ 2910418 w 2933700"/>
              <a:gd name="connsiteY34" fmla="*/ 1970697 h 2463507"/>
              <a:gd name="connsiteX35" fmla="*/ 2909594 w 2933700"/>
              <a:gd name="connsiteY35" fmla="*/ 1973444 h 2463507"/>
              <a:gd name="connsiteX36" fmla="*/ 2909492 w 2933700"/>
              <a:gd name="connsiteY36" fmla="*/ 1973919 h 2463507"/>
              <a:gd name="connsiteX37" fmla="*/ 2908041 w 2933700"/>
              <a:gd name="connsiteY37" fmla="*/ 1978634 h 2463507"/>
              <a:gd name="connsiteX38" fmla="*/ 2893806 w 2933700"/>
              <a:gd name="connsiteY38" fmla="*/ 2026206 h 2463507"/>
              <a:gd name="connsiteX39" fmla="*/ 2891908 w 2933700"/>
              <a:gd name="connsiteY39" fmla="*/ 2031089 h 2463507"/>
              <a:gd name="connsiteX40" fmla="*/ 2891338 w 2933700"/>
              <a:gd name="connsiteY40" fmla="*/ 2032946 h 2463507"/>
              <a:gd name="connsiteX41" fmla="*/ 2887290 w 2933700"/>
              <a:gd name="connsiteY41" fmla="*/ 2042979 h 2463507"/>
              <a:gd name="connsiteX42" fmla="*/ 2873108 w 2933700"/>
              <a:gd name="connsiteY42" fmla="*/ 2079476 h 2463507"/>
              <a:gd name="connsiteX43" fmla="*/ 2869812 w 2933700"/>
              <a:gd name="connsiteY43" fmla="*/ 2086287 h 2463507"/>
              <a:gd name="connsiteX44" fmla="*/ 2868564 w 2933700"/>
              <a:gd name="connsiteY44" fmla="*/ 2089386 h 2463507"/>
              <a:gd name="connsiteX45" fmla="*/ 2863048 w 2933700"/>
              <a:gd name="connsiteY45" fmla="*/ 2100273 h 2463507"/>
              <a:gd name="connsiteX46" fmla="*/ 2848535 w 2933700"/>
              <a:gd name="connsiteY46" fmla="*/ 2130271 h 2463507"/>
              <a:gd name="connsiteX47" fmla="*/ 2843543 w 2933700"/>
              <a:gd name="connsiteY47" fmla="*/ 2138772 h 2463507"/>
              <a:gd name="connsiteX48" fmla="*/ 2841421 w 2933700"/>
              <a:gd name="connsiteY48" fmla="*/ 2142959 h 2463507"/>
              <a:gd name="connsiteX49" fmla="*/ 2834995 w 2933700"/>
              <a:gd name="connsiteY49" fmla="*/ 2153326 h 2463507"/>
              <a:gd name="connsiteX50" fmla="*/ 2820292 w 2933700"/>
              <a:gd name="connsiteY50" fmla="*/ 2178362 h 2463507"/>
              <a:gd name="connsiteX51" fmla="*/ 2813327 w 2933700"/>
              <a:gd name="connsiteY51" fmla="*/ 2188281 h 2463507"/>
              <a:gd name="connsiteX52" fmla="*/ 2810163 w 2933700"/>
              <a:gd name="connsiteY52" fmla="*/ 2193387 h 2463507"/>
              <a:gd name="connsiteX53" fmla="*/ 2803216 w 2933700"/>
              <a:gd name="connsiteY53" fmla="*/ 2202682 h 2463507"/>
              <a:gd name="connsiteX54" fmla="*/ 2788588 w 2933700"/>
              <a:gd name="connsiteY54" fmla="*/ 2223518 h 2463507"/>
              <a:gd name="connsiteX55" fmla="*/ 2779400 w 2933700"/>
              <a:gd name="connsiteY55" fmla="*/ 2234553 h 2463507"/>
              <a:gd name="connsiteX56" fmla="*/ 2775043 w 2933700"/>
              <a:gd name="connsiteY56" fmla="*/ 2240384 h 2463507"/>
              <a:gd name="connsiteX57" fmla="*/ 2767888 w 2933700"/>
              <a:gd name="connsiteY57" fmla="*/ 2248382 h 2463507"/>
              <a:gd name="connsiteX58" fmla="*/ 2753631 w 2933700"/>
              <a:gd name="connsiteY58" fmla="*/ 2265505 h 2463507"/>
              <a:gd name="connsiteX59" fmla="*/ 2741992 w 2933700"/>
              <a:gd name="connsiteY59" fmla="*/ 2277323 h 2463507"/>
              <a:gd name="connsiteX60" fmla="*/ 2736314 w 2933700"/>
              <a:gd name="connsiteY60" fmla="*/ 2283671 h 2463507"/>
              <a:gd name="connsiteX61" fmla="*/ 2729216 w 2933700"/>
              <a:gd name="connsiteY61" fmla="*/ 2290299 h 2463507"/>
              <a:gd name="connsiteX62" fmla="*/ 2715632 w 2933700"/>
              <a:gd name="connsiteY62" fmla="*/ 2304095 h 2463507"/>
              <a:gd name="connsiteX63" fmla="*/ 2701330 w 2933700"/>
              <a:gd name="connsiteY63" fmla="*/ 2316337 h 2463507"/>
              <a:gd name="connsiteX64" fmla="*/ 2694230 w 2933700"/>
              <a:gd name="connsiteY64" fmla="*/ 2322966 h 2463507"/>
              <a:gd name="connsiteX65" fmla="*/ 2687423 w 2933700"/>
              <a:gd name="connsiteY65" fmla="*/ 2328243 h 2463507"/>
              <a:gd name="connsiteX66" fmla="*/ 2674795 w 2933700"/>
              <a:gd name="connsiteY66" fmla="*/ 2339053 h 2463507"/>
              <a:gd name="connsiteX67" fmla="*/ 2657631 w 2933700"/>
              <a:gd name="connsiteY67" fmla="*/ 2351333 h 2463507"/>
              <a:gd name="connsiteX68" fmla="*/ 2649042 w 2933700"/>
              <a:gd name="connsiteY68" fmla="*/ 2357991 h 2463507"/>
              <a:gd name="connsiteX69" fmla="*/ 2642737 w 2933700"/>
              <a:gd name="connsiteY69" fmla="*/ 2361990 h 2463507"/>
              <a:gd name="connsiteX70" fmla="*/ 2631332 w 2933700"/>
              <a:gd name="connsiteY70" fmla="*/ 2370151 h 2463507"/>
              <a:gd name="connsiteX71" fmla="*/ 2611097 w 2933700"/>
              <a:gd name="connsiteY71" fmla="*/ 2382059 h 2463507"/>
              <a:gd name="connsiteX72" fmla="*/ 2601006 w 2933700"/>
              <a:gd name="connsiteY72" fmla="*/ 2388462 h 2463507"/>
              <a:gd name="connsiteX73" fmla="*/ 2595390 w 2933700"/>
              <a:gd name="connsiteY73" fmla="*/ 2391304 h 2463507"/>
              <a:gd name="connsiteX74" fmla="*/ 2585449 w 2933700"/>
              <a:gd name="connsiteY74" fmla="*/ 2397156 h 2463507"/>
              <a:gd name="connsiteX75" fmla="*/ 2561897 w 2933700"/>
              <a:gd name="connsiteY75" fmla="*/ 2408262 h 2463507"/>
              <a:gd name="connsiteX76" fmla="*/ 2550370 w 2933700"/>
              <a:gd name="connsiteY76" fmla="*/ 2414098 h 2463507"/>
              <a:gd name="connsiteX77" fmla="*/ 2545618 w 2933700"/>
              <a:gd name="connsiteY77" fmla="*/ 2415939 h 2463507"/>
              <a:gd name="connsiteX78" fmla="*/ 2537355 w 2933700"/>
              <a:gd name="connsiteY78" fmla="*/ 2419835 h 2463507"/>
              <a:gd name="connsiteX79" fmla="*/ 2510121 w 2933700"/>
              <a:gd name="connsiteY79" fmla="*/ 2429690 h 2463507"/>
              <a:gd name="connsiteX80" fmla="*/ 2497390 w 2933700"/>
              <a:gd name="connsiteY80" fmla="*/ 2434620 h 2463507"/>
              <a:gd name="connsiteX81" fmla="*/ 2493658 w 2933700"/>
              <a:gd name="connsiteY81" fmla="*/ 2435645 h 2463507"/>
              <a:gd name="connsiteX82" fmla="*/ 2487258 w 2933700"/>
              <a:gd name="connsiteY82" fmla="*/ 2437960 h 2463507"/>
              <a:gd name="connsiteX83" fmla="*/ 2455627 w 2933700"/>
              <a:gd name="connsiteY83" fmla="*/ 2446089 h 2463507"/>
              <a:gd name="connsiteX84" fmla="*/ 2442320 w 2933700"/>
              <a:gd name="connsiteY84" fmla="*/ 2449745 h 2463507"/>
              <a:gd name="connsiteX85" fmla="*/ 2439743 w 2933700"/>
              <a:gd name="connsiteY85" fmla="*/ 2450173 h 2463507"/>
              <a:gd name="connsiteX86" fmla="*/ 2435367 w 2933700"/>
              <a:gd name="connsiteY86" fmla="*/ 2451298 h 2463507"/>
              <a:gd name="connsiteX87" fmla="*/ 2397316 w 2933700"/>
              <a:gd name="connsiteY87" fmla="*/ 2457216 h 2463507"/>
              <a:gd name="connsiteX88" fmla="*/ 2385413 w 2933700"/>
              <a:gd name="connsiteY88" fmla="*/ 2459193 h 2463507"/>
              <a:gd name="connsiteX89" fmla="*/ 2384160 w 2933700"/>
              <a:gd name="connsiteY89" fmla="*/ 2459263 h 2463507"/>
              <a:gd name="connsiteX90" fmla="*/ 2381890 w 2933700"/>
              <a:gd name="connsiteY90" fmla="*/ 2459615 h 2463507"/>
              <a:gd name="connsiteX91" fmla="*/ 2355498 w 2933700"/>
              <a:gd name="connsiteY91" fmla="*/ 2461003 h 2463507"/>
              <a:gd name="connsiteX92" fmla="*/ 2355498 w 2933700"/>
              <a:gd name="connsiteY92" fmla="*/ 2462696 h 2463507"/>
              <a:gd name="connsiteX93" fmla="*/ 2331166 w 2933700"/>
              <a:gd name="connsiteY93" fmla="*/ 2462696 h 2463507"/>
              <a:gd name="connsiteX94" fmla="*/ 2323335 w 2933700"/>
              <a:gd name="connsiteY94" fmla="*/ 2462696 h 2463507"/>
              <a:gd name="connsiteX95" fmla="*/ 2323152 w 2933700"/>
              <a:gd name="connsiteY95" fmla="*/ 2462696 h 2463507"/>
              <a:gd name="connsiteX96" fmla="*/ 2323151 w 2933700"/>
              <a:gd name="connsiteY96" fmla="*/ 2462696 h 2463507"/>
              <a:gd name="connsiteX97" fmla="*/ 2323151 w 2933700"/>
              <a:gd name="connsiteY97" fmla="*/ 2463507 h 2463507"/>
              <a:gd name="connsiteX98" fmla="*/ 2060750 w 2933700"/>
              <a:gd name="connsiteY98" fmla="*/ 2463507 h 2463507"/>
              <a:gd name="connsiteX99" fmla="*/ 2036578 w 2933700"/>
              <a:gd name="connsiteY99" fmla="*/ 2463507 h 2463507"/>
              <a:gd name="connsiteX100" fmla="*/ 2036578 w 2933700"/>
              <a:gd name="connsiteY100" fmla="*/ 2463506 h 2463507"/>
              <a:gd name="connsiteX101" fmla="*/ 1751294 w 2933700"/>
              <a:gd name="connsiteY101" fmla="*/ 2463506 h 2463507"/>
              <a:gd name="connsiteX102" fmla="*/ 1609747 w 2933700"/>
              <a:gd name="connsiteY102" fmla="*/ 2463506 h 2463507"/>
              <a:gd name="connsiteX103" fmla="*/ 1598723 w 2933700"/>
              <a:gd name="connsiteY103" fmla="*/ 2463506 h 2463507"/>
              <a:gd name="connsiteX104" fmla="*/ 1457178 w 2933700"/>
              <a:gd name="connsiteY104" fmla="*/ 2463506 h 2463507"/>
              <a:gd name="connsiteX105" fmla="*/ 1401748 w 2933700"/>
              <a:gd name="connsiteY105" fmla="*/ 2463506 h 2463507"/>
              <a:gd name="connsiteX106" fmla="*/ 1401748 w 2933700"/>
              <a:gd name="connsiteY106" fmla="*/ 2463507 h 2463507"/>
              <a:gd name="connsiteX107" fmla="*/ 610548 w 2933700"/>
              <a:gd name="connsiteY107" fmla="*/ 2463507 h 2463507"/>
              <a:gd name="connsiteX108" fmla="*/ 578200 w 2933700"/>
              <a:gd name="connsiteY108" fmla="*/ 2463507 h 2463507"/>
              <a:gd name="connsiteX109" fmla="*/ 0 w 2933700"/>
              <a:gd name="connsiteY109" fmla="*/ 2463507 h 2463507"/>
              <a:gd name="connsiteX110" fmla="*/ 0 w 2933700"/>
              <a:gd name="connsiteY110" fmla="*/ 1784548 h 2463507"/>
              <a:gd name="connsiteX111" fmla="*/ 0 w 2933700"/>
              <a:gd name="connsiteY111" fmla="*/ 1364777 h 2463507"/>
              <a:gd name="connsiteX112" fmla="*/ 0 w 2933700"/>
              <a:gd name="connsiteY112" fmla="*/ 1098741 h 2463507"/>
              <a:gd name="connsiteX113" fmla="*/ 0 w 2933700"/>
              <a:gd name="connsiteY113" fmla="*/ 1098740 h 2463507"/>
              <a:gd name="connsiteX114" fmla="*/ 0 w 2933700"/>
              <a:gd name="connsiteY114" fmla="*/ 1098739 h 2463507"/>
              <a:gd name="connsiteX115" fmla="*/ 0 w 2933700"/>
              <a:gd name="connsiteY115" fmla="*/ 685811 h 2463507"/>
              <a:gd name="connsiteX116" fmla="*/ 0 w 2933700"/>
              <a:gd name="connsiteY116" fmla="*/ 679373 h 2463507"/>
              <a:gd name="connsiteX117" fmla="*/ 0 w 2933700"/>
              <a:gd name="connsiteY117" fmla="*/ 678974 h 2463507"/>
              <a:gd name="connsiteX118" fmla="*/ 0 w 2933700"/>
              <a:gd name="connsiteY118" fmla="*/ 678967 h 2463507"/>
              <a:gd name="connsiteX119" fmla="*/ 0 w 2933700"/>
              <a:gd name="connsiteY119" fmla="*/ 678962 h 2463507"/>
              <a:gd name="connsiteX120" fmla="*/ 0 w 2933700"/>
              <a:gd name="connsiteY120" fmla="*/ 647108 h 2463507"/>
              <a:gd name="connsiteX121" fmla="*/ 1375 w 2933700"/>
              <a:gd name="connsiteY121" fmla="*/ 647108 h 2463507"/>
              <a:gd name="connsiteX122" fmla="*/ 2774 w 2933700"/>
              <a:gd name="connsiteY122" fmla="*/ 614276 h 2463507"/>
              <a:gd name="connsiteX123" fmla="*/ 3031 w 2933700"/>
              <a:gd name="connsiteY123" fmla="*/ 612285 h 2463507"/>
              <a:gd name="connsiteX124" fmla="*/ 3151 w 2933700"/>
              <a:gd name="connsiteY124" fmla="*/ 609630 h 2463507"/>
              <a:gd name="connsiteX125" fmla="*/ 23283 w 2933700"/>
              <a:gd name="connsiteY125" fmla="*/ 492812 h 2463507"/>
              <a:gd name="connsiteX126" fmla="*/ 24106 w 2933700"/>
              <a:gd name="connsiteY126" fmla="*/ 490063 h 2463507"/>
              <a:gd name="connsiteX127" fmla="*/ 24208 w 2933700"/>
              <a:gd name="connsiteY127" fmla="*/ 489589 h 2463507"/>
              <a:gd name="connsiteX128" fmla="*/ 25658 w 2933700"/>
              <a:gd name="connsiteY128" fmla="*/ 484874 h 2463507"/>
              <a:gd name="connsiteX129" fmla="*/ 39895 w 2933700"/>
              <a:gd name="connsiteY129" fmla="*/ 437302 h 2463507"/>
              <a:gd name="connsiteX130" fmla="*/ 41793 w 2933700"/>
              <a:gd name="connsiteY130" fmla="*/ 432419 h 2463507"/>
              <a:gd name="connsiteX131" fmla="*/ 42363 w 2933700"/>
              <a:gd name="connsiteY131" fmla="*/ 430563 h 2463507"/>
              <a:gd name="connsiteX132" fmla="*/ 46410 w 2933700"/>
              <a:gd name="connsiteY132" fmla="*/ 420529 h 2463507"/>
              <a:gd name="connsiteX133" fmla="*/ 60591 w 2933700"/>
              <a:gd name="connsiteY133" fmla="*/ 384033 h 2463507"/>
              <a:gd name="connsiteX134" fmla="*/ 63886 w 2933700"/>
              <a:gd name="connsiteY134" fmla="*/ 377222 h 2463507"/>
              <a:gd name="connsiteX135" fmla="*/ 65138 w 2933700"/>
              <a:gd name="connsiteY135" fmla="*/ 374121 h 2463507"/>
              <a:gd name="connsiteX136" fmla="*/ 70652 w 2933700"/>
              <a:gd name="connsiteY136" fmla="*/ 363236 h 2463507"/>
              <a:gd name="connsiteX137" fmla="*/ 85165 w 2933700"/>
              <a:gd name="connsiteY137" fmla="*/ 333237 h 2463507"/>
              <a:gd name="connsiteX138" fmla="*/ 90158 w 2933700"/>
              <a:gd name="connsiteY138" fmla="*/ 324736 h 2463507"/>
              <a:gd name="connsiteX139" fmla="*/ 92280 w 2933700"/>
              <a:gd name="connsiteY139" fmla="*/ 320549 h 2463507"/>
              <a:gd name="connsiteX140" fmla="*/ 98706 w 2933700"/>
              <a:gd name="connsiteY140" fmla="*/ 310181 h 2463507"/>
              <a:gd name="connsiteX141" fmla="*/ 113408 w 2933700"/>
              <a:gd name="connsiteY141" fmla="*/ 285147 h 2463507"/>
              <a:gd name="connsiteX142" fmla="*/ 120373 w 2933700"/>
              <a:gd name="connsiteY142" fmla="*/ 275227 h 2463507"/>
              <a:gd name="connsiteX143" fmla="*/ 123537 w 2933700"/>
              <a:gd name="connsiteY143" fmla="*/ 270121 h 2463507"/>
              <a:gd name="connsiteX144" fmla="*/ 130484 w 2933700"/>
              <a:gd name="connsiteY144" fmla="*/ 260827 h 2463507"/>
              <a:gd name="connsiteX145" fmla="*/ 145113 w 2933700"/>
              <a:gd name="connsiteY145" fmla="*/ 239991 h 2463507"/>
              <a:gd name="connsiteX146" fmla="*/ 154299 w 2933700"/>
              <a:gd name="connsiteY146" fmla="*/ 228956 h 2463507"/>
              <a:gd name="connsiteX147" fmla="*/ 158657 w 2933700"/>
              <a:gd name="connsiteY147" fmla="*/ 223124 h 2463507"/>
              <a:gd name="connsiteX148" fmla="*/ 165813 w 2933700"/>
              <a:gd name="connsiteY148" fmla="*/ 215125 h 2463507"/>
              <a:gd name="connsiteX149" fmla="*/ 180069 w 2933700"/>
              <a:gd name="connsiteY149" fmla="*/ 198003 h 2463507"/>
              <a:gd name="connsiteX150" fmla="*/ 191707 w 2933700"/>
              <a:gd name="connsiteY150" fmla="*/ 186184 h 2463507"/>
              <a:gd name="connsiteX151" fmla="*/ 197386 w 2933700"/>
              <a:gd name="connsiteY151" fmla="*/ 179838 h 2463507"/>
              <a:gd name="connsiteX152" fmla="*/ 204483 w 2933700"/>
              <a:gd name="connsiteY152" fmla="*/ 173209 h 2463507"/>
              <a:gd name="connsiteX153" fmla="*/ 218069 w 2933700"/>
              <a:gd name="connsiteY153" fmla="*/ 159414 h 2463507"/>
              <a:gd name="connsiteX154" fmla="*/ 232369 w 2933700"/>
              <a:gd name="connsiteY154" fmla="*/ 147172 h 2463507"/>
              <a:gd name="connsiteX155" fmla="*/ 239470 w 2933700"/>
              <a:gd name="connsiteY155" fmla="*/ 140541 h 2463507"/>
              <a:gd name="connsiteX156" fmla="*/ 246276 w 2933700"/>
              <a:gd name="connsiteY156" fmla="*/ 135266 h 2463507"/>
              <a:gd name="connsiteX157" fmla="*/ 258905 w 2933700"/>
              <a:gd name="connsiteY157" fmla="*/ 124455 h 2463507"/>
              <a:gd name="connsiteX158" fmla="*/ 276069 w 2933700"/>
              <a:gd name="connsiteY158" fmla="*/ 112174 h 2463507"/>
              <a:gd name="connsiteX159" fmla="*/ 284657 w 2933700"/>
              <a:gd name="connsiteY159" fmla="*/ 105518 h 2463507"/>
              <a:gd name="connsiteX160" fmla="*/ 290963 w 2933700"/>
              <a:gd name="connsiteY160" fmla="*/ 101518 h 2463507"/>
              <a:gd name="connsiteX161" fmla="*/ 302368 w 2933700"/>
              <a:gd name="connsiteY161" fmla="*/ 93357 h 2463507"/>
              <a:gd name="connsiteX162" fmla="*/ 322603 w 2933700"/>
              <a:gd name="connsiteY162" fmla="*/ 81449 h 2463507"/>
              <a:gd name="connsiteX163" fmla="*/ 332694 w 2933700"/>
              <a:gd name="connsiteY163" fmla="*/ 75047 h 2463507"/>
              <a:gd name="connsiteX164" fmla="*/ 338309 w 2933700"/>
              <a:gd name="connsiteY164" fmla="*/ 72205 h 2463507"/>
              <a:gd name="connsiteX165" fmla="*/ 348251 w 2933700"/>
              <a:gd name="connsiteY165" fmla="*/ 66352 h 2463507"/>
              <a:gd name="connsiteX166" fmla="*/ 371803 w 2933700"/>
              <a:gd name="connsiteY166" fmla="*/ 55247 h 2463507"/>
              <a:gd name="connsiteX167" fmla="*/ 383330 w 2933700"/>
              <a:gd name="connsiteY167" fmla="*/ 49411 h 2463507"/>
              <a:gd name="connsiteX168" fmla="*/ 388082 w 2933700"/>
              <a:gd name="connsiteY168" fmla="*/ 47570 h 2463507"/>
              <a:gd name="connsiteX169" fmla="*/ 396345 w 2933700"/>
              <a:gd name="connsiteY169" fmla="*/ 43673 h 2463507"/>
              <a:gd name="connsiteX170" fmla="*/ 423579 w 2933700"/>
              <a:gd name="connsiteY170" fmla="*/ 33819 h 2463507"/>
              <a:gd name="connsiteX171" fmla="*/ 436308 w 2933700"/>
              <a:gd name="connsiteY171" fmla="*/ 28889 h 2463507"/>
              <a:gd name="connsiteX172" fmla="*/ 440042 w 2933700"/>
              <a:gd name="connsiteY172" fmla="*/ 27863 h 2463507"/>
              <a:gd name="connsiteX173" fmla="*/ 446442 w 2933700"/>
              <a:gd name="connsiteY173" fmla="*/ 25548 h 2463507"/>
              <a:gd name="connsiteX174" fmla="*/ 478073 w 2933700"/>
              <a:gd name="connsiteY174" fmla="*/ 17419 h 2463507"/>
              <a:gd name="connsiteX175" fmla="*/ 491380 w 2933700"/>
              <a:gd name="connsiteY175" fmla="*/ 13763 h 2463507"/>
              <a:gd name="connsiteX176" fmla="*/ 493956 w 2933700"/>
              <a:gd name="connsiteY176" fmla="*/ 13335 h 2463507"/>
              <a:gd name="connsiteX177" fmla="*/ 498333 w 2933700"/>
              <a:gd name="connsiteY177" fmla="*/ 12211 h 2463507"/>
              <a:gd name="connsiteX178" fmla="*/ 536385 w 2933700"/>
              <a:gd name="connsiteY178" fmla="*/ 6291 h 2463507"/>
              <a:gd name="connsiteX179" fmla="*/ 548287 w 2933700"/>
              <a:gd name="connsiteY179" fmla="*/ 4316 h 2463507"/>
              <a:gd name="connsiteX180" fmla="*/ 549541 w 2933700"/>
              <a:gd name="connsiteY180" fmla="*/ 4245 h 2463507"/>
              <a:gd name="connsiteX181" fmla="*/ 551810 w 2933700"/>
              <a:gd name="connsiteY181" fmla="*/ 3892 h 2463507"/>
              <a:gd name="connsiteX182" fmla="*/ 578200 w 2933700"/>
              <a:gd name="connsiteY182" fmla="*/ 2505 h 2463507"/>
              <a:gd name="connsiteX183" fmla="*/ 578200 w 2933700"/>
              <a:gd name="connsiteY183" fmla="*/ 812 h 2463507"/>
              <a:gd name="connsiteX184" fmla="*/ 602533 w 2933700"/>
              <a:gd name="connsiteY184" fmla="*/ 812 h 2463507"/>
              <a:gd name="connsiteX185" fmla="*/ 610365 w 2933700"/>
              <a:gd name="connsiteY185" fmla="*/ 812 h 2463507"/>
              <a:gd name="connsiteX186" fmla="*/ 610548 w 2933700"/>
              <a:gd name="connsiteY186" fmla="*/ 812 h 2463507"/>
              <a:gd name="connsiteX187" fmla="*/ 610548 w 2933700"/>
              <a:gd name="connsiteY187" fmla="*/ 1 h 2463507"/>
              <a:gd name="connsiteX188" fmla="*/ 677230 w 2933700"/>
              <a:gd name="connsiteY188" fmla="*/ 1 h 2463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2933700" h="2463507">
                <a:moveTo>
                  <a:pt x="677230" y="0"/>
                </a:moveTo>
                <a:lnTo>
                  <a:pt x="910198" y="0"/>
                </a:lnTo>
                <a:lnTo>
                  <a:pt x="938962" y="0"/>
                </a:lnTo>
                <a:lnTo>
                  <a:pt x="956411" y="0"/>
                </a:lnTo>
                <a:lnTo>
                  <a:pt x="1051743" y="0"/>
                </a:lnTo>
                <a:lnTo>
                  <a:pt x="1062768" y="0"/>
                </a:lnTo>
                <a:lnTo>
                  <a:pt x="1204313" y="0"/>
                </a:lnTo>
                <a:lnTo>
                  <a:pt x="1268308" y="0"/>
                </a:lnTo>
                <a:lnTo>
                  <a:pt x="1598724" y="0"/>
                </a:lnTo>
                <a:lnTo>
                  <a:pt x="1616172" y="0"/>
                </a:lnTo>
                <a:lnTo>
                  <a:pt x="1722529" y="0"/>
                </a:lnTo>
                <a:lnTo>
                  <a:pt x="1751294" y="0"/>
                </a:lnTo>
                <a:lnTo>
                  <a:pt x="1768742" y="0"/>
                </a:lnTo>
                <a:lnTo>
                  <a:pt x="1864074" y="0"/>
                </a:lnTo>
                <a:lnTo>
                  <a:pt x="1928069" y="0"/>
                </a:lnTo>
                <a:lnTo>
                  <a:pt x="2080639" y="0"/>
                </a:lnTo>
                <a:lnTo>
                  <a:pt x="2256470" y="0"/>
                </a:lnTo>
                <a:lnTo>
                  <a:pt x="2256470" y="1"/>
                </a:lnTo>
                <a:lnTo>
                  <a:pt x="2323152" y="1"/>
                </a:lnTo>
                <a:lnTo>
                  <a:pt x="2355498" y="1"/>
                </a:lnTo>
                <a:lnTo>
                  <a:pt x="2933700" y="1"/>
                </a:lnTo>
                <a:lnTo>
                  <a:pt x="2933700" y="678959"/>
                </a:lnTo>
                <a:lnTo>
                  <a:pt x="2933700" y="1098732"/>
                </a:lnTo>
                <a:lnTo>
                  <a:pt x="2933700" y="1364768"/>
                </a:lnTo>
                <a:lnTo>
                  <a:pt x="2933700" y="1777698"/>
                </a:lnTo>
                <a:lnTo>
                  <a:pt x="2933700" y="1784134"/>
                </a:lnTo>
                <a:lnTo>
                  <a:pt x="2933700" y="1784534"/>
                </a:lnTo>
                <a:lnTo>
                  <a:pt x="2933700" y="1784541"/>
                </a:lnTo>
                <a:lnTo>
                  <a:pt x="2933700" y="1784547"/>
                </a:lnTo>
                <a:lnTo>
                  <a:pt x="2933700" y="1816401"/>
                </a:lnTo>
                <a:lnTo>
                  <a:pt x="2932325" y="1816401"/>
                </a:lnTo>
                <a:lnTo>
                  <a:pt x="2930926" y="1849232"/>
                </a:lnTo>
                <a:lnTo>
                  <a:pt x="2930669" y="1851224"/>
                </a:lnTo>
                <a:lnTo>
                  <a:pt x="2930549" y="1853877"/>
                </a:lnTo>
                <a:cubicBezTo>
                  <a:pt x="2926886" y="1893951"/>
                  <a:pt x="2920084" y="1932994"/>
                  <a:pt x="2910418" y="1970697"/>
                </a:cubicBezTo>
                <a:lnTo>
                  <a:pt x="2909594" y="1973444"/>
                </a:lnTo>
                <a:lnTo>
                  <a:pt x="2909492" y="1973919"/>
                </a:lnTo>
                <a:lnTo>
                  <a:pt x="2908041" y="1978634"/>
                </a:lnTo>
                <a:lnTo>
                  <a:pt x="2893806" y="2026206"/>
                </a:lnTo>
                <a:lnTo>
                  <a:pt x="2891908" y="2031089"/>
                </a:lnTo>
                <a:lnTo>
                  <a:pt x="2891338" y="2032946"/>
                </a:lnTo>
                <a:lnTo>
                  <a:pt x="2887290" y="2042979"/>
                </a:lnTo>
                <a:lnTo>
                  <a:pt x="2873108" y="2079476"/>
                </a:lnTo>
                <a:lnTo>
                  <a:pt x="2869812" y="2086287"/>
                </a:lnTo>
                <a:lnTo>
                  <a:pt x="2868564" y="2089386"/>
                </a:lnTo>
                <a:lnTo>
                  <a:pt x="2863048" y="2100273"/>
                </a:lnTo>
                <a:lnTo>
                  <a:pt x="2848535" y="2130271"/>
                </a:lnTo>
                <a:lnTo>
                  <a:pt x="2843543" y="2138772"/>
                </a:lnTo>
                <a:lnTo>
                  <a:pt x="2841421" y="2142959"/>
                </a:lnTo>
                <a:lnTo>
                  <a:pt x="2834995" y="2153326"/>
                </a:lnTo>
                <a:lnTo>
                  <a:pt x="2820292" y="2178362"/>
                </a:lnTo>
                <a:lnTo>
                  <a:pt x="2813327" y="2188281"/>
                </a:lnTo>
                <a:lnTo>
                  <a:pt x="2810163" y="2193387"/>
                </a:lnTo>
                <a:lnTo>
                  <a:pt x="2803216" y="2202682"/>
                </a:lnTo>
                <a:lnTo>
                  <a:pt x="2788588" y="2223518"/>
                </a:lnTo>
                <a:lnTo>
                  <a:pt x="2779400" y="2234553"/>
                </a:lnTo>
                <a:lnTo>
                  <a:pt x="2775043" y="2240384"/>
                </a:lnTo>
                <a:lnTo>
                  <a:pt x="2767888" y="2248382"/>
                </a:lnTo>
                <a:lnTo>
                  <a:pt x="2753631" y="2265505"/>
                </a:lnTo>
                <a:lnTo>
                  <a:pt x="2741992" y="2277323"/>
                </a:lnTo>
                <a:lnTo>
                  <a:pt x="2736314" y="2283671"/>
                </a:lnTo>
                <a:lnTo>
                  <a:pt x="2729216" y="2290299"/>
                </a:lnTo>
                <a:lnTo>
                  <a:pt x="2715632" y="2304095"/>
                </a:lnTo>
                <a:lnTo>
                  <a:pt x="2701330" y="2316337"/>
                </a:lnTo>
                <a:lnTo>
                  <a:pt x="2694230" y="2322966"/>
                </a:lnTo>
                <a:lnTo>
                  <a:pt x="2687423" y="2328243"/>
                </a:lnTo>
                <a:lnTo>
                  <a:pt x="2674795" y="2339053"/>
                </a:lnTo>
                <a:lnTo>
                  <a:pt x="2657631" y="2351333"/>
                </a:lnTo>
                <a:lnTo>
                  <a:pt x="2649042" y="2357991"/>
                </a:lnTo>
                <a:lnTo>
                  <a:pt x="2642737" y="2361990"/>
                </a:lnTo>
                <a:lnTo>
                  <a:pt x="2631332" y="2370151"/>
                </a:lnTo>
                <a:lnTo>
                  <a:pt x="2611097" y="2382059"/>
                </a:lnTo>
                <a:lnTo>
                  <a:pt x="2601006" y="2388462"/>
                </a:lnTo>
                <a:lnTo>
                  <a:pt x="2595390" y="2391304"/>
                </a:lnTo>
                <a:lnTo>
                  <a:pt x="2585449" y="2397156"/>
                </a:lnTo>
                <a:lnTo>
                  <a:pt x="2561897" y="2408262"/>
                </a:lnTo>
                <a:lnTo>
                  <a:pt x="2550370" y="2414098"/>
                </a:lnTo>
                <a:lnTo>
                  <a:pt x="2545618" y="2415939"/>
                </a:lnTo>
                <a:lnTo>
                  <a:pt x="2537355" y="2419835"/>
                </a:lnTo>
                <a:lnTo>
                  <a:pt x="2510121" y="2429690"/>
                </a:lnTo>
                <a:lnTo>
                  <a:pt x="2497390" y="2434620"/>
                </a:lnTo>
                <a:lnTo>
                  <a:pt x="2493658" y="2435645"/>
                </a:lnTo>
                <a:lnTo>
                  <a:pt x="2487258" y="2437960"/>
                </a:lnTo>
                <a:lnTo>
                  <a:pt x="2455627" y="2446089"/>
                </a:lnTo>
                <a:lnTo>
                  <a:pt x="2442320" y="2449745"/>
                </a:lnTo>
                <a:lnTo>
                  <a:pt x="2439743" y="2450173"/>
                </a:lnTo>
                <a:lnTo>
                  <a:pt x="2435367" y="2451298"/>
                </a:lnTo>
                <a:lnTo>
                  <a:pt x="2397316" y="2457216"/>
                </a:lnTo>
                <a:lnTo>
                  <a:pt x="2385413" y="2459193"/>
                </a:lnTo>
                <a:lnTo>
                  <a:pt x="2384160" y="2459263"/>
                </a:lnTo>
                <a:lnTo>
                  <a:pt x="2381890" y="2459615"/>
                </a:lnTo>
                <a:lnTo>
                  <a:pt x="2355498" y="2461003"/>
                </a:lnTo>
                <a:lnTo>
                  <a:pt x="2355498" y="2462696"/>
                </a:lnTo>
                <a:lnTo>
                  <a:pt x="2331166" y="2462696"/>
                </a:lnTo>
                <a:lnTo>
                  <a:pt x="2323335" y="2462696"/>
                </a:lnTo>
                <a:lnTo>
                  <a:pt x="2323152" y="2462696"/>
                </a:lnTo>
                <a:lnTo>
                  <a:pt x="2323151" y="2462696"/>
                </a:lnTo>
                <a:lnTo>
                  <a:pt x="2323151" y="2463507"/>
                </a:lnTo>
                <a:lnTo>
                  <a:pt x="2060750" y="2463507"/>
                </a:lnTo>
                <a:lnTo>
                  <a:pt x="2036578" y="2463507"/>
                </a:lnTo>
                <a:lnTo>
                  <a:pt x="2036578" y="2463506"/>
                </a:lnTo>
                <a:lnTo>
                  <a:pt x="1751294" y="2463506"/>
                </a:lnTo>
                <a:lnTo>
                  <a:pt x="1609747" y="2463506"/>
                </a:lnTo>
                <a:lnTo>
                  <a:pt x="1598723" y="2463506"/>
                </a:lnTo>
                <a:lnTo>
                  <a:pt x="1457178" y="2463506"/>
                </a:lnTo>
                <a:lnTo>
                  <a:pt x="1401748" y="2463506"/>
                </a:lnTo>
                <a:lnTo>
                  <a:pt x="1401748" y="2463507"/>
                </a:lnTo>
                <a:lnTo>
                  <a:pt x="610548" y="2463507"/>
                </a:lnTo>
                <a:lnTo>
                  <a:pt x="578200" y="2463507"/>
                </a:lnTo>
                <a:lnTo>
                  <a:pt x="0" y="2463507"/>
                </a:lnTo>
                <a:lnTo>
                  <a:pt x="0" y="1784548"/>
                </a:lnTo>
                <a:lnTo>
                  <a:pt x="0" y="1364777"/>
                </a:lnTo>
                <a:lnTo>
                  <a:pt x="0" y="1098741"/>
                </a:lnTo>
                <a:lnTo>
                  <a:pt x="0" y="1098740"/>
                </a:lnTo>
                <a:lnTo>
                  <a:pt x="0" y="1098739"/>
                </a:lnTo>
                <a:lnTo>
                  <a:pt x="0" y="685811"/>
                </a:lnTo>
                <a:lnTo>
                  <a:pt x="0" y="679373"/>
                </a:lnTo>
                <a:lnTo>
                  <a:pt x="0" y="678974"/>
                </a:lnTo>
                <a:lnTo>
                  <a:pt x="0" y="678967"/>
                </a:lnTo>
                <a:lnTo>
                  <a:pt x="0" y="678962"/>
                </a:lnTo>
                <a:lnTo>
                  <a:pt x="0" y="647108"/>
                </a:lnTo>
                <a:lnTo>
                  <a:pt x="1375" y="647108"/>
                </a:lnTo>
                <a:lnTo>
                  <a:pt x="2774" y="614276"/>
                </a:lnTo>
                <a:lnTo>
                  <a:pt x="3031" y="612285"/>
                </a:lnTo>
                <a:lnTo>
                  <a:pt x="3151" y="609630"/>
                </a:lnTo>
                <a:cubicBezTo>
                  <a:pt x="6813" y="569557"/>
                  <a:pt x="13618" y="530515"/>
                  <a:pt x="23283" y="492812"/>
                </a:cubicBezTo>
                <a:lnTo>
                  <a:pt x="24106" y="490063"/>
                </a:lnTo>
                <a:lnTo>
                  <a:pt x="24208" y="489589"/>
                </a:lnTo>
                <a:lnTo>
                  <a:pt x="25658" y="484874"/>
                </a:lnTo>
                <a:lnTo>
                  <a:pt x="39895" y="437302"/>
                </a:lnTo>
                <a:lnTo>
                  <a:pt x="41793" y="432419"/>
                </a:lnTo>
                <a:lnTo>
                  <a:pt x="42363" y="430563"/>
                </a:lnTo>
                <a:lnTo>
                  <a:pt x="46410" y="420529"/>
                </a:lnTo>
                <a:lnTo>
                  <a:pt x="60591" y="384033"/>
                </a:lnTo>
                <a:lnTo>
                  <a:pt x="63886" y="377222"/>
                </a:lnTo>
                <a:lnTo>
                  <a:pt x="65138" y="374121"/>
                </a:lnTo>
                <a:lnTo>
                  <a:pt x="70652" y="363236"/>
                </a:lnTo>
                <a:lnTo>
                  <a:pt x="85165" y="333237"/>
                </a:lnTo>
                <a:lnTo>
                  <a:pt x="90158" y="324736"/>
                </a:lnTo>
                <a:lnTo>
                  <a:pt x="92280" y="320549"/>
                </a:lnTo>
                <a:lnTo>
                  <a:pt x="98706" y="310181"/>
                </a:lnTo>
                <a:lnTo>
                  <a:pt x="113408" y="285147"/>
                </a:lnTo>
                <a:lnTo>
                  <a:pt x="120373" y="275227"/>
                </a:lnTo>
                <a:lnTo>
                  <a:pt x="123537" y="270121"/>
                </a:lnTo>
                <a:lnTo>
                  <a:pt x="130484" y="260827"/>
                </a:lnTo>
                <a:lnTo>
                  <a:pt x="145113" y="239991"/>
                </a:lnTo>
                <a:lnTo>
                  <a:pt x="154299" y="228956"/>
                </a:lnTo>
                <a:lnTo>
                  <a:pt x="158657" y="223124"/>
                </a:lnTo>
                <a:lnTo>
                  <a:pt x="165813" y="215125"/>
                </a:lnTo>
                <a:lnTo>
                  <a:pt x="180069" y="198003"/>
                </a:lnTo>
                <a:lnTo>
                  <a:pt x="191707" y="186184"/>
                </a:lnTo>
                <a:lnTo>
                  <a:pt x="197386" y="179838"/>
                </a:lnTo>
                <a:lnTo>
                  <a:pt x="204483" y="173209"/>
                </a:lnTo>
                <a:lnTo>
                  <a:pt x="218069" y="159414"/>
                </a:lnTo>
                <a:lnTo>
                  <a:pt x="232369" y="147172"/>
                </a:lnTo>
                <a:lnTo>
                  <a:pt x="239470" y="140541"/>
                </a:lnTo>
                <a:lnTo>
                  <a:pt x="246276" y="135266"/>
                </a:lnTo>
                <a:lnTo>
                  <a:pt x="258905" y="124455"/>
                </a:lnTo>
                <a:lnTo>
                  <a:pt x="276069" y="112174"/>
                </a:lnTo>
                <a:lnTo>
                  <a:pt x="284657" y="105518"/>
                </a:lnTo>
                <a:lnTo>
                  <a:pt x="290963" y="101518"/>
                </a:lnTo>
                <a:lnTo>
                  <a:pt x="302368" y="93357"/>
                </a:lnTo>
                <a:lnTo>
                  <a:pt x="322603" y="81449"/>
                </a:lnTo>
                <a:lnTo>
                  <a:pt x="332694" y="75047"/>
                </a:lnTo>
                <a:lnTo>
                  <a:pt x="338309" y="72205"/>
                </a:lnTo>
                <a:lnTo>
                  <a:pt x="348251" y="66352"/>
                </a:lnTo>
                <a:lnTo>
                  <a:pt x="371803" y="55247"/>
                </a:lnTo>
                <a:lnTo>
                  <a:pt x="383330" y="49411"/>
                </a:lnTo>
                <a:lnTo>
                  <a:pt x="388082" y="47570"/>
                </a:lnTo>
                <a:lnTo>
                  <a:pt x="396345" y="43673"/>
                </a:lnTo>
                <a:lnTo>
                  <a:pt x="423579" y="33819"/>
                </a:lnTo>
                <a:lnTo>
                  <a:pt x="436308" y="28889"/>
                </a:lnTo>
                <a:lnTo>
                  <a:pt x="440042" y="27863"/>
                </a:lnTo>
                <a:lnTo>
                  <a:pt x="446442" y="25548"/>
                </a:lnTo>
                <a:lnTo>
                  <a:pt x="478073" y="17419"/>
                </a:lnTo>
                <a:lnTo>
                  <a:pt x="491380" y="13763"/>
                </a:lnTo>
                <a:lnTo>
                  <a:pt x="493956" y="13335"/>
                </a:lnTo>
                <a:lnTo>
                  <a:pt x="498333" y="12211"/>
                </a:lnTo>
                <a:lnTo>
                  <a:pt x="536385" y="6291"/>
                </a:lnTo>
                <a:lnTo>
                  <a:pt x="548287" y="4316"/>
                </a:lnTo>
                <a:lnTo>
                  <a:pt x="549541" y="4245"/>
                </a:lnTo>
                <a:lnTo>
                  <a:pt x="551810" y="3892"/>
                </a:lnTo>
                <a:lnTo>
                  <a:pt x="578200" y="2505"/>
                </a:lnTo>
                <a:lnTo>
                  <a:pt x="578200" y="812"/>
                </a:lnTo>
                <a:lnTo>
                  <a:pt x="602533" y="812"/>
                </a:lnTo>
                <a:lnTo>
                  <a:pt x="610365" y="812"/>
                </a:lnTo>
                <a:lnTo>
                  <a:pt x="610548" y="812"/>
                </a:lnTo>
                <a:lnTo>
                  <a:pt x="610548" y="1"/>
                </a:lnTo>
                <a:lnTo>
                  <a:pt x="677230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3D31FDA-CDE4-41E7-8D86-84A0549650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2457" y="353390"/>
            <a:ext cx="4443789" cy="2984238"/>
          </a:xfrm>
          <a:custGeom>
            <a:avLst/>
            <a:gdLst>
              <a:gd name="connsiteX0" fmla="*/ 0 w 4443789"/>
              <a:gd name="connsiteY0" fmla="*/ 0 h 2984238"/>
              <a:gd name="connsiteX1" fmla="*/ 600036 w 4443789"/>
              <a:gd name="connsiteY1" fmla="*/ 0 h 2984238"/>
              <a:gd name="connsiteX2" fmla="*/ 633604 w 4443789"/>
              <a:gd name="connsiteY2" fmla="*/ 0 h 2984238"/>
              <a:gd name="connsiteX3" fmla="*/ 1454682 w 4443789"/>
              <a:gd name="connsiteY3" fmla="*/ 0 h 2984238"/>
              <a:gd name="connsiteX4" fmla="*/ 2203288 w 4443789"/>
              <a:gd name="connsiteY4" fmla="*/ 0 h 2984238"/>
              <a:gd name="connsiteX5" fmla="*/ 2475597 w 4443789"/>
              <a:gd name="connsiteY5" fmla="*/ 0 h 2984238"/>
              <a:gd name="connsiteX6" fmla="*/ 2496805 w 4443789"/>
              <a:gd name="connsiteY6" fmla="*/ 0 h 2984238"/>
              <a:gd name="connsiteX7" fmla="*/ 2769115 w 4443789"/>
              <a:gd name="connsiteY7" fmla="*/ 0 h 2984238"/>
              <a:gd name="connsiteX8" fmla="*/ 3512790 w 4443789"/>
              <a:gd name="connsiteY8" fmla="*/ 0 h 2984238"/>
              <a:gd name="connsiteX9" fmla="*/ 3537876 w 4443789"/>
              <a:gd name="connsiteY9" fmla="*/ 0 h 2984238"/>
              <a:gd name="connsiteX10" fmla="*/ 3740986 w 4443789"/>
              <a:gd name="connsiteY10" fmla="*/ 0 h 2984238"/>
              <a:gd name="connsiteX11" fmla="*/ 3810185 w 4443789"/>
              <a:gd name="connsiteY11" fmla="*/ 0 h 2984238"/>
              <a:gd name="connsiteX12" fmla="*/ 3810185 w 4443789"/>
              <a:gd name="connsiteY12" fmla="*/ 832 h 2984238"/>
              <a:gd name="connsiteX13" fmla="*/ 3810186 w 4443789"/>
              <a:gd name="connsiteY13" fmla="*/ 832 h 2984238"/>
              <a:gd name="connsiteX14" fmla="*/ 3810375 w 4443789"/>
              <a:gd name="connsiteY14" fmla="*/ 832 h 2984238"/>
              <a:gd name="connsiteX15" fmla="*/ 3818503 w 4443789"/>
              <a:gd name="connsiteY15" fmla="*/ 832 h 2984238"/>
              <a:gd name="connsiteX16" fmla="*/ 3843754 w 4443789"/>
              <a:gd name="connsiteY16" fmla="*/ 832 h 2984238"/>
              <a:gd name="connsiteX17" fmla="*/ 3843754 w 4443789"/>
              <a:gd name="connsiteY17" fmla="*/ 2567 h 2984238"/>
              <a:gd name="connsiteX18" fmla="*/ 3871142 w 4443789"/>
              <a:gd name="connsiteY18" fmla="*/ 3990 h 2984238"/>
              <a:gd name="connsiteX19" fmla="*/ 3873498 w 4443789"/>
              <a:gd name="connsiteY19" fmla="*/ 4352 h 2984238"/>
              <a:gd name="connsiteX20" fmla="*/ 3874797 w 4443789"/>
              <a:gd name="connsiteY20" fmla="*/ 4423 h 2984238"/>
              <a:gd name="connsiteX21" fmla="*/ 3887149 w 4443789"/>
              <a:gd name="connsiteY21" fmla="*/ 6450 h 2984238"/>
              <a:gd name="connsiteX22" fmla="*/ 3926638 w 4443789"/>
              <a:gd name="connsiteY22" fmla="*/ 12518 h 2984238"/>
              <a:gd name="connsiteX23" fmla="*/ 3931179 w 4443789"/>
              <a:gd name="connsiteY23" fmla="*/ 13671 h 2984238"/>
              <a:gd name="connsiteX24" fmla="*/ 3933854 w 4443789"/>
              <a:gd name="connsiteY24" fmla="*/ 14110 h 2984238"/>
              <a:gd name="connsiteX25" fmla="*/ 3947663 w 4443789"/>
              <a:gd name="connsiteY25" fmla="*/ 17858 h 2984238"/>
              <a:gd name="connsiteX26" fmla="*/ 3980488 w 4443789"/>
              <a:gd name="connsiteY26" fmla="*/ 26192 h 2984238"/>
              <a:gd name="connsiteX27" fmla="*/ 3987130 w 4443789"/>
              <a:gd name="connsiteY27" fmla="*/ 28566 h 2984238"/>
              <a:gd name="connsiteX28" fmla="*/ 3991004 w 4443789"/>
              <a:gd name="connsiteY28" fmla="*/ 29617 h 2984238"/>
              <a:gd name="connsiteX29" fmla="*/ 4004215 w 4443789"/>
              <a:gd name="connsiteY29" fmla="*/ 34672 h 2984238"/>
              <a:gd name="connsiteX30" fmla="*/ 4032477 w 4443789"/>
              <a:gd name="connsiteY30" fmla="*/ 44775 h 2984238"/>
              <a:gd name="connsiteX31" fmla="*/ 4041053 w 4443789"/>
              <a:gd name="connsiteY31" fmla="*/ 48770 h 2984238"/>
              <a:gd name="connsiteX32" fmla="*/ 4045984 w 4443789"/>
              <a:gd name="connsiteY32" fmla="*/ 50657 h 2984238"/>
              <a:gd name="connsiteX33" fmla="*/ 4057946 w 4443789"/>
              <a:gd name="connsiteY33" fmla="*/ 56640 h 2984238"/>
              <a:gd name="connsiteX34" fmla="*/ 4082388 w 4443789"/>
              <a:gd name="connsiteY34" fmla="*/ 68027 h 2984238"/>
              <a:gd name="connsiteX35" fmla="*/ 4092704 w 4443789"/>
              <a:gd name="connsiteY35" fmla="*/ 74027 h 2984238"/>
              <a:gd name="connsiteX36" fmla="*/ 4098531 w 4443789"/>
              <a:gd name="connsiteY36" fmla="*/ 76941 h 2984238"/>
              <a:gd name="connsiteX37" fmla="*/ 4109004 w 4443789"/>
              <a:gd name="connsiteY37" fmla="*/ 83505 h 2984238"/>
              <a:gd name="connsiteX38" fmla="*/ 4130002 w 4443789"/>
              <a:gd name="connsiteY38" fmla="*/ 95714 h 2984238"/>
              <a:gd name="connsiteX39" fmla="*/ 4141839 w 4443789"/>
              <a:gd name="connsiteY39" fmla="*/ 104081 h 2984238"/>
              <a:gd name="connsiteX40" fmla="*/ 4148382 w 4443789"/>
              <a:gd name="connsiteY40" fmla="*/ 108181 h 2984238"/>
              <a:gd name="connsiteX41" fmla="*/ 4157295 w 4443789"/>
              <a:gd name="connsiteY41" fmla="*/ 115007 h 2984238"/>
              <a:gd name="connsiteX42" fmla="*/ 4175107 w 4443789"/>
              <a:gd name="connsiteY42" fmla="*/ 127597 h 2984238"/>
              <a:gd name="connsiteX43" fmla="*/ 4188212 w 4443789"/>
              <a:gd name="connsiteY43" fmla="*/ 138681 h 2984238"/>
              <a:gd name="connsiteX44" fmla="*/ 4195276 w 4443789"/>
              <a:gd name="connsiteY44" fmla="*/ 144090 h 2984238"/>
              <a:gd name="connsiteX45" fmla="*/ 4202645 w 4443789"/>
              <a:gd name="connsiteY45" fmla="*/ 150888 h 2984238"/>
              <a:gd name="connsiteX46" fmla="*/ 4217486 w 4443789"/>
              <a:gd name="connsiteY46" fmla="*/ 163439 h 2984238"/>
              <a:gd name="connsiteX47" fmla="*/ 4231582 w 4443789"/>
              <a:gd name="connsiteY47" fmla="*/ 177583 h 2984238"/>
              <a:gd name="connsiteX48" fmla="*/ 4238950 w 4443789"/>
              <a:gd name="connsiteY48" fmla="*/ 184379 h 2984238"/>
              <a:gd name="connsiteX49" fmla="*/ 4244842 w 4443789"/>
              <a:gd name="connsiteY49" fmla="*/ 190886 h 2984238"/>
              <a:gd name="connsiteX50" fmla="*/ 4256920 w 4443789"/>
              <a:gd name="connsiteY50" fmla="*/ 203004 h 2984238"/>
              <a:gd name="connsiteX51" fmla="*/ 4271715 w 4443789"/>
              <a:gd name="connsiteY51" fmla="*/ 220559 h 2984238"/>
              <a:gd name="connsiteX52" fmla="*/ 4279140 w 4443789"/>
              <a:gd name="connsiteY52" fmla="*/ 228759 h 2984238"/>
              <a:gd name="connsiteX53" fmla="*/ 4283662 w 4443789"/>
              <a:gd name="connsiteY53" fmla="*/ 234737 h 2984238"/>
              <a:gd name="connsiteX54" fmla="*/ 4293198 w 4443789"/>
              <a:gd name="connsiteY54" fmla="*/ 246051 h 2984238"/>
              <a:gd name="connsiteX55" fmla="*/ 4308376 w 4443789"/>
              <a:gd name="connsiteY55" fmla="*/ 267413 h 2984238"/>
              <a:gd name="connsiteX56" fmla="*/ 4315586 w 4443789"/>
              <a:gd name="connsiteY56" fmla="*/ 276943 h 2984238"/>
              <a:gd name="connsiteX57" fmla="*/ 4318870 w 4443789"/>
              <a:gd name="connsiteY57" fmla="*/ 282177 h 2984238"/>
              <a:gd name="connsiteX58" fmla="*/ 4326098 w 4443789"/>
              <a:gd name="connsiteY58" fmla="*/ 292347 h 2984238"/>
              <a:gd name="connsiteX59" fmla="*/ 4341356 w 4443789"/>
              <a:gd name="connsiteY59" fmla="*/ 318015 h 2984238"/>
              <a:gd name="connsiteX60" fmla="*/ 4348025 w 4443789"/>
              <a:gd name="connsiteY60" fmla="*/ 328644 h 2984238"/>
              <a:gd name="connsiteX61" fmla="*/ 4350227 w 4443789"/>
              <a:gd name="connsiteY61" fmla="*/ 332936 h 2984238"/>
              <a:gd name="connsiteX62" fmla="*/ 4355408 w 4443789"/>
              <a:gd name="connsiteY62" fmla="*/ 341652 h 2984238"/>
              <a:gd name="connsiteX63" fmla="*/ 4370469 w 4443789"/>
              <a:gd name="connsiteY63" fmla="*/ 372409 h 2984238"/>
              <a:gd name="connsiteX64" fmla="*/ 4376192 w 4443789"/>
              <a:gd name="connsiteY64" fmla="*/ 383570 h 2984238"/>
              <a:gd name="connsiteX65" fmla="*/ 4377489 w 4443789"/>
              <a:gd name="connsiteY65" fmla="*/ 386748 h 2984238"/>
              <a:gd name="connsiteX66" fmla="*/ 4380909 w 4443789"/>
              <a:gd name="connsiteY66" fmla="*/ 393731 h 2984238"/>
              <a:gd name="connsiteX67" fmla="*/ 4395626 w 4443789"/>
              <a:gd name="connsiteY67" fmla="*/ 431150 h 2984238"/>
              <a:gd name="connsiteX68" fmla="*/ 4399828 w 4443789"/>
              <a:gd name="connsiteY68" fmla="*/ 441436 h 2984238"/>
              <a:gd name="connsiteX69" fmla="*/ 4400420 w 4443789"/>
              <a:gd name="connsiteY69" fmla="*/ 443339 h 2984238"/>
              <a:gd name="connsiteX70" fmla="*/ 4402388 w 4443789"/>
              <a:gd name="connsiteY70" fmla="*/ 448347 h 2984238"/>
              <a:gd name="connsiteX71" fmla="*/ 4417161 w 4443789"/>
              <a:gd name="connsiteY71" fmla="*/ 497120 h 2984238"/>
              <a:gd name="connsiteX72" fmla="*/ 4418667 w 4443789"/>
              <a:gd name="connsiteY72" fmla="*/ 501954 h 2984238"/>
              <a:gd name="connsiteX73" fmla="*/ 4418772 w 4443789"/>
              <a:gd name="connsiteY73" fmla="*/ 502440 h 2984238"/>
              <a:gd name="connsiteX74" fmla="*/ 4419628 w 4443789"/>
              <a:gd name="connsiteY74" fmla="*/ 505257 h 2984238"/>
              <a:gd name="connsiteX75" fmla="*/ 4440518 w 4443789"/>
              <a:gd name="connsiteY75" fmla="*/ 625027 h 2984238"/>
              <a:gd name="connsiteX76" fmla="*/ 4440644 w 4443789"/>
              <a:gd name="connsiteY76" fmla="*/ 627748 h 2984238"/>
              <a:gd name="connsiteX77" fmla="*/ 4440910 w 4443789"/>
              <a:gd name="connsiteY77" fmla="*/ 629790 h 2984238"/>
              <a:gd name="connsiteX78" fmla="*/ 4442362 w 4443789"/>
              <a:gd name="connsiteY78" fmla="*/ 663451 h 2984238"/>
              <a:gd name="connsiteX79" fmla="*/ 4443789 w 4443789"/>
              <a:gd name="connsiteY79" fmla="*/ 663451 h 2984238"/>
              <a:gd name="connsiteX80" fmla="*/ 4443789 w 4443789"/>
              <a:gd name="connsiteY80" fmla="*/ 696109 h 2984238"/>
              <a:gd name="connsiteX81" fmla="*/ 4443789 w 4443789"/>
              <a:gd name="connsiteY81" fmla="*/ 696115 h 2984238"/>
              <a:gd name="connsiteX82" fmla="*/ 4443789 w 4443789"/>
              <a:gd name="connsiteY82" fmla="*/ 696122 h 2984238"/>
              <a:gd name="connsiteX83" fmla="*/ 4443789 w 4443789"/>
              <a:gd name="connsiteY83" fmla="*/ 696532 h 2984238"/>
              <a:gd name="connsiteX84" fmla="*/ 4443789 w 4443789"/>
              <a:gd name="connsiteY84" fmla="*/ 703132 h 2984238"/>
              <a:gd name="connsiteX85" fmla="*/ 4443789 w 4443789"/>
              <a:gd name="connsiteY85" fmla="*/ 1121961 h 2984238"/>
              <a:gd name="connsiteX86" fmla="*/ 4443789 w 4443789"/>
              <a:gd name="connsiteY86" fmla="*/ 1126490 h 2984238"/>
              <a:gd name="connsiteX87" fmla="*/ 4443789 w 4443789"/>
              <a:gd name="connsiteY87" fmla="*/ 1154619 h 2984238"/>
              <a:gd name="connsiteX88" fmla="*/ 4443789 w 4443789"/>
              <a:gd name="connsiteY88" fmla="*/ 1154625 h 2984238"/>
              <a:gd name="connsiteX89" fmla="*/ 4443789 w 4443789"/>
              <a:gd name="connsiteY89" fmla="*/ 1154632 h 2984238"/>
              <a:gd name="connsiteX90" fmla="*/ 4443789 w 4443789"/>
              <a:gd name="connsiteY90" fmla="*/ 1155042 h 2984238"/>
              <a:gd name="connsiteX91" fmla="*/ 4443789 w 4443789"/>
              <a:gd name="connsiteY91" fmla="*/ 1161642 h 2984238"/>
              <a:gd name="connsiteX92" fmla="*/ 4443789 w 4443789"/>
              <a:gd name="connsiteY92" fmla="*/ 1399246 h 2984238"/>
              <a:gd name="connsiteX93" fmla="*/ 4443789 w 4443789"/>
              <a:gd name="connsiteY93" fmla="*/ 1585000 h 2984238"/>
              <a:gd name="connsiteX94" fmla="*/ 4443789 w 4443789"/>
              <a:gd name="connsiteY94" fmla="*/ 1829621 h 2984238"/>
              <a:gd name="connsiteX95" fmla="*/ 4443789 w 4443789"/>
              <a:gd name="connsiteY95" fmla="*/ 1857756 h 2984238"/>
              <a:gd name="connsiteX96" fmla="*/ 4443789 w 4443789"/>
              <a:gd name="connsiteY96" fmla="*/ 2288131 h 2984238"/>
              <a:gd name="connsiteX97" fmla="*/ 4443789 w 4443789"/>
              <a:gd name="connsiteY97" fmla="*/ 2525728 h 2984238"/>
              <a:gd name="connsiteX98" fmla="*/ 4443789 w 4443789"/>
              <a:gd name="connsiteY98" fmla="*/ 2984238 h 2984238"/>
              <a:gd name="connsiteX99" fmla="*/ 3843754 w 4443789"/>
              <a:gd name="connsiteY99" fmla="*/ 2984238 h 2984238"/>
              <a:gd name="connsiteX100" fmla="*/ 3810186 w 4443789"/>
              <a:gd name="connsiteY100" fmla="*/ 2984238 h 2984238"/>
              <a:gd name="connsiteX101" fmla="*/ 3740986 w 4443789"/>
              <a:gd name="connsiteY101" fmla="*/ 2984238 h 2984238"/>
              <a:gd name="connsiteX102" fmla="*/ 3512790 w 4443789"/>
              <a:gd name="connsiteY102" fmla="*/ 2984238 h 2984238"/>
              <a:gd name="connsiteX103" fmla="*/ 3402719 w 4443789"/>
              <a:gd name="connsiteY103" fmla="*/ 2984238 h 2984238"/>
              <a:gd name="connsiteX104" fmla="*/ 3109201 w 4443789"/>
              <a:gd name="connsiteY104" fmla="*/ 2984238 h 2984238"/>
              <a:gd name="connsiteX105" fmla="*/ 2986086 w 4443789"/>
              <a:gd name="connsiteY105" fmla="*/ 2984238 h 2984238"/>
              <a:gd name="connsiteX106" fmla="*/ 2802684 w 4443789"/>
              <a:gd name="connsiteY106" fmla="*/ 2984238 h 2984238"/>
              <a:gd name="connsiteX107" fmla="*/ 2769116 w 4443789"/>
              <a:gd name="connsiteY107" fmla="*/ 2984238 h 2984238"/>
              <a:gd name="connsiteX108" fmla="*/ 2713776 w 4443789"/>
              <a:gd name="connsiteY108" fmla="*/ 2984238 h 2984238"/>
              <a:gd name="connsiteX109" fmla="*/ 2509166 w 4443789"/>
              <a:gd name="connsiteY109" fmla="*/ 2984238 h 2984238"/>
              <a:gd name="connsiteX110" fmla="*/ 2475598 w 4443789"/>
              <a:gd name="connsiteY110" fmla="*/ 2984238 h 2984238"/>
              <a:gd name="connsiteX111" fmla="*/ 1839935 w 4443789"/>
              <a:gd name="connsiteY111" fmla="*/ 2984238 h 2984238"/>
              <a:gd name="connsiteX112" fmla="*/ 1716819 w 4443789"/>
              <a:gd name="connsiteY112" fmla="*/ 2984238 h 2984238"/>
              <a:gd name="connsiteX113" fmla="*/ 1454682 w 4443789"/>
              <a:gd name="connsiteY113" fmla="*/ 2984238 h 2984238"/>
              <a:gd name="connsiteX114" fmla="*/ 1444510 w 4443789"/>
              <a:gd name="connsiteY114" fmla="*/ 2984238 h 2984238"/>
              <a:gd name="connsiteX115" fmla="*/ 1423301 w 4443789"/>
              <a:gd name="connsiteY115" fmla="*/ 2984238 h 2984238"/>
              <a:gd name="connsiteX116" fmla="*/ 1239899 w 4443789"/>
              <a:gd name="connsiteY116" fmla="*/ 2984238 h 2984238"/>
              <a:gd name="connsiteX117" fmla="*/ 1206331 w 4443789"/>
              <a:gd name="connsiteY117" fmla="*/ 2984238 h 2984238"/>
              <a:gd name="connsiteX118" fmla="*/ 1150992 w 4443789"/>
              <a:gd name="connsiteY118" fmla="*/ 2984238 h 2984238"/>
              <a:gd name="connsiteX119" fmla="*/ 905913 w 4443789"/>
              <a:gd name="connsiteY119" fmla="*/ 2984238 h 2984238"/>
              <a:gd name="connsiteX120" fmla="*/ 702803 w 4443789"/>
              <a:gd name="connsiteY120" fmla="*/ 2984238 h 2984238"/>
              <a:gd name="connsiteX121" fmla="*/ 633605 w 4443789"/>
              <a:gd name="connsiteY121" fmla="*/ 2984238 h 2984238"/>
              <a:gd name="connsiteX122" fmla="*/ 633605 w 4443789"/>
              <a:gd name="connsiteY122" fmla="*/ 2983406 h 2984238"/>
              <a:gd name="connsiteX123" fmla="*/ 633604 w 4443789"/>
              <a:gd name="connsiteY123" fmla="*/ 2983406 h 2984238"/>
              <a:gd name="connsiteX124" fmla="*/ 633414 w 4443789"/>
              <a:gd name="connsiteY124" fmla="*/ 2983406 h 2984238"/>
              <a:gd name="connsiteX125" fmla="*/ 625287 w 4443789"/>
              <a:gd name="connsiteY125" fmla="*/ 2983406 h 2984238"/>
              <a:gd name="connsiteX126" fmla="*/ 600036 w 4443789"/>
              <a:gd name="connsiteY126" fmla="*/ 2983406 h 2984238"/>
              <a:gd name="connsiteX127" fmla="*/ 600036 w 4443789"/>
              <a:gd name="connsiteY127" fmla="*/ 2981671 h 2984238"/>
              <a:gd name="connsiteX128" fmla="*/ 572647 w 4443789"/>
              <a:gd name="connsiteY128" fmla="*/ 2980249 h 2984238"/>
              <a:gd name="connsiteX129" fmla="*/ 570293 w 4443789"/>
              <a:gd name="connsiteY129" fmla="*/ 2979886 h 2984238"/>
              <a:gd name="connsiteX130" fmla="*/ 568992 w 4443789"/>
              <a:gd name="connsiteY130" fmla="*/ 2979815 h 2984238"/>
              <a:gd name="connsiteX131" fmla="*/ 556640 w 4443789"/>
              <a:gd name="connsiteY131" fmla="*/ 2977788 h 2984238"/>
              <a:gd name="connsiteX132" fmla="*/ 517152 w 4443789"/>
              <a:gd name="connsiteY132" fmla="*/ 2971720 h 2984238"/>
              <a:gd name="connsiteX133" fmla="*/ 512609 w 4443789"/>
              <a:gd name="connsiteY133" fmla="*/ 2970567 h 2984238"/>
              <a:gd name="connsiteX134" fmla="*/ 509935 w 4443789"/>
              <a:gd name="connsiteY134" fmla="*/ 2970129 h 2984238"/>
              <a:gd name="connsiteX135" fmla="*/ 496126 w 4443789"/>
              <a:gd name="connsiteY135" fmla="*/ 2966380 h 2984238"/>
              <a:gd name="connsiteX136" fmla="*/ 463301 w 4443789"/>
              <a:gd name="connsiteY136" fmla="*/ 2958046 h 2984238"/>
              <a:gd name="connsiteX137" fmla="*/ 456659 w 4443789"/>
              <a:gd name="connsiteY137" fmla="*/ 2955672 h 2984238"/>
              <a:gd name="connsiteX138" fmla="*/ 452785 w 4443789"/>
              <a:gd name="connsiteY138" fmla="*/ 2954621 h 2984238"/>
              <a:gd name="connsiteX139" fmla="*/ 439575 w 4443789"/>
              <a:gd name="connsiteY139" fmla="*/ 2949567 h 2984238"/>
              <a:gd name="connsiteX140" fmla="*/ 411312 w 4443789"/>
              <a:gd name="connsiteY140" fmla="*/ 2939463 h 2984238"/>
              <a:gd name="connsiteX141" fmla="*/ 402737 w 4443789"/>
              <a:gd name="connsiteY141" fmla="*/ 2935469 h 2984238"/>
              <a:gd name="connsiteX142" fmla="*/ 397806 w 4443789"/>
              <a:gd name="connsiteY142" fmla="*/ 2933581 h 2984238"/>
              <a:gd name="connsiteX143" fmla="*/ 385843 w 4443789"/>
              <a:gd name="connsiteY143" fmla="*/ 2927598 h 2984238"/>
              <a:gd name="connsiteX144" fmla="*/ 361403 w 4443789"/>
              <a:gd name="connsiteY144" fmla="*/ 2916211 h 2984238"/>
              <a:gd name="connsiteX145" fmla="*/ 351085 w 4443789"/>
              <a:gd name="connsiteY145" fmla="*/ 2910211 h 2984238"/>
              <a:gd name="connsiteX146" fmla="*/ 345259 w 4443789"/>
              <a:gd name="connsiteY146" fmla="*/ 2907297 h 2984238"/>
              <a:gd name="connsiteX147" fmla="*/ 334785 w 4443789"/>
              <a:gd name="connsiteY147" fmla="*/ 2900733 h 2984238"/>
              <a:gd name="connsiteX148" fmla="*/ 313788 w 4443789"/>
              <a:gd name="connsiteY148" fmla="*/ 2888524 h 2984238"/>
              <a:gd name="connsiteX149" fmla="*/ 301951 w 4443789"/>
              <a:gd name="connsiteY149" fmla="*/ 2880157 h 2984238"/>
              <a:gd name="connsiteX150" fmla="*/ 295407 w 4443789"/>
              <a:gd name="connsiteY150" fmla="*/ 2876057 h 2984238"/>
              <a:gd name="connsiteX151" fmla="*/ 286494 w 4443789"/>
              <a:gd name="connsiteY151" fmla="*/ 2869231 h 2984238"/>
              <a:gd name="connsiteX152" fmla="*/ 268682 w 4443789"/>
              <a:gd name="connsiteY152" fmla="*/ 2856641 h 2984238"/>
              <a:gd name="connsiteX153" fmla="*/ 255577 w 4443789"/>
              <a:gd name="connsiteY153" fmla="*/ 2845557 h 2984238"/>
              <a:gd name="connsiteX154" fmla="*/ 248513 w 4443789"/>
              <a:gd name="connsiteY154" fmla="*/ 2840148 h 2984238"/>
              <a:gd name="connsiteX155" fmla="*/ 241144 w 4443789"/>
              <a:gd name="connsiteY155" fmla="*/ 2833351 h 2984238"/>
              <a:gd name="connsiteX156" fmla="*/ 226303 w 4443789"/>
              <a:gd name="connsiteY156" fmla="*/ 2820799 h 2984238"/>
              <a:gd name="connsiteX157" fmla="*/ 212206 w 4443789"/>
              <a:gd name="connsiteY157" fmla="*/ 2806655 h 2984238"/>
              <a:gd name="connsiteX158" fmla="*/ 204840 w 4443789"/>
              <a:gd name="connsiteY158" fmla="*/ 2799860 h 2984238"/>
              <a:gd name="connsiteX159" fmla="*/ 198946 w 4443789"/>
              <a:gd name="connsiteY159" fmla="*/ 2793352 h 2984238"/>
              <a:gd name="connsiteX160" fmla="*/ 186869 w 4443789"/>
              <a:gd name="connsiteY160" fmla="*/ 2781235 h 2984238"/>
              <a:gd name="connsiteX161" fmla="*/ 172075 w 4443789"/>
              <a:gd name="connsiteY161" fmla="*/ 2763680 h 2984238"/>
              <a:gd name="connsiteX162" fmla="*/ 164649 w 4443789"/>
              <a:gd name="connsiteY162" fmla="*/ 2755479 h 2984238"/>
              <a:gd name="connsiteX163" fmla="*/ 160126 w 4443789"/>
              <a:gd name="connsiteY163" fmla="*/ 2749501 h 2984238"/>
              <a:gd name="connsiteX164" fmla="*/ 150593 w 4443789"/>
              <a:gd name="connsiteY164" fmla="*/ 2738187 h 2984238"/>
              <a:gd name="connsiteX165" fmla="*/ 135413 w 4443789"/>
              <a:gd name="connsiteY165" fmla="*/ 2716825 h 2984238"/>
              <a:gd name="connsiteX166" fmla="*/ 128203 w 4443789"/>
              <a:gd name="connsiteY166" fmla="*/ 2707295 h 2984238"/>
              <a:gd name="connsiteX167" fmla="*/ 124919 w 4443789"/>
              <a:gd name="connsiteY167" fmla="*/ 2702060 h 2984238"/>
              <a:gd name="connsiteX168" fmla="*/ 117691 w 4443789"/>
              <a:gd name="connsiteY168" fmla="*/ 2691891 h 2984238"/>
              <a:gd name="connsiteX169" fmla="*/ 102434 w 4443789"/>
              <a:gd name="connsiteY169" fmla="*/ 2666223 h 2984238"/>
              <a:gd name="connsiteX170" fmla="*/ 95765 w 4443789"/>
              <a:gd name="connsiteY170" fmla="*/ 2655594 h 2984238"/>
              <a:gd name="connsiteX171" fmla="*/ 93563 w 4443789"/>
              <a:gd name="connsiteY171" fmla="*/ 2651301 h 2984238"/>
              <a:gd name="connsiteX172" fmla="*/ 88382 w 4443789"/>
              <a:gd name="connsiteY172" fmla="*/ 2642586 h 2984238"/>
              <a:gd name="connsiteX173" fmla="*/ 73321 w 4443789"/>
              <a:gd name="connsiteY173" fmla="*/ 2611829 h 2984238"/>
              <a:gd name="connsiteX174" fmla="*/ 67598 w 4443789"/>
              <a:gd name="connsiteY174" fmla="*/ 2600668 h 2984238"/>
              <a:gd name="connsiteX175" fmla="*/ 66299 w 4443789"/>
              <a:gd name="connsiteY175" fmla="*/ 2597490 h 2984238"/>
              <a:gd name="connsiteX176" fmla="*/ 62879 w 4443789"/>
              <a:gd name="connsiteY176" fmla="*/ 2590507 h 2984238"/>
              <a:gd name="connsiteX177" fmla="*/ 48163 w 4443789"/>
              <a:gd name="connsiteY177" fmla="*/ 2553088 h 2984238"/>
              <a:gd name="connsiteX178" fmla="*/ 43963 w 4443789"/>
              <a:gd name="connsiteY178" fmla="*/ 2542802 h 2984238"/>
              <a:gd name="connsiteX179" fmla="*/ 43371 w 4443789"/>
              <a:gd name="connsiteY179" fmla="*/ 2540899 h 2984238"/>
              <a:gd name="connsiteX180" fmla="*/ 41402 w 4443789"/>
              <a:gd name="connsiteY180" fmla="*/ 2535892 h 2984238"/>
              <a:gd name="connsiteX181" fmla="*/ 26628 w 4443789"/>
              <a:gd name="connsiteY181" fmla="*/ 2487119 h 2984238"/>
              <a:gd name="connsiteX182" fmla="*/ 25122 w 4443789"/>
              <a:gd name="connsiteY182" fmla="*/ 2482285 h 2984238"/>
              <a:gd name="connsiteX183" fmla="*/ 25017 w 4443789"/>
              <a:gd name="connsiteY183" fmla="*/ 2481798 h 2984238"/>
              <a:gd name="connsiteX184" fmla="*/ 24163 w 4443789"/>
              <a:gd name="connsiteY184" fmla="*/ 2478980 h 2984238"/>
              <a:gd name="connsiteX185" fmla="*/ 3271 w 4443789"/>
              <a:gd name="connsiteY185" fmla="*/ 2359211 h 2984238"/>
              <a:gd name="connsiteX186" fmla="*/ 3146 w 4443789"/>
              <a:gd name="connsiteY186" fmla="*/ 2356490 h 2984238"/>
              <a:gd name="connsiteX187" fmla="*/ 2879 w 4443789"/>
              <a:gd name="connsiteY187" fmla="*/ 2354448 h 2984238"/>
              <a:gd name="connsiteX188" fmla="*/ 1428 w 4443789"/>
              <a:gd name="connsiteY188" fmla="*/ 2320787 h 2984238"/>
              <a:gd name="connsiteX189" fmla="*/ 1 w 4443789"/>
              <a:gd name="connsiteY189" fmla="*/ 2320787 h 2984238"/>
              <a:gd name="connsiteX190" fmla="*/ 1 w 4443789"/>
              <a:gd name="connsiteY190" fmla="*/ 2288129 h 2984238"/>
              <a:gd name="connsiteX191" fmla="*/ 0 w 4443789"/>
              <a:gd name="connsiteY191" fmla="*/ 2288123 h 2984238"/>
              <a:gd name="connsiteX192" fmla="*/ 1 w 4443789"/>
              <a:gd name="connsiteY192" fmla="*/ 2288116 h 2984238"/>
              <a:gd name="connsiteX193" fmla="*/ 1 w 4443789"/>
              <a:gd name="connsiteY193" fmla="*/ 2287707 h 2984238"/>
              <a:gd name="connsiteX194" fmla="*/ 1 w 4443789"/>
              <a:gd name="connsiteY194" fmla="*/ 2281106 h 2984238"/>
              <a:gd name="connsiteX195" fmla="*/ 0 w 4443789"/>
              <a:gd name="connsiteY195" fmla="*/ 2281106 h 2984238"/>
              <a:gd name="connsiteX196" fmla="*/ 0 w 4443789"/>
              <a:gd name="connsiteY196" fmla="*/ 1857749 h 2984238"/>
              <a:gd name="connsiteX197" fmla="*/ 0 w 4443789"/>
              <a:gd name="connsiteY197" fmla="*/ 1857748 h 2984238"/>
              <a:gd name="connsiteX198" fmla="*/ 0 w 4443789"/>
              <a:gd name="connsiteY198" fmla="*/ 1857747 h 2984238"/>
              <a:gd name="connsiteX199" fmla="*/ 0 w 4443789"/>
              <a:gd name="connsiteY199" fmla="*/ 1829613 h 2984238"/>
              <a:gd name="connsiteX200" fmla="*/ 0 w 4443789"/>
              <a:gd name="connsiteY200" fmla="*/ 1822596 h 2984238"/>
              <a:gd name="connsiteX201" fmla="*/ 0 w 4443789"/>
              <a:gd name="connsiteY201" fmla="*/ 1584992 h 2984238"/>
              <a:gd name="connsiteX202" fmla="*/ 0 w 4443789"/>
              <a:gd name="connsiteY202" fmla="*/ 1399239 h 2984238"/>
              <a:gd name="connsiteX203" fmla="*/ 0 w 4443789"/>
              <a:gd name="connsiteY203" fmla="*/ 1399238 h 2984238"/>
              <a:gd name="connsiteX204" fmla="*/ 0 w 4443789"/>
              <a:gd name="connsiteY204" fmla="*/ 1399237 h 2984238"/>
              <a:gd name="connsiteX205" fmla="*/ 0 w 4443789"/>
              <a:gd name="connsiteY205" fmla="*/ 1154618 h 2984238"/>
              <a:gd name="connsiteX206" fmla="*/ 0 w 4443789"/>
              <a:gd name="connsiteY206" fmla="*/ 1126482 h 2984238"/>
              <a:gd name="connsiteX207" fmla="*/ 0 w 4443789"/>
              <a:gd name="connsiteY207" fmla="*/ 696108 h 2984238"/>
              <a:gd name="connsiteX208" fmla="*/ 0 w 4443789"/>
              <a:gd name="connsiteY208" fmla="*/ 458510 h 2984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</a:cxnLst>
            <a:rect l="l" t="t" r="r" b="b"/>
            <a:pathLst>
              <a:path w="4443789" h="2984238">
                <a:moveTo>
                  <a:pt x="0" y="0"/>
                </a:moveTo>
                <a:lnTo>
                  <a:pt x="600036" y="0"/>
                </a:lnTo>
                <a:lnTo>
                  <a:pt x="633604" y="0"/>
                </a:lnTo>
                <a:lnTo>
                  <a:pt x="1454682" y="0"/>
                </a:lnTo>
                <a:lnTo>
                  <a:pt x="2203288" y="0"/>
                </a:lnTo>
                <a:lnTo>
                  <a:pt x="2475597" y="0"/>
                </a:lnTo>
                <a:lnTo>
                  <a:pt x="2496805" y="0"/>
                </a:lnTo>
                <a:lnTo>
                  <a:pt x="2769115" y="0"/>
                </a:lnTo>
                <a:lnTo>
                  <a:pt x="3512790" y="0"/>
                </a:lnTo>
                <a:lnTo>
                  <a:pt x="3537876" y="0"/>
                </a:lnTo>
                <a:lnTo>
                  <a:pt x="3740986" y="0"/>
                </a:lnTo>
                <a:lnTo>
                  <a:pt x="3810185" y="0"/>
                </a:lnTo>
                <a:lnTo>
                  <a:pt x="3810185" y="832"/>
                </a:lnTo>
                <a:lnTo>
                  <a:pt x="3810186" y="832"/>
                </a:lnTo>
                <a:lnTo>
                  <a:pt x="3810375" y="832"/>
                </a:lnTo>
                <a:lnTo>
                  <a:pt x="3818503" y="832"/>
                </a:lnTo>
                <a:lnTo>
                  <a:pt x="3843754" y="832"/>
                </a:lnTo>
                <a:lnTo>
                  <a:pt x="3843754" y="2567"/>
                </a:lnTo>
                <a:lnTo>
                  <a:pt x="3871142" y="3990"/>
                </a:lnTo>
                <a:lnTo>
                  <a:pt x="3873498" y="4352"/>
                </a:lnTo>
                <a:lnTo>
                  <a:pt x="3874797" y="4423"/>
                </a:lnTo>
                <a:lnTo>
                  <a:pt x="3887149" y="6450"/>
                </a:lnTo>
                <a:lnTo>
                  <a:pt x="3926638" y="12518"/>
                </a:lnTo>
                <a:lnTo>
                  <a:pt x="3931179" y="13671"/>
                </a:lnTo>
                <a:lnTo>
                  <a:pt x="3933854" y="14110"/>
                </a:lnTo>
                <a:lnTo>
                  <a:pt x="3947663" y="17858"/>
                </a:lnTo>
                <a:lnTo>
                  <a:pt x="3980488" y="26192"/>
                </a:lnTo>
                <a:lnTo>
                  <a:pt x="3987130" y="28566"/>
                </a:lnTo>
                <a:lnTo>
                  <a:pt x="3991004" y="29617"/>
                </a:lnTo>
                <a:lnTo>
                  <a:pt x="4004215" y="34672"/>
                </a:lnTo>
                <a:lnTo>
                  <a:pt x="4032477" y="44775"/>
                </a:lnTo>
                <a:lnTo>
                  <a:pt x="4041053" y="48770"/>
                </a:lnTo>
                <a:lnTo>
                  <a:pt x="4045984" y="50657"/>
                </a:lnTo>
                <a:lnTo>
                  <a:pt x="4057946" y="56640"/>
                </a:lnTo>
                <a:lnTo>
                  <a:pt x="4082388" y="68027"/>
                </a:lnTo>
                <a:lnTo>
                  <a:pt x="4092704" y="74027"/>
                </a:lnTo>
                <a:lnTo>
                  <a:pt x="4098531" y="76941"/>
                </a:lnTo>
                <a:lnTo>
                  <a:pt x="4109004" y="83505"/>
                </a:lnTo>
                <a:lnTo>
                  <a:pt x="4130002" y="95714"/>
                </a:lnTo>
                <a:lnTo>
                  <a:pt x="4141839" y="104081"/>
                </a:lnTo>
                <a:lnTo>
                  <a:pt x="4148382" y="108181"/>
                </a:lnTo>
                <a:lnTo>
                  <a:pt x="4157295" y="115007"/>
                </a:lnTo>
                <a:lnTo>
                  <a:pt x="4175107" y="127597"/>
                </a:lnTo>
                <a:lnTo>
                  <a:pt x="4188212" y="138681"/>
                </a:lnTo>
                <a:lnTo>
                  <a:pt x="4195276" y="144090"/>
                </a:lnTo>
                <a:lnTo>
                  <a:pt x="4202645" y="150888"/>
                </a:lnTo>
                <a:lnTo>
                  <a:pt x="4217486" y="163439"/>
                </a:lnTo>
                <a:lnTo>
                  <a:pt x="4231582" y="177583"/>
                </a:lnTo>
                <a:lnTo>
                  <a:pt x="4238950" y="184379"/>
                </a:lnTo>
                <a:lnTo>
                  <a:pt x="4244842" y="190886"/>
                </a:lnTo>
                <a:lnTo>
                  <a:pt x="4256920" y="203004"/>
                </a:lnTo>
                <a:lnTo>
                  <a:pt x="4271715" y="220559"/>
                </a:lnTo>
                <a:lnTo>
                  <a:pt x="4279140" y="228759"/>
                </a:lnTo>
                <a:lnTo>
                  <a:pt x="4283662" y="234737"/>
                </a:lnTo>
                <a:lnTo>
                  <a:pt x="4293198" y="246051"/>
                </a:lnTo>
                <a:lnTo>
                  <a:pt x="4308376" y="267413"/>
                </a:lnTo>
                <a:lnTo>
                  <a:pt x="4315586" y="276943"/>
                </a:lnTo>
                <a:lnTo>
                  <a:pt x="4318870" y="282177"/>
                </a:lnTo>
                <a:lnTo>
                  <a:pt x="4326098" y="292347"/>
                </a:lnTo>
                <a:lnTo>
                  <a:pt x="4341356" y="318015"/>
                </a:lnTo>
                <a:lnTo>
                  <a:pt x="4348025" y="328644"/>
                </a:lnTo>
                <a:lnTo>
                  <a:pt x="4350227" y="332936"/>
                </a:lnTo>
                <a:lnTo>
                  <a:pt x="4355408" y="341652"/>
                </a:lnTo>
                <a:lnTo>
                  <a:pt x="4370469" y="372409"/>
                </a:lnTo>
                <a:lnTo>
                  <a:pt x="4376192" y="383570"/>
                </a:lnTo>
                <a:lnTo>
                  <a:pt x="4377489" y="386748"/>
                </a:lnTo>
                <a:lnTo>
                  <a:pt x="4380909" y="393731"/>
                </a:lnTo>
                <a:lnTo>
                  <a:pt x="4395626" y="431150"/>
                </a:lnTo>
                <a:lnTo>
                  <a:pt x="4399828" y="441436"/>
                </a:lnTo>
                <a:lnTo>
                  <a:pt x="4400420" y="443339"/>
                </a:lnTo>
                <a:lnTo>
                  <a:pt x="4402388" y="448347"/>
                </a:lnTo>
                <a:lnTo>
                  <a:pt x="4417161" y="497120"/>
                </a:lnTo>
                <a:lnTo>
                  <a:pt x="4418667" y="501954"/>
                </a:lnTo>
                <a:lnTo>
                  <a:pt x="4418772" y="502440"/>
                </a:lnTo>
                <a:lnTo>
                  <a:pt x="4419628" y="505257"/>
                </a:lnTo>
                <a:cubicBezTo>
                  <a:pt x="4429658" y="543913"/>
                  <a:pt x="4436718" y="583941"/>
                  <a:pt x="4440518" y="625027"/>
                </a:cubicBezTo>
                <a:lnTo>
                  <a:pt x="4440644" y="627748"/>
                </a:lnTo>
                <a:lnTo>
                  <a:pt x="4440910" y="629790"/>
                </a:lnTo>
                <a:lnTo>
                  <a:pt x="4442362" y="663451"/>
                </a:lnTo>
                <a:lnTo>
                  <a:pt x="4443789" y="663451"/>
                </a:lnTo>
                <a:lnTo>
                  <a:pt x="4443789" y="696109"/>
                </a:lnTo>
                <a:lnTo>
                  <a:pt x="4443789" y="696115"/>
                </a:lnTo>
                <a:lnTo>
                  <a:pt x="4443789" y="696122"/>
                </a:lnTo>
                <a:lnTo>
                  <a:pt x="4443789" y="696532"/>
                </a:lnTo>
                <a:lnTo>
                  <a:pt x="4443789" y="703132"/>
                </a:lnTo>
                <a:lnTo>
                  <a:pt x="4443789" y="1121961"/>
                </a:lnTo>
                <a:lnTo>
                  <a:pt x="4443789" y="1126490"/>
                </a:lnTo>
                <a:lnTo>
                  <a:pt x="4443789" y="1154619"/>
                </a:lnTo>
                <a:lnTo>
                  <a:pt x="4443789" y="1154625"/>
                </a:lnTo>
                <a:lnTo>
                  <a:pt x="4443789" y="1154632"/>
                </a:lnTo>
                <a:lnTo>
                  <a:pt x="4443789" y="1155042"/>
                </a:lnTo>
                <a:lnTo>
                  <a:pt x="4443789" y="1161642"/>
                </a:lnTo>
                <a:lnTo>
                  <a:pt x="4443789" y="1399246"/>
                </a:lnTo>
                <a:lnTo>
                  <a:pt x="4443789" y="1585000"/>
                </a:lnTo>
                <a:lnTo>
                  <a:pt x="4443789" y="1829621"/>
                </a:lnTo>
                <a:lnTo>
                  <a:pt x="4443789" y="1857756"/>
                </a:lnTo>
                <a:lnTo>
                  <a:pt x="4443789" y="2288131"/>
                </a:lnTo>
                <a:lnTo>
                  <a:pt x="4443789" y="2525728"/>
                </a:lnTo>
                <a:lnTo>
                  <a:pt x="4443789" y="2984238"/>
                </a:lnTo>
                <a:lnTo>
                  <a:pt x="3843754" y="2984238"/>
                </a:lnTo>
                <a:lnTo>
                  <a:pt x="3810186" y="2984238"/>
                </a:lnTo>
                <a:lnTo>
                  <a:pt x="3740986" y="2984238"/>
                </a:lnTo>
                <a:lnTo>
                  <a:pt x="3512790" y="2984238"/>
                </a:lnTo>
                <a:lnTo>
                  <a:pt x="3402719" y="2984238"/>
                </a:lnTo>
                <a:lnTo>
                  <a:pt x="3109201" y="2984238"/>
                </a:lnTo>
                <a:lnTo>
                  <a:pt x="2986086" y="2984238"/>
                </a:lnTo>
                <a:lnTo>
                  <a:pt x="2802684" y="2984238"/>
                </a:lnTo>
                <a:lnTo>
                  <a:pt x="2769116" y="2984238"/>
                </a:lnTo>
                <a:lnTo>
                  <a:pt x="2713776" y="2984238"/>
                </a:lnTo>
                <a:lnTo>
                  <a:pt x="2509166" y="2984238"/>
                </a:lnTo>
                <a:lnTo>
                  <a:pt x="2475598" y="2984238"/>
                </a:lnTo>
                <a:lnTo>
                  <a:pt x="1839935" y="2984238"/>
                </a:lnTo>
                <a:lnTo>
                  <a:pt x="1716819" y="2984238"/>
                </a:lnTo>
                <a:lnTo>
                  <a:pt x="1454682" y="2984238"/>
                </a:lnTo>
                <a:lnTo>
                  <a:pt x="1444510" y="2984238"/>
                </a:lnTo>
                <a:lnTo>
                  <a:pt x="1423301" y="2984238"/>
                </a:lnTo>
                <a:lnTo>
                  <a:pt x="1239899" y="2984238"/>
                </a:lnTo>
                <a:lnTo>
                  <a:pt x="1206331" y="2984238"/>
                </a:lnTo>
                <a:lnTo>
                  <a:pt x="1150992" y="2984238"/>
                </a:lnTo>
                <a:lnTo>
                  <a:pt x="905913" y="2984238"/>
                </a:lnTo>
                <a:lnTo>
                  <a:pt x="702803" y="2984238"/>
                </a:lnTo>
                <a:lnTo>
                  <a:pt x="633605" y="2984238"/>
                </a:lnTo>
                <a:lnTo>
                  <a:pt x="633605" y="2983406"/>
                </a:lnTo>
                <a:lnTo>
                  <a:pt x="633604" y="2983406"/>
                </a:lnTo>
                <a:lnTo>
                  <a:pt x="633414" y="2983406"/>
                </a:lnTo>
                <a:lnTo>
                  <a:pt x="625287" y="2983406"/>
                </a:lnTo>
                <a:lnTo>
                  <a:pt x="600036" y="2983406"/>
                </a:lnTo>
                <a:lnTo>
                  <a:pt x="600036" y="2981671"/>
                </a:lnTo>
                <a:lnTo>
                  <a:pt x="572647" y="2980249"/>
                </a:lnTo>
                <a:lnTo>
                  <a:pt x="570293" y="2979886"/>
                </a:lnTo>
                <a:lnTo>
                  <a:pt x="568992" y="2979815"/>
                </a:lnTo>
                <a:lnTo>
                  <a:pt x="556640" y="2977788"/>
                </a:lnTo>
                <a:lnTo>
                  <a:pt x="517152" y="2971720"/>
                </a:lnTo>
                <a:lnTo>
                  <a:pt x="512609" y="2970567"/>
                </a:lnTo>
                <a:lnTo>
                  <a:pt x="509935" y="2970129"/>
                </a:lnTo>
                <a:lnTo>
                  <a:pt x="496126" y="2966380"/>
                </a:lnTo>
                <a:lnTo>
                  <a:pt x="463301" y="2958046"/>
                </a:lnTo>
                <a:lnTo>
                  <a:pt x="456659" y="2955672"/>
                </a:lnTo>
                <a:lnTo>
                  <a:pt x="452785" y="2954621"/>
                </a:lnTo>
                <a:lnTo>
                  <a:pt x="439575" y="2949567"/>
                </a:lnTo>
                <a:lnTo>
                  <a:pt x="411312" y="2939463"/>
                </a:lnTo>
                <a:lnTo>
                  <a:pt x="402737" y="2935469"/>
                </a:lnTo>
                <a:lnTo>
                  <a:pt x="397806" y="2933581"/>
                </a:lnTo>
                <a:lnTo>
                  <a:pt x="385843" y="2927598"/>
                </a:lnTo>
                <a:lnTo>
                  <a:pt x="361403" y="2916211"/>
                </a:lnTo>
                <a:lnTo>
                  <a:pt x="351085" y="2910211"/>
                </a:lnTo>
                <a:lnTo>
                  <a:pt x="345259" y="2907297"/>
                </a:lnTo>
                <a:lnTo>
                  <a:pt x="334785" y="2900733"/>
                </a:lnTo>
                <a:lnTo>
                  <a:pt x="313788" y="2888524"/>
                </a:lnTo>
                <a:lnTo>
                  <a:pt x="301951" y="2880157"/>
                </a:lnTo>
                <a:lnTo>
                  <a:pt x="295407" y="2876057"/>
                </a:lnTo>
                <a:lnTo>
                  <a:pt x="286494" y="2869231"/>
                </a:lnTo>
                <a:lnTo>
                  <a:pt x="268682" y="2856641"/>
                </a:lnTo>
                <a:lnTo>
                  <a:pt x="255577" y="2845557"/>
                </a:lnTo>
                <a:lnTo>
                  <a:pt x="248513" y="2840148"/>
                </a:lnTo>
                <a:lnTo>
                  <a:pt x="241144" y="2833351"/>
                </a:lnTo>
                <a:lnTo>
                  <a:pt x="226303" y="2820799"/>
                </a:lnTo>
                <a:lnTo>
                  <a:pt x="212206" y="2806655"/>
                </a:lnTo>
                <a:lnTo>
                  <a:pt x="204840" y="2799860"/>
                </a:lnTo>
                <a:lnTo>
                  <a:pt x="198946" y="2793352"/>
                </a:lnTo>
                <a:lnTo>
                  <a:pt x="186869" y="2781235"/>
                </a:lnTo>
                <a:lnTo>
                  <a:pt x="172075" y="2763680"/>
                </a:lnTo>
                <a:lnTo>
                  <a:pt x="164649" y="2755479"/>
                </a:lnTo>
                <a:lnTo>
                  <a:pt x="160126" y="2749501"/>
                </a:lnTo>
                <a:lnTo>
                  <a:pt x="150593" y="2738187"/>
                </a:lnTo>
                <a:lnTo>
                  <a:pt x="135413" y="2716825"/>
                </a:lnTo>
                <a:lnTo>
                  <a:pt x="128203" y="2707295"/>
                </a:lnTo>
                <a:lnTo>
                  <a:pt x="124919" y="2702060"/>
                </a:lnTo>
                <a:lnTo>
                  <a:pt x="117691" y="2691891"/>
                </a:lnTo>
                <a:lnTo>
                  <a:pt x="102434" y="2666223"/>
                </a:lnTo>
                <a:lnTo>
                  <a:pt x="95765" y="2655594"/>
                </a:lnTo>
                <a:lnTo>
                  <a:pt x="93563" y="2651301"/>
                </a:lnTo>
                <a:lnTo>
                  <a:pt x="88382" y="2642586"/>
                </a:lnTo>
                <a:lnTo>
                  <a:pt x="73321" y="2611829"/>
                </a:lnTo>
                <a:lnTo>
                  <a:pt x="67598" y="2600668"/>
                </a:lnTo>
                <a:lnTo>
                  <a:pt x="66299" y="2597490"/>
                </a:lnTo>
                <a:lnTo>
                  <a:pt x="62879" y="2590507"/>
                </a:lnTo>
                <a:lnTo>
                  <a:pt x="48163" y="2553088"/>
                </a:lnTo>
                <a:lnTo>
                  <a:pt x="43963" y="2542802"/>
                </a:lnTo>
                <a:lnTo>
                  <a:pt x="43371" y="2540899"/>
                </a:lnTo>
                <a:lnTo>
                  <a:pt x="41402" y="2535892"/>
                </a:lnTo>
                <a:lnTo>
                  <a:pt x="26628" y="2487119"/>
                </a:lnTo>
                <a:lnTo>
                  <a:pt x="25122" y="2482285"/>
                </a:lnTo>
                <a:lnTo>
                  <a:pt x="25017" y="2481798"/>
                </a:lnTo>
                <a:lnTo>
                  <a:pt x="24163" y="2478980"/>
                </a:lnTo>
                <a:cubicBezTo>
                  <a:pt x="14132" y="2440325"/>
                  <a:pt x="7072" y="2400297"/>
                  <a:pt x="3271" y="2359211"/>
                </a:cubicBezTo>
                <a:lnTo>
                  <a:pt x="3146" y="2356490"/>
                </a:lnTo>
                <a:lnTo>
                  <a:pt x="2879" y="2354448"/>
                </a:lnTo>
                <a:lnTo>
                  <a:pt x="1428" y="2320787"/>
                </a:lnTo>
                <a:lnTo>
                  <a:pt x="1" y="2320787"/>
                </a:lnTo>
                <a:lnTo>
                  <a:pt x="1" y="2288129"/>
                </a:lnTo>
                <a:lnTo>
                  <a:pt x="0" y="2288123"/>
                </a:lnTo>
                <a:lnTo>
                  <a:pt x="1" y="2288116"/>
                </a:lnTo>
                <a:lnTo>
                  <a:pt x="1" y="2287707"/>
                </a:lnTo>
                <a:lnTo>
                  <a:pt x="1" y="2281106"/>
                </a:lnTo>
                <a:lnTo>
                  <a:pt x="0" y="2281106"/>
                </a:lnTo>
                <a:lnTo>
                  <a:pt x="0" y="1857749"/>
                </a:lnTo>
                <a:lnTo>
                  <a:pt x="0" y="1857748"/>
                </a:lnTo>
                <a:lnTo>
                  <a:pt x="0" y="1857747"/>
                </a:lnTo>
                <a:lnTo>
                  <a:pt x="0" y="1829613"/>
                </a:lnTo>
                <a:lnTo>
                  <a:pt x="0" y="1822596"/>
                </a:lnTo>
                <a:lnTo>
                  <a:pt x="0" y="1584992"/>
                </a:lnTo>
                <a:lnTo>
                  <a:pt x="0" y="1399239"/>
                </a:lnTo>
                <a:lnTo>
                  <a:pt x="0" y="1399238"/>
                </a:lnTo>
                <a:lnTo>
                  <a:pt x="0" y="1399237"/>
                </a:lnTo>
                <a:lnTo>
                  <a:pt x="0" y="1154618"/>
                </a:lnTo>
                <a:lnTo>
                  <a:pt x="0" y="1126482"/>
                </a:lnTo>
                <a:lnTo>
                  <a:pt x="0" y="696108"/>
                </a:lnTo>
                <a:lnTo>
                  <a:pt x="0" y="45851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52113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BC4832D-2254-4A9F-8429-7952279A15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42718" y="490698"/>
            <a:ext cx="4891380" cy="5751788"/>
          </a:xfrm>
          <a:custGeom>
            <a:avLst/>
            <a:gdLst>
              <a:gd name="connsiteX0" fmla="*/ 0 w 4891380"/>
              <a:gd name="connsiteY0" fmla="*/ 0 h 5751788"/>
              <a:gd name="connsiteX1" fmla="*/ 1471669 w 4891380"/>
              <a:gd name="connsiteY1" fmla="*/ 0 h 5751788"/>
              <a:gd name="connsiteX2" fmla="*/ 1960808 w 4891380"/>
              <a:gd name="connsiteY2" fmla="*/ 0 h 5751788"/>
              <a:gd name="connsiteX3" fmla="*/ 2930558 w 4891380"/>
              <a:gd name="connsiteY3" fmla="*/ 0 h 5751788"/>
              <a:gd name="connsiteX4" fmla="*/ 3419696 w 4891380"/>
              <a:gd name="connsiteY4" fmla="*/ 0 h 5751788"/>
              <a:gd name="connsiteX5" fmla="*/ 3458648 w 4891380"/>
              <a:gd name="connsiteY5" fmla="*/ 0 h 5751788"/>
              <a:gd name="connsiteX6" fmla="*/ 3458648 w 4891380"/>
              <a:gd name="connsiteY6" fmla="*/ 1 h 5751788"/>
              <a:gd name="connsiteX7" fmla="*/ 3488752 w 4891380"/>
              <a:gd name="connsiteY7" fmla="*/ 1 h 5751788"/>
              <a:gd name="connsiteX8" fmla="*/ 3488752 w 4891380"/>
              <a:gd name="connsiteY8" fmla="*/ 3335 h 5751788"/>
              <a:gd name="connsiteX9" fmla="*/ 3559916 w 4891380"/>
              <a:gd name="connsiteY9" fmla="*/ 6728 h 5751788"/>
              <a:gd name="connsiteX10" fmla="*/ 3564234 w 4891380"/>
              <a:gd name="connsiteY10" fmla="*/ 7350 h 5751788"/>
              <a:gd name="connsiteX11" fmla="*/ 3569987 w 4891380"/>
              <a:gd name="connsiteY11" fmla="*/ 7641 h 5751788"/>
              <a:gd name="connsiteX12" fmla="*/ 3823196 w 4891380"/>
              <a:gd name="connsiteY12" fmla="*/ 56454 h 5751788"/>
              <a:gd name="connsiteX13" fmla="*/ 3829154 w 4891380"/>
              <a:gd name="connsiteY13" fmla="*/ 58447 h 5751788"/>
              <a:gd name="connsiteX14" fmla="*/ 3830180 w 4891380"/>
              <a:gd name="connsiteY14" fmla="*/ 58696 h 5751788"/>
              <a:gd name="connsiteX15" fmla="*/ 3840400 w 4891380"/>
              <a:gd name="connsiteY15" fmla="*/ 62213 h 5751788"/>
              <a:gd name="connsiteX16" fmla="*/ 3943517 w 4891380"/>
              <a:gd name="connsiteY16" fmla="*/ 96729 h 5751788"/>
              <a:gd name="connsiteX17" fmla="*/ 3954101 w 4891380"/>
              <a:gd name="connsiteY17" fmla="*/ 101328 h 5751788"/>
              <a:gd name="connsiteX18" fmla="*/ 3958123 w 4891380"/>
              <a:gd name="connsiteY18" fmla="*/ 102713 h 5751788"/>
              <a:gd name="connsiteX19" fmla="*/ 3979869 w 4891380"/>
              <a:gd name="connsiteY19" fmla="*/ 112529 h 5751788"/>
              <a:gd name="connsiteX20" fmla="*/ 4058977 w 4891380"/>
              <a:gd name="connsiteY20" fmla="*/ 146909 h 5751788"/>
              <a:gd name="connsiteX21" fmla="*/ 4073742 w 4891380"/>
              <a:gd name="connsiteY21" fmla="*/ 154899 h 5751788"/>
              <a:gd name="connsiteX22" fmla="*/ 4080462 w 4891380"/>
              <a:gd name="connsiteY22" fmla="*/ 157932 h 5751788"/>
              <a:gd name="connsiteX23" fmla="*/ 4104058 w 4891380"/>
              <a:gd name="connsiteY23" fmla="*/ 171305 h 5751788"/>
              <a:gd name="connsiteX24" fmla="*/ 4169078 w 4891380"/>
              <a:gd name="connsiteY24" fmla="*/ 206492 h 5751788"/>
              <a:gd name="connsiteX25" fmla="*/ 4187505 w 4891380"/>
              <a:gd name="connsiteY25" fmla="*/ 218597 h 5751788"/>
              <a:gd name="connsiteX26" fmla="*/ 4196586 w 4891380"/>
              <a:gd name="connsiteY26" fmla="*/ 223742 h 5751788"/>
              <a:gd name="connsiteX27" fmla="*/ 4219053 w 4891380"/>
              <a:gd name="connsiteY27" fmla="*/ 239321 h 5751788"/>
              <a:gd name="connsiteX28" fmla="*/ 4273318 w 4891380"/>
              <a:gd name="connsiteY28" fmla="*/ 274969 h 5751788"/>
              <a:gd name="connsiteX29" fmla="*/ 4294820 w 4891380"/>
              <a:gd name="connsiteY29" fmla="*/ 291856 h 5751788"/>
              <a:gd name="connsiteX30" fmla="*/ 4305886 w 4891380"/>
              <a:gd name="connsiteY30" fmla="*/ 299528 h 5751788"/>
              <a:gd name="connsiteX31" fmla="*/ 4326035 w 4891380"/>
              <a:gd name="connsiteY31" fmla="*/ 316371 h 5751788"/>
              <a:gd name="connsiteX32" fmla="*/ 4371194 w 4891380"/>
              <a:gd name="connsiteY32" fmla="*/ 351838 h 5751788"/>
              <a:gd name="connsiteX33" fmla="*/ 4395115 w 4891380"/>
              <a:gd name="connsiteY33" fmla="*/ 374115 h 5751788"/>
              <a:gd name="connsiteX34" fmla="*/ 4407752 w 4891380"/>
              <a:gd name="connsiteY34" fmla="*/ 384678 h 5751788"/>
              <a:gd name="connsiteX35" fmla="*/ 4425090 w 4891380"/>
              <a:gd name="connsiteY35" fmla="*/ 402029 h 5751788"/>
              <a:gd name="connsiteX36" fmla="*/ 4462206 w 4891380"/>
              <a:gd name="connsiteY36" fmla="*/ 436592 h 5751788"/>
              <a:gd name="connsiteX37" fmla="*/ 4487824 w 4891380"/>
              <a:gd name="connsiteY37" fmla="*/ 464813 h 5751788"/>
              <a:gd name="connsiteX38" fmla="*/ 4501580 w 4891380"/>
              <a:gd name="connsiteY38" fmla="*/ 478579 h 5751788"/>
              <a:gd name="connsiteX39" fmla="*/ 4515948 w 4891380"/>
              <a:gd name="connsiteY39" fmla="*/ 495792 h 5751788"/>
              <a:gd name="connsiteX40" fmla="*/ 4545848 w 4891380"/>
              <a:gd name="connsiteY40" fmla="*/ 528727 h 5751788"/>
              <a:gd name="connsiteX41" fmla="*/ 4572386 w 4891380"/>
              <a:gd name="connsiteY41" fmla="*/ 563402 h 5751788"/>
              <a:gd name="connsiteX42" fmla="*/ 4586756 w 4891380"/>
              <a:gd name="connsiteY42" fmla="*/ 580617 h 5751788"/>
              <a:gd name="connsiteX43" fmla="*/ 4598192 w 4891380"/>
              <a:gd name="connsiteY43" fmla="*/ 597122 h 5751788"/>
              <a:gd name="connsiteX44" fmla="*/ 4621624 w 4891380"/>
              <a:gd name="connsiteY44" fmla="*/ 627739 h 5751788"/>
              <a:gd name="connsiteX45" fmla="*/ 4648242 w 4891380"/>
              <a:gd name="connsiteY45" fmla="*/ 669353 h 5751788"/>
              <a:gd name="connsiteX46" fmla="*/ 4662670 w 4891380"/>
              <a:gd name="connsiteY46" fmla="*/ 690177 h 5751788"/>
              <a:gd name="connsiteX47" fmla="*/ 4671340 w 4891380"/>
              <a:gd name="connsiteY47" fmla="*/ 705466 h 5751788"/>
              <a:gd name="connsiteX48" fmla="*/ 4689030 w 4891380"/>
              <a:gd name="connsiteY48" fmla="*/ 733120 h 5751788"/>
              <a:gd name="connsiteX49" fmla="*/ 4714840 w 4891380"/>
              <a:gd name="connsiteY49" fmla="*/ 782179 h 5751788"/>
              <a:gd name="connsiteX50" fmla="*/ 4728718 w 4891380"/>
              <a:gd name="connsiteY50" fmla="*/ 806649 h 5751788"/>
              <a:gd name="connsiteX51" fmla="*/ 4734878 w 4891380"/>
              <a:gd name="connsiteY51" fmla="*/ 820262 h 5751788"/>
              <a:gd name="connsiteX52" fmla="*/ 4747562 w 4891380"/>
              <a:gd name="connsiteY52" fmla="*/ 844366 h 5751788"/>
              <a:gd name="connsiteX53" fmla="*/ 4771636 w 4891380"/>
              <a:gd name="connsiteY53" fmla="*/ 901470 h 5751788"/>
              <a:gd name="connsiteX54" fmla="*/ 4784286 w 4891380"/>
              <a:gd name="connsiteY54" fmla="*/ 929419 h 5751788"/>
              <a:gd name="connsiteX55" fmla="*/ 4788276 w 4891380"/>
              <a:gd name="connsiteY55" fmla="*/ 940938 h 5751788"/>
              <a:gd name="connsiteX56" fmla="*/ 4796723 w 4891380"/>
              <a:gd name="connsiteY56" fmla="*/ 960976 h 5751788"/>
              <a:gd name="connsiteX57" fmla="*/ 4818080 w 4891380"/>
              <a:gd name="connsiteY57" fmla="*/ 1027005 h 5751788"/>
              <a:gd name="connsiteX58" fmla="*/ 4828768 w 4891380"/>
              <a:gd name="connsiteY58" fmla="*/ 1057869 h 5751788"/>
              <a:gd name="connsiteX59" fmla="*/ 4830991 w 4891380"/>
              <a:gd name="connsiteY59" fmla="*/ 1066923 h 5751788"/>
              <a:gd name="connsiteX60" fmla="*/ 4836008 w 4891380"/>
              <a:gd name="connsiteY60" fmla="*/ 1082438 h 5751788"/>
              <a:gd name="connsiteX61" fmla="*/ 4853630 w 4891380"/>
              <a:gd name="connsiteY61" fmla="*/ 1159131 h 5751788"/>
              <a:gd name="connsiteX62" fmla="*/ 4861552 w 4891380"/>
              <a:gd name="connsiteY62" fmla="*/ 1191393 h 5751788"/>
              <a:gd name="connsiteX63" fmla="*/ 4862478 w 4891380"/>
              <a:gd name="connsiteY63" fmla="*/ 1197643 h 5751788"/>
              <a:gd name="connsiteX64" fmla="*/ 4864917 w 4891380"/>
              <a:gd name="connsiteY64" fmla="*/ 1208252 h 5751788"/>
              <a:gd name="connsiteX65" fmla="*/ 4877746 w 4891380"/>
              <a:gd name="connsiteY65" fmla="*/ 1300513 h 5751788"/>
              <a:gd name="connsiteX66" fmla="*/ 4882030 w 4891380"/>
              <a:gd name="connsiteY66" fmla="*/ 1329371 h 5751788"/>
              <a:gd name="connsiteX67" fmla="*/ 4882182 w 4891380"/>
              <a:gd name="connsiteY67" fmla="*/ 1332410 h 5751788"/>
              <a:gd name="connsiteX68" fmla="*/ 4882946 w 4891380"/>
              <a:gd name="connsiteY68" fmla="*/ 1337912 h 5751788"/>
              <a:gd name="connsiteX69" fmla="*/ 4885957 w 4891380"/>
              <a:gd name="connsiteY69" fmla="*/ 1401901 h 5751788"/>
              <a:gd name="connsiteX70" fmla="*/ 4889624 w 4891380"/>
              <a:gd name="connsiteY70" fmla="*/ 1401901 h 5751788"/>
              <a:gd name="connsiteX71" fmla="*/ 4889624 w 4891380"/>
              <a:gd name="connsiteY71" fmla="*/ 1460895 h 5751788"/>
              <a:gd name="connsiteX72" fmla="*/ 4889624 w 4891380"/>
              <a:gd name="connsiteY72" fmla="*/ 1479885 h 5751788"/>
              <a:gd name="connsiteX73" fmla="*/ 4889624 w 4891380"/>
              <a:gd name="connsiteY73" fmla="*/ 1480329 h 5751788"/>
              <a:gd name="connsiteX74" fmla="*/ 4891380 w 4891380"/>
              <a:gd name="connsiteY74" fmla="*/ 1480329 h 5751788"/>
              <a:gd name="connsiteX75" fmla="*/ 4891380 w 4891380"/>
              <a:gd name="connsiteY75" fmla="*/ 1630791 h 5751788"/>
              <a:gd name="connsiteX76" fmla="*/ 3458648 w 4891380"/>
              <a:gd name="connsiteY76" fmla="*/ 1630791 h 5751788"/>
              <a:gd name="connsiteX77" fmla="*/ 3458648 w 4891380"/>
              <a:gd name="connsiteY77" fmla="*/ 1630792 h 5751788"/>
              <a:gd name="connsiteX78" fmla="*/ 3488751 w 4891380"/>
              <a:gd name="connsiteY78" fmla="*/ 1630792 h 5751788"/>
              <a:gd name="connsiteX79" fmla="*/ 3488751 w 4891380"/>
              <a:gd name="connsiteY79" fmla="*/ 1634126 h 5751788"/>
              <a:gd name="connsiteX80" fmla="*/ 3559916 w 4891380"/>
              <a:gd name="connsiteY80" fmla="*/ 1637518 h 5751788"/>
              <a:gd name="connsiteX81" fmla="*/ 3564234 w 4891380"/>
              <a:gd name="connsiteY81" fmla="*/ 1638140 h 5751788"/>
              <a:gd name="connsiteX82" fmla="*/ 3569986 w 4891380"/>
              <a:gd name="connsiteY82" fmla="*/ 1638433 h 5751788"/>
              <a:gd name="connsiteX83" fmla="*/ 3823196 w 4891380"/>
              <a:gd name="connsiteY83" fmla="*/ 1687245 h 5751788"/>
              <a:gd name="connsiteX84" fmla="*/ 3829153 w 4891380"/>
              <a:gd name="connsiteY84" fmla="*/ 1689237 h 5751788"/>
              <a:gd name="connsiteX85" fmla="*/ 3830180 w 4891380"/>
              <a:gd name="connsiteY85" fmla="*/ 1689487 h 5751788"/>
              <a:gd name="connsiteX86" fmla="*/ 3840400 w 4891380"/>
              <a:gd name="connsiteY86" fmla="*/ 1693004 h 5751788"/>
              <a:gd name="connsiteX87" fmla="*/ 3943516 w 4891380"/>
              <a:gd name="connsiteY87" fmla="*/ 1727519 h 5751788"/>
              <a:gd name="connsiteX88" fmla="*/ 3954100 w 4891380"/>
              <a:gd name="connsiteY88" fmla="*/ 1732119 h 5751788"/>
              <a:gd name="connsiteX89" fmla="*/ 3958122 w 4891380"/>
              <a:gd name="connsiteY89" fmla="*/ 1733503 h 5751788"/>
              <a:gd name="connsiteX90" fmla="*/ 3979868 w 4891380"/>
              <a:gd name="connsiteY90" fmla="*/ 1743320 h 5751788"/>
              <a:gd name="connsiteX91" fmla="*/ 4058976 w 4891380"/>
              <a:gd name="connsiteY91" fmla="*/ 1777700 h 5751788"/>
              <a:gd name="connsiteX92" fmla="*/ 4073741 w 4891380"/>
              <a:gd name="connsiteY92" fmla="*/ 1785690 h 5751788"/>
              <a:gd name="connsiteX93" fmla="*/ 4080461 w 4891380"/>
              <a:gd name="connsiteY93" fmla="*/ 1788723 h 5751788"/>
              <a:gd name="connsiteX94" fmla="*/ 4104057 w 4891380"/>
              <a:gd name="connsiteY94" fmla="*/ 1802096 h 5751788"/>
              <a:gd name="connsiteX95" fmla="*/ 4169078 w 4891380"/>
              <a:gd name="connsiteY95" fmla="*/ 1837283 h 5751788"/>
              <a:gd name="connsiteX96" fmla="*/ 4187505 w 4891380"/>
              <a:gd name="connsiteY96" fmla="*/ 1849388 h 5751788"/>
              <a:gd name="connsiteX97" fmla="*/ 4196584 w 4891380"/>
              <a:gd name="connsiteY97" fmla="*/ 1854532 h 5751788"/>
              <a:gd name="connsiteX98" fmla="*/ 4219053 w 4891380"/>
              <a:gd name="connsiteY98" fmla="*/ 1870112 h 5751788"/>
              <a:gd name="connsiteX99" fmla="*/ 4273316 w 4891380"/>
              <a:gd name="connsiteY99" fmla="*/ 1905760 h 5751788"/>
              <a:gd name="connsiteX100" fmla="*/ 4294820 w 4891380"/>
              <a:gd name="connsiteY100" fmla="*/ 1922647 h 5751788"/>
              <a:gd name="connsiteX101" fmla="*/ 4305884 w 4891380"/>
              <a:gd name="connsiteY101" fmla="*/ 1930319 h 5751788"/>
              <a:gd name="connsiteX102" fmla="*/ 4326034 w 4891380"/>
              <a:gd name="connsiteY102" fmla="*/ 1947163 h 5751788"/>
              <a:gd name="connsiteX103" fmla="*/ 4371194 w 4891380"/>
              <a:gd name="connsiteY103" fmla="*/ 1982629 h 5751788"/>
              <a:gd name="connsiteX104" fmla="*/ 4395114 w 4891380"/>
              <a:gd name="connsiteY104" fmla="*/ 2004906 h 5751788"/>
              <a:gd name="connsiteX105" fmla="*/ 4407752 w 4891380"/>
              <a:gd name="connsiteY105" fmla="*/ 2015469 h 5751788"/>
              <a:gd name="connsiteX106" fmla="*/ 4425088 w 4891380"/>
              <a:gd name="connsiteY106" fmla="*/ 2032820 h 5751788"/>
              <a:gd name="connsiteX107" fmla="*/ 4462204 w 4891380"/>
              <a:gd name="connsiteY107" fmla="*/ 2067383 h 5751788"/>
              <a:gd name="connsiteX108" fmla="*/ 4487823 w 4891380"/>
              <a:gd name="connsiteY108" fmla="*/ 2095602 h 5751788"/>
              <a:gd name="connsiteX109" fmla="*/ 4501580 w 4891380"/>
              <a:gd name="connsiteY109" fmla="*/ 2109370 h 5751788"/>
              <a:gd name="connsiteX110" fmla="*/ 4515948 w 4891380"/>
              <a:gd name="connsiteY110" fmla="*/ 2126583 h 5751788"/>
              <a:gd name="connsiteX111" fmla="*/ 4545846 w 4891380"/>
              <a:gd name="connsiteY111" fmla="*/ 2159517 h 5751788"/>
              <a:gd name="connsiteX112" fmla="*/ 4572383 w 4891380"/>
              <a:gd name="connsiteY112" fmla="*/ 2194191 h 5751788"/>
              <a:gd name="connsiteX113" fmla="*/ 4586756 w 4891380"/>
              <a:gd name="connsiteY113" fmla="*/ 2211408 h 5751788"/>
              <a:gd name="connsiteX114" fmla="*/ 4598190 w 4891380"/>
              <a:gd name="connsiteY114" fmla="*/ 2227912 h 5751788"/>
              <a:gd name="connsiteX115" fmla="*/ 4621623 w 4891380"/>
              <a:gd name="connsiteY115" fmla="*/ 2258530 h 5751788"/>
              <a:gd name="connsiteX116" fmla="*/ 4648242 w 4891380"/>
              <a:gd name="connsiteY116" fmla="*/ 2300144 h 5751788"/>
              <a:gd name="connsiteX117" fmla="*/ 4662670 w 4891380"/>
              <a:gd name="connsiteY117" fmla="*/ 2320968 h 5751788"/>
              <a:gd name="connsiteX118" fmla="*/ 4671340 w 4891380"/>
              <a:gd name="connsiteY118" fmla="*/ 2336257 h 5751788"/>
              <a:gd name="connsiteX119" fmla="*/ 4689028 w 4891380"/>
              <a:gd name="connsiteY119" fmla="*/ 2363911 h 5751788"/>
              <a:gd name="connsiteX120" fmla="*/ 4714840 w 4891380"/>
              <a:gd name="connsiteY120" fmla="*/ 2412970 h 5751788"/>
              <a:gd name="connsiteX121" fmla="*/ 4728716 w 4891380"/>
              <a:gd name="connsiteY121" fmla="*/ 2437439 h 5751788"/>
              <a:gd name="connsiteX122" fmla="*/ 4734877 w 4891380"/>
              <a:gd name="connsiteY122" fmla="*/ 2451053 h 5751788"/>
              <a:gd name="connsiteX123" fmla="*/ 4747562 w 4891380"/>
              <a:gd name="connsiteY123" fmla="*/ 2475157 h 5751788"/>
              <a:gd name="connsiteX124" fmla="*/ 4771636 w 4891380"/>
              <a:gd name="connsiteY124" fmla="*/ 2532261 h 5751788"/>
              <a:gd name="connsiteX125" fmla="*/ 4784286 w 4891380"/>
              <a:gd name="connsiteY125" fmla="*/ 2560208 h 5751788"/>
              <a:gd name="connsiteX126" fmla="*/ 4788274 w 4891380"/>
              <a:gd name="connsiteY126" fmla="*/ 2571729 h 5751788"/>
              <a:gd name="connsiteX127" fmla="*/ 4796723 w 4891380"/>
              <a:gd name="connsiteY127" fmla="*/ 2591766 h 5751788"/>
              <a:gd name="connsiteX128" fmla="*/ 4818078 w 4891380"/>
              <a:gd name="connsiteY128" fmla="*/ 2657796 h 5751788"/>
              <a:gd name="connsiteX129" fmla="*/ 4828766 w 4891380"/>
              <a:gd name="connsiteY129" fmla="*/ 2688660 h 5751788"/>
              <a:gd name="connsiteX130" fmla="*/ 4830988 w 4891380"/>
              <a:gd name="connsiteY130" fmla="*/ 2697714 h 5751788"/>
              <a:gd name="connsiteX131" fmla="*/ 4836008 w 4891380"/>
              <a:gd name="connsiteY131" fmla="*/ 2713229 h 5751788"/>
              <a:gd name="connsiteX132" fmla="*/ 4853629 w 4891380"/>
              <a:gd name="connsiteY132" fmla="*/ 2789921 h 5751788"/>
              <a:gd name="connsiteX133" fmla="*/ 4861550 w 4891380"/>
              <a:gd name="connsiteY133" fmla="*/ 2822183 h 5751788"/>
              <a:gd name="connsiteX134" fmla="*/ 4862477 w 4891380"/>
              <a:gd name="connsiteY134" fmla="*/ 2828433 h 5751788"/>
              <a:gd name="connsiteX135" fmla="*/ 4864917 w 4891380"/>
              <a:gd name="connsiteY135" fmla="*/ 2839043 h 5751788"/>
              <a:gd name="connsiteX136" fmla="*/ 4877746 w 4891380"/>
              <a:gd name="connsiteY136" fmla="*/ 2931303 h 5751788"/>
              <a:gd name="connsiteX137" fmla="*/ 4882029 w 4891380"/>
              <a:gd name="connsiteY137" fmla="*/ 2960161 h 5751788"/>
              <a:gd name="connsiteX138" fmla="*/ 4882180 w 4891380"/>
              <a:gd name="connsiteY138" fmla="*/ 2963200 h 5751788"/>
              <a:gd name="connsiteX139" fmla="*/ 4882946 w 4891380"/>
              <a:gd name="connsiteY139" fmla="*/ 2968703 h 5751788"/>
              <a:gd name="connsiteX140" fmla="*/ 4885956 w 4891380"/>
              <a:gd name="connsiteY140" fmla="*/ 3032692 h 5751788"/>
              <a:gd name="connsiteX141" fmla="*/ 4889624 w 4891380"/>
              <a:gd name="connsiteY141" fmla="*/ 3032692 h 5751788"/>
              <a:gd name="connsiteX142" fmla="*/ 4889624 w 4891380"/>
              <a:gd name="connsiteY142" fmla="*/ 3091686 h 5751788"/>
              <a:gd name="connsiteX143" fmla="*/ 4889624 w 4891380"/>
              <a:gd name="connsiteY143" fmla="*/ 3110675 h 5751788"/>
              <a:gd name="connsiteX144" fmla="*/ 4889624 w 4891380"/>
              <a:gd name="connsiteY144" fmla="*/ 3111118 h 5751788"/>
              <a:gd name="connsiteX145" fmla="*/ 4891379 w 4891380"/>
              <a:gd name="connsiteY145" fmla="*/ 3111118 h 5751788"/>
              <a:gd name="connsiteX146" fmla="*/ 4891379 w 4891380"/>
              <a:gd name="connsiteY146" fmla="*/ 3394564 h 5751788"/>
              <a:gd name="connsiteX147" fmla="*/ 4891379 w 4891380"/>
              <a:gd name="connsiteY147" fmla="*/ 3988016 h 5751788"/>
              <a:gd name="connsiteX148" fmla="*/ 4891379 w 4891380"/>
              <a:gd name="connsiteY148" fmla="*/ 4271461 h 5751788"/>
              <a:gd name="connsiteX149" fmla="*/ 4891379 w 4891380"/>
              <a:gd name="connsiteY149" fmla="*/ 4349890 h 5751788"/>
              <a:gd name="connsiteX150" fmla="*/ 4889640 w 4891380"/>
              <a:gd name="connsiteY150" fmla="*/ 4349890 h 5751788"/>
              <a:gd name="connsiteX151" fmla="*/ 4889640 w 4891380"/>
              <a:gd name="connsiteY151" fmla="*/ 5751787 h 5751788"/>
              <a:gd name="connsiteX152" fmla="*/ 4400501 w 4891380"/>
              <a:gd name="connsiteY152" fmla="*/ 5751787 h 5751788"/>
              <a:gd name="connsiteX153" fmla="*/ 3430753 w 4891380"/>
              <a:gd name="connsiteY153" fmla="*/ 5751787 h 5751788"/>
              <a:gd name="connsiteX154" fmla="*/ 3420593 w 4891380"/>
              <a:gd name="connsiteY154" fmla="*/ 5751787 h 5751788"/>
              <a:gd name="connsiteX155" fmla="*/ 3419727 w 4891380"/>
              <a:gd name="connsiteY155" fmla="*/ 5751787 h 5751788"/>
              <a:gd name="connsiteX156" fmla="*/ 3419712 w 4891380"/>
              <a:gd name="connsiteY156" fmla="*/ 5751788 h 5751788"/>
              <a:gd name="connsiteX157" fmla="*/ 3419699 w 4891380"/>
              <a:gd name="connsiteY157" fmla="*/ 5751787 h 5751788"/>
              <a:gd name="connsiteX158" fmla="*/ 3350656 w 4891380"/>
              <a:gd name="connsiteY158" fmla="*/ 5751787 h 5751788"/>
              <a:gd name="connsiteX159" fmla="*/ 2941613 w 4891380"/>
              <a:gd name="connsiteY159" fmla="*/ 5751787 h 5751788"/>
              <a:gd name="connsiteX160" fmla="*/ 2931453 w 4891380"/>
              <a:gd name="connsiteY160" fmla="*/ 5751787 h 5751788"/>
              <a:gd name="connsiteX161" fmla="*/ 2930587 w 4891380"/>
              <a:gd name="connsiteY161" fmla="*/ 5751787 h 5751788"/>
              <a:gd name="connsiteX162" fmla="*/ 2930574 w 4891380"/>
              <a:gd name="connsiteY162" fmla="*/ 5751788 h 5751788"/>
              <a:gd name="connsiteX163" fmla="*/ 2930558 w 4891380"/>
              <a:gd name="connsiteY163" fmla="*/ 5751787 h 5751788"/>
              <a:gd name="connsiteX164" fmla="*/ 2861517 w 4891380"/>
              <a:gd name="connsiteY164" fmla="*/ 5751787 h 5751788"/>
              <a:gd name="connsiteX165" fmla="*/ 1961706 w 4891380"/>
              <a:gd name="connsiteY165" fmla="*/ 5751787 h 5751788"/>
              <a:gd name="connsiteX166" fmla="*/ 1960839 w 4891380"/>
              <a:gd name="connsiteY166" fmla="*/ 5751787 h 5751788"/>
              <a:gd name="connsiteX167" fmla="*/ 1960824 w 4891380"/>
              <a:gd name="connsiteY167" fmla="*/ 5751788 h 5751788"/>
              <a:gd name="connsiteX168" fmla="*/ 1960810 w 4891380"/>
              <a:gd name="connsiteY168" fmla="*/ 5751787 h 5751788"/>
              <a:gd name="connsiteX169" fmla="*/ 1891768 w 4891380"/>
              <a:gd name="connsiteY169" fmla="*/ 5751787 h 5751788"/>
              <a:gd name="connsiteX170" fmla="*/ 1472566 w 4891380"/>
              <a:gd name="connsiteY170" fmla="*/ 5751787 h 5751788"/>
              <a:gd name="connsiteX171" fmla="*/ 1471699 w 4891380"/>
              <a:gd name="connsiteY171" fmla="*/ 5751787 h 5751788"/>
              <a:gd name="connsiteX172" fmla="*/ 1471686 w 4891380"/>
              <a:gd name="connsiteY172" fmla="*/ 5751788 h 5751788"/>
              <a:gd name="connsiteX173" fmla="*/ 1471671 w 4891380"/>
              <a:gd name="connsiteY173" fmla="*/ 5751787 h 5751788"/>
              <a:gd name="connsiteX174" fmla="*/ 1402630 w 4891380"/>
              <a:gd name="connsiteY174" fmla="*/ 5751787 h 5751788"/>
              <a:gd name="connsiteX175" fmla="*/ 1402630 w 4891380"/>
              <a:gd name="connsiteY175" fmla="*/ 5748454 h 5751788"/>
              <a:gd name="connsiteX176" fmla="*/ 1331464 w 4891380"/>
              <a:gd name="connsiteY176" fmla="*/ 5745061 h 5751788"/>
              <a:gd name="connsiteX177" fmla="*/ 1327146 w 4891380"/>
              <a:gd name="connsiteY177" fmla="*/ 5744440 h 5751788"/>
              <a:gd name="connsiteX178" fmla="*/ 1321394 w 4891380"/>
              <a:gd name="connsiteY178" fmla="*/ 5744149 h 5751788"/>
              <a:gd name="connsiteX179" fmla="*/ 1068185 w 4891380"/>
              <a:gd name="connsiteY179" fmla="*/ 5695337 h 5751788"/>
              <a:gd name="connsiteX180" fmla="*/ 1062227 w 4891380"/>
              <a:gd name="connsiteY180" fmla="*/ 5693342 h 5751788"/>
              <a:gd name="connsiteX181" fmla="*/ 1061200 w 4891380"/>
              <a:gd name="connsiteY181" fmla="*/ 5693093 h 5751788"/>
              <a:gd name="connsiteX182" fmla="*/ 1050981 w 4891380"/>
              <a:gd name="connsiteY182" fmla="*/ 5689577 h 5751788"/>
              <a:gd name="connsiteX183" fmla="*/ 947864 w 4891380"/>
              <a:gd name="connsiteY183" fmla="*/ 5655061 h 5751788"/>
              <a:gd name="connsiteX184" fmla="*/ 937281 w 4891380"/>
              <a:gd name="connsiteY184" fmla="*/ 5650461 h 5751788"/>
              <a:gd name="connsiteX185" fmla="*/ 933258 w 4891380"/>
              <a:gd name="connsiteY185" fmla="*/ 5649077 h 5751788"/>
              <a:gd name="connsiteX186" fmla="*/ 911512 w 4891380"/>
              <a:gd name="connsiteY186" fmla="*/ 5639261 h 5751788"/>
              <a:gd name="connsiteX187" fmla="*/ 832403 w 4891380"/>
              <a:gd name="connsiteY187" fmla="*/ 5604881 h 5751788"/>
              <a:gd name="connsiteX188" fmla="*/ 817638 w 4891380"/>
              <a:gd name="connsiteY188" fmla="*/ 5596891 h 5751788"/>
              <a:gd name="connsiteX189" fmla="*/ 810920 w 4891380"/>
              <a:gd name="connsiteY189" fmla="*/ 5593857 h 5751788"/>
              <a:gd name="connsiteX190" fmla="*/ 787324 w 4891380"/>
              <a:gd name="connsiteY190" fmla="*/ 5580484 h 5751788"/>
              <a:gd name="connsiteX191" fmla="*/ 722302 w 4891380"/>
              <a:gd name="connsiteY191" fmla="*/ 5545298 h 5751788"/>
              <a:gd name="connsiteX192" fmla="*/ 703875 w 4891380"/>
              <a:gd name="connsiteY192" fmla="*/ 5533192 h 5751788"/>
              <a:gd name="connsiteX193" fmla="*/ 694796 w 4891380"/>
              <a:gd name="connsiteY193" fmla="*/ 5528048 h 5751788"/>
              <a:gd name="connsiteX194" fmla="*/ 672327 w 4891380"/>
              <a:gd name="connsiteY194" fmla="*/ 5512468 h 5751788"/>
              <a:gd name="connsiteX195" fmla="*/ 618064 w 4891380"/>
              <a:gd name="connsiteY195" fmla="*/ 5476820 h 5751788"/>
              <a:gd name="connsiteX196" fmla="*/ 596562 w 4891380"/>
              <a:gd name="connsiteY196" fmla="*/ 5459933 h 5751788"/>
              <a:gd name="connsiteX197" fmla="*/ 585496 w 4891380"/>
              <a:gd name="connsiteY197" fmla="*/ 5452261 h 5751788"/>
              <a:gd name="connsiteX198" fmla="*/ 565345 w 4891380"/>
              <a:gd name="connsiteY198" fmla="*/ 5435418 h 5751788"/>
              <a:gd name="connsiteX199" fmla="*/ 520187 w 4891380"/>
              <a:gd name="connsiteY199" fmla="*/ 5399950 h 5751788"/>
              <a:gd name="connsiteX200" fmla="*/ 496267 w 4891380"/>
              <a:gd name="connsiteY200" fmla="*/ 5377676 h 5751788"/>
              <a:gd name="connsiteX201" fmla="*/ 483628 w 4891380"/>
              <a:gd name="connsiteY201" fmla="*/ 5367110 h 5751788"/>
              <a:gd name="connsiteX202" fmla="*/ 466291 w 4891380"/>
              <a:gd name="connsiteY202" fmla="*/ 5349761 h 5751788"/>
              <a:gd name="connsiteX203" fmla="*/ 429176 w 4891380"/>
              <a:gd name="connsiteY203" fmla="*/ 5315197 h 5751788"/>
              <a:gd name="connsiteX204" fmla="*/ 403557 w 4891380"/>
              <a:gd name="connsiteY204" fmla="*/ 5286978 h 5751788"/>
              <a:gd name="connsiteX205" fmla="*/ 389801 w 4891380"/>
              <a:gd name="connsiteY205" fmla="*/ 5273210 h 5751788"/>
              <a:gd name="connsiteX206" fmla="*/ 375432 w 4891380"/>
              <a:gd name="connsiteY206" fmla="*/ 5255998 h 5751788"/>
              <a:gd name="connsiteX207" fmla="*/ 345533 w 4891380"/>
              <a:gd name="connsiteY207" fmla="*/ 5223062 h 5751788"/>
              <a:gd name="connsiteX208" fmla="*/ 318997 w 4891380"/>
              <a:gd name="connsiteY208" fmla="*/ 5188388 h 5751788"/>
              <a:gd name="connsiteX209" fmla="*/ 304626 w 4891380"/>
              <a:gd name="connsiteY209" fmla="*/ 5171174 h 5751788"/>
              <a:gd name="connsiteX210" fmla="*/ 293189 w 4891380"/>
              <a:gd name="connsiteY210" fmla="*/ 5154668 h 5751788"/>
              <a:gd name="connsiteX211" fmla="*/ 269757 w 4891380"/>
              <a:gd name="connsiteY211" fmla="*/ 5124051 h 5751788"/>
              <a:gd name="connsiteX212" fmla="*/ 243139 w 4891380"/>
              <a:gd name="connsiteY212" fmla="*/ 5082435 h 5751788"/>
              <a:gd name="connsiteX213" fmla="*/ 228710 w 4891380"/>
              <a:gd name="connsiteY213" fmla="*/ 5061612 h 5751788"/>
              <a:gd name="connsiteX214" fmla="*/ 220040 w 4891380"/>
              <a:gd name="connsiteY214" fmla="*/ 5046323 h 5751788"/>
              <a:gd name="connsiteX215" fmla="*/ 202353 w 4891380"/>
              <a:gd name="connsiteY215" fmla="*/ 5018669 h 5751788"/>
              <a:gd name="connsiteX216" fmla="*/ 176540 w 4891380"/>
              <a:gd name="connsiteY216" fmla="*/ 4969611 h 5751788"/>
              <a:gd name="connsiteX217" fmla="*/ 162664 w 4891380"/>
              <a:gd name="connsiteY217" fmla="*/ 4945140 h 5751788"/>
              <a:gd name="connsiteX218" fmla="*/ 156502 w 4891380"/>
              <a:gd name="connsiteY218" fmla="*/ 4931527 h 5751788"/>
              <a:gd name="connsiteX219" fmla="*/ 143819 w 4891380"/>
              <a:gd name="connsiteY219" fmla="*/ 4907422 h 5751788"/>
              <a:gd name="connsiteX220" fmla="*/ 119746 w 4891380"/>
              <a:gd name="connsiteY220" fmla="*/ 4850319 h 5751788"/>
              <a:gd name="connsiteX221" fmla="*/ 107095 w 4891380"/>
              <a:gd name="connsiteY221" fmla="*/ 4822372 h 5751788"/>
              <a:gd name="connsiteX222" fmla="*/ 103107 w 4891380"/>
              <a:gd name="connsiteY222" fmla="*/ 4810852 h 5751788"/>
              <a:gd name="connsiteX223" fmla="*/ 94658 w 4891380"/>
              <a:gd name="connsiteY223" fmla="*/ 4790814 h 5751788"/>
              <a:gd name="connsiteX224" fmla="*/ 73303 w 4891380"/>
              <a:gd name="connsiteY224" fmla="*/ 4724785 h 5751788"/>
              <a:gd name="connsiteX225" fmla="*/ 62615 w 4891380"/>
              <a:gd name="connsiteY225" fmla="*/ 4693921 h 5751788"/>
              <a:gd name="connsiteX226" fmla="*/ 60392 w 4891380"/>
              <a:gd name="connsiteY226" fmla="*/ 4684865 h 5751788"/>
              <a:gd name="connsiteX227" fmla="*/ 55373 w 4891380"/>
              <a:gd name="connsiteY227" fmla="*/ 4669350 h 5751788"/>
              <a:gd name="connsiteX228" fmla="*/ 37752 w 4891380"/>
              <a:gd name="connsiteY228" fmla="*/ 4592660 h 5751788"/>
              <a:gd name="connsiteX229" fmla="*/ 29830 w 4891380"/>
              <a:gd name="connsiteY229" fmla="*/ 4560396 h 5751788"/>
              <a:gd name="connsiteX230" fmla="*/ 28902 w 4891380"/>
              <a:gd name="connsiteY230" fmla="*/ 4554148 h 5751788"/>
              <a:gd name="connsiteX231" fmla="*/ 26465 w 4891380"/>
              <a:gd name="connsiteY231" fmla="*/ 4543536 h 5751788"/>
              <a:gd name="connsiteX232" fmla="*/ 13636 w 4891380"/>
              <a:gd name="connsiteY232" fmla="*/ 4451278 h 5751788"/>
              <a:gd name="connsiteX233" fmla="*/ 9352 w 4891380"/>
              <a:gd name="connsiteY233" fmla="*/ 4422418 h 5751788"/>
              <a:gd name="connsiteX234" fmla="*/ 9200 w 4891380"/>
              <a:gd name="connsiteY234" fmla="*/ 4419380 h 5751788"/>
              <a:gd name="connsiteX235" fmla="*/ 8434 w 4891380"/>
              <a:gd name="connsiteY235" fmla="*/ 4413877 h 5751788"/>
              <a:gd name="connsiteX236" fmla="*/ 5426 w 4891380"/>
              <a:gd name="connsiteY236" fmla="*/ 4349890 h 5751788"/>
              <a:gd name="connsiteX237" fmla="*/ 1757 w 4891380"/>
              <a:gd name="connsiteY237" fmla="*/ 4349890 h 5751788"/>
              <a:gd name="connsiteX238" fmla="*/ 1757 w 4891380"/>
              <a:gd name="connsiteY238" fmla="*/ 4290894 h 5751788"/>
              <a:gd name="connsiteX239" fmla="*/ 1757 w 4891380"/>
              <a:gd name="connsiteY239" fmla="*/ 4271904 h 5751788"/>
              <a:gd name="connsiteX240" fmla="*/ 1757 w 4891380"/>
              <a:gd name="connsiteY240" fmla="*/ 4271461 h 5751788"/>
              <a:gd name="connsiteX241" fmla="*/ 0 w 4891380"/>
              <a:gd name="connsiteY241" fmla="*/ 4271461 h 5751788"/>
              <a:gd name="connsiteX242" fmla="*/ 0 w 4891380"/>
              <a:gd name="connsiteY242" fmla="*/ 3988016 h 5751788"/>
              <a:gd name="connsiteX243" fmla="*/ 0 w 4891380"/>
              <a:gd name="connsiteY243" fmla="*/ 3394564 h 5751788"/>
              <a:gd name="connsiteX244" fmla="*/ 0 w 4891380"/>
              <a:gd name="connsiteY244" fmla="*/ 3111118 h 5751788"/>
              <a:gd name="connsiteX245" fmla="*/ 0 w 4891380"/>
              <a:gd name="connsiteY245" fmla="*/ 3032692 h 5751788"/>
              <a:gd name="connsiteX246" fmla="*/ 1740 w 4891380"/>
              <a:gd name="connsiteY246" fmla="*/ 3032692 h 5751788"/>
              <a:gd name="connsiteX247" fmla="*/ 1740 w 4891380"/>
              <a:gd name="connsiteY247" fmla="*/ 3022121 h 5751788"/>
              <a:gd name="connsiteX248" fmla="*/ 0 w 4891380"/>
              <a:gd name="connsiteY248" fmla="*/ 3022121 h 575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4891380" h="5751788">
                <a:moveTo>
                  <a:pt x="0" y="0"/>
                </a:moveTo>
                <a:lnTo>
                  <a:pt x="1471669" y="0"/>
                </a:lnTo>
                <a:lnTo>
                  <a:pt x="1960808" y="0"/>
                </a:lnTo>
                <a:lnTo>
                  <a:pt x="2930558" y="0"/>
                </a:lnTo>
                <a:lnTo>
                  <a:pt x="3419696" y="0"/>
                </a:lnTo>
                <a:lnTo>
                  <a:pt x="3458648" y="0"/>
                </a:lnTo>
                <a:lnTo>
                  <a:pt x="3458648" y="1"/>
                </a:lnTo>
                <a:lnTo>
                  <a:pt x="3488752" y="1"/>
                </a:lnTo>
                <a:lnTo>
                  <a:pt x="3488752" y="3335"/>
                </a:lnTo>
                <a:lnTo>
                  <a:pt x="3559916" y="6728"/>
                </a:lnTo>
                <a:lnTo>
                  <a:pt x="3564234" y="7350"/>
                </a:lnTo>
                <a:lnTo>
                  <a:pt x="3569987" y="7641"/>
                </a:lnTo>
                <a:cubicBezTo>
                  <a:pt x="3656849" y="16522"/>
                  <a:pt x="3741475" y="33018"/>
                  <a:pt x="3823196" y="56454"/>
                </a:cubicBezTo>
                <a:lnTo>
                  <a:pt x="3829154" y="58447"/>
                </a:lnTo>
                <a:lnTo>
                  <a:pt x="3830180" y="58696"/>
                </a:lnTo>
                <a:lnTo>
                  <a:pt x="3840400" y="62213"/>
                </a:lnTo>
                <a:lnTo>
                  <a:pt x="3943517" y="96729"/>
                </a:lnTo>
                <a:lnTo>
                  <a:pt x="3954101" y="101328"/>
                </a:lnTo>
                <a:lnTo>
                  <a:pt x="3958123" y="102713"/>
                </a:lnTo>
                <a:lnTo>
                  <a:pt x="3979869" y="112529"/>
                </a:lnTo>
                <a:lnTo>
                  <a:pt x="4058977" y="146909"/>
                </a:lnTo>
                <a:lnTo>
                  <a:pt x="4073742" y="154899"/>
                </a:lnTo>
                <a:lnTo>
                  <a:pt x="4080462" y="157932"/>
                </a:lnTo>
                <a:lnTo>
                  <a:pt x="4104058" y="171305"/>
                </a:lnTo>
                <a:lnTo>
                  <a:pt x="4169078" y="206492"/>
                </a:lnTo>
                <a:lnTo>
                  <a:pt x="4187505" y="218597"/>
                </a:lnTo>
                <a:lnTo>
                  <a:pt x="4196586" y="223742"/>
                </a:lnTo>
                <a:lnTo>
                  <a:pt x="4219053" y="239321"/>
                </a:lnTo>
                <a:lnTo>
                  <a:pt x="4273318" y="274969"/>
                </a:lnTo>
                <a:lnTo>
                  <a:pt x="4294820" y="291856"/>
                </a:lnTo>
                <a:lnTo>
                  <a:pt x="4305886" y="299528"/>
                </a:lnTo>
                <a:lnTo>
                  <a:pt x="4326035" y="316371"/>
                </a:lnTo>
                <a:lnTo>
                  <a:pt x="4371194" y="351838"/>
                </a:lnTo>
                <a:lnTo>
                  <a:pt x="4395115" y="374115"/>
                </a:lnTo>
                <a:lnTo>
                  <a:pt x="4407752" y="384678"/>
                </a:lnTo>
                <a:lnTo>
                  <a:pt x="4425090" y="402029"/>
                </a:lnTo>
                <a:lnTo>
                  <a:pt x="4462206" y="436592"/>
                </a:lnTo>
                <a:lnTo>
                  <a:pt x="4487824" y="464813"/>
                </a:lnTo>
                <a:lnTo>
                  <a:pt x="4501580" y="478579"/>
                </a:lnTo>
                <a:lnTo>
                  <a:pt x="4515948" y="495792"/>
                </a:lnTo>
                <a:lnTo>
                  <a:pt x="4545848" y="528727"/>
                </a:lnTo>
                <a:lnTo>
                  <a:pt x="4572386" y="563402"/>
                </a:lnTo>
                <a:lnTo>
                  <a:pt x="4586756" y="580617"/>
                </a:lnTo>
                <a:lnTo>
                  <a:pt x="4598192" y="597122"/>
                </a:lnTo>
                <a:lnTo>
                  <a:pt x="4621624" y="627739"/>
                </a:lnTo>
                <a:lnTo>
                  <a:pt x="4648242" y="669353"/>
                </a:lnTo>
                <a:lnTo>
                  <a:pt x="4662670" y="690177"/>
                </a:lnTo>
                <a:lnTo>
                  <a:pt x="4671340" y="705466"/>
                </a:lnTo>
                <a:lnTo>
                  <a:pt x="4689030" y="733120"/>
                </a:lnTo>
                <a:lnTo>
                  <a:pt x="4714840" y="782179"/>
                </a:lnTo>
                <a:lnTo>
                  <a:pt x="4728718" y="806649"/>
                </a:lnTo>
                <a:lnTo>
                  <a:pt x="4734878" y="820262"/>
                </a:lnTo>
                <a:lnTo>
                  <a:pt x="4747562" y="844366"/>
                </a:lnTo>
                <a:lnTo>
                  <a:pt x="4771636" y="901470"/>
                </a:lnTo>
                <a:lnTo>
                  <a:pt x="4784286" y="929419"/>
                </a:lnTo>
                <a:lnTo>
                  <a:pt x="4788276" y="940938"/>
                </a:lnTo>
                <a:lnTo>
                  <a:pt x="4796723" y="960976"/>
                </a:lnTo>
                <a:lnTo>
                  <a:pt x="4818080" y="1027005"/>
                </a:lnTo>
                <a:lnTo>
                  <a:pt x="4828768" y="1057869"/>
                </a:lnTo>
                <a:lnTo>
                  <a:pt x="4830991" y="1066923"/>
                </a:lnTo>
                <a:lnTo>
                  <a:pt x="4836008" y="1082438"/>
                </a:lnTo>
                <a:lnTo>
                  <a:pt x="4853630" y="1159131"/>
                </a:lnTo>
                <a:lnTo>
                  <a:pt x="4861552" y="1191393"/>
                </a:lnTo>
                <a:lnTo>
                  <a:pt x="4862478" y="1197643"/>
                </a:lnTo>
                <a:lnTo>
                  <a:pt x="4864917" y="1208252"/>
                </a:lnTo>
                <a:lnTo>
                  <a:pt x="4877746" y="1300513"/>
                </a:lnTo>
                <a:lnTo>
                  <a:pt x="4882030" y="1329371"/>
                </a:lnTo>
                <a:lnTo>
                  <a:pt x="4882182" y="1332410"/>
                </a:lnTo>
                <a:lnTo>
                  <a:pt x="4882946" y="1337912"/>
                </a:lnTo>
                <a:lnTo>
                  <a:pt x="4885957" y="1401901"/>
                </a:lnTo>
                <a:lnTo>
                  <a:pt x="4889624" y="1401901"/>
                </a:lnTo>
                <a:lnTo>
                  <a:pt x="4889624" y="1460895"/>
                </a:lnTo>
                <a:lnTo>
                  <a:pt x="4889624" y="1479885"/>
                </a:lnTo>
                <a:lnTo>
                  <a:pt x="4889624" y="1480329"/>
                </a:lnTo>
                <a:lnTo>
                  <a:pt x="4891380" y="1480329"/>
                </a:lnTo>
                <a:lnTo>
                  <a:pt x="4891380" y="1630791"/>
                </a:lnTo>
                <a:lnTo>
                  <a:pt x="3458648" y="1630791"/>
                </a:lnTo>
                <a:lnTo>
                  <a:pt x="3458648" y="1630792"/>
                </a:lnTo>
                <a:lnTo>
                  <a:pt x="3488751" y="1630792"/>
                </a:lnTo>
                <a:lnTo>
                  <a:pt x="3488751" y="1634126"/>
                </a:lnTo>
                <a:lnTo>
                  <a:pt x="3559916" y="1637518"/>
                </a:lnTo>
                <a:lnTo>
                  <a:pt x="3564234" y="1638140"/>
                </a:lnTo>
                <a:lnTo>
                  <a:pt x="3569986" y="1638433"/>
                </a:lnTo>
                <a:cubicBezTo>
                  <a:pt x="3656848" y="1647313"/>
                  <a:pt x="3741475" y="1663807"/>
                  <a:pt x="3823196" y="1687245"/>
                </a:cubicBezTo>
                <a:lnTo>
                  <a:pt x="3829153" y="1689237"/>
                </a:lnTo>
                <a:lnTo>
                  <a:pt x="3830180" y="1689487"/>
                </a:lnTo>
                <a:lnTo>
                  <a:pt x="3840400" y="1693004"/>
                </a:lnTo>
                <a:lnTo>
                  <a:pt x="3943516" y="1727519"/>
                </a:lnTo>
                <a:lnTo>
                  <a:pt x="3954100" y="1732119"/>
                </a:lnTo>
                <a:lnTo>
                  <a:pt x="3958122" y="1733503"/>
                </a:lnTo>
                <a:lnTo>
                  <a:pt x="3979868" y="1743320"/>
                </a:lnTo>
                <a:lnTo>
                  <a:pt x="4058976" y="1777700"/>
                </a:lnTo>
                <a:lnTo>
                  <a:pt x="4073741" y="1785690"/>
                </a:lnTo>
                <a:lnTo>
                  <a:pt x="4080461" y="1788723"/>
                </a:lnTo>
                <a:lnTo>
                  <a:pt x="4104057" y="1802096"/>
                </a:lnTo>
                <a:lnTo>
                  <a:pt x="4169078" y="1837283"/>
                </a:lnTo>
                <a:lnTo>
                  <a:pt x="4187505" y="1849388"/>
                </a:lnTo>
                <a:lnTo>
                  <a:pt x="4196584" y="1854532"/>
                </a:lnTo>
                <a:lnTo>
                  <a:pt x="4219053" y="1870112"/>
                </a:lnTo>
                <a:lnTo>
                  <a:pt x="4273316" y="1905760"/>
                </a:lnTo>
                <a:lnTo>
                  <a:pt x="4294820" y="1922647"/>
                </a:lnTo>
                <a:lnTo>
                  <a:pt x="4305884" y="1930319"/>
                </a:lnTo>
                <a:lnTo>
                  <a:pt x="4326034" y="1947163"/>
                </a:lnTo>
                <a:lnTo>
                  <a:pt x="4371194" y="1982629"/>
                </a:lnTo>
                <a:lnTo>
                  <a:pt x="4395114" y="2004906"/>
                </a:lnTo>
                <a:lnTo>
                  <a:pt x="4407752" y="2015469"/>
                </a:lnTo>
                <a:lnTo>
                  <a:pt x="4425088" y="2032820"/>
                </a:lnTo>
                <a:lnTo>
                  <a:pt x="4462204" y="2067383"/>
                </a:lnTo>
                <a:lnTo>
                  <a:pt x="4487823" y="2095602"/>
                </a:lnTo>
                <a:lnTo>
                  <a:pt x="4501580" y="2109370"/>
                </a:lnTo>
                <a:lnTo>
                  <a:pt x="4515948" y="2126583"/>
                </a:lnTo>
                <a:lnTo>
                  <a:pt x="4545846" y="2159517"/>
                </a:lnTo>
                <a:lnTo>
                  <a:pt x="4572383" y="2194191"/>
                </a:lnTo>
                <a:lnTo>
                  <a:pt x="4586756" y="2211408"/>
                </a:lnTo>
                <a:lnTo>
                  <a:pt x="4598190" y="2227912"/>
                </a:lnTo>
                <a:lnTo>
                  <a:pt x="4621623" y="2258530"/>
                </a:lnTo>
                <a:lnTo>
                  <a:pt x="4648242" y="2300144"/>
                </a:lnTo>
                <a:lnTo>
                  <a:pt x="4662670" y="2320968"/>
                </a:lnTo>
                <a:lnTo>
                  <a:pt x="4671340" y="2336257"/>
                </a:lnTo>
                <a:lnTo>
                  <a:pt x="4689028" y="2363911"/>
                </a:lnTo>
                <a:lnTo>
                  <a:pt x="4714840" y="2412970"/>
                </a:lnTo>
                <a:lnTo>
                  <a:pt x="4728716" y="2437439"/>
                </a:lnTo>
                <a:lnTo>
                  <a:pt x="4734877" y="2451053"/>
                </a:lnTo>
                <a:lnTo>
                  <a:pt x="4747562" y="2475157"/>
                </a:lnTo>
                <a:lnTo>
                  <a:pt x="4771636" y="2532261"/>
                </a:lnTo>
                <a:lnTo>
                  <a:pt x="4784286" y="2560208"/>
                </a:lnTo>
                <a:lnTo>
                  <a:pt x="4788274" y="2571729"/>
                </a:lnTo>
                <a:lnTo>
                  <a:pt x="4796723" y="2591766"/>
                </a:lnTo>
                <a:lnTo>
                  <a:pt x="4818078" y="2657796"/>
                </a:lnTo>
                <a:lnTo>
                  <a:pt x="4828766" y="2688660"/>
                </a:lnTo>
                <a:lnTo>
                  <a:pt x="4830988" y="2697714"/>
                </a:lnTo>
                <a:lnTo>
                  <a:pt x="4836008" y="2713229"/>
                </a:lnTo>
                <a:lnTo>
                  <a:pt x="4853629" y="2789921"/>
                </a:lnTo>
                <a:lnTo>
                  <a:pt x="4861550" y="2822183"/>
                </a:lnTo>
                <a:lnTo>
                  <a:pt x="4862477" y="2828433"/>
                </a:lnTo>
                <a:lnTo>
                  <a:pt x="4864917" y="2839043"/>
                </a:lnTo>
                <a:lnTo>
                  <a:pt x="4877746" y="2931303"/>
                </a:lnTo>
                <a:lnTo>
                  <a:pt x="4882029" y="2960161"/>
                </a:lnTo>
                <a:lnTo>
                  <a:pt x="4882180" y="2963200"/>
                </a:lnTo>
                <a:lnTo>
                  <a:pt x="4882946" y="2968703"/>
                </a:lnTo>
                <a:lnTo>
                  <a:pt x="4885956" y="3032692"/>
                </a:lnTo>
                <a:lnTo>
                  <a:pt x="4889624" y="3032692"/>
                </a:lnTo>
                <a:lnTo>
                  <a:pt x="4889624" y="3091686"/>
                </a:lnTo>
                <a:lnTo>
                  <a:pt x="4889624" y="3110675"/>
                </a:lnTo>
                <a:lnTo>
                  <a:pt x="4889624" y="3111118"/>
                </a:lnTo>
                <a:lnTo>
                  <a:pt x="4891379" y="3111118"/>
                </a:lnTo>
                <a:lnTo>
                  <a:pt x="4891379" y="3394564"/>
                </a:lnTo>
                <a:lnTo>
                  <a:pt x="4891379" y="3988016"/>
                </a:lnTo>
                <a:lnTo>
                  <a:pt x="4891379" y="4271461"/>
                </a:lnTo>
                <a:lnTo>
                  <a:pt x="4891379" y="4349890"/>
                </a:lnTo>
                <a:lnTo>
                  <a:pt x="4889640" y="4349890"/>
                </a:lnTo>
                <a:lnTo>
                  <a:pt x="4889640" y="5751787"/>
                </a:lnTo>
                <a:lnTo>
                  <a:pt x="4400501" y="5751787"/>
                </a:lnTo>
                <a:lnTo>
                  <a:pt x="3430753" y="5751787"/>
                </a:lnTo>
                <a:lnTo>
                  <a:pt x="3420593" y="5751787"/>
                </a:lnTo>
                <a:lnTo>
                  <a:pt x="3419727" y="5751787"/>
                </a:lnTo>
                <a:lnTo>
                  <a:pt x="3419712" y="5751788"/>
                </a:lnTo>
                <a:lnTo>
                  <a:pt x="3419699" y="5751787"/>
                </a:lnTo>
                <a:lnTo>
                  <a:pt x="3350656" y="5751787"/>
                </a:lnTo>
                <a:lnTo>
                  <a:pt x="2941613" y="5751787"/>
                </a:lnTo>
                <a:lnTo>
                  <a:pt x="2931453" y="5751787"/>
                </a:lnTo>
                <a:lnTo>
                  <a:pt x="2930587" y="5751787"/>
                </a:lnTo>
                <a:lnTo>
                  <a:pt x="2930574" y="5751788"/>
                </a:lnTo>
                <a:lnTo>
                  <a:pt x="2930558" y="5751787"/>
                </a:lnTo>
                <a:lnTo>
                  <a:pt x="2861517" y="5751787"/>
                </a:lnTo>
                <a:lnTo>
                  <a:pt x="1961706" y="5751787"/>
                </a:lnTo>
                <a:lnTo>
                  <a:pt x="1960839" y="5751787"/>
                </a:lnTo>
                <a:lnTo>
                  <a:pt x="1960824" y="5751788"/>
                </a:lnTo>
                <a:lnTo>
                  <a:pt x="1960810" y="5751787"/>
                </a:lnTo>
                <a:lnTo>
                  <a:pt x="1891768" y="5751787"/>
                </a:lnTo>
                <a:lnTo>
                  <a:pt x="1472566" y="5751787"/>
                </a:lnTo>
                <a:lnTo>
                  <a:pt x="1471699" y="5751787"/>
                </a:lnTo>
                <a:lnTo>
                  <a:pt x="1471686" y="5751788"/>
                </a:lnTo>
                <a:lnTo>
                  <a:pt x="1471671" y="5751787"/>
                </a:lnTo>
                <a:lnTo>
                  <a:pt x="1402630" y="5751787"/>
                </a:lnTo>
                <a:lnTo>
                  <a:pt x="1402630" y="5748454"/>
                </a:lnTo>
                <a:lnTo>
                  <a:pt x="1331464" y="5745061"/>
                </a:lnTo>
                <a:lnTo>
                  <a:pt x="1327146" y="5744440"/>
                </a:lnTo>
                <a:lnTo>
                  <a:pt x="1321394" y="5744149"/>
                </a:lnTo>
                <a:cubicBezTo>
                  <a:pt x="1234532" y="5735266"/>
                  <a:pt x="1149908" y="5718772"/>
                  <a:pt x="1068185" y="5695337"/>
                </a:cubicBezTo>
                <a:lnTo>
                  <a:pt x="1062227" y="5693342"/>
                </a:lnTo>
                <a:lnTo>
                  <a:pt x="1061200" y="5693093"/>
                </a:lnTo>
                <a:lnTo>
                  <a:pt x="1050981" y="5689577"/>
                </a:lnTo>
                <a:lnTo>
                  <a:pt x="947864" y="5655061"/>
                </a:lnTo>
                <a:lnTo>
                  <a:pt x="937281" y="5650461"/>
                </a:lnTo>
                <a:lnTo>
                  <a:pt x="933258" y="5649077"/>
                </a:lnTo>
                <a:lnTo>
                  <a:pt x="911512" y="5639261"/>
                </a:lnTo>
                <a:lnTo>
                  <a:pt x="832403" y="5604881"/>
                </a:lnTo>
                <a:lnTo>
                  <a:pt x="817638" y="5596891"/>
                </a:lnTo>
                <a:lnTo>
                  <a:pt x="810920" y="5593857"/>
                </a:lnTo>
                <a:lnTo>
                  <a:pt x="787324" y="5580484"/>
                </a:lnTo>
                <a:lnTo>
                  <a:pt x="722302" y="5545298"/>
                </a:lnTo>
                <a:lnTo>
                  <a:pt x="703875" y="5533192"/>
                </a:lnTo>
                <a:lnTo>
                  <a:pt x="694796" y="5528048"/>
                </a:lnTo>
                <a:lnTo>
                  <a:pt x="672327" y="5512468"/>
                </a:lnTo>
                <a:lnTo>
                  <a:pt x="618064" y="5476820"/>
                </a:lnTo>
                <a:lnTo>
                  <a:pt x="596562" y="5459933"/>
                </a:lnTo>
                <a:lnTo>
                  <a:pt x="585496" y="5452261"/>
                </a:lnTo>
                <a:lnTo>
                  <a:pt x="565345" y="5435418"/>
                </a:lnTo>
                <a:lnTo>
                  <a:pt x="520187" y="5399950"/>
                </a:lnTo>
                <a:lnTo>
                  <a:pt x="496267" y="5377676"/>
                </a:lnTo>
                <a:lnTo>
                  <a:pt x="483628" y="5367110"/>
                </a:lnTo>
                <a:lnTo>
                  <a:pt x="466291" y="5349761"/>
                </a:lnTo>
                <a:lnTo>
                  <a:pt x="429176" y="5315197"/>
                </a:lnTo>
                <a:lnTo>
                  <a:pt x="403557" y="5286978"/>
                </a:lnTo>
                <a:lnTo>
                  <a:pt x="389801" y="5273210"/>
                </a:lnTo>
                <a:lnTo>
                  <a:pt x="375432" y="5255998"/>
                </a:lnTo>
                <a:lnTo>
                  <a:pt x="345533" y="5223062"/>
                </a:lnTo>
                <a:lnTo>
                  <a:pt x="318997" y="5188388"/>
                </a:lnTo>
                <a:lnTo>
                  <a:pt x="304626" y="5171174"/>
                </a:lnTo>
                <a:lnTo>
                  <a:pt x="293189" y="5154668"/>
                </a:lnTo>
                <a:lnTo>
                  <a:pt x="269757" y="5124051"/>
                </a:lnTo>
                <a:lnTo>
                  <a:pt x="243139" y="5082435"/>
                </a:lnTo>
                <a:lnTo>
                  <a:pt x="228710" y="5061612"/>
                </a:lnTo>
                <a:lnTo>
                  <a:pt x="220040" y="5046323"/>
                </a:lnTo>
                <a:lnTo>
                  <a:pt x="202353" y="5018669"/>
                </a:lnTo>
                <a:lnTo>
                  <a:pt x="176540" y="4969611"/>
                </a:lnTo>
                <a:lnTo>
                  <a:pt x="162664" y="4945140"/>
                </a:lnTo>
                <a:lnTo>
                  <a:pt x="156502" y="4931527"/>
                </a:lnTo>
                <a:lnTo>
                  <a:pt x="143819" y="4907422"/>
                </a:lnTo>
                <a:lnTo>
                  <a:pt x="119746" y="4850319"/>
                </a:lnTo>
                <a:lnTo>
                  <a:pt x="107095" y="4822372"/>
                </a:lnTo>
                <a:lnTo>
                  <a:pt x="103107" y="4810852"/>
                </a:lnTo>
                <a:lnTo>
                  <a:pt x="94658" y="4790814"/>
                </a:lnTo>
                <a:lnTo>
                  <a:pt x="73303" y="4724785"/>
                </a:lnTo>
                <a:lnTo>
                  <a:pt x="62615" y="4693921"/>
                </a:lnTo>
                <a:lnTo>
                  <a:pt x="60392" y="4684865"/>
                </a:lnTo>
                <a:lnTo>
                  <a:pt x="55373" y="4669350"/>
                </a:lnTo>
                <a:lnTo>
                  <a:pt x="37752" y="4592660"/>
                </a:lnTo>
                <a:lnTo>
                  <a:pt x="29830" y="4560396"/>
                </a:lnTo>
                <a:lnTo>
                  <a:pt x="28902" y="4554148"/>
                </a:lnTo>
                <a:lnTo>
                  <a:pt x="26465" y="4543536"/>
                </a:lnTo>
                <a:lnTo>
                  <a:pt x="13636" y="4451278"/>
                </a:lnTo>
                <a:lnTo>
                  <a:pt x="9352" y="4422418"/>
                </a:lnTo>
                <a:lnTo>
                  <a:pt x="9200" y="4419380"/>
                </a:lnTo>
                <a:lnTo>
                  <a:pt x="8434" y="4413877"/>
                </a:lnTo>
                <a:lnTo>
                  <a:pt x="5426" y="4349890"/>
                </a:lnTo>
                <a:lnTo>
                  <a:pt x="1757" y="4349890"/>
                </a:lnTo>
                <a:lnTo>
                  <a:pt x="1757" y="4290894"/>
                </a:lnTo>
                <a:lnTo>
                  <a:pt x="1757" y="4271904"/>
                </a:lnTo>
                <a:lnTo>
                  <a:pt x="1757" y="4271461"/>
                </a:lnTo>
                <a:lnTo>
                  <a:pt x="0" y="4271461"/>
                </a:lnTo>
                <a:lnTo>
                  <a:pt x="0" y="3988016"/>
                </a:lnTo>
                <a:lnTo>
                  <a:pt x="0" y="3394564"/>
                </a:lnTo>
                <a:lnTo>
                  <a:pt x="0" y="3111118"/>
                </a:lnTo>
                <a:lnTo>
                  <a:pt x="0" y="3032692"/>
                </a:lnTo>
                <a:lnTo>
                  <a:pt x="1740" y="3032692"/>
                </a:lnTo>
                <a:lnTo>
                  <a:pt x="1740" y="3022121"/>
                </a:lnTo>
                <a:lnTo>
                  <a:pt x="0" y="302212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32290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75BDB38-C6FF-44C2-A529-8B55DC13093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A81D4AD-B3AA-46C8-8EE5-4753744EB46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0488" y="1686665"/>
            <a:ext cx="4920143" cy="4409314"/>
          </a:xfrm>
          <a:custGeom>
            <a:avLst/>
            <a:gdLst>
              <a:gd name="connsiteX0" fmla="*/ 1341763 w 4920143"/>
              <a:gd name="connsiteY0" fmla="*/ 1689277 h 4409314"/>
              <a:gd name="connsiteX1" fmla="*/ 1360019 w 4920143"/>
              <a:gd name="connsiteY1" fmla="*/ 1689277 h 4409314"/>
              <a:gd name="connsiteX2" fmla="*/ 2720036 w 4920143"/>
              <a:gd name="connsiteY2" fmla="*/ 1689277 h 4409314"/>
              <a:gd name="connsiteX3" fmla="*/ 2720036 w 4920143"/>
              <a:gd name="connsiteY3" fmla="*/ 3049283 h 4409314"/>
              <a:gd name="connsiteX4" fmla="*/ 2720037 w 4920143"/>
              <a:gd name="connsiteY4" fmla="*/ 3049296 h 4409314"/>
              <a:gd name="connsiteX5" fmla="*/ 2720036 w 4920143"/>
              <a:gd name="connsiteY5" fmla="*/ 3049309 h 4409314"/>
              <a:gd name="connsiteX6" fmla="*/ 2720036 w 4920143"/>
              <a:gd name="connsiteY6" fmla="*/ 3113189 h 4409314"/>
              <a:gd name="connsiteX7" fmla="*/ 2716811 w 4920143"/>
              <a:gd name="connsiteY7" fmla="*/ 3113189 h 4409314"/>
              <a:gd name="connsiteX8" fmla="*/ 2713016 w 4920143"/>
              <a:gd name="connsiteY8" fmla="*/ 3188350 h 4409314"/>
              <a:gd name="connsiteX9" fmla="*/ 1360019 w 4920143"/>
              <a:gd name="connsiteY9" fmla="*/ 4409314 h 4409314"/>
              <a:gd name="connsiteX10" fmla="*/ 0 w 4920143"/>
              <a:gd name="connsiteY10" fmla="*/ 3049296 h 4409314"/>
              <a:gd name="connsiteX11" fmla="*/ 1220965 w 4920143"/>
              <a:gd name="connsiteY11" fmla="*/ 1696299 h 4409314"/>
              <a:gd name="connsiteX12" fmla="*/ 1341763 w 4920143"/>
              <a:gd name="connsiteY12" fmla="*/ 1690199 h 4409314"/>
              <a:gd name="connsiteX13" fmla="*/ 3889525 w 4920143"/>
              <a:gd name="connsiteY13" fmla="*/ 242287 h 4409314"/>
              <a:gd name="connsiteX14" fmla="*/ 3889535 w 4920143"/>
              <a:gd name="connsiteY14" fmla="*/ 242288 h 4409314"/>
              <a:gd name="connsiteX15" fmla="*/ 3890141 w 4920143"/>
              <a:gd name="connsiteY15" fmla="*/ 242288 h 4409314"/>
              <a:gd name="connsiteX16" fmla="*/ 4918926 w 4920143"/>
              <a:gd name="connsiteY16" fmla="*/ 242288 h 4409314"/>
              <a:gd name="connsiteX17" fmla="*/ 4918926 w 4920143"/>
              <a:gd name="connsiteY17" fmla="*/ 1217442 h 4409314"/>
              <a:gd name="connsiteX18" fmla="*/ 4920143 w 4920143"/>
              <a:gd name="connsiteY18" fmla="*/ 1217442 h 4409314"/>
              <a:gd name="connsiteX19" fmla="*/ 4920143 w 4920143"/>
              <a:gd name="connsiteY19" fmla="*/ 1271995 h 4409314"/>
              <a:gd name="connsiteX20" fmla="*/ 4920143 w 4920143"/>
              <a:gd name="connsiteY20" fmla="*/ 1469159 h 4409314"/>
              <a:gd name="connsiteX21" fmla="*/ 4920143 w 4920143"/>
              <a:gd name="connsiteY21" fmla="*/ 1881961 h 4409314"/>
              <a:gd name="connsiteX22" fmla="*/ 4920143 w 4920143"/>
              <a:gd name="connsiteY22" fmla="*/ 2079124 h 4409314"/>
              <a:gd name="connsiteX23" fmla="*/ 4918913 w 4920143"/>
              <a:gd name="connsiteY23" fmla="*/ 2079124 h 4409314"/>
              <a:gd name="connsiteX24" fmla="*/ 4918913 w 4920143"/>
              <a:gd name="connsiteY24" fmla="*/ 2079125 h 4409314"/>
              <a:gd name="connsiteX25" fmla="*/ 4918913 w 4920143"/>
              <a:gd name="connsiteY25" fmla="*/ 2079432 h 4409314"/>
              <a:gd name="connsiteX26" fmla="*/ 4918913 w 4920143"/>
              <a:gd name="connsiteY26" fmla="*/ 2092642 h 4409314"/>
              <a:gd name="connsiteX27" fmla="*/ 4918913 w 4920143"/>
              <a:gd name="connsiteY27" fmla="*/ 2133678 h 4409314"/>
              <a:gd name="connsiteX28" fmla="*/ 4916345 w 4920143"/>
              <a:gd name="connsiteY28" fmla="*/ 2133678 h 4409314"/>
              <a:gd name="connsiteX29" fmla="*/ 4914238 w 4920143"/>
              <a:gd name="connsiteY29" fmla="*/ 2178188 h 4409314"/>
              <a:gd name="connsiteX30" fmla="*/ 4913701 w 4920143"/>
              <a:gd name="connsiteY30" fmla="*/ 2182015 h 4409314"/>
              <a:gd name="connsiteX31" fmla="*/ 4913595 w 4920143"/>
              <a:gd name="connsiteY31" fmla="*/ 2184129 h 4409314"/>
              <a:gd name="connsiteX32" fmla="*/ 4910595 w 4920143"/>
              <a:gd name="connsiteY32" fmla="*/ 2204203 h 4409314"/>
              <a:gd name="connsiteX33" fmla="*/ 4901610 w 4920143"/>
              <a:gd name="connsiteY33" fmla="*/ 2268379 h 4409314"/>
              <a:gd name="connsiteX34" fmla="*/ 4899903 w 4920143"/>
              <a:gd name="connsiteY34" fmla="*/ 2275759 h 4409314"/>
              <a:gd name="connsiteX35" fmla="*/ 4899254 w 4920143"/>
              <a:gd name="connsiteY35" fmla="*/ 2280107 h 4409314"/>
              <a:gd name="connsiteX36" fmla="*/ 4893706 w 4920143"/>
              <a:gd name="connsiteY36" fmla="*/ 2302548 h 4409314"/>
              <a:gd name="connsiteX37" fmla="*/ 4881366 w 4920143"/>
              <a:gd name="connsiteY37" fmla="*/ 2355894 h 4409314"/>
              <a:gd name="connsiteX38" fmla="*/ 4877851 w 4920143"/>
              <a:gd name="connsiteY38" fmla="*/ 2366687 h 4409314"/>
              <a:gd name="connsiteX39" fmla="*/ 4876295 w 4920143"/>
              <a:gd name="connsiteY39" fmla="*/ 2372985 h 4409314"/>
              <a:gd name="connsiteX40" fmla="*/ 4868810 w 4920143"/>
              <a:gd name="connsiteY40" fmla="*/ 2394454 h 4409314"/>
              <a:gd name="connsiteX41" fmla="*/ 4853854 w 4920143"/>
              <a:gd name="connsiteY41" fmla="*/ 2440384 h 4409314"/>
              <a:gd name="connsiteX42" fmla="*/ 4847938 w 4920143"/>
              <a:gd name="connsiteY42" fmla="*/ 2454322 h 4409314"/>
              <a:gd name="connsiteX43" fmla="*/ 4845145 w 4920143"/>
              <a:gd name="connsiteY43" fmla="*/ 2462335 h 4409314"/>
              <a:gd name="connsiteX44" fmla="*/ 4836286 w 4920143"/>
              <a:gd name="connsiteY44" fmla="*/ 2481775 h 4409314"/>
              <a:gd name="connsiteX45" fmla="*/ 4819427 w 4920143"/>
              <a:gd name="connsiteY45" fmla="*/ 2521496 h 4409314"/>
              <a:gd name="connsiteX46" fmla="*/ 4810544 w 4920143"/>
              <a:gd name="connsiteY46" fmla="*/ 2538263 h 4409314"/>
              <a:gd name="connsiteX47" fmla="*/ 4806229 w 4920143"/>
              <a:gd name="connsiteY47" fmla="*/ 2547733 h 4409314"/>
              <a:gd name="connsiteX48" fmla="*/ 4796511 w 4920143"/>
              <a:gd name="connsiteY48" fmla="*/ 2564754 h 4409314"/>
              <a:gd name="connsiteX49" fmla="*/ 4778435 w 4920143"/>
              <a:gd name="connsiteY49" fmla="*/ 2598879 h 4409314"/>
              <a:gd name="connsiteX50" fmla="*/ 4766048 w 4920143"/>
              <a:gd name="connsiteY50" fmla="*/ 2618115 h 4409314"/>
              <a:gd name="connsiteX51" fmla="*/ 4759977 w 4920143"/>
              <a:gd name="connsiteY51" fmla="*/ 2628749 h 4409314"/>
              <a:gd name="connsiteX52" fmla="*/ 4749872 w 4920143"/>
              <a:gd name="connsiteY52" fmla="*/ 2643234 h 4409314"/>
              <a:gd name="connsiteX53" fmla="*/ 4731231 w 4920143"/>
              <a:gd name="connsiteY53" fmla="*/ 2672182 h 4409314"/>
              <a:gd name="connsiteX54" fmla="*/ 4714821 w 4920143"/>
              <a:gd name="connsiteY54" fmla="*/ 2693479 h 4409314"/>
              <a:gd name="connsiteX55" fmla="*/ 4706813 w 4920143"/>
              <a:gd name="connsiteY55" fmla="*/ 2704960 h 4409314"/>
              <a:gd name="connsiteX56" fmla="*/ 4696748 w 4920143"/>
              <a:gd name="connsiteY56" fmla="*/ 2716934 h 4409314"/>
              <a:gd name="connsiteX57" fmla="*/ 4678165 w 4920143"/>
              <a:gd name="connsiteY57" fmla="*/ 2741053 h 4409314"/>
              <a:gd name="connsiteX58" fmla="*/ 4657225 w 4920143"/>
              <a:gd name="connsiteY58" fmla="*/ 2763963 h 4409314"/>
              <a:gd name="connsiteX59" fmla="*/ 4647164 w 4920143"/>
              <a:gd name="connsiteY59" fmla="*/ 2775936 h 4409314"/>
              <a:gd name="connsiteX60" fmla="*/ 4637529 w 4920143"/>
              <a:gd name="connsiteY60" fmla="*/ 2785513 h 4409314"/>
              <a:gd name="connsiteX61" fmla="*/ 4619589 w 4920143"/>
              <a:gd name="connsiteY61" fmla="*/ 2805142 h 4409314"/>
              <a:gd name="connsiteX62" fmla="*/ 4593597 w 4920143"/>
              <a:gd name="connsiteY62" fmla="*/ 2829184 h 4409314"/>
              <a:gd name="connsiteX63" fmla="*/ 4581456 w 4920143"/>
              <a:gd name="connsiteY63" fmla="*/ 2841253 h 4409314"/>
              <a:gd name="connsiteX64" fmla="*/ 4572605 w 4920143"/>
              <a:gd name="connsiteY64" fmla="*/ 2848601 h 4409314"/>
              <a:gd name="connsiteX65" fmla="*/ 4555853 w 4920143"/>
              <a:gd name="connsiteY65" fmla="*/ 2864096 h 4409314"/>
              <a:gd name="connsiteX66" fmla="*/ 4524228 w 4920143"/>
              <a:gd name="connsiteY66" fmla="*/ 2888767 h 4409314"/>
              <a:gd name="connsiteX67" fmla="*/ 4510117 w 4920143"/>
              <a:gd name="connsiteY67" fmla="*/ 2900483 h 4409314"/>
              <a:gd name="connsiteX68" fmla="*/ 4502368 w 4920143"/>
              <a:gd name="connsiteY68" fmla="*/ 2905820 h 4409314"/>
              <a:gd name="connsiteX69" fmla="*/ 4487310 w 4920143"/>
              <a:gd name="connsiteY69" fmla="*/ 2917566 h 4409314"/>
              <a:gd name="connsiteX70" fmla="*/ 4449308 w 4920143"/>
              <a:gd name="connsiteY70" fmla="*/ 2942363 h 4409314"/>
              <a:gd name="connsiteX71" fmla="*/ 4433574 w 4920143"/>
              <a:gd name="connsiteY71" fmla="*/ 2953200 h 4409314"/>
              <a:gd name="connsiteX72" fmla="*/ 4427215 w 4920143"/>
              <a:gd name="connsiteY72" fmla="*/ 2956778 h 4409314"/>
              <a:gd name="connsiteX73" fmla="*/ 4414311 w 4920143"/>
              <a:gd name="connsiteY73" fmla="*/ 2965199 h 4409314"/>
              <a:gd name="connsiteX74" fmla="*/ 4368776 w 4920143"/>
              <a:gd name="connsiteY74" fmla="*/ 2989675 h 4409314"/>
              <a:gd name="connsiteX75" fmla="*/ 4352251 w 4920143"/>
              <a:gd name="connsiteY75" fmla="*/ 2998977 h 4409314"/>
              <a:gd name="connsiteX76" fmla="*/ 4347546 w 4920143"/>
              <a:gd name="connsiteY76" fmla="*/ 3001086 h 4409314"/>
              <a:gd name="connsiteX77" fmla="*/ 4337206 w 4920143"/>
              <a:gd name="connsiteY77" fmla="*/ 3006644 h 4409314"/>
              <a:gd name="connsiteX78" fmla="*/ 4281806 w 4920143"/>
              <a:gd name="connsiteY78" fmla="*/ 3030559 h 4409314"/>
              <a:gd name="connsiteX79" fmla="*/ 4266577 w 4920143"/>
              <a:gd name="connsiteY79" fmla="*/ 3037387 h 4409314"/>
              <a:gd name="connsiteX80" fmla="*/ 4263760 w 4920143"/>
              <a:gd name="connsiteY80" fmla="*/ 3038350 h 4409314"/>
              <a:gd name="connsiteX81" fmla="*/ 4256348 w 4920143"/>
              <a:gd name="connsiteY81" fmla="*/ 3041550 h 4409314"/>
              <a:gd name="connsiteX82" fmla="*/ 4184135 w 4920143"/>
              <a:gd name="connsiteY82" fmla="*/ 3065558 h 4409314"/>
              <a:gd name="connsiteX83" fmla="*/ 4176978 w 4920143"/>
              <a:gd name="connsiteY83" fmla="*/ 3068005 h 4409314"/>
              <a:gd name="connsiteX84" fmla="*/ 4176259 w 4920143"/>
              <a:gd name="connsiteY84" fmla="*/ 3068178 h 4409314"/>
              <a:gd name="connsiteX85" fmla="*/ 4172087 w 4920143"/>
              <a:gd name="connsiteY85" fmla="*/ 3069565 h 4409314"/>
              <a:gd name="connsiteX86" fmla="*/ 3994762 w 4920143"/>
              <a:gd name="connsiteY86" fmla="*/ 3103519 h 4409314"/>
              <a:gd name="connsiteX87" fmla="*/ 3990734 w 4920143"/>
              <a:gd name="connsiteY87" fmla="*/ 3103721 h 4409314"/>
              <a:gd name="connsiteX88" fmla="*/ 3987710 w 4920143"/>
              <a:gd name="connsiteY88" fmla="*/ 3104154 h 4409314"/>
              <a:gd name="connsiteX89" fmla="*/ 3937873 w 4920143"/>
              <a:gd name="connsiteY89" fmla="*/ 3106514 h 4409314"/>
              <a:gd name="connsiteX90" fmla="*/ 3937873 w 4920143"/>
              <a:gd name="connsiteY90" fmla="*/ 3108833 h 4409314"/>
              <a:gd name="connsiteX91" fmla="*/ 3889523 w 4920143"/>
              <a:gd name="connsiteY91" fmla="*/ 3108833 h 4409314"/>
              <a:gd name="connsiteX92" fmla="*/ 3889512 w 4920143"/>
              <a:gd name="connsiteY92" fmla="*/ 3108833 h 4409314"/>
              <a:gd name="connsiteX93" fmla="*/ 3889503 w 4920143"/>
              <a:gd name="connsiteY93" fmla="*/ 3108833 h 4409314"/>
              <a:gd name="connsiteX94" fmla="*/ 3888896 w 4920143"/>
              <a:gd name="connsiteY94" fmla="*/ 3108833 h 4409314"/>
              <a:gd name="connsiteX95" fmla="*/ 2860112 w 4920143"/>
              <a:gd name="connsiteY95" fmla="*/ 3108833 h 4409314"/>
              <a:gd name="connsiteX96" fmla="*/ 2860112 w 4920143"/>
              <a:gd name="connsiteY96" fmla="*/ 2133678 h 4409314"/>
              <a:gd name="connsiteX97" fmla="*/ 2858894 w 4920143"/>
              <a:gd name="connsiteY97" fmla="*/ 2133678 h 4409314"/>
              <a:gd name="connsiteX98" fmla="*/ 2858894 w 4920143"/>
              <a:gd name="connsiteY98" fmla="*/ 2079125 h 4409314"/>
              <a:gd name="connsiteX99" fmla="*/ 2858894 w 4920143"/>
              <a:gd name="connsiteY99" fmla="*/ 1881961 h 4409314"/>
              <a:gd name="connsiteX100" fmla="*/ 2858894 w 4920143"/>
              <a:gd name="connsiteY100" fmla="*/ 1469159 h 4409314"/>
              <a:gd name="connsiteX101" fmla="*/ 2858894 w 4920143"/>
              <a:gd name="connsiteY101" fmla="*/ 1271996 h 4409314"/>
              <a:gd name="connsiteX102" fmla="*/ 2860124 w 4920143"/>
              <a:gd name="connsiteY102" fmla="*/ 1271996 h 4409314"/>
              <a:gd name="connsiteX103" fmla="*/ 2860124 w 4920143"/>
              <a:gd name="connsiteY103" fmla="*/ 1271995 h 4409314"/>
              <a:gd name="connsiteX104" fmla="*/ 2860124 w 4920143"/>
              <a:gd name="connsiteY104" fmla="*/ 1271687 h 4409314"/>
              <a:gd name="connsiteX105" fmla="*/ 2860124 w 4920143"/>
              <a:gd name="connsiteY105" fmla="*/ 1258478 h 4409314"/>
              <a:gd name="connsiteX106" fmla="*/ 2860124 w 4920143"/>
              <a:gd name="connsiteY106" fmla="*/ 1217442 h 4409314"/>
              <a:gd name="connsiteX107" fmla="*/ 2862693 w 4920143"/>
              <a:gd name="connsiteY107" fmla="*/ 1217442 h 4409314"/>
              <a:gd name="connsiteX108" fmla="*/ 2864800 w 4920143"/>
              <a:gd name="connsiteY108" fmla="*/ 1172932 h 4409314"/>
              <a:gd name="connsiteX109" fmla="*/ 2865336 w 4920143"/>
              <a:gd name="connsiteY109" fmla="*/ 1169104 h 4409314"/>
              <a:gd name="connsiteX110" fmla="*/ 2865443 w 4920143"/>
              <a:gd name="connsiteY110" fmla="*/ 1166991 h 4409314"/>
              <a:gd name="connsiteX111" fmla="*/ 2868442 w 4920143"/>
              <a:gd name="connsiteY111" fmla="*/ 1146917 h 4409314"/>
              <a:gd name="connsiteX112" fmla="*/ 2877427 w 4920143"/>
              <a:gd name="connsiteY112" fmla="*/ 1082741 h 4409314"/>
              <a:gd name="connsiteX113" fmla="*/ 2879134 w 4920143"/>
              <a:gd name="connsiteY113" fmla="*/ 1075360 h 4409314"/>
              <a:gd name="connsiteX114" fmla="*/ 2879784 w 4920143"/>
              <a:gd name="connsiteY114" fmla="*/ 1071013 h 4409314"/>
              <a:gd name="connsiteX115" fmla="*/ 2885331 w 4920143"/>
              <a:gd name="connsiteY115" fmla="*/ 1048572 h 4409314"/>
              <a:gd name="connsiteX116" fmla="*/ 2897672 w 4920143"/>
              <a:gd name="connsiteY116" fmla="*/ 995225 h 4409314"/>
              <a:gd name="connsiteX117" fmla="*/ 2901186 w 4920143"/>
              <a:gd name="connsiteY117" fmla="*/ 984433 h 4409314"/>
              <a:gd name="connsiteX118" fmla="*/ 2902743 w 4920143"/>
              <a:gd name="connsiteY118" fmla="*/ 978135 h 4409314"/>
              <a:gd name="connsiteX119" fmla="*/ 2910227 w 4920143"/>
              <a:gd name="connsiteY119" fmla="*/ 956666 h 4409314"/>
              <a:gd name="connsiteX120" fmla="*/ 2925183 w 4920143"/>
              <a:gd name="connsiteY120" fmla="*/ 910736 h 4409314"/>
              <a:gd name="connsiteX121" fmla="*/ 2931099 w 4920143"/>
              <a:gd name="connsiteY121" fmla="*/ 896798 h 4409314"/>
              <a:gd name="connsiteX122" fmla="*/ 2933893 w 4920143"/>
              <a:gd name="connsiteY122" fmla="*/ 888785 h 4409314"/>
              <a:gd name="connsiteX123" fmla="*/ 2942752 w 4920143"/>
              <a:gd name="connsiteY123" fmla="*/ 869345 h 4409314"/>
              <a:gd name="connsiteX124" fmla="*/ 2959611 w 4920143"/>
              <a:gd name="connsiteY124" fmla="*/ 829624 h 4409314"/>
              <a:gd name="connsiteX125" fmla="*/ 2968493 w 4920143"/>
              <a:gd name="connsiteY125" fmla="*/ 812857 h 4409314"/>
              <a:gd name="connsiteX126" fmla="*/ 2972808 w 4920143"/>
              <a:gd name="connsiteY126" fmla="*/ 803388 h 4409314"/>
              <a:gd name="connsiteX127" fmla="*/ 2982526 w 4920143"/>
              <a:gd name="connsiteY127" fmla="*/ 786366 h 4409314"/>
              <a:gd name="connsiteX128" fmla="*/ 3000602 w 4920143"/>
              <a:gd name="connsiteY128" fmla="*/ 752241 h 4409314"/>
              <a:gd name="connsiteX129" fmla="*/ 3012989 w 4920143"/>
              <a:gd name="connsiteY129" fmla="*/ 733005 h 4409314"/>
              <a:gd name="connsiteX130" fmla="*/ 3019061 w 4920143"/>
              <a:gd name="connsiteY130" fmla="*/ 722370 h 4409314"/>
              <a:gd name="connsiteX131" fmla="*/ 3029166 w 4920143"/>
              <a:gd name="connsiteY131" fmla="*/ 707885 h 4409314"/>
              <a:gd name="connsiteX132" fmla="*/ 3047806 w 4920143"/>
              <a:gd name="connsiteY132" fmla="*/ 678938 h 4409314"/>
              <a:gd name="connsiteX133" fmla="*/ 3064216 w 4920143"/>
              <a:gd name="connsiteY133" fmla="*/ 657642 h 4409314"/>
              <a:gd name="connsiteX134" fmla="*/ 3072225 w 4920143"/>
              <a:gd name="connsiteY134" fmla="*/ 646160 h 4409314"/>
              <a:gd name="connsiteX135" fmla="*/ 3082289 w 4920143"/>
              <a:gd name="connsiteY135" fmla="*/ 634186 h 4409314"/>
              <a:gd name="connsiteX136" fmla="*/ 3100873 w 4920143"/>
              <a:gd name="connsiteY136" fmla="*/ 610067 h 4409314"/>
              <a:gd name="connsiteX137" fmla="*/ 3121812 w 4920143"/>
              <a:gd name="connsiteY137" fmla="*/ 587157 h 4409314"/>
              <a:gd name="connsiteX138" fmla="*/ 3131874 w 4920143"/>
              <a:gd name="connsiteY138" fmla="*/ 575184 h 4409314"/>
              <a:gd name="connsiteX139" fmla="*/ 3141508 w 4920143"/>
              <a:gd name="connsiteY139" fmla="*/ 565607 h 4409314"/>
              <a:gd name="connsiteX140" fmla="*/ 3159449 w 4920143"/>
              <a:gd name="connsiteY140" fmla="*/ 545978 h 4409314"/>
              <a:gd name="connsiteX141" fmla="*/ 3185440 w 4920143"/>
              <a:gd name="connsiteY141" fmla="*/ 521936 h 4409314"/>
              <a:gd name="connsiteX142" fmla="*/ 3197581 w 4920143"/>
              <a:gd name="connsiteY142" fmla="*/ 509867 h 4409314"/>
              <a:gd name="connsiteX143" fmla="*/ 3206432 w 4920143"/>
              <a:gd name="connsiteY143" fmla="*/ 502518 h 4409314"/>
              <a:gd name="connsiteX144" fmla="*/ 3223184 w 4920143"/>
              <a:gd name="connsiteY144" fmla="*/ 487023 h 4409314"/>
              <a:gd name="connsiteX145" fmla="*/ 3254809 w 4920143"/>
              <a:gd name="connsiteY145" fmla="*/ 462354 h 4409314"/>
              <a:gd name="connsiteX146" fmla="*/ 3268920 w 4920143"/>
              <a:gd name="connsiteY146" fmla="*/ 450637 h 4409314"/>
              <a:gd name="connsiteX147" fmla="*/ 3276669 w 4920143"/>
              <a:gd name="connsiteY147" fmla="*/ 445300 h 4409314"/>
              <a:gd name="connsiteX148" fmla="*/ 3291727 w 4920143"/>
              <a:gd name="connsiteY148" fmla="*/ 433554 h 4409314"/>
              <a:gd name="connsiteX149" fmla="*/ 3329729 w 4920143"/>
              <a:gd name="connsiteY149" fmla="*/ 408757 h 4409314"/>
              <a:gd name="connsiteX150" fmla="*/ 3345464 w 4920143"/>
              <a:gd name="connsiteY150" fmla="*/ 397920 h 4409314"/>
              <a:gd name="connsiteX151" fmla="*/ 3351822 w 4920143"/>
              <a:gd name="connsiteY151" fmla="*/ 394342 h 4409314"/>
              <a:gd name="connsiteX152" fmla="*/ 3364727 w 4920143"/>
              <a:gd name="connsiteY152" fmla="*/ 385921 h 4409314"/>
              <a:gd name="connsiteX153" fmla="*/ 3410262 w 4920143"/>
              <a:gd name="connsiteY153" fmla="*/ 361445 h 4409314"/>
              <a:gd name="connsiteX154" fmla="*/ 3426786 w 4920143"/>
              <a:gd name="connsiteY154" fmla="*/ 352143 h 4409314"/>
              <a:gd name="connsiteX155" fmla="*/ 3431491 w 4920143"/>
              <a:gd name="connsiteY155" fmla="*/ 350034 h 4409314"/>
              <a:gd name="connsiteX156" fmla="*/ 3441831 w 4920143"/>
              <a:gd name="connsiteY156" fmla="*/ 344476 h 4409314"/>
              <a:gd name="connsiteX157" fmla="*/ 3497231 w 4920143"/>
              <a:gd name="connsiteY157" fmla="*/ 320561 h 4409314"/>
              <a:gd name="connsiteX158" fmla="*/ 3512460 w 4920143"/>
              <a:gd name="connsiteY158" fmla="*/ 313733 h 4409314"/>
              <a:gd name="connsiteX159" fmla="*/ 3515277 w 4920143"/>
              <a:gd name="connsiteY159" fmla="*/ 312771 h 4409314"/>
              <a:gd name="connsiteX160" fmla="*/ 3522689 w 4920143"/>
              <a:gd name="connsiteY160" fmla="*/ 309570 h 4409314"/>
              <a:gd name="connsiteX161" fmla="*/ 3594903 w 4920143"/>
              <a:gd name="connsiteY161" fmla="*/ 285562 h 4409314"/>
              <a:gd name="connsiteX162" fmla="*/ 3602059 w 4920143"/>
              <a:gd name="connsiteY162" fmla="*/ 283116 h 4409314"/>
              <a:gd name="connsiteX163" fmla="*/ 3602778 w 4920143"/>
              <a:gd name="connsiteY163" fmla="*/ 282942 h 4409314"/>
              <a:gd name="connsiteX164" fmla="*/ 3606950 w 4920143"/>
              <a:gd name="connsiteY164" fmla="*/ 281556 h 4409314"/>
              <a:gd name="connsiteX165" fmla="*/ 3784274 w 4920143"/>
              <a:gd name="connsiteY165" fmla="*/ 247602 h 4409314"/>
              <a:gd name="connsiteX166" fmla="*/ 3788303 w 4920143"/>
              <a:gd name="connsiteY166" fmla="*/ 247399 h 4409314"/>
              <a:gd name="connsiteX167" fmla="*/ 3791327 w 4920143"/>
              <a:gd name="connsiteY167" fmla="*/ 246966 h 4409314"/>
              <a:gd name="connsiteX168" fmla="*/ 3841164 w 4920143"/>
              <a:gd name="connsiteY168" fmla="*/ 244606 h 4409314"/>
              <a:gd name="connsiteX169" fmla="*/ 3841164 w 4920143"/>
              <a:gd name="connsiteY169" fmla="*/ 242288 h 4409314"/>
              <a:gd name="connsiteX170" fmla="*/ 3889515 w 4920143"/>
              <a:gd name="connsiteY170" fmla="*/ 242288 h 4409314"/>
              <a:gd name="connsiteX171" fmla="*/ 1951529 w 4920143"/>
              <a:gd name="connsiteY171" fmla="*/ 0 h 4409314"/>
              <a:gd name="connsiteX172" fmla="*/ 2716068 w 4920143"/>
              <a:gd name="connsiteY172" fmla="*/ 689931 h 4409314"/>
              <a:gd name="connsiteX173" fmla="*/ 2718212 w 4920143"/>
              <a:gd name="connsiteY173" fmla="*/ 732402 h 4409314"/>
              <a:gd name="connsiteX174" fmla="*/ 2720035 w 4920143"/>
              <a:gd name="connsiteY174" fmla="*/ 732402 h 4409314"/>
              <a:gd name="connsiteX175" fmla="*/ 2720035 w 4920143"/>
              <a:gd name="connsiteY175" fmla="*/ 768498 h 4409314"/>
              <a:gd name="connsiteX176" fmla="*/ 2720035 w 4920143"/>
              <a:gd name="connsiteY176" fmla="*/ 768506 h 4409314"/>
              <a:gd name="connsiteX177" fmla="*/ 2720035 w 4920143"/>
              <a:gd name="connsiteY177" fmla="*/ 768513 h 4409314"/>
              <a:gd name="connsiteX178" fmla="*/ 2720035 w 4920143"/>
              <a:gd name="connsiteY178" fmla="*/ 1537012 h 4409314"/>
              <a:gd name="connsiteX179" fmla="*/ 1951529 w 4920143"/>
              <a:gd name="connsiteY179" fmla="*/ 1537012 h 4409314"/>
              <a:gd name="connsiteX180" fmla="*/ 1941213 w 4920143"/>
              <a:gd name="connsiteY180" fmla="*/ 1537012 h 4409314"/>
              <a:gd name="connsiteX181" fmla="*/ 1941213 w 4920143"/>
              <a:gd name="connsiteY181" fmla="*/ 1536491 h 4409314"/>
              <a:gd name="connsiteX182" fmla="*/ 1872954 w 4920143"/>
              <a:gd name="connsiteY182" fmla="*/ 1533044 h 4409314"/>
              <a:gd name="connsiteX183" fmla="*/ 1183023 w 4920143"/>
              <a:gd name="connsiteY183" fmla="*/ 768506 h 4409314"/>
              <a:gd name="connsiteX184" fmla="*/ 1951529 w 4920143"/>
              <a:gd name="connsiteY184" fmla="*/ 0 h 4409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</a:cxnLst>
            <a:rect l="l" t="t" r="r" b="b"/>
            <a:pathLst>
              <a:path w="4920143" h="4409314">
                <a:moveTo>
                  <a:pt x="1341763" y="1689277"/>
                </a:moveTo>
                <a:lnTo>
                  <a:pt x="1360019" y="1689277"/>
                </a:lnTo>
                <a:lnTo>
                  <a:pt x="2720036" y="1689277"/>
                </a:lnTo>
                <a:lnTo>
                  <a:pt x="2720036" y="3049283"/>
                </a:lnTo>
                <a:lnTo>
                  <a:pt x="2720037" y="3049296"/>
                </a:lnTo>
                <a:lnTo>
                  <a:pt x="2720036" y="3049309"/>
                </a:lnTo>
                <a:lnTo>
                  <a:pt x="2720036" y="3113189"/>
                </a:lnTo>
                <a:lnTo>
                  <a:pt x="2716811" y="3113189"/>
                </a:lnTo>
                <a:lnTo>
                  <a:pt x="2713016" y="3188350"/>
                </a:lnTo>
                <a:cubicBezTo>
                  <a:pt x="2643369" y="3874147"/>
                  <a:pt x="2064191" y="4409314"/>
                  <a:pt x="1360019" y="4409314"/>
                </a:cubicBezTo>
                <a:cubicBezTo>
                  <a:pt x="608901" y="4409314"/>
                  <a:pt x="0" y="3800413"/>
                  <a:pt x="0" y="3049296"/>
                </a:cubicBezTo>
                <a:cubicBezTo>
                  <a:pt x="0" y="2345123"/>
                  <a:pt x="535167" y="1765946"/>
                  <a:pt x="1220965" y="1696299"/>
                </a:cubicBezTo>
                <a:lnTo>
                  <a:pt x="1341763" y="1690199"/>
                </a:lnTo>
                <a:close/>
                <a:moveTo>
                  <a:pt x="3889525" y="242287"/>
                </a:moveTo>
                <a:lnTo>
                  <a:pt x="3889535" y="242288"/>
                </a:lnTo>
                <a:lnTo>
                  <a:pt x="3890141" y="242288"/>
                </a:lnTo>
                <a:lnTo>
                  <a:pt x="4918926" y="242288"/>
                </a:lnTo>
                <a:lnTo>
                  <a:pt x="4918926" y="1217442"/>
                </a:lnTo>
                <a:lnTo>
                  <a:pt x="4920143" y="1217442"/>
                </a:lnTo>
                <a:lnTo>
                  <a:pt x="4920143" y="1271995"/>
                </a:lnTo>
                <a:lnTo>
                  <a:pt x="4920143" y="1469159"/>
                </a:lnTo>
                <a:lnTo>
                  <a:pt x="4920143" y="1881961"/>
                </a:lnTo>
                <a:lnTo>
                  <a:pt x="4920143" y="2079124"/>
                </a:lnTo>
                <a:lnTo>
                  <a:pt x="4918913" y="2079124"/>
                </a:lnTo>
                <a:lnTo>
                  <a:pt x="4918913" y="2079125"/>
                </a:lnTo>
                <a:lnTo>
                  <a:pt x="4918913" y="2079432"/>
                </a:lnTo>
                <a:lnTo>
                  <a:pt x="4918913" y="2092642"/>
                </a:lnTo>
                <a:lnTo>
                  <a:pt x="4918913" y="2133678"/>
                </a:lnTo>
                <a:lnTo>
                  <a:pt x="4916345" y="2133678"/>
                </a:lnTo>
                <a:lnTo>
                  <a:pt x="4914238" y="2178188"/>
                </a:lnTo>
                <a:lnTo>
                  <a:pt x="4913701" y="2182015"/>
                </a:lnTo>
                <a:lnTo>
                  <a:pt x="4913595" y="2184129"/>
                </a:lnTo>
                <a:lnTo>
                  <a:pt x="4910595" y="2204203"/>
                </a:lnTo>
                <a:lnTo>
                  <a:pt x="4901610" y="2268379"/>
                </a:lnTo>
                <a:lnTo>
                  <a:pt x="4899903" y="2275759"/>
                </a:lnTo>
                <a:lnTo>
                  <a:pt x="4899254" y="2280107"/>
                </a:lnTo>
                <a:lnTo>
                  <a:pt x="4893706" y="2302548"/>
                </a:lnTo>
                <a:lnTo>
                  <a:pt x="4881366" y="2355894"/>
                </a:lnTo>
                <a:lnTo>
                  <a:pt x="4877851" y="2366687"/>
                </a:lnTo>
                <a:lnTo>
                  <a:pt x="4876295" y="2372985"/>
                </a:lnTo>
                <a:lnTo>
                  <a:pt x="4868810" y="2394454"/>
                </a:lnTo>
                <a:lnTo>
                  <a:pt x="4853854" y="2440384"/>
                </a:lnTo>
                <a:lnTo>
                  <a:pt x="4847938" y="2454322"/>
                </a:lnTo>
                <a:lnTo>
                  <a:pt x="4845145" y="2462335"/>
                </a:lnTo>
                <a:lnTo>
                  <a:pt x="4836286" y="2481775"/>
                </a:lnTo>
                <a:lnTo>
                  <a:pt x="4819427" y="2521496"/>
                </a:lnTo>
                <a:lnTo>
                  <a:pt x="4810544" y="2538263"/>
                </a:lnTo>
                <a:lnTo>
                  <a:pt x="4806229" y="2547733"/>
                </a:lnTo>
                <a:lnTo>
                  <a:pt x="4796511" y="2564754"/>
                </a:lnTo>
                <a:lnTo>
                  <a:pt x="4778435" y="2598879"/>
                </a:lnTo>
                <a:lnTo>
                  <a:pt x="4766048" y="2618115"/>
                </a:lnTo>
                <a:lnTo>
                  <a:pt x="4759977" y="2628749"/>
                </a:lnTo>
                <a:lnTo>
                  <a:pt x="4749872" y="2643234"/>
                </a:lnTo>
                <a:lnTo>
                  <a:pt x="4731231" y="2672182"/>
                </a:lnTo>
                <a:lnTo>
                  <a:pt x="4714821" y="2693479"/>
                </a:lnTo>
                <a:lnTo>
                  <a:pt x="4706813" y="2704960"/>
                </a:lnTo>
                <a:lnTo>
                  <a:pt x="4696748" y="2716934"/>
                </a:lnTo>
                <a:lnTo>
                  <a:pt x="4678165" y="2741053"/>
                </a:lnTo>
                <a:lnTo>
                  <a:pt x="4657225" y="2763963"/>
                </a:lnTo>
                <a:lnTo>
                  <a:pt x="4647164" y="2775936"/>
                </a:lnTo>
                <a:lnTo>
                  <a:pt x="4637529" y="2785513"/>
                </a:lnTo>
                <a:lnTo>
                  <a:pt x="4619589" y="2805142"/>
                </a:lnTo>
                <a:lnTo>
                  <a:pt x="4593597" y="2829184"/>
                </a:lnTo>
                <a:lnTo>
                  <a:pt x="4581456" y="2841253"/>
                </a:lnTo>
                <a:lnTo>
                  <a:pt x="4572605" y="2848601"/>
                </a:lnTo>
                <a:lnTo>
                  <a:pt x="4555853" y="2864096"/>
                </a:lnTo>
                <a:lnTo>
                  <a:pt x="4524228" y="2888767"/>
                </a:lnTo>
                <a:lnTo>
                  <a:pt x="4510117" y="2900483"/>
                </a:lnTo>
                <a:lnTo>
                  <a:pt x="4502368" y="2905820"/>
                </a:lnTo>
                <a:lnTo>
                  <a:pt x="4487310" y="2917566"/>
                </a:lnTo>
                <a:lnTo>
                  <a:pt x="4449308" y="2942363"/>
                </a:lnTo>
                <a:lnTo>
                  <a:pt x="4433574" y="2953200"/>
                </a:lnTo>
                <a:lnTo>
                  <a:pt x="4427215" y="2956778"/>
                </a:lnTo>
                <a:lnTo>
                  <a:pt x="4414311" y="2965199"/>
                </a:lnTo>
                <a:lnTo>
                  <a:pt x="4368776" y="2989675"/>
                </a:lnTo>
                <a:lnTo>
                  <a:pt x="4352251" y="2998977"/>
                </a:lnTo>
                <a:lnTo>
                  <a:pt x="4347546" y="3001086"/>
                </a:lnTo>
                <a:lnTo>
                  <a:pt x="4337206" y="3006644"/>
                </a:lnTo>
                <a:lnTo>
                  <a:pt x="4281806" y="3030559"/>
                </a:lnTo>
                <a:lnTo>
                  <a:pt x="4266577" y="3037387"/>
                </a:lnTo>
                <a:lnTo>
                  <a:pt x="4263760" y="3038350"/>
                </a:lnTo>
                <a:lnTo>
                  <a:pt x="4256348" y="3041550"/>
                </a:lnTo>
                <a:lnTo>
                  <a:pt x="4184135" y="3065558"/>
                </a:lnTo>
                <a:lnTo>
                  <a:pt x="4176978" y="3068005"/>
                </a:lnTo>
                <a:lnTo>
                  <a:pt x="4176259" y="3068178"/>
                </a:lnTo>
                <a:lnTo>
                  <a:pt x="4172087" y="3069565"/>
                </a:lnTo>
                <a:cubicBezTo>
                  <a:pt x="4114856" y="3085867"/>
                  <a:pt x="4055593" y="3097340"/>
                  <a:pt x="3994762" y="3103519"/>
                </a:cubicBezTo>
                <a:lnTo>
                  <a:pt x="3990734" y="3103721"/>
                </a:lnTo>
                <a:lnTo>
                  <a:pt x="3987710" y="3104154"/>
                </a:lnTo>
                <a:lnTo>
                  <a:pt x="3937873" y="3106514"/>
                </a:lnTo>
                <a:lnTo>
                  <a:pt x="3937873" y="3108833"/>
                </a:lnTo>
                <a:lnTo>
                  <a:pt x="3889523" y="3108833"/>
                </a:lnTo>
                <a:lnTo>
                  <a:pt x="3889512" y="3108833"/>
                </a:lnTo>
                <a:lnTo>
                  <a:pt x="3889503" y="3108833"/>
                </a:lnTo>
                <a:lnTo>
                  <a:pt x="3888896" y="3108833"/>
                </a:lnTo>
                <a:lnTo>
                  <a:pt x="2860112" y="3108833"/>
                </a:lnTo>
                <a:lnTo>
                  <a:pt x="2860112" y="2133678"/>
                </a:lnTo>
                <a:lnTo>
                  <a:pt x="2858894" y="2133678"/>
                </a:lnTo>
                <a:lnTo>
                  <a:pt x="2858894" y="2079125"/>
                </a:lnTo>
                <a:lnTo>
                  <a:pt x="2858894" y="1881961"/>
                </a:lnTo>
                <a:lnTo>
                  <a:pt x="2858894" y="1469159"/>
                </a:lnTo>
                <a:lnTo>
                  <a:pt x="2858894" y="1271996"/>
                </a:lnTo>
                <a:lnTo>
                  <a:pt x="2860124" y="1271996"/>
                </a:lnTo>
                <a:lnTo>
                  <a:pt x="2860124" y="1271995"/>
                </a:lnTo>
                <a:lnTo>
                  <a:pt x="2860124" y="1271687"/>
                </a:lnTo>
                <a:lnTo>
                  <a:pt x="2860124" y="1258478"/>
                </a:lnTo>
                <a:lnTo>
                  <a:pt x="2860124" y="1217442"/>
                </a:lnTo>
                <a:lnTo>
                  <a:pt x="2862693" y="1217442"/>
                </a:lnTo>
                <a:lnTo>
                  <a:pt x="2864800" y="1172932"/>
                </a:lnTo>
                <a:lnTo>
                  <a:pt x="2865336" y="1169104"/>
                </a:lnTo>
                <a:lnTo>
                  <a:pt x="2865443" y="1166991"/>
                </a:lnTo>
                <a:lnTo>
                  <a:pt x="2868442" y="1146917"/>
                </a:lnTo>
                <a:lnTo>
                  <a:pt x="2877427" y="1082741"/>
                </a:lnTo>
                <a:lnTo>
                  <a:pt x="2879134" y="1075360"/>
                </a:lnTo>
                <a:lnTo>
                  <a:pt x="2879784" y="1071013"/>
                </a:lnTo>
                <a:lnTo>
                  <a:pt x="2885331" y="1048572"/>
                </a:lnTo>
                <a:lnTo>
                  <a:pt x="2897672" y="995225"/>
                </a:lnTo>
                <a:lnTo>
                  <a:pt x="2901186" y="984433"/>
                </a:lnTo>
                <a:lnTo>
                  <a:pt x="2902743" y="978135"/>
                </a:lnTo>
                <a:lnTo>
                  <a:pt x="2910227" y="956666"/>
                </a:lnTo>
                <a:lnTo>
                  <a:pt x="2925183" y="910736"/>
                </a:lnTo>
                <a:lnTo>
                  <a:pt x="2931099" y="896798"/>
                </a:lnTo>
                <a:lnTo>
                  <a:pt x="2933893" y="888785"/>
                </a:lnTo>
                <a:lnTo>
                  <a:pt x="2942752" y="869345"/>
                </a:lnTo>
                <a:lnTo>
                  <a:pt x="2959611" y="829624"/>
                </a:lnTo>
                <a:lnTo>
                  <a:pt x="2968493" y="812857"/>
                </a:lnTo>
                <a:lnTo>
                  <a:pt x="2972808" y="803388"/>
                </a:lnTo>
                <a:lnTo>
                  <a:pt x="2982526" y="786366"/>
                </a:lnTo>
                <a:lnTo>
                  <a:pt x="3000602" y="752241"/>
                </a:lnTo>
                <a:lnTo>
                  <a:pt x="3012989" y="733005"/>
                </a:lnTo>
                <a:lnTo>
                  <a:pt x="3019061" y="722370"/>
                </a:lnTo>
                <a:lnTo>
                  <a:pt x="3029166" y="707885"/>
                </a:lnTo>
                <a:lnTo>
                  <a:pt x="3047806" y="678938"/>
                </a:lnTo>
                <a:lnTo>
                  <a:pt x="3064216" y="657642"/>
                </a:lnTo>
                <a:lnTo>
                  <a:pt x="3072225" y="646160"/>
                </a:lnTo>
                <a:lnTo>
                  <a:pt x="3082289" y="634186"/>
                </a:lnTo>
                <a:lnTo>
                  <a:pt x="3100873" y="610067"/>
                </a:lnTo>
                <a:lnTo>
                  <a:pt x="3121812" y="587157"/>
                </a:lnTo>
                <a:lnTo>
                  <a:pt x="3131874" y="575184"/>
                </a:lnTo>
                <a:lnTo>
                  <a:pt x="3141508" y="565607"/>
                </a:lnTo>
                <a:lnTo>
                  <a:pt x="3159449" y="545978"/>
                </a:lnTo>
                <a:lnTo>
                  <a:pt x="3185440" y="521936"/>
                </a:lnTo>
                <a:lnTo>
                  <a:pt x="3197581" y="509867"/>
                </a:lnTo>
                <a:lnTo>
                  <a:pt x="3206432" y="502518"/>
                </a:lnTo>
                <a:lnTo>
                  <a:pt x="3223184" y="487023"/>
                </a:lnTo>
                <a:lnTo>
                  <a:pt x="3254809" y="462354"/>
                </a:lnTo>
                <a:lnTo>
                  <a:pt x="3268920" y="450637"/>
                </a:lnTo>
                <a:lnTo>
                  <a:pt x="3276669" y="445300"/>
                </a:lnTo>
                <a:lnTo>
                  <a:pt x="3291727" y="433554"/>
                </a:lnTo>
                <a:lnTo>
                  <a:pt x="3329729" y="408757"/>
                </a:lnTo>
                <a:lnTo>
                  <a:pt x="3345464" y="397920"/>
                </a:lnTo>
                <a:lnTo>
                  <a:pt x="3351822" y="394342"/>
                </a:lnTo>
                <a:lnTo>
                  <a:pt x="3364727" y="385921"/>
                </a:lnTo>
                <a:lnTo>
                  <a:pt x="3410262" y="361445"/>
                </a:lnTo>
                <a:lnTo>
                  <a:pt x="3426786" y="352143"/>
                </a:lnTo>
                <a:lnTo>
                  <a:pt x="3431491" y="350034"/>
                </a:lnTo>
                <a:lnTo>
                  <a:pt x="3441831" y="344476"/>
                </a:lnTo>
                <a:lnTo>
                  <a:pt x="3497231" y="320561"/>
                </a:lnTo>
                <a:lnTo>
                  <a:pt x="3512460" y="313733"/>
                </a:lnTo>
                <a:lnTo>
                  <a:pt x="3515277" y="312771"/>
                </a:lnTo>
                <a:lnTo>
                  <a:pt x="3522689" y="309570"/>
                </a:lnTo>
                <a:lnTo>
                  <a:pt x="3594903" y="285562"/>
                </a:lnTo>
                <a:lnTo>
                  <a:pt x="3602059" y="283116"/>
                </a:lnTo>
                <a:lnTo>
                  <a:pt x="3602778" y="282942"/>
                </a:lnTo>
                <a:lnTo>
                  <a:pt x="3606950" y="281556"/>
                </a:lnTo>
                <a:cubicBezTo>
                  <a:pt x="3664181" y="265254"/>
                  <a:pt x="3723445" y="253780"/>
                  <a:pt x="3784274" y="247602"/>
                </a:cubicBezTo>
                <a:lnTo>
                  <a:pt x="3788303" y="247399"/>
                </a:lnTo>
                <a:lnTo>
                  <a:pt x="3791327" y="246966"/>
                </a:lnTo>
                <a:lnTo>
                  <a:pt x="3841164" y="244606"/>
                </a:lnTo>
                <a:lnTo>
                  <a:pt x="3841164" y="242288"/>
                </a:lnTo>
                <a:lnTo>
                  <a:pt x="3889515" y="242288"/>
                </a:lnTo>
                <a:close/>
                <a:moveTo>
                  <a:pt x="1951529" y="0"/>
                </a:moveTo>
                <a:cubicBezTo>
                  <a:pt x="2349436" y="0"/>
                  <a:pt x="2676712" y="302407"/>
                  <a:pt x="2716068" y="689931"/>
                </a:cubicBezTo>
                <a:lnTo>
                  <a:pt x="2718212" y="732402"/>
                </a:lnTo>
                <a:lnTo>
                  <a:pt x="2720035" y="732402"/>
                </a:lnTo>
                <a:lnTo>
                  <a:pt x="2720035" y="768498"/>
                </a:lnTo>
                <a:lnTo>
                  <a:pt x="2720035" y="768506"/>
                </a:lnTo>
                <a:lnTo>
                  <a:pt x="2720035" y="768513"/>
                </a:lnTo>
                <a:lnTo>
                  <a:pt x="2720035" y="1537012"/>
                </a:lnTo>
                <a:lnTo>
                  <a:pt x="1951529" y="1537012"/>
                </a:lnTo>
                <a:lnTo>
                  <a:pt x="1941213" y="1537012"/>
                </a:lnTo>
                <a:lnTo>
                  <a:pt x="1941213" y="1536491"/>
                </a:lnTo>
                <a:lnTo>
                  <a:pt x="1872954" y="1533044"/>
                </a:lnTo>
                <a:cubicBezTo>
                  <a:pt x="1485430" y="1493689"/>
                  <a:pt x="1183023" y="1166413"/>
                  <a:pt x="1183023" y="768506"/>
                </a:cubicBezTo>
                <a:cubicBezTo>
                  <a:pt x="1183023" y="344072"/>
                  <a:pt x="1527095" y="0"/>
                  <a:pt x="19515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90937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74D766E-C329-4E8E-9BE7-5A9155152C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1521" y="421903"/>
            <a:ext cx="4276338" cy="6031595"/>
          </a:xfrm>
          <a:custGeom>
            <a:avLst/>
            <a:gdLst>
              <a:gd name="connsiteX0" fmla="*/ 2781255 w 4276338"/>
              <a:gd name="connsiteY0" fmla="*/ 0 h 6031595"/>
              <a:gd name="connsiteX1" fmla="*/ 2781270 w 4276338"/>
              <a:gd name="connsiteY1" fmla="*/ 1 h 6031595"/>
              <a:gd name="connsiteX2" fmla="*/ 2851409 w 4276338"/>
              <a:gd name="connsiteY2" fmla="*/ 1 h 6031595"/>
              <a:gd name="connsiteX3" fmla="*/ 2851409 w 4276338"/>
              <a:gd name="connsiteY3" fmla="*/ 3435 h 6031595"/>
              <a:gd name="connsiteX4" fmla="*/ 2923707 w 4276338"/>
              <a:gd name="connsiteY4" fmla="*/ 6932 h 6031595"/>
              <a:gd name="connsiteX5" fmla="*/ 2928093 w 4276338"/>
              <a:gd name="connsiteY5" fmla="*/ 7572 h 6031595"/>
              <a:gd name="connsiteX6" fmla="*/ 2933936 w 4276338"/>
              <a:gd name="connsiteY6" fmla="*/ 7873 h 6031595"/>
              <a:gd name="connsiteX7" fmla="*/ 3191171 w 4276338"/>
              <a:gd name="connsiteY7" fmla="*/ 58173 h 6031595"/>
              <a:gd name="connsiteX8" fmla="*/ 3197224 w 4276338"/>
              <a:gd name="connsiteY8" fmla="*/ 60227 h 6031595"/>
              <a:gd name="connsiteX9" fmla="*/ 3198266 w 4276338"/>
              <a:gd name="connsiteY9" fmla="*/ 60485 h 6031595"/>
              <a:gd name="connsiteX10" fmla="*/ 3208649 w 4276338"/>
              <a:gd name="connsiteY10" fmla="*/ 64107 h 6031595"/>
              <a:gd name="connsiteX11" fmla="*/ 3313404 w 4276338"/>
              <a:gd name="connsiteY11" fmla="*/ 99675 h 6031595"/>
              <a:gd name="connsiteX12" fmla="*/ 3324157 w 4276338"/>
              <a:gd name="connsiteY12" fmla="*/ 104416 h 6031595"/>
              <a:gd name="connsiteX13" fmla="*/ 3328243 w 4276338"/>
              <a:gd name="connsiteY13" fmla="*/ 105842 h 6031595"/>
              <a:gd name="connsiteX14" fmla="*/ 3350335 w 4276338"/>
              <a:gd name="connsiteY14" fmla="*/ 115957 h 6031595"/>
              <a:gd name="connsiteX15" fmla="*/ 3430701 w 4276338"/>
              <a:gd name="connsiteY15" fmla="*/ 151385 h 6031595"/>
              <a:gd name="connsiteX16" fmla="*/ 3445700 w 4276338"/>
              <a:gd name="connsiteY16" fmla="*/ 159618 h 6031595"/>
              <a:gd name="connsiteX17" fmla="*/ 3452526 w 4276338"/>
              <a:gd name="connsiteY17" fmla="*/ 162743 h 6031595"/>
              <a:gd name="connsiteX18" fmla="*/ 3476498 w 4276338"/>
              <a:gd name="connsiteY18" fmla="*/ 176524 h 6031595"/>
              <a:gd name="connsiteX19" fmla="*/ 3542552 w 4276338"/>
              <a:gd name="connsiteY19" fmla="*/ 212783 h 6031595"/>
              <a:gd name="connsiteX20" fmla="*/ 3561272 w 4276338"/>
              <a:gd name="connsiteY20" fmla="*/ 225258 h 6031595"/>
              <a:gd name="connsiteX21" fmla="*/ 3570497 w 4276338"/>
              <a:gd name="connsiteY21" fmla="*/ 230558 h 6031595"/>
              <a:gd name="connsiteX22" fmla="*/ 3593322 w 4276338"/>
              <a:gd name="connsiteY22" fmla="*/ 246613 h 6031595"/>
              <a:gd name="connsiteX23" fmla="*/ 3648450 w 4276338"/>
              <a:gd name="connsiteY23" fmla="*/ 283348 h 6031595"/>
              <a:gd name="connsiteX24" fmla="*/ 3670293 w 4276338"/>
              <a:gd name="connsiteY24" fmla="*/ 300749 h 6031595"/>
              <a:gd name="connsiteX25" fmla="*/ 3681535 w 4276338"/>
              <a:gd name="connsiteY25" fmla="*/ 308654 h 6031595"/>
              <a:gd name="connsiteX26" fmla="*/ 3702004 w 4276338"/>
              <a:gd name="connsiteY26" fmla="*/ 326011 h 6031595"/>
              <a:gd name="connsiteX27" fmla="*/ 3747882 w 4276338"/>
              <a:gd name="connsiteY27" fmla="*/ 362560 h 6031595"/>
              <a:gd name="connsiteX28" fmla="*/ 3772182 w 4276338"/>
              <a:gd name="connsiteY28" fmla="*/ 385514 h 6031595"/>
              <a:gd name="connsiteX29" fmla="*/ 3785022 w 4276338"/>
              <a:gd name="connsiteY29" fmla="*/ 396400 h 6031595"/>
              <a:gd name="connsiteX30" fmla="*/ 3802634 w 4276338"/>
              <a:gd name="connsiteY30" fmla="*/ 414279 h 6031595"/>
              <a:gd name="connsiteX31" fmla="*/ 3840339 w 4276338"/>
              <a:gd name="connsiteY31" fmla="*/ 449896 h 6031595"/>
              <a:gd name="connsiteX32" fmla="*/ 3866365 w 4276338"/>
              <a:gd name="connsiteY32" fmla="*/ 478975 h 6031595"/>
              <a:gd name="connsiteX33" fmla="*/ 3880341 w 4276338"/>
              <a:gd name="connsiteY33" fmla="*/ 493162 h 6031595"/>
              <a:gd name="connsiteX34" fmla="*/ 3894937 w 4276338"/>
              <a:gd name="connsiteY34" fmla="*/ 510898 h 6031595"/>
              <a:gd name="connsiteX35" fmla="*/ 3925313 w 4276338"/>
              <a:gd name="connsiteY35" fmla="*/ 544839 h 6031595"/>
              <a:gd name="connsiteX36" fmla="*/ 3952271 w 4276338"/>
              <a:gd name="connsiteY36" fmla="*/ 580568 h 6031595"/>
              <a:gd name="connsiteX37" fmla="*/ 3966871 w 4276338"/>
              <a:gd name="connsiteY37" fmla="*/ 598307 h 6031595"/>
              <a:gd name="connsiteX38" fmla="*/ 3978488 w 4276338"/>
              <a:gd name="connsiteY38" fmla="*/ 615316 h 6031595"/>
              <a:gd name="connsiteX39" fmla="*/ 4002293 w 4276338"/>
              <a:gd name="connsiteY39" fmla="*/ 646866 h 6031595"/>
              <a:gd name="connsiteX40" fmla="*/ 4029333 w 4276338"/>
              <a:gd name="connsiteY40" fmla="*/ 689750 h 6031595"/>
              <a:gd name="connsiteX41" fmla="*/ 4043994 w 4276338"/>
              <a:gd name="connsiteY41" fmla="*/ 711208 h 6031595"/>
              <a:gd name="connsiteX42" fmla="*/ 4052801 w 4276338"/>
              <a:gd name="connsiteY42" fmla="*/ 726962 h 6031595"/>
              <a:gd name="connsiteX43" fmla="*/ 4070770 w 4276338"/>
              <a:gd name="connsiteY43" fmla="*/ 755459 h 6031595"/>
              <a:gd name="connsiteX44" fmla="*/ 4096992 w 4276338"/>
              <a:gd name="connsiteY44" fmla="*/ 806012 h 6031595"/>
              <a:gd name="connsiteX45" fmla="*/ 4111089 w 4276338"/>
              <a:gd name="connsiteY45" fmla="*/ 831229 h 6031595"/>
              <a:gd name="connsiteX46" fmla="*/ 4117349 w 4276338"/>
              <a:gd name="connsiteY46" fmla="*/ 845256 h 6031595"/>
              <a:gd name="connsiteX47" fmla="*/ 4130234 w 4276338"/>
              <a:gd name="connsiteY47" fmla="*/ 870096 h 6031595"/>
              <a:gd name="connsiteX48" fmla="*/ 4154690 w 4276338"/>
              <a:gd name="connsiteY48" fmla="*/ 928939 h 6031595"/>
              <a:gd name="connsiteX49" fmla="*/ 4167542 w 4276338"/>
              <a:gd name="connsiteY49" fmla="*/ 957739 h 6031595"/>
              <a:gd name="connsiteX50" fmla="*/ 4171594 w 4276338"/>
              <a:gd name="connsiteY50" fmla="*/ 969609 h 6031595"/>
              <a:gd name="connsiteX51" fmla="*/ 4180176 w 4276338"/>
              <a:gd name="connsiteY51" fmla="*/ 990257 h 6031595"/>
              <a:gd name="connsiteX52" fmla="*/ 4201872 w 4276338"/>
              <a:gd name="connsiteY52" fmla="*/ 1058299 h 6031595"/>
              <a:gd name="connsiteX53" fmla="*/ 4212729 w 4276338"/>
              <a:gd name="connsiteY53" fmla="*/ 1090104 h 6031595"/>
              <a:gd name="connsiteX54" fmla="*/ 4214988 w 4276338"/>
              <a:gd name="connsiteY54" fmla="*/ 1099433 h 6031595"/>
              <a:gd name="connsiteX55" fmla="*/ 4220085 w 4276338"/>
              <a:gd name="connsiteY55" fmla="*/ 1115422 h 6031595"/>
              <a:gd name="connsiteX56" fmla="*/ 4237987 w 4276338"/>
              <a:gd name="connsiteY56" fmla="*/ 1194451 h 6031595"/>
              <a:gd name="connsiteX57" fmla="*/ 4246035 w 4276338"/>
              <a:gd name="connsiteY57" fmla="*/ 1227696 h 6031595"/>
              <a:gd name="connsiteX58" fmla="*/ 4246977 w 4276338"/>
              <a:gd name="connsiteY58" fmla="*/ 1234136 h 6031595"/>
              <a:gd name="connsiteX59" fmla="*/ 4249454 w 4276338"/>
              <a:gd name="connsiteY59" fmla="*/ 1245070 h 6031595"/>
              <a:gd name="connsiteX60" fmla="*/ 4262487 w 4276338"/>
              <a:gd name="connsiteY60" fmla="*/ 1340141 h 6031595"/>
              <a:gd name="connsiteX61" fmla="*/ 4266839 w 4276338"/>
              <a:gd name="connsiteY61" fmla="*/ 1369879 h 6031595"/>
              <a:gd name="connsiteX62" fmla="*/ 4266994 w 4276338"/>
              <a:gd name="connsiteY62" fmla="*/ 1373011 h 6031595"/>
              <a:gd name="connsiteX63" fmla="*/ 4267770 w 4276338"/>
              <a:gd name="connsiteY63" fmla="*/ 1378680 h 6031595"/>
              <a:gd name="connsiteX64" fmla="*/ 4270828 w 4276338"/>
              <a:gd name="connsiteY64" fmla="*/ 1444619 h 6031595"/>
              <a:gd name="connsiteX65" fmla="*/ 4274554 w 4276338"/>
              <a:gd name="connsiteY65" fmla="*/ 1444619 h 6031595"/>
              <a:gd name="connsiteX66" fmla="*/ 4274554 w 4276338"/>
              <a:gd name="connsiteY66" fmla="*/ 1505411 h 6031595"/>
              <a:gd name="connsiteX67" fmla="*/ 4274554 w 4276338"/>
              <a:gd name="connsiteY67" fmla="*/ 1524979 h 6031595"/>
              <a:gd name="connsiteX68" fmla="*/ 4274554 w 4276338"/>
              <a:gd name="connsiteY68" fmla="*/ 1525435 h 6031595"/>
              <a:gd name="connsiteX69" fmla="*/ 4274554 w 4276338"/>
              <a:gd name="connsiteY69" fmla="*/ 1525436 h 6031595"/>
              <a:gd name="connsiteX70" fmla="*/ 4276338 w 4276338"/>
              <a:gd name="connsiteY70" fmla="*/ 1525436 h 6031595"/>
              <a:gd name="connsiteX71" fmla="*/ 4276338 w 4276338"/>
              <a:gd name="connsiteY71" fmla="*/ 1724345 h 6031595"/>
              <a:gd name="connsiteX72" fmla="*/ 4276338 w 4276338"/>
              <a:gd name="connsiteY72" fmla="*/ 1817518 h 6031595"/>
              <a:gd name="connsiteX73" fmla="*/ 4276338 w 4276338"/>
              <a:gd name="connsiteY73" fmla="*/ 1983152 h 6031595"/>
              <a:gd name="connsiteX74" fmla="*/ 4276338 w 4276338"/>
              <a:gd name="connsiteY74" fmla="*/ 2006218 h 6031595"/>
              <a:gd name="connsiteX75" fmla="*/ 4276338 w 4276338"/>
              <a:gd name="connsiteY75" fmla="*/ 2087036 h 6031595"/>
              <a:gd name="connsiteX76" fmla="*/ 4274572 w 4276338"/>
              <a:gd name="connsiteY76" fmla="*/ 2087036 h 6031595"/>
              <a:gd name="connsiteX77" fmla="*/ 4274572 w 4276338"/>
              <a:gd name="connsiteY77" fmla="*/ 2117837 h 6031595"/>
              <a:gd name="connsiteX78" fmla="*/ 3339497 w 4276338"/>
              <a:gd name="connsiteY78" fmla="*/ 2117837 h 6031595"/>
              <a:gd name="connsiteX79" fmla="*/ 3427735 w 4276338"/>
              <a:gd name="connsiteY79" fmla="*/ 2178609 h 6031595"/>
              <a:gd name="connsiteX80" fmla="*/ 4265298 w 4276338"/>
              <a:gd name="connsiteY80" fmla="*/ 3665658 h 6031595"/>
              <a:gd name="connsiteX81" fmla="*/ 4274888 w 4276338"/>
              <a:gd name="connsiteY81" fmla="*/ 3855572 h 6031595"/>
              <a:gd name="connsiteX82" fmla="*/ 4276337 w 4276338"/>
              <a:gd name="connsiteY82" fmla="*/ 3855572 h 6031595"/>
              <a:gd name="connsiteX83" fmla="*/ 4276337 w 4276338"/>
              <a:gd name="connsiteY83" fmla="*/ 3884273 h 6031595"/>
              <a:gd name="connsiteX84" fmla="*/ 4276337 w 4276338"/>
              <a:gd name="connsiteY84" fmla="*/ 4511467 h 6031595"/>
              <a:gd name="connsiteX85" fmla="*/ 4276338 w 4276338"/>
              <a:gd name="connsiteY85" fmla="*/ 4511467 h 6031595"/>
              <a:gd name="connsiteX86" fmla="*/ 4276338 w 4276338"/>
              <a:gd name="connsiteY86" fmla="*/ 4586977 h 6031595"/>
              <a:gd name="connsiteX87" fmla="*/ 4276337 w 4276338"/>
              <a:gd name="connsiteY87" fmla="*/ 4586977 h 6031595"/>
              <a:gd name="connsiteX88" fmla="*/ 4276337 w 4276338"/>
              <a:gd name="connsiteY88" fmla="*/ 6022440 h 6031595"/>
              <a:gd name="connsiteX89" fmla="*/ 4274571 w 4276338"/>
              <a:gd name="connsiteY89" fmla="*/ 6022440 h 6031595"/>
              <a:gd name="connsiteX90" fmla="*/ 4274571 w 4276338"/>
              <a:gd name="connsiteY90" fmla="*/ 6031594 h 6031595"/>
              <a:gd name="connsiteX91" fmla="*/ 2782168 w 4276338"/>
              <a:gd name="connsiteY91" fmla="*/ 6031594 h 6031595"/>
              <a:gd name="connsiteX92" fmla="*/ 2781288 w 4276338"/>
              <a:gd name="connsiteY92" fmla="*/ 6031594 h 6031595"/>
              <a:gd name="connsiteX93" fmla="*/ 2781274 w 4276338"/>
              <a:gd name="connsiteY93" fmla="*/ 6031595 h 6031595"/>
              <a:gd name="connsiteX94" fmla="*/ 2781260 w 4276338"/>
              <a:gd name="connsiteY94" fmla="*/ 6031594 h 6031595"/>
              <a:gd name="connsiteX95" fmla="*/ 2711119 w 4276338"/>
              <a:gd name="connsiteY95" fmla="*/ 6031594 h 6031595"/>
              <a:gd name="connsiteX96" fmla="*/ 2711119 w 4276338"/>
              <a:gd name="connsiteY96" fmla="*/ 6028160 h 6031595"/>
              <a:gd name="connsiteX97" fmla="*/ 2638822 w 4276338"/>
              <a:gd name="connsiteY97" fmla="*/ 6024663 h 6031595"/>
              <a:gd name="connsiteX98" fmla="*/ 2634436 w 4276338"/>
              <a:gd name="connsiteY98" fmla="*/ 6024023 h 6031595"/>
              <a:gd name="connsiteX99" fmla="*/ 2628593 w 4276338"/>
              <a:gd name="connsiteY99" fmla="*/ 6023723 h 6031595"/>
              <a:gd name="connsiteX100" fmla="*/ 2620014 w 4276338"/>
              <a:gd name="connsiteY100" fmla="*/ 6022440 h 6031595"/>
              <a:gd name="connsiteX101" fmla="*/ 2138188 w 4276338"/>
              <a:gd name="connsiteY101" fmla="*/ 6022440 h 6031595"/>
              <a:gd name="connsiteX102" fmla="*/ 2138169 w 4276338"/>
              <a:gd name="connsiteY102" fmla="*/ 6022441 h 6031595"/>
              <a:gd name="connsiteX103" fmla="*/ 2138148 w 4276338"/>
              <a:gd name="connsiteY103" fmla="*/ 6022440 h 6031595"/>
              <a:gd name="connsiteX104" fmla="*/ 2037719 w 4276338"/>
              <a:gd name="connsiteY104" fmla="*/ 6022440 h 6031595"/>
              <a:gd name="connsiteX105" fmla="*/ 2037719 w 4276338"/>
              <a:gd name="connsiteY105" fmla="*/ 6017369 h 6031595"/>
              <a:gd name="connsiteX106" fmla="*/ 1919554 w 4276338"/>
              <a:gd name="connsiteY106" fmla="*/ 6011403 h 6031595"/>
              <a:gd name="connsiteX107" fmla="*/ 0 w 4276338"/>
              <a:gd name="connsiteY107" fmla="*/ 3884273 h 6031595"/>
              <a:gd name="connsiteX108" fmla="*/ 1118990 w 4276338"/>
              <a:gd name="connsiteY108" fmla="*/ 2004170 h 6031595"/>
              <a:gd name="connsiteX109" fmla="*/ 1286191 w 4276338"/>
              <a:gd name="connsiteY109" fmla="*/ 1923625 h 6031595"/>
              <a:gd name="connsiteX110" fmla="*/ 1286191 w 4276338"/>
              <a:gd name="connsiteY110" fmla="*/ 1817518 h 6031595"/>
              <a:gd name="connsiteX111" fmla="*/ 1286191 w 4276338"/>
              <a:gd name="connsiteY111" fmla="*/ 1724345 h 6031595"/>
              <a:gd name="connsiteX112" fmla="*/ 1286191 w 4276338"/>
              <a:gd name="connsiteY112" fmla="*/ 1525435 h 6031595"/>
              <a:gd name="connsiteX113" fmla="*/ 1286191 w 4276338"/>
              <a:gd name="connsiteY113" fmla="*/ 1444619 h 6031595"/>
              <a:gd name="connsiteX114" fmla="*/ 1287958 w 4276338"/>
              <a:gd name="connsiteY114" fmla="*/ 1444619 h 6031595"/>
              <a:gd name="connsiteX115" fmla="*/ 1287958 w 4276338"/>
              <a:gd name="connsiteY115" fmla="*/ 1 h 6031595"/>
              <a:gd name="connsiteX116" fmla="*/ 2780361 w 4276338"/>
              <a:gd name="connsiteY116" fmla="*/ 1 h 6031595"/>
              <a:gd name="connsiteX117" fmla="*/ 2781241 w 4276338"/>
              <a:gd name="connsiteY117" fmla="*/ 1 h 6031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4276338" h="6031595">
                <a:moveTo>
                  <a:pt x="2781255" y="0"/>
                </a:moveTo>
                <a:lnTo>
                  <a:pt x="2781270" y="1"/>
                </a:lnTo>
                <a:lnTo>
                  <a:pt x="2851409" y="1"/>
                </a:lnTo>
                <a:lnTo>
                  <a:pt x="2851409" y="3435"/>
                </a:lnTo>
                <a:lnTo>
                  <a:pt x="2923707" y="6932"/>
                </a:lnTo>
                <a:lnTo>
                  <a:pt x="2928093" y="7572"/>
                </a:lnTo>
                <a:lnTo>
                  <a:pt x="2933936" y="7873"/>
                </a:lnTo>
                <a:cubicBezTo>
                  <a:pt x="3022179" y="17025"/>
                  <a:pt x="3108150" y="34023"/>
                  <a:pt x="3191171" y="58173"/>
                </a:cubicBezTo>
                <a:lnTo>
                  <a:pt x="3197224" y="60227"/>
                </a:lnTo>
                <a:lnTo>
                  <a:pt x="3198266" y="60485"/>
                </a:lnTo>
                <a:lnTo>
                  <a:pt x="3208649" y="64107"/>
                </a:lnTo>
                <a:lnTo>
                  <a:pt x="3313404" y="99675"/>
                </a:lnTo>
                <a:lnTo>
                  <a:pt x="3324157" y="104416"/>
                </a:lnTo>
                <a:lnTo>
                  <a:pt x="3328243" y="105842"/>
                </a:lnTo>
                <a:lnTo>
                  <a:pt x="3350335" y="115957"/>
                </a:lnTo>
                <a:lnTo>
                  <a:pt x="3430701" y="151385"/>
                </a:lnTo>
                <a:lnTo>
                  <a:pt x="3445700" y="159618"/>
                </a:lnTo>
                <a:lnTo>
                  <a:pt x="3452526" y="162743"/>
                </a:lnTo>
                <a:lnTo>
                  <a:pt x="3476498" y="176524"/>
                </a:lnTo>
                <a:lnTo>
                  <a:pt x="3542552" y="212783"/>
                </a:lnTo>
                <a:lnTo>
                  <a:pt x="3561272" y="225258"/>
                </a:lnTo>
                <a:lnTo>
                  <a:pt x="3570497" y="230558"/>
                </a:lnTo>
                <a:lnTo>
                  <a:pt x="3593322" y="246613"/>
                </a:lnTo>
                <a:lnTo>
                  <a:pt x="3648450" y="283348"/>
                </a:lnTo>
                <a:lnTo>
                  <a:pt x="3670293" y="300749"/>
                </a:lnTo>
                <a:lnTo>
                  <a:pt x="3681535" y="308654"/>
                </a:lnTo>
                <a:lnTo>
                  <a:pt x="3702004" y="326011"/>
                </a:lnTo>
                <a:lnTo>
                  <a:pt x="3747882" y="362560"/>
                </a:lnTo>
                <a:lnTo>
                  <a:pt x="3772182" y="385514"/>
                </a:lnTo>
                <a:lnTo>
                  <a:pt x="3785022" y="396400"/>
                </a:lnTo>
                <a:lnTo>
                  <a:pt x="3802634" y="414279"/>
                </a:lnTo>
                <a:lnTo>
                  <a:pt x="3840339" y="449896"/>
                </a:lnTo>
                <a:lnTo>
                  <a:pt x="3866365" y="478975"/>
                </a:lnTo>
                <a:lnTo>
                  <a:pt x="3880341" y="493162"/>
                </a:lnTo>
                <a:lnTo>
                  <a:pt x="3894937" y="510898"/>
                </a:lnTo>
                <a:lnTo>
                  <a:pt x="3925313" y="544839"/>
                </a:lnTo>
                <a:lnTo>
                  <a:pt x="3952271" y="580568"/>
                </a:lnTo>
                <a:lnTo>
                  <a:pt x="3966871" y="598307"/>
                </a:lnTo>
                <a:lnTo>
                  <a:pt x="3978488" y="615316"/>
                </a:lnTo>
                <a:lnTo>
                  <a:pt x="4002293" y="646866"/>
                </a:lnTo>
                <a:lnTo>
                  <a:pt x="4029333" y="689750"/>
                </a:lnTo>
                <a:lnTo>
                  <a:pt x="4043994" y="711208"/>
                </a:lnTo>
                <a:lnTo>
                  <a:pt x="4052801" y="726962"/>
                </a:lnTo>
                <a:lnTo>
                  <a:pt x="4070770" y="755459"/>
                </a:lnTo>
                <a:lnTo>
                  <a:pt x="4096992" y="806012"/>
                </a:lnTo>
                <a:lnTo>
                  <a:pt x="4111089" y="831229"/>
                </a:lnTo>
                <a:lnTo>
                  <a:pt x="4117349" y="845256"/>
                </a:lnTo>
                <a:lnTo>
                  <a:pt x="4130234" y="870096"/>
                </a:lnTo>
                <a:lnTo>
                  <a:pt x="4154690" y="928939"/>
                </a:lnTo>
                <a:lnTo>
                  <a:pt x="4167542" y="957739"/>
                </a:lnTo>
                <a:lnTo>
                  <a:pt x="4171594" y="969609"/>
                </a:lnTo>
                <a:lnTo>
                  <a:pt x="4180176" y="990257"/>
                </a:lnTo>
                <a:lnTo>
                  <a:pt x="4201872" y="1058299"/>
                </a:lnTo>
                <a:lnTo>
                  <a:pt x="4212729" y="1090104"/>
                </a:lnTo>
                <a:lnTo>
                  <a:pt x="4214988" y="1099433"/>
                </a:lnTo>
                <a:lnTo>
                  <a:pt x="4220085" y="1115422"/>
                </a:lnTo>
                <a:lnTo>
                  <a:pt x="4237987" y="1194451"/>
                </a:lnTo>
                <a:lnTo>
                  <a:pt x="4246035" y="1227696"/>
                </a:lnTo>
                <a:lnTo>
                  <a:pt x="4246977" y="1234136"/>
                </a:lnTo>
                <a:lnTo>
                  <a:pt x="4249454" y="1245070"/>
                </a:lnTo>
                <a:lnTo>
                  <a:pt x="4262487" y="1340141"/>
                </a:lnTo>
                <a:lnTo>
                  <a:pt x="4266839" y="1369879"/>
                </a:lnTo>
                <a:lnTo>
                  <a:pt x="4266994" y="1373011"/>
                </a:lnTo>
                <a:lnTo>
                  <a:pt x="4267770" y="1378680"/>
                </a:lnTo>
                <a:lnTo>
                  <a:pt x="4270828" y="1444619"/>
                </a:lnTo>
                <a:lnTo>
                  <a:pt x="4274554" y="1444619"/>
                </a:lnTo>
                <a:lnTo>
                  <a:pt x="4274554" y="1505411"/>
                </a:lnTo>
                <a:lnTo>
                  <a:pt x="4274554" y="1524979"/>
                </a:lnTo>
                <a:lnTo>
                  <a:pt x="4274554" y="1525435"/>
                </a:lnTo>
                <a:lnTo>
                  <a:pt x="4274554" y="1525436"/>
                </a:lnTo>
                <a:lnTo>
                  <a:pt x="4276338" y="1525436"/>
                </a:lnTo>
                <a:lnTo>
                  <a:pt x="4276338" y="1724345"/>
                </a:lnTo>
                <a:lnTo>
                  <a:pt x="4276338" y="1817518"/>
                </a:lnTo>
                <a:lnTo>
                  <a:pt x="4276338" y="1983152"/>
                </a:lnTo>
                <a:lnTo>
                  <a:pt x="4276338" y="2006218"/>
                </a:lnTo>
                <a:lnTo>
                  <a:pt x="4276338" y="2087036"/>
                </a:lnTo>
                <a:lnTo>
                  <a:pt x="4274572" y="2087036"/>
                </a:lnTo>
                <a:lnTo>
                  <a:pt x="4274572" y="2117837"/>
                </a:lnTo>
                <a:lnTo>
                  <a:pt x="3339497" y="2117837"/>
                </a:lnTo>
                <a:lnTo>
                  <a:pt x="3427735" y="2178609"/>
                </a:lnTo>
                <a:cubicBezTo>
                  <a:pt x="3888653" y="2527630"/>
                  <a:pt x="4203707" y="3059179"/>
                  <a:pt x="4265298" y="3665658"/>
                </a:cubicBezTo>
                <a:lnTo>
                  <a:pt x="4274888" y="3855572"/>
                </a:lnTo>
                <a:lnTo>
                  <a:pt x="4276337" y="3855572"/>
                </a:lnTo>
                <a:lnTo>
                  <a:pt x="4276337" y="3884273"/>
                </a:lnTo>
                <a:lnTo>
                  <a:pt x="4276337" y="4511467"/>
                </a:lnTo>
                <a:lnTo>
                  <a:pt x="4276338" y="4511467"/>
                </a:lnTo>
                <a:lnTo>
                  <a:pt x="4276338" y="4586977"/>
                </a:lnTo>
                <a:lnTo>
                  <a:pt x="4276337" y="4586977"/>
                </a:lnTo>
                <a:lnTo>
                  <a:pt x="4276337" y="6022440"/>
                </a:lnTo>
                <a:lnTo>
                  <a:pt x="4274571" y="6022440"/>
                </a:lnTo>
                <a:lnTo>
                  <a:pt x="4274571" y="6031594"/>
                </a:lnTo>
                <a:lnTo>
                  <a:pt x="2782168" y="6031594"/>
                </a:lnTo>
                <a:lnTo>
                  <a:pt x="2781288" y="6031594"/>
                </a:lnTo>
                <a:lnTo>
                  <a:pt x="2781274" y="6031595"/>
                </a:lnTo>
                <a:lnTo>
                  <a:pt x="2781260" y="6031594"/>
                </a:lnTo>
                <a:lnTo>
                  <a:pt x="2711119" y="6031594"/>
                </a:lnTo>
                <a:lnTo>
                  <a:pt x="2711119" y="6028160"/>
                </a:lnTo>
                <a:lnTo>
                  <a:pt x="2638822" y="6024663"/>
                </a:lnTo>
                <a:lnTo>
                  <a:pt x="2634436" y="6024023"/>
                </a:lnTo>
                <a:lnTo>
                  <a:pt x="2628593" y="6023723"/>
                </a:lnTo>
                <a:lnTo>
                  <a:pt x="2620014" y="6022440"/>
                </a:lnTo>
                <a:lnTo>
                  <a:pt x="2138188" y="6022440"/>
                </a:lnTo>
                <a:lnTo>
                  <a:pt x="2138169" y="6022441"/>
                </a:lnTo>
                <a:lnTo>
                  <a:pt x="2138148" y="6022440"/>
                </a:lnTo>
                <a:lnTo>
                  <a:pt x="2037719" y="6022440"/>
                </a:lnTo>
                <a:lnTo>
                  <a:pt x="2037719" y="6017369"/>
                </a:lnTo>
                <a:lnTo>
                  <a:pt x="1919554" y="6011403"/>
                </a:lnTo>
                <a:cubicBezTo>
                  <a:pt x="841369" y="5901906"/>
                  <a:pt x="0" y="4991346"/>
                  <a:pt x="0" y="3884273"/>
                </a:cubicBezTo>
                <a:cubicBezTo>
                  <a:pt x="0" y="3072419"/>
                  <a:pt x="452469" y="2366246"/>
                  <a:pt x="1118990" y="2004170"/>
                </a:cubicBezTo>
                <a:lnTo>
                  <a:pt x="1286191" y="1923625"/>
                </a:lnTo>
                <a:lnTo>
                  <a:pt x="1286191" y="1817518"/>
                </a:lnTo>
                <a:lnTo>
                  <a:pt x="1286191" y="1724345"/>
                </a:lnTo>
                <a:lnTo>
                  <a:pt x="1286191" y="1525435"/>
                </a:lnTo>
                <a:lnTo>
                  <a:pt x="1286191" y="1444619"/>
                </a:lnTo>
                <a:lnTo>
                  <a:pt x="1287958" y="1444619"/>
                </a:lnTo>
                <a:lnTo>
                  <a:pt x="1287958" y="1"/>
                </a:lnTo>
                <a:lnTo>
                  <a:pt x="2780361" y="1"/>
                </a:lnTo>
                <a:lnTo>
                  <a:pt x="2781241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37101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35AA4D9-8E71-425F-B709-FFF07857CF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65546" y="502816"/>
            <a:ext cx="3545964" cy="5948510"/>
          </a:xfrm>
          <a:custGeom>
            <a:avLst/>
            <a:gdLst>
              <a:gd name="connsiteX0" fmla="*/ 2388888 w 3545964"/>
              <a:gd name="connsiteY0" fmla="*/ 3738199 h 5948510"/>
              <a:gd name="connsiteX1" fmla="*/ 2440798 w 3545964"/>
              <a:gd name="connsiteY1" fmla="*/ 3738199 h 5948510"/>
              <a:gd name="connsiteX2" fmla="*/ 2440808 w 3545964"/>
              <a:gd name="connsiteY2" fmla="*/ 3738199 h 5948510"/>
              <a:gd name="connsiteX3" fmla="*/ 2440818 w 3545964"/>
              <a:gd name="connsiteY3" fmla="*/ 3738199 h 5948510"/>
              <a:gd name="connsiteX4" fmla="*/ 3545964 w 3545964"/>
              <a:gd name="connsiteY4" fmla="*/ 3738199 h 5948510"/>
              <a:gd name="connsiteX5" fmla="*/ 3545964 w 3545964"/>
              <a:gd name="connsiteY5" fmla="*/ 4843354 h 5948510"/>
              <a:gd name="connsiteX6" fmla="*/ 3545964 w 3545964"/>
              <a:gd name="connsiteY6" fmla="*/ 4858189 h 5948510"/>
              <a:gd name="connsiteX7" fmla="*/ 3545214 w 3545964"/>
              <a:gd name="connsiteY7" fmla="*/ 4858189 h 5948510"/>
              <a:gd name="connsiteX8" fmla="*/ 3540258 w 3545964"/>
              <a:gd name="connsiteY8" fmla="*/ 4956350 h 5948510"/>
              <a:gd name="connsiteX9" fmla="*/ 2440808 w 3545964"/>
              <a:gd name="connsiteY9" fmla="*/ 5948510 h 5948510"/>
              <a:gd name="connsiteX10" fmla="*/ 1335652 w 3545964"/>
              <a:gd name="connsiteY10" fmla="*/ 4843354 h 5948510"/>
              <a:gd name="connsiteX11" fmla="*/ 2327812 w 3545964"/>
              <a:gd name="connsiteY11" fmla="*/ 3743904 h 5948510"/>
              <a:gd name="connsiteX12" fmla="*/ 2388888 w 3545964"/>
              <a:gd name="connsiteY12" fmla="*/ 3740820 h 5948510"/>
              <a:gd name="connsiteX13" fmla="*/ 1772981 w 3545964"/>
              <a:gd name="connsiteY13" fmla="*/ 0 h 5948510"/>
              <a:gd name="connsiteX14" fmla="*/ 3536810 w 3545964"/>
              <a:gd name="connsiteY14" fmla="*/ 1591706 h 5948510"/>
              <a:gd name="connsiteX15" fmla="*/ 3544762 w 3545964"/>
              <a:gd name="connsiteY15" fmla="*/ 1749184 h 5948510"/>
              <a:gd name="connsiteX16" fmla="*/ 3545964 w 3545964"/>
              <a:gd name="connsiteY16" fmla="*/ 1749184 h 5948510"/>
              <a:gd name="connsiteX17" fmla="*/ 3545964 w 3545964"/>
              <a:gd name="connsiteY17" fmla="*/ 1772983 h 5948510"/>
              <a:gd name="connsiteX18" fmla="*/ 3545964 w 3545964"/>
              <a:gd name="connsiteY18" fmla="*/ 3545964 h 5948510"/>
              <a:gd name="connsiteX19" fmla="*/ 1772998 w 3545964"/>
              <a:gd name="connsiteY19" fmla="*/ 3545964 h 5948510"/>
              <a:gd name="connsiteX20" fmla="*/ 1772982 w 3545964"/>
              <a:gd name="connsiteY20" fmla="*/ 3545965 h 5948510"/>
              <a:gd name="connsiteX21" fmla="*/ 1772964 w 3545964"/>
              <a:gd name="connsiteY21" fmla="*/ 3545964 h 5948510"/>
              <a:gd name="connsiteX22" fmla="*/ 1689688 w 3545964"/>
              <a:gd name="connsiteY22" fmla="*/ 3545964 h 5948510"/>
              <a:gd name="connsiteX23" fmla="*/ 1689688 w 3545964"/>
              <a:gd name="connsiteY23" fmla="*/ 3541759 h 5948510"/>
              <a:gd name="connsiteX24" fmla="*/ 1591706 w 3545964"/>
              <a:gd name="connsiteY24" fmla="*/ 3536812 h 5948510"/>
              <a:gd name="connsiteX25" fmla="*/ 0 w 3545964"/>
              <a:gd name="connsiteY25" fmla="*/ 1772982 h 5948510"/>
              <a:gd name="connsiteX26" fmla="*/ 1772981 w 3545964"/>
              <a:gd name="connsiteY26" fmla="*/ 0 h 5948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545964" h="5948510">
                <a:moveTo>
                  <a:pt x="2388888" y="3738199"/>
                </a:moveTo>
                <a:lnTo>
                  <a:pt x="2440798" y="3738199"/>
                </a:lnTo>
                <a:lnTo>
                  <a:pt x="2440808" y="3738199"/>
                </a:lnTo>
                <a:lnTo>
                  <a:pt x="2440818" y="3738199"/>
                </a:lnTo>
                <a:lnTo>
                  <a:pt x="3545964" y="3738199"/>
                </a:lnTo>
                <a:lnTo>
                  <a:pt x="3545964" y="4843354"/>
                </a:lnTo>
                <a:lnTo>
                  <a:pt x="3545964" y="4858189"/>
                </a:lnTo>
                <a:lnTo>
                  <a:pt x="3545214" y="4858189"/>
                </a:lnTo>
                <a:lnTo>
                  <a:pt x="3540258" y="4956350"/>
                </a:lnTo>
                <a:cubicBezTo>
                  <a:pt x="3483662" y="5513631"/>
                  <a:pt x="3013022" y="5948510"/>
                  <a:pt x="2440808" y="5948510"/>
                </a:cubicBezTo>
                <a:cubicBezTo>
                  <a:pt x="1830448" y="5948510"/>
                  <a:pt x="1335652" y="5453715"/>
                  <a:pt x="1335652" y="4843354"/>
                </a:cubicBezTo>
                <a:cubicBezTo>
                  <a:pt x="1335652" y="4271141"/>
                  <a:pt x="1770530" y="3800500"/>
                  <a:pt x="2327812" y="3743904"/>
                </a:cubicBezTo>
                <a:lnTo>
                  <a:pt x="2388888" y="3740820"/>
                </a:lnTo>
                <a:close/>
                <a:moveTo>
                  <a:pt x="1772981" y="0"/>
                </a:moveTo>
                <a:cubicBezTo>
                  <a:pt x="2690973" y="0"/>
                  <a:pt x="3446016" y="697668"/>
                  <a:pt x="3536810" y="1591706"/>
                </a:cubicBezTo>
                <a:lnTo>
                  <a:pt x="3544762" y="1749184"/>
                </a:lnTo>
                <a:lnTo>
                  <a:pt x="3545964" y="1749184"/>
                </a:lnTo>
                <a:lnTo>
                  <a:pt x="3545964" y="1772983"/>
                </a:lnTo>
                <a:lnTo>
                  <a:pt x="3545964" y="3545964"/>
                </a:lnTo>
                <a:lnTo>
                  <a:pt x="1772998" y="3545964"/>
                </a:lnTo>
                <a:lnTo>
                  <a:pt x="1772982" y="3545965"/>
                </a:lnTo>
                <a:lnTo>
                  <a:pt x="1772964" y="3545964"/>
                </a:lnTo>
                <a:lnTo>
                  <a:pt x="1689688" y="3545964"/>
                </a:lnTo>
                <a:lnTo>
                  <a:pt x="1689688" y="3541759"/>
                </a:lnTo>
                <a:lnTo>
                  <a:pt x="1591706" y="3536812"/>
                </a:lnTo>
                <a:cubicBezTo>
                  <a:pt x="697668" y="3446016"/>
                  <a:pt x="0" y="2690974"/>
                  <a:pt x="0" y="1772982"/>
                </a:cubicBezTo>
                <a:cubicBezTo>
                  <a:pt x="0" y="793791"/>
                  <a:pt x="793790" y="0"/>
                  <a:pt x="17729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04040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BB16BA-0155-46A1-9874-9AB1FD5526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21007" y="1269833"/>
            <a:ext cx="3418030" cy="4878949"/>
          </a:xfrm>
          <a:custGeom>
            <a:avLst/>
            <a:gdLst>
              <a:gd name="connsiteX0" fmla="*/ 1191331 w 3418030"/>
              <a:gd name="connsiteY0" fmla="*/ 0 h 4878949"/>
              <a:gd name="connsiteX1" fmla="*/ 1294432 w 3418030"/>
              <a:gd name="connsiteY1" fmla="*/ 0 h 4878949"/>
              <a:gd name="connsiteX2" fmla="*/ 1457098 w 3418030"/>
              <a:gd name="connsiteY2" fmla="*/ 0 h 4878949"/>
              <a:gd name="connsiteX3" fmla="*/ 1564784 w 3418030"/>
              <a:gd name="connsiteY3" fmla="*/ 0 h 4878949"/>
              <a:gd name="connsiteX4" fmla="*/ 2013538 w 3418030"/>
              <a:gd name="connsiteY4" fmla="*/ 0 h 4878949"/>
              <a:gd name="connsiteX5" fmla="*/ 2038520 w 3418030"/>
              <a:gd name="connsiteY5" fmla="*/ 0 h 4878949"/>
              <a:gd name="connsiteX6" fmla="*/ 2130825 w 3418030"/>
              <a:gd name="connsiteY6" fmla="*/ 0 h 4878949"/>
              <a:gd name="connsiteX7" fmla="*/ 2156238 w 3418030"/>
              <a:gd name="connsiteY7" fmla="*/ 0 h 4878949"/>
              <a:gd name="connsiteX8" fmla="*/ 2221889 w 3418030"/>
              <a:gd name="connsiteY8" fmla="*/ 0 h 4878949"/>
              <a:gd name="connsiteX9" fmla="*/ 2277890 w 3418030"/>
              <a:gd name="connsiteY9" fmla="*/ 0 h 4878949"/>
              <a:gd name="connsiteX10" fmla="*/ 2342770 w 3418030"/>
              <a:gd name="connsiteY10" fmla="*/ 0 h 4878949"/>
              <a:gd name="connsiteX11" fmla="*/ 2399737 w 3418030"/>
              <a:gd name="connsiteY11" fmla="*/ 0 h 4878949"/>
              <a:gd name="connsiteX12" fmla="*/ 2399737 w 3418030"/>
              <a:gd name="connsiteY12" fmla="*/ 1224 h 4878949"/>
              <a:gd name="connsiteX13" fmla="*/ 3278911 w 3418030"/>
              <a:gd name="connsiteY13" fmla="*/ 1224 h 4878949"/>
              <a:gd name="connsiteX14" fmla="*/ 3418030 w 3418030"/>
              <a:gd name="connsiteY14" fmla="*/ 1224 h 4878949"/>
              <a:gd name="connsiteX15" fmla="*/ 3418030 w 3418030"/>
              <a:gd name="connsiteY15" fmla="*/ 70784 h 4878949"/>
              <a:gd name="connsiteX16" fmla="*/ 3418030 w 3418030"/>
              <a:gd name="connsiteY16" fmla="*/ 685938 h 4878949"/>
              <a:gd name="connsiteX17" fmla="*/ 3418030 w 3418030"/>
              <a:gd name="connsiteY17" fmla="*/ 732837 h 4878949"/>
              <a:gd name="connsiteX18" fmla="*/ 3418030 w 3418030"/>
              <a:gd name="connsiteY18" fmla="*/ 755498 h 4878949"/>
              <a:gd name="connsiteX19" fmla="*/ 3418030 w 3418030"/>
              <a:gd name="connsiteY19" fmla="*/ 802397 h 4878949"/>
              <a:gd name="connsiteX20" fmla="*/ 3418030 w 3418030"/>
              <a:gd name="connsiteY20" fmla="*/ 1036312 h 4878949"/>
              <a:gd name="connsiteX21" fmla="*/ 3418030 w 3418030"/>
              <a:gd name="connsiteY21" fmla="*/ 1036923 h 4878949"/>
              <a:gd name="connsiteX22" fmla="*/ 3418030 w 3418030"/>
              <a:gd name="connsiteY22" fmla="*/ 1036933 h 4878949"/>
              <a:gd name="connsiteX23" fmla="*/ 3418030 w 3418030"/>
              <a:gd name="connsiteY23" fmla="*/ 1036943 h 4878949"/>
              <a:gd name="connsiteX24" fmla="*/ 3418030 w 3418030"/>
              <a:gd name="connsiteY24" fmla="*/ 1085589 h 4878949"/>
              <a:gd name="connsiteX25" fmla="*/ 3418030 w 3418030"/>
              <a:gd name="connsiteY25" fmla="*/ 1105871 h 4878949"/>
              <a:gd name="connsiteX26" fmla="*/ 3418030 w 3418030"/>
              <a:gd name="connsiteY26" fmla="*/ 1106482 h 4878949"/>
              <a:gd name="connsiteX27" fmla="*/ 3418030 w 3418030"/>
              <a:gd name="connsiteY27" fmla="*/ 1106491 h 4878949"/>
              <a:gd name="connsiteX28" fmla="*/ 3418030 w 3418030"/>
              <a:gd name="connsiteY28" fmla="*/ 1106501 h 4878949"/>
              <a:gd name="connsiteX29" fmla="*/ 3418030 w 3418030"/>
              <a:gd name="connsiteY29" fmla="*/ 1155149 h 4878949"/>
              <a:gd name="connsiteX30" fmla="*/ 3418030 w 3418030"/>
              <a:gd name="connsiteY30" fmla="*/ 1417551 h 4878949"/>
              <a:gd name="connsiteX31" fmla="*/ 3418030 w 3418030"/>
              <a:gd name="connsiteY31" fmla="*/ 1487111 h 4878949"/>
              <a:gd name="connsiteX32" fmla="*/ 3418030 w 3418030"/>
              <a:gd name="connsiteY32" fmla="*/ 1721026 h 4878949"/>
              <a:gd name="connsiteX33" fmla="*/ 3418030 w 3418030"/>
              <a:gd name="connsiteY33" fmla="*/ 1721637 h 4878949"/>
              <a:gd name="connsiteX34" fmla="*/ 3418030 w 3418030"/>
              <a:gd name="connsiteY34" fmla="*/ 1721646 h 4878949"/>
              <a:gd name="connsiteX35" fmla="*/ 3418030 w 3418030"/>
              <a:gd name="connsiteY35" fmla="*/ 1721657 h 4878949"/>
              <a:gd name="connsiteX36" fmla="*/ 3418030 w 3418030"/>
              <a:gd name="connsiteY36" fmla="*/ 1767925 h 4878949"/>
              <a:gd name="connsiteX37" fmla="*/ 3418030 w 3418030"/>
              <a:gd name="connsiteY37" fmla="*/ 1768536 h 4878949"/>
              <a:gd name="connsiteX38" fmla="*/ 3418030 w 3418030"/>
              <a:gd name="connsiteY38" fmla="*/ 1768546 h 4878949"/>
              <a:gd name="connsiteX39" fmla="*/ 3418030 w 3418030"/>
              <a:gd name="connsiteY39" fmla="*/ 1768556 h 4878949"/>
              <a:gd name="connsiteX40" fmla="*/ 3418030 w 3418030"/>
              <a:gd name="connsiteY40" fmla="*/ 1770303 h 4878949"/>
              <a:gd name="connsiteX41" fmla="*/ 3418030 w 3418030"/>
              <a:gd name="connsiteY41" fmla="*/ 1790585 h 4878949"/>
              <a:gd name="connsiteX42" fmla="*/ 3418030 w 3418030"/>
              <a:gd name="connsiteY42" fmla="*/ 1791196 h 4878949"/>
              <a:gd name="connsiteX43" fmla="*/ 3418030 w 3418030"/>
              <a:gd name="connsiteY43" fmla="*/ 1791205 h 4878949"/>
              <a:gd name="connsiteX44" fmla="*/ 3418030 w 3418030"/>
              <a:gd name="connsiteY44" fmla="*/ 1791215 h 4878949"/>
              <a:gd name="connsiteX45" fmla="*/ 3418030 w 3418030"/>
              <a:gd name="connsiteY45" fmla="*/ 1817203 h 4878949"/>
              <a:gd name="connsiteX46" fmla="*/ 3418030 w 3418030"/>
              <a:gd name="connsiteY46" fmla="*/ 1837484 h 4878949"/>
              <a:gd name="connsiteX47" fmla="*/ 3418030 w 3418030"/>
              <a:gd name="connsiteY47" fmla="*/ 1838095 h 4878949"/>
              <a:gd name="connsiteX48" fmla="*/ 3418030 w 3418030"/>
              <a:gd name="connsiteY48" fmla="*/ 1838105 h 4878949"/>
              <a:gd name="connsiteX49" fmla="*/ 3418030 w 3418030"/>
              <a:gd name="connsiteY49" fmla="*/ 1838115 h 4878949"/>
              <a:gd name="connsiteX50" fmla="*/ 3418030 w 3418030"/>
              <a:gd name="connsiteY50" fmla="*/ 1839863 h 4878949"/>
              <a:gd name="connsiteX51" fmla="*/ 3418030 w 3418030"/>
              <a:gd name="connsiteY51" fmla="*/ 1886762 h 4878949"/>
              <a:gd name="connsiteX52" fmla="*/ 3418030 w 3418030"/>
              <a:gd name="connsiteY52" fmla="*/ 2452639 h 4878949"/>
              <a:gd name="connsiteX53" fmla="*/ 3418030 w 3418030"/>
              <a:gd name="connsiteY53" fmla="*/ 2453250 h 4878949"/>
              <a:gd name="connsiteX54" fmla="*/ 3418030 w 3418030"/>
              <a:gd name="connsiteY54" fmla="*/ 2453260 h 4878949"/>
              <a:gd name="connsiteX55" fmla="*/ 3418030 w 3418030"/>
              <a:gd name="connsiteY55" fmla="*/ 2453270 h 4878949"/>
              <a:gd name="connsiteX56" fmla="*/ 3418030 w 3418030"/>
              <a:gd name="connsiteY56" fmla="*/ 2501917 h 4878949"/>
              <a:gd name="connsiteX57" fmla="*/ 3418030 w 3418030"/>
              <a:gd name="connsiteY57" fmla="*/ 2522198 h 4878949"/>
              <a:gd name="connsiteX58" fmla="*/ 3418030 w 3418030"/>
              <a:gd name="connsiteY58" fmla="*/ 2522809 h 4878949"/>
              <a:gd name="connsiteX59" fmla="*/ 3418030 w 3418030"/>
              <a:gd name="connsiteY59" fmla="*/ 2522819 h 4878949"/>
              <a:gd name="connsiteX60" fmla="*/ 3418030 w 3418030"/>
              <a:gd name="connsiteY60" fmla="*/ 2522830 h 4878949"/>
              <a:gd name="connsiteX61" fmla="*/ 3418030 w 3418030"/>
              <a:gd name="connsiteY61" fmla="*/ 2571476 h 4878949"/>
              <a:gd name="connsiteX62" fmla="*/ 3415609 w 3418030"/>
              <a:gd name="connsiteY62" fmla="*/ 2571476 h 4878949"/>
              <a:gd name="connsiteX63" fmla="*/ 3413143 w 3418030"/>
              <a:gd name="connsiteY63" fmla="*/ 2621619 h 4878949"/>
              <a:gd name="connsiteX64" fmla="*/ 3412693 w 3418030"/>
              <a:gd name="connsiteY64" fmla="*/ 2624661 h 4878949"/>
              <a:gd name="connsiteX65" fmla="*/ 3412480 w 3418030"/>
              <a:gd name="connsiteY65" fmla="*/ 2628713 h 4878949"/>
              <a:gd name="connsiteX66" fmla="*/ 3377025 w 3418030"/>
              <a:gd name="connsiteY66" fmla="*/ 2807125 h 4878949"/>
              <a:gd name="connsiteX67" fmla="*/ 3375576 w 3418030"/>
              <a:gd name="connsiteY67" fmla="*/ 2811322 h 4878949"/>
              <a:gd name="connsiteX68" fmla="*/ 3375395 w 3418030"/>
              <a:gd name="connsiteY68" fmla="*/ 2812045 h 4878949"/>
              <a:gd name="connsiteX69" fmla="*/ 3372842 w 3418030"/>
              <a:gd name="connsiteY69" fmla="*/ 2819247 h 4878949"/>
              <a:gd name="connsiteX70" fmla="*/ 3347771 w 3418030"/>
              <a:gd name="connsiteY70" fmla="*/ 2891903 h 4878949"/>
              <a:gd name="connsiteX71" fmla="*/ 3344429 w 3418030"/>
              <a:gd name="connsiteY71" fmla="*/ 2899360 h 4878949"/>
              <a:gd name="connsiteX72" fmla="*/ 3343424 w 3418030"/>
              <a:gd name="connsiteY72" fmla="*/ 2902194 h 4878949"/>
              <a:gd name="connsiteX73" fmla="*/ 3336294 w 3418030"/>
              <a:gd name="connsiteY73" fmla="*/ 2917516 h 4878949"/>
              <a:gd name="connsiteX74" fmla="*/ 3311321 w 3418030"/>
              <a:gd name="connsiteY74" fmla="*/ 2973257 h 4878949"/>
              <a:gd name="connsiteX75" fmla="*/ 3305517 w 3418030"/>
              <a:gd name="connsiteY75" fmla="*/ 2983659 h 4878949"/>
              <a:gd name="connsiteX76" fmla="*/ 3303314 w 3418030"/>
              <a:gd name="connsiteY76" fmla="*/ 2988394 h 4878949"/>
              <a:gd name="connsiteX77" fmla="*/ 3293601 w 3418030"/>
              <a:gd name="connsiteY77" fmla="*/ 3005019 h 4878949"/>
              <a:gd name="connsiteX78" fmla="*/ 3268042 w 3418030"/>
              <a:gd name="connsiteY78" fmla="*/ 3050833 h 4878949"/>
              <a:gd name="connsiteX79" fmla="*/ 3259248 w 3418030"/>
              <a:gd name="connsiteY79" fmla="*/ 3063817 h 4878949"/>
              <a:gd name="connsiteX80" fmla="*/ 3255513 w 3418030"/>
              <a:gd name="connsiteY80" fmla="*/ 3070215 h 4878949"/>
              <a:gd name="connsiteX81" fmla="*/ 3244196 w 3418030"/>
              <a:gd name="connsiteY81" fmla="*/ 3086045 h 4878949"/>
              <a:gd name="connsiteX82" fmla="*/ 3218302 w 3418030"/>
              <a:gd name="connsiteY82" fmla="*/ 3124280 h 4878949"/>
              <a:gd name="connsiteX83" fmla="*/ 3206037 w 3418030"/>
              <a:gd name="connsiteY83" fmla="*/ 3139430 h 4878949"/>
              <a:gd name="connsiteX84" fmla="*/ 3200464 w 3418030"/>
              <a:gd name="connsiteY84" fmla="*/ 3147227 h 4878949"/>
              <a:gd name="connsiteX85" fmla="*/ 3188229 w 3418030"/>
              <a:gd name="connsiteY85" fmla="*/ 3161424 h 4878949"/>
              <a:gd name="connsiteX86" fmla="*/ 3162468 w 3418030"/>
              <a:gd name="connsiteY86" fmla="*/ 3193243 h 4878949"/>
              <a:gd name="connsiteX87" fmla="*/ 3146287 w 3418030"/>
              <a:gd name="connsiteY87" fmla="*/ 3210097 h 4878949"/>
              <a:gd name="connsiteX88" fmla="*/ 3138613 w 3418030"/>
              <a:gd name="connsiteY88" fmla="*/ 3219003 h 4878949"/>
              <a:gd name="connsiteX89" fmla="*/ 3126010 w 3418030"/>
              <a:gd name="connsiteY89" fmla="*/ 3231219 h 4878949"/>
              <a:gd name="connsiteX90" fmla="*/ 3100905 w 3418030"/>
              <a:gd name="connsiteY90" fmla="*/ 3257369 h 4878949"/>
              <a:gd name="connsiteX91" fmla="*/ 3080407 w 3418030"/>
              <a:gd name="connsiteY91" fmla="*/ 3275420 h 4878949"/>
              <a:gd name="connsiteX92" fmla="*/ 3070407 w 3418030"/>
              <a:gd name="connsiteY92" fmla="*/ 3285113 h 4878949"/>
              <a:gd name="connsiteX93" fmla="*/ 3057904 w 3418030"/>
              <a:gd name="connsiteY93" fmla="*/ 3295236 h 4878949"/>
              <a:gd name="connsiteX94" fmla="*/ 3033981 w 3418030"/>
              <a:gd name="connsiteY94" fmla="*/ 3316304 h 4878949"/>
              <a:gd name="connsiteX95" fmla="*/ 3008795 w 3418030"/>
              <a:gd name="connsiteY95" fmla="*/ 3335002 h 4878949"/>
              <a:gd name="connsiteX96" fmla="*/ 2996290 w 3418030"/>
              <a:gd name="connsiteY96" fmla="*/ 3345128 h 4878949"/>
              <a:gd name="connsiteX97" fmla="*/ 2984301 w 3418030"/>
              <a:gd name="connsiteY97" fmla="*/ 3353185 h 4878949"/>
              <a:gd name="connsiteX98" fmla="*/ 2962062 w 3418030"/>
              <a:gd name="connsiteY98" fmla="*/ 3369695 h 4878949"/>
              <a:gd name="connsiteX99" fmla="*/ 2931835 w 3418030"/>
              <a:gd name="connsiteY99" fmla="*/ 3388450 h 4878949"/>
              <a:gd name="connsiteX100" fmla="*/ 2916709 w 3418030"/>
              <a:gd name="connsiteY100" fmla="*/ 3398618 h 4878949"/>
              <a:gd name="connsiteX101" fmla="*/ 2905603 w 3418030"/>
              <a:gd name="connsiteY101" fmla="*/ 3404726 h 4878949"/>
              <a:gd name="connsiteX102" fmla="*/ 2885517 w 3418030"/>
              <a:gd name="connsiteY102" fmla="*/ 3417189 h 4878949"/>
              <a:gd name="connsiteX103" fmla="*/ 2849882 w 3418030"/>
              <a:gd name="connsiteY103" fmla="*/ 3435375 h 4878949"/>
              <a:gd name="connsiteX104" fmla="*/ 2832108 w 3418030"/>
              <a:gd name="connsiteY104" fmla="*/ 3445153 h 4878949"/>
              <a:gd name="connsiteX105" fmla="*/ 2822219 w 3418030"/>
              <a:gd name="connsiteY105" fmla="*/ 3449494 h 4878949"/>
              <a:gd name="connsiteX106" fmla="*/ 2804710 w 3418030"/>
              <a:gd name="connsiteY106" fmla="*/ 3458432 h 4878949"/>
              <a:gd name="connsiteX107" fmla="*/ 2763233 w 3418030"/>
              <a:gd name="connsiteY107" fmla="*/ 3475393 h 4878949"/>
              <a:gd name="connsiteX108" fmla="*/ 2742933 w 3418030"/>
              <a:gd name="connsiteY108" fmla="*/ 3484308 h 4878949"/>
              <a:gd name="connsiteX109" fmla="*/ 2734565 w 3418030"/>
              <a:gd name="connsiteY109" fmla="*/ 3487117 h 4878949"/>
              <a:gd name="connsiteX110" fmla="*/ 2720010 w 3418030"/>
              <a:gd name="connsiteY110" fmla="*/ 3493070 h 4878949"/>
              <a:gd name="connsiteX111" fmla="*/ 2672049 w 3418030"/>
              <a:gd name="connsiteY111" fmla="*/ 3508117 h 4878949"/>
              <a:gd name="connsiteX112" fmla="*/ 2649630 w 3418030"/>
              <a:gd name="connsiteY112" fmla="*/ 3515648 h 4878949"/>
              <a:gd name="connsiteX113" fmla="*/ 2643052 w 3418030"/>
              <a:gd name="connsiteY113" fmla="*/ 3517214 h 4878949"/>
              <a:gd name="connsiteX114" fmla="*/ 2631783 w 3418030"/>
              <a:gd name="connsiteY114" fmla="*/ 3520749 h 4878949"/>
              <a:gd name="connsiteX115" fmla="*/ 2576079 w 3418030"/>
              <a:gd name="connsiteY115" fmla="*/ 3533167 h 4878949"/>
              <a:gd name="connsiteX116" fmla="*/ 2552643 w 3418030"/>
              <a:gd name="connsiteY116" fmla="*/ 3538747 h 4878949"/>
              <a:gd name="connsiteX117" fmla="*/ 2548104 w 3418030"/>
              <a:gd name="connsiteY117" fmla="*/ 3539401 h 4878949"/>
              <a:gd name="connsiteX118" fmla="*/ 2540397 w 3418030"/>
              <a:gd name="connsiteY118" fmla="*/ 3541118 h 4878949"/>
              <a:gd name="connsiteX119" fmla="*/ 2473383 w 3418030"/>
              <a:gd name="connsiteY119" fmla="*/ 3550158 h 4878949"/>
              <a:gd name="connsiteX120" fmla="*/ 2452420 w 3418030"/>
              <a:gd name="connsiteY120" fmla="*/ 3553176 h 4878949"/>
              <a:gd name="connsiteX121" fmla="*/ 2450212 w 3418030"/>
              <a:gd name="connsiteY121" fmla="*/ 3553284 h 4878949"/>
              <a:gd name="connsiteX122" fmla="*/ 2446216 w 3418030"/>
              <a:gd name="connsiteY122" fmla="*/ 3553824 h 4878949"/>
              <a:gd name="connsiteX123" fmla="*/ 2399737 w 3418030"/>
              <a:gd name="connsiteY123" fmla="*/ 3555943 h 4878949"/>
              <a:gd name="connsiteX124" fmla="*/ 2399737 w 3418030"/>
              <a:gd name="connsiteY124" fmla="*/ 3558529 h 4878949"/>
              <a:gd name="connsiteX125" fmla="*/ 2366297 w 3418030"/>
              <a:gd name="connsiteY125" fmla="*/ 3558529 h 4878949"/>
              <a:gd name="connsiteX126" fmla="*/ 2350286 w 3418030"/>
              <a:gd name="connsiteY126" fmla="*/ 3560726 h 4878949"/>
              <a:gd name="connsiteX127" fmla="*/ 2329679 w 3418030"/>
              <a:gd name="connsiteY127" fmla="*/ 3563743 h 4878949"/>
              <a:gd name="connsiteX128" fmla="*/ 2327509 w 3418030"/>
              <a:gd name="connsiteY128" fmla="*/ 3563851 h 4878949"/>
              <a:gd name="connsiteX129" fmla="*/ 2323580 w 3418030"/>
              <a:gd name="connsiteY129" fmla="*/ 3564391 h 4878949"/>
              <a:gd name="connsiteX130" fmla="*/ 2277890 w 3418030"/>
              <a:gd name="connsiteY130" fmla="*/ 3566510 h 4878949"/>
              <a:gd name="connsiteX131" fmla="*/ 2277890 w 3418030"/>
              <a:gd name="connsiteY131" fmla="*/ 3569096 h 4878949"/>
              <a:gd name="connsiteX132" fmla="*/ 2235765 w 3418030"/>
              <a:gd name="connsiteY132" fmla="*/ 3569096 h 4878949"/>
              <a:gd name="connsiteX133" fmla="*/ 2222205 w 3418030"/>
              <a:gd name="connsiteY133" fmla="*/ 3569096 h 4878949"/>
              <a:gd name="connsiteX134" fmla="*/ 2221889 w 3418030"/>
              <a:gd name="connsiteY134" fmla="*/ 3569096 h 4878949"/>
              <a:gd name="connsiteX135" fmla="*/ 2221889 w 3418030"/>
              <a:gd name="connsiteY135" fmla="*/ 3570333 h 4878949"/>
              <a:gd name="connsiteX136" fmla="*/ 2038520 w 3418030"/>
              <a:gd name="connsiteY136" fmla="*/ 3570333 h 4878949"/>
              <a:gd name="connsiteX137" fmla="*/ 2013539 w 3418030"/>
              <a:gd name="connsiteY137" fmla="*/ 3570333 h 4878949"/>
              <a:gd name="connsiteX138" fmla="*/ 1650818 w 3418030"/>
              <a:gd name="connsiteY138" fmla="*/ 3570333 h 4878949"/>
              <a:gd name="connsiteX139" fmla="*/ 1650818 w 3418030"/>
              <a:gd name="connsiteY139" fmla="*/ 3570744 h 4878949"/>
              <a:gd name="connsiteX140" fmla="*/ 1652012 w 3418030"/>
              <a:gd name="connsiteY140" fmla="*/ 3570744 h 4878949"/>
              <a:gd name="connsiteX141" fmla="*/ 1652012 w 3418030"/>
              <a:gd name="connsiteY141" fmla="*/ 3571721 h 4878949"/>
              <a:gd name="connsiteX142" fmla="*/ 1671221 w 3418030"/>
              <a:gd name="connsiteY142" fmla="*/ 3572716 h 4878949"/>
              <a:gd name="connsiteX143" fmla="*/ 1672387 w 3418030"/>
              <a:gd name="connsiteY143" fmla="*/ 3572898 h 4878949"/>
              <a:gd name="connsiteX144" fmla="*/ 1673940 w 3418030"/>
              <a:gd name="connsiteY144" fmla="*/ 3572984 h 4878949"/>
              <a:gd name="connsiteX145" fmla="*/ 1742290 w 3418030"/>
              <a:gd name="connsiteY145" fmla="*/ 3587296 h 4878949"/>
              <a:gd name="connsiteX146" fmla="*/ 1743898 w 3418030"/>
              <a:gd name="connsiteY146" fmla="*/ 3587880 h 4878949"/>
              <a:gd name="connsiteX147" fmla="*/ 1744176 w 3418030"/>
              <a:gd name="connsiteY147" fmla="*/ 3587953 h 4878949"/>
              <a:gd name="connsiteX148" fmla="*/ 1746934 w 3418030"/>
              <a:gd name="connsiteY148" fmla="*/ 3588984 h 4878949"/>
              <a:gd name="connsiteX149" fmla="*/ 1774769 w 3418030"/>
              <a:gd name="connsiteY149" fmla="*/ 3599104 h 4878949"/>
              <a:gd name="connsiteX150" fmla="*/ 1777626 w 3418030"/>
              <a:gd name="connsiteY150" fmla="*/ 3600453 h 4878949"/>
              <a:gd name="connsiteX151" fmla="*/ 1778712 w 3418030"/>
              <a:gd name="connsiteY151" fmla="*/ 3600858 h 4878949"/>
              <a:gd name="connsiteX152" fmla="*/ 1784582 w 3418030"/>
              <a:gd name="connsiteY152" fmla="*/ 3603737 h 4878949"/>
              <a:gd name="connsiteX153" fmla="*/ 1805936 w 3418030"/>
              <a:gd name="connsiteY153" fmla="*/ 3613817 h 4878949"/>
              <a:gd name="connsiteX154" fmla="*/ 1809922 w 3418030"/>
              <a:gd name="connsiteY154" fmla="*/ 3616160 h 4878949"/>
              <a:gd name="connsiteX155" fmla="*/ 1811736 w 3418030"/>
              <a:gd name="connsiteY155" fmla="*/ 3617049 h 4878949"/>
              <a:gd name="connsiteX156" fmla="*/ 1818105 w 3418030"/>
              <a:gd name="connsiteY156" fmla="*/ 3620970 h 4878949"/>
              <a:gd name="connsiteX157" fmla="*/ 1835657 w 3418030"/>
              <a:gd name="connsiteY157" fmla="*/ 3631287 h 4878949"/>
              <a:gd name="connsiteX158" fmla="*/ 1840631 w 3418030"/>
              <a:gd name="connsiteY158" fmla="*/ 3634836 h 4878949"/>
              <a:gd name="connsiteX159" fmla="*/ 1843082 w 3418030"/>
              <a:gd name="connsiteY159" fmla="*/ 3636344 h 4878949"/>
              <a:gd name="connsiteX160" fmla="*/ 1849146 w 3418030"/>
              <a:gd name="connsiteY160" fmla="*/ 3640912 h 4878949"/>
              <a:gd name="connsiteX161" fmla="*/ 1863794 w 3418030"/>
              <a:gd name="connsiteY161" fmla="*/ 3651364 h 4878949"/>
              <a:gd name="connsiteX162" fmla="*/ 1869598 w 3418030"/>
              <a:gd name="connsiteY162" fmla="*/ 3656316 h 4878949"/>
              <a:gd name="connsiteX163" fmla="*/ 1872586 w 3418030"/>
              <a:gd name="connsiteY163" fmla="*/ 3658565 h 4878949"/>
              <a:gd name="connsiteX164" fmla="*/ 1878025 w 3418030"/>
              <a:gd name="connsiteY164" fmla="*/ 3663504 h 4878949"/>
              <a:gd name="connsiteX165" fmla="*/ 1890215 w 3418030"/>
              <a:gd name="connsiteY165" fmla="*/ 3673902 h 4878949"/>
              <a:gd name="connsiteX166" fmla="*/ 1896672 w 3418030"/>
              <a:gd name="connsiteY166" fmla="*/ 3680434 h 4878949"/>
              <a:gd name="connsiteX167" fmla="*/ 1900084 w 3418030"/>
              <a:gd name="connsiteY167" fmla="*/ 3683531 h 4878949"/>
              <a:gd name="connsiteX168" fmla="*/ 1904763 w 3418030"/>
              <a:gd name="connsiteY168" fmla="*/ 3688618 h 4878949"/>
              <a:gd name="connsiteX169" fmla="*/ 1914782 w 3418030"/>
              <a:gd name="connsiteY169" fmla="*/ 3698752 h 4878949"/>
              <a:gd name="connsiteX170" fmla="*/ 1921697 w 3418030"/>
              <a:gd name="connsiteY170" fmla="*/ 3707026 h 4878949"/>
              <a:gd name="connsiteX171" fmla="*/ 1925411 w 3418030"/>
              <a:gd name="connsiteY171" fmla="*/ 3711062 h 4878949"/>
              <a:gd name="connsiteX172" fmla="*/ 1929289 w 3418030"/>
              <a:gd name="connsiteY172" fmla="*/ 3716109 h 4878949"/>
              <a:gd name="connsiteX173" fmla="*/ 1937360 w 3418030"/>
              <a:gd name="connsiteY173" fmla="*/ 3725766 h 4878949"/>
              <a:gd name="connsiteX174" fmla="*/ 1944523 w 3418030"/>
              <a:gd name="connsiteY174" fmla="*/ 3735932 h 4878949"/>
              <a:gd name="connsiteX175" fmla="*/ 1948403 w 3418030"/>
              <a:gd name="connsiteY175" fmla="*/ 3740980 h 4878949"/>
              <a:gd name="connsiteX176" fmla="*/ 1951490 w 3418030"/>
              <a:gd name="connsiteY176" fmla="*/ 3745819 h 4878949"/>
              <a:gd name="connsiteX177" fmla="*/ 1957815 w 3418030"/>
              <a:gd name="connsiteY177" fmla="*/ 3754796 h 4878949"/>
              <a:gd name="connsiteX178" fmla="*/ 1965000 w 3418030"/>
              <a:gd name="connsiteY178" fmla="*/ 3766998 h 4878949"/>
              <a:gd name="connsiteX179" fmla="*/ 1968895 w 3418030"/>
              <a:gd name="connsiteY179" fmla="*/ 3773103 h 4878949"/>
              <a:gd name="connsiteX180" fmla="*/ 1971236 w 3418030"/>
              <a:gd name="connsiteY180" fmla="*/ 3777586 h 4878949"/>
              <a:gd name="connsiteX181" fmla="*/ 1976010 w 3418030"/>
              <a:gd name="connsiteY181" fmla="*/ 3785694 h 4878949"/>
              <a:gd name="connsiteX182" fmla="*/ 1982978 w 3418030"/>
              <a:gd name="connsiteY182" fmla="*/ 3800078 h 4878949"/>
              <a:gd name="connsiteX183" fmla="*/ 1986724 w 3418030"/>
              <a:gd name="connsiteY183" fmla="*/ 3807252 h 4878949"/>
              <a:gd name="connsiteX184" fmla="*/ 1988387 w 3418030"/>
              <a:gd name="connsiteY184" fmla="*/ 3811244 h 4878949"/>
              <a:gd name="connsiteX185" fmla="*/ 1991811 w 3418030"/>
              <a:gd name="connsiteY185" fmla="*/ 3818312 h 4878949"/>
              <a:gd name="connsiteX186" fmla="*/ 1998309 w 3418030"/>
              <a:gd name="connsiteY186" fmla="*/ 3835054 h 4878949"/>
              <a:gd name="connsiteX187" fmla="*/ 2001724 w 3418030"/>
              <a:gd name="connsiteY187" fmla="*/ 3843248 h 4878949"/>
              <a:gd name="connsiteX188" fmla="*/ 2002801 w 3418030"/>
              <a:gd name="connsiteY188" fmla="*/ 3846626 h 4878949"/>
              <a:gd name="connsiteX189" fmla="*/ 2005081 w 3418030"/>
              <a:gd name="connsiteY189" fmla="*/ 3852501 h 4878949"/>
              <a:gd name="connsiteX190" fmla="*/ 2010846 w 3418030"/>
              <a:gd name="connsiteY190" fmla="*/ 3871861 h 4878949"/>
              <a:gd name="connsiteX191" fmla="*/ 2013730 w 3418030"/>
              <a:gd name="connsiteY191" fmla="*/ 3880910 h 4878949"/>
              <a:gd name="connsiteX192" fmla="*/ 2014331 w 3418030"/>
              <a:gd name="connsiteY192" fmla="*/ 3883565 h 4878949"/>
              <a:gd name="connsiteX193" fmla="*/ 2015685 w 3418030"/>
              <a:gd name="connsiteY193" fmla="*/ 3888114 h 4878949"/>
              <a:gd name="connsiteX194" fmla="*/ 2020442 w 3418030"/>
              <a:gd name="connsiteY194" fmla="*/ 3910600 h 4878949"/>
              <a:gd name="connsiteX195" fmla="*/ 2020535 w 3418030"/>
              <a:gd name="connsiteY195" fmla="*/ 3911014 h 4878949"/>
              <a:gd name="connsiteX196" fmla="*/ 2021162 w 3418030"/>
              <a:gd name="connsiteY196" fmla="*/ 3911014 h 4878949"/>
              <a:gd name="connsiteX197" fmla="*/ 2023207 w 3418030"/>
              <a:gd name="connsiteY197" fmla="*/ 3922096 h 4878949"/>
              <a:gd name="connsiteX198" fmla="*/ 2023457 w 3418030"/>
              <a:gd name="connsiteY198" fmla="*/ 3924341 h 4878949"/>
              <a:gd name="connsiteX199" fmla="*/ 2024115 w 3418030"/>
              <a:gd name="connsiteY199" fmla="*/ 3928152 h 4878949"/>
              <a:gd name="connsiteX200" fmla="*/ 2027578 w 3418030"/>
              <a:gd name="connsiteY200" fmla="*/ 3961293 h 4878949"/>
              <a:gd name="connsiteX201" fmla="*/ 2028734 w 3418030"/>
              <a:gd name="connsiteY201" fmla="*/ 3971660 h 4878949"/>
              <a:gd name="connsiteX202" fmla="*/ 2028775 w 3418030"/>
              <a:gd name="connsiteY202" fmla="*/ 3972751 h 4878949"/>
              <a:gd name="connsiteX203" fmla="*/ 2028982 w 3418030"/>
              <a:gd name="connsiteY203" fmla="*/ 3974727 h 4878949"/>
              <a:gd name="connsiteX204" fmla="*/ 2029794 w 3418030"/>
              <a:gd name="connsiteY204" fmla="*/ 3997713 h 4878949"/>
              <a:gd name="connsiteX205" fmla="*/ 2030784 w 3418030"/>
              <a:gd name="connsiteY205" fmla="*/ 3997713 h 4878949"/>
              <a:gd name="connsiteX206" fmla="*/ 2030784 w 3418030"/>
              <a:gd name="connsiteY206" fmla="*/ 4018905 h 4878949"/>
              <a:gd name="connsiteX207" fmla="*/ 2030784 w 3418030"/>
              <a:gd name="connsiteY207" fmla="*/ 4025726 h 4878949"/>
              <a:gd name="connsiteX208" fmla="*/ 2030784 w 3418030"/>
              <a:gd name="connsiteY208" fmla="*/ 4025885 h 4878949"/>
              <a:gd name="connsiteX209" fmla="*/ 2030784 w 3418030"/>
              <a:gd name="connsiteY209" fmla="*/ 4025886 h 4878949"/>
              <a:gd name="connsiteX210" fmla="*/ 2031258 w 3418030"/>
              <a:gd name="connsiteY210" fmla="*/ 4025886 h 4878949"/>
              <a:gd name="connsiteX211" fmla="*/ 2031258 w 3418030"/>
              <a:gd name="connsiteY211" fmla="*/ 4065384 h 4878949"/>
              <a:gd name="connsiteX212" fmla="*/ 2031258 w 3418030"/>
              <a:gd name="connsiteY212" fmla="*/ 4127703 h 4878949"/>
              <a:gd name="connsiteX213" fmla="*/ 2031258 w 3418030"/>
              <a:gd name="connsiteY213" fmla="*/ 4168958 h 4878949"/>
              <a:gd name="connsiteX214" fmla="*/ 2031258 w 3418030"/>
              <a:gd name="connsiteY214" fmla="*/ 4340879 h 4878949"/>
              <a:gd name="connsiteX215" fmla="*/ 2031258 w 3418030"/>
              <a:gd name="connsiteY215" fmla="*/ 4350450 h 4878949"/>
              <a:gd name="connsiteX216" fmla="*/ 2031258 w 3418030"/>
              <a:gd name="connsiteY216" fmla="*/ 4385812 h 4878949"/>
              <a:gd name="connsiteX217" fmla="*/ 2031258 w 3418030"/>
              <a:gd name="connsiteY217" fmla="*/ 4395548 h 4878949"/>
              <a:gd name="connsiteX218" fmla="*/ 2031258 w 3418030"/>
              <a:gd name="connsiteY218" fmla="*/ 4420700 h 4878949"/>
              <a:gd name="connsiteX219" fmla="*/ 2031258 w 3418030"/>
              <a:gd name="connsiteY219" fmla="*/ 4442154 h 4878949"/>
              <a:gd name="connsiteX220" fmla="*/ 2031258 w 3418030"/>
              <a:gd name="connsiteY220" fmla="*/ 4467010 h 4878949"/>
              <a:gd name="connsiteX221" fmla="*/ 2031258 w 3418030"/>
              <a:gd name="connsiteY221" fmla="*/ 4488834 h 4878949"/>
              <a:gd name="connsiteX222" fmla="*/ 2030789 w 3418030"/>
              <a:gd name="connsiteY222" fmla="*/ 4488834 h 4878949"/>
              <a:gd name="connsiteX223" fmla="*/ 2030789 w 3418030"/>
              <a:gd name="connsiteY223" fmla="*/ 4825652 h 4878949"/>
              <a:gd name="connsiteX224" fmla="*/ 2030789 w 3418030"/>
              <a:gd name="connsiteY224" fmla="*/ 4878949 h 4878949"/>
              <a:gd name="connsiteX225" fmla="*/ 2004140 w 3418030"/>
              <a:gd name="connsiteY225" fmla="*/ 4878949 h 4878949"/>
              <a:gd name="connsiteX226" fmla="*/ 1768470 w 3418030"/>
              <a:gd name="connsiteY226" fmla="*/ 4878949 h 4878949"/>
              <a:gd name="connsiteX227" fmla="*/ 1750503 w 3418030"/>
              <a:gd name="connsiteY227" fmla="*/ 4878949 h 4878949"/>
              <a:gd name="connsiteX228" fmla="*/ 1741822 w 3418030"/>
              <a:gd name="connsiteY228" fmla="*/ 4878949 h 4878949"/>
              <a:gd name="connsiteX229" fmla="*/ 1723854 w 3418030"/>
              <a:gd name="connsiteY229" fmla="*/ 4878949 h 4878949"/>
              <a:gd name="connsiteX230" fmla="*/ 1634240 w 3418030"/>
              <a:gd name="connsiteY230" fmla="*/ 4878949 h 4878949"/>
              <a:gd name="connsiteX231" fmla="*/ 1634005 w 3418030"/>
              <a:gd name="connsiteY231" fmla="*/ 4878949 h 4878949"/>
              <a:gd name="connsiteX232" fmla="*/ 1634002 w 3418030"/>
              <a:gd name="connsiteY232" fmla="*/ 4878949 h 4878949"/>
              <a:gd name="connsiteX233" fmla="*/ 1633998 w 3418030"/>
              <a:gd name="connsiteY233" fmla="*/ 4878949 h 4878949"/>
              <a:gd name="connsiteX234" fmla="*/ 1615361 w 3418030"/>
              <a:gd name="connsiteY234" fmla="*/ 4878949 h 4878949"/>
              <a:gd name="connsiteX235" fmla="*/ 1607591 w 3418030"/>
              <a:gd name="connsiteY235" fmla="*/ 4878949 h 4878949"/>
              <a:gd name="connsiteX236" fmla="*/ 1607357 w 3418030"/>
              <a:gd name="connsiteY236" fmla="*/ 4878949 h 4878949"/>
              <a:gd name="connsiteX237" fmla="*/ 1607354 w 3418030"/>
              <a:gd name="connsiteY237" fmla="*/ 4878949 h 4878949"/>
              <a:gd name="connsiteX238" fmla="*/ 1607350 w 3418030"/>
              <a:gd name="connsiteY238" fmla="*/ 4878949 h 4878949"/>
              <a:gd name="connsiteX239" fmla="*/ 1588712 w 3418030"/>
              <a:gd name="connsiteY239" fmla="*/ 4878949 h 4878949"/>
              <a:gd name="connsiteX240" fmla="*/ 1488184 w 3418030"/>
              <a:gd name="connsiteY240" fmla="*/ 4878949 h 4878949"/>
              <a:gd name="connsiteX241" fmla="*/ 1461535 w 3418030"/>
              <a:gd name="connsiteY241" fmla="*/ 4878949 h 4878949"/>
              <a:gd name="connsiteX242" fmla="*/ 1371921 w 3418030"/>
              <a:gd name="connsiteY242" fmla="*/ 4878949 h 4878949"/>
              <a:gd name="connsiteX243" fmla="*/ 1371687 w 3418030"/>
              <a:gd name="connsiteY243" fmla="*/ 4878949 h 4878949"/>
              <a:gd name="connsiteX244" fmla="*/ 1371683 w 3418030"/>
              <a:gd name="connsiteY244" fmla="*/ 4878949 h 4878949"/>
              <a:gd name="connsiteX245" fmla="*/ 1371679 w 3418030"/>
              <a:gd name="connsiteY245" fmla="*/ 4878949 h 4878949"/>
              <a:gd name="connsiteX246" fmla="*/ 1367507 w 3418030"/>
              <a:gd name="connsiteY246" fmla="*/ 4878949 h 4878949"/>
              <a:gd name="connsiteX247" fmla="*/ 1353954 w 3418030"/>
              <a:gd name="connsiteY247" fmla="*/ 4878949 h 4878949"/>
              <a:gd name="connsiteX248" fmla="*/ 1353719 w 3418030"/>
              <a:gd name="connsiteY248" fmla="*/ 4878949 h 4878949"/>
              <a:gd name="connsiteX249" fmla="*/ 1353716 w 3418030"/>
              <a:gd name="connsiteY249" fmla="*/ 4878949 h 4878949"/>
              <a:gd name="connsiteX250" fmla="*/ 1353712 w 3418030"/>
              <a:gd name="connsiteY250" fmla="*/ 4878949 h 4878949"/>
              <a:gd name="connsiteX251" fmla="*/ 1353043 w 3418030"/>
              <a:gd name="connsiteY251" fmla="*/ 4878949 h 4878949"/>
              <a:gd name="connsiteX252" fmla="*/ 1345272 w 3418030"/>
              <a:gd name="connsiteY252" fmla="*/ 4878949 h 4878949"/>
              <a:gd name="connsiteX253" fmla="*/ 1345038 w 3418030"/>
              <a:gd name="connsiteY253" fmla="*/ 4878949 h 4878949"/>
              <a:gd name="connsiteX254" fmla="*/ 1345035 w 3418030"/>
              <a:gd name="connsiteY254" fmla="*/ 4878949 h 4878949"/>
              <a:gd name="connsiteX255" fmla="*/ 1345031 w 3418030"/>
              <a:gd name="connsiteY255" fmla="*/ 4878949 h 4878949"/>
              <a:gd name="connsiteX256" fmla="*/ 1340858 w 3418030"/>
              <a:gd name="connsiteY256" fmla="*/ 4878949 h 4878949"/>
              <a:gd name="connsiteX257" fmla="*/ 1335075 w 3418030"/>
              <a:gd name="connsiteY257" fmla="*/ 4878949 h 4878949"/>
              <a:gd name="connsiteX258" fmla="*/ 1327305 w 3418030"/>
              <a:gd name="connsiteY258" fmla="*/ 4878949 h 4878949"/>
              <a:gd name="connsiteX259" fmla="*/ 1327071 w 3418030"/>
              <a:gd name="connsiteY259" fmla="*/ 4878949 h 4878949"/>
              <a:gd name="connsiteX260" fmla="*/ 1327067 w 3418030"/>
              <a:gd name="connsiteY260" fmla="*/ 4878949 h 4878949"/>
              <a:gd name="connsiteX261" fmla="*/ 1327063 w 3418030"/>
              <a:gd name="connsiteY261" fmla="*/ 4878949 h 4878949"/>
              <a:gd name="connsiteX262" fmla="*/ 1326394 w 3418030"/>
              <a:gd name="connsiteY262" fmla="*/ 4878949 h 4878949"/>
              <a:gd name="connsiteX263" fmla="*/ 1308426 w 3418030"/>
              <a:gd name="connsiteY263" fmla="*/ 4878949 h 4878949"/>
              <a:gd name="connsiteX264" fmla="*/ 1105188 w 3418030"/>
              <a:gd name="connsiteY264" fmla="*/ 4878949 h 4878949"/>
              <a:gd name="connsiteX265" fmla="*/ 1091635 w 3418030"/>
              <a:gd name="connsiteY265" fmla="*/ 4878949 h 4878949"/>
              <a:gd name="connsiteX266" fmla="*/ 1091401 w 3418030"/>
              <a:gd name="connsiteY266" fmla="*/ 4878949 h 4878949"/>
              <a:gd name="connsiteX267" fmla="*/ 1091397 w 3418030"/>
              <a:gd name="connsiteY267" fmla="*/ 4878949 h 4878949"/>
              <a:gd name="connsiteX268" fmla="*/ 1091393 w 3418030"/>
              <a:gd name="connsiteY268" fmla="*/ 4878949 h 4878949"/>
              <a:gd name="connsiteX269" fmla="*/ 1087221 w 3418030"/>
              <a:gd name="connsiteY269" fmla="*/ 4878949 h 4878949"/>
              <a:gd name="connsiteX270" fmla="*/ 1078540 w 3418030"/>
              <a:gd name="connsiteY270" fmla="*/ 4878949 h 4878949"/>
              <a:gd name="connsiteX271" fmla="*/ 1072756 w 3418030"/>
              <a:gd name="connsiteY271" fmla="*/ 4878949 h 4878949"/>
              <a:gd name="connsiteX272" fmla="*/ 1064986 w 3418030"/>
              <a:gd name="connsiteY272" fmla="*/ 4878949 h 4878949"/>
              <a:gd name="connsiteX273" fmla="*/ 1064752 w 3418030"/>
              <a:gd name="connsiteY273" fmla="*/ 4878949 h 4878949"/>
              <a:gd name="connsiteX274" fmla="*/ 1064748 w 3418030"/>
              <a:gd name="connsiteY274" fmla="*/ 4878949 h 4878949"/>
              <a:gd name="connsiteX275" fmla="*/ 1064745 w 3418030"/>
              <a:gd name="connsiteY275" fmla="*/ 4878949 h 4878949"/>
              <a:gd name="connsiteX276" fmla="*/ 1060572 w 3418030"/>
              <a:gd name="connsiteY276" fmla="*/ 4878949 h 4878949"/>
              <a:gd name="connsiteX277" fmla="*/ 1046108 w 3418030"/>
              <a:gd name="connsiteY277" fmla="*/ 4878949 h 4878949"/>
              <a:gd name="connsiteX278" fmla="*/ 970958 w 3418030"/>
              <a:gd name="connsiteY278" fmla="*/ 4878949 h 4878949"/>
              <a:gd name="connsiteX279" fmla="*/ 970723 w 3418030"/>
              <a:gd name="connsiteY279" fmla="*/ 4878949 h 4878949"/>
              <a:gd name="connsiteX280" fmla="*/ 970720 w 3418030"/>
              <a:gd name="connsiteY280" fmla="*/ 4878949 h 4878949"/>
              <a:gd name="connsiteX281" fmla="*/ 970716 w 3418030"/>
              <a:gd name="connsiteY281" fmla="*/ 4878949 h 4878949"/>
              <a:gd name="connsiteX282" fmla="*/ 952079 w 3418030"/>
              <a:gd name="connsiteY282" fmla="*/ 4878949 h 4878949"/>
              <a:gd name="connsiteX283" fmla="*/ 944309 w 3418030"/>
              <a:gd name="connsiteY283" fmla="*/ 4878949 h 4878949"/>
              <a:gd name="connsiteX284" fmla="*/ 944075 w 3418030"/>
              <a:gd name="connsiteY284" fmla="*/ 4878949 h 4878949"/>
              <a:gd name="connsiteX285" fmla="*/ 944072 w 3418030"/>
              <a:gd name="connsiteY285" fmla="*/ 4878949 h 4878949"/>
              <a:gd name="connsiteX286" fmla="*/ 944068 w 3418030"/>
              <a:gd name="connsiteY286" fmla="*/ 4878949 h 4878949"/>
              <a:gd name="connsiteX287" fmla="*/ 925430 w 3418030"/>
              <a:gd name="connsiteY287" fmla="*/ 4878949 h 4878949"/>
              <a:gd name="connsiteX288" fmla="*/ 824902 w 3418030"/>
              <a:gd name="connsiteY288" fmla="*/ 4878949 h 4878949"/>
              <a:gd name="connsiteX289" fmla="*/ 798253 w 3418030"/>
              <a:gd name="connsiteY289" fmla="*/ 4878949 h 4878949"/>
              <a:gd name="connsiteX290" fmla="*/ 708639 w 3418030"/>
              <a:gd name="connsiteY290" fmla="*/ 4878949 h 4878949"/>
              <a:gd name="connsiteX291" fmla="*/ 708405 w 3418030"/>
              <a:gd name="connsiteY291" fmla="*/ 4878949 h 4878949"/>
              <a:gd name="connsiteX292" fmla="*/ 708401 w 3418030"/>
              <a:gd name="connsiteY292" fmla="*/ 4878949 h 4878949"/>
              <a:gd name="connsiteX293" fmla="*/ 708397 w 3418030"/>
              <a:gd name="connsiteY293" fmla="*/ 4878949 h 4878949"/>
              <a:gd name="connsiteX294" fmla="*/ 690672 w 3418030"/>
              <a:gd name="connsiteY294" fmla="*/ 4878949 h 4878949"/>
              <a:gd name="connsiteX295" fmla="*/ 690437 w 3418030"/>
              <a:gd name="connsiteY295" fmla="*/ 4878949 h 4878949"/>
              <a:gd name="connsiteX296" fmla="*/ 690434 w 3418030"/>
              <a:gd name="connsiteY296" fmla="*/ 4878949 h 4878949"/>
              <a:gd name="connsiteX297" fmla="*/ 690430 w 3418030"/>
              <a:gd name="connsiteY297" fmla="*/ 4878949 h 4878949"/>
              <a:gd name="connsiteX298" fmla="*/ 689761 w 3418030"/>
              <a:gd name="connsiteY298" fmla="*/ 4878949 h 4878949"/>
              <a:gd name="connsiteX299" fmla="*/ 681990 w 3418030"/>
              <a:gd name="connsiteY299" fmla="*/ 4878949 h 4878949"/>
              <a:gd name="connsiteX300" fmla="*/ 681756 w 3418030"/>
              <a:gd name="connsiteY300" fmla="*/ 4878949 h 4878949"/>
              <a:gd name="connsiteX301" fmla="*/ 681753 w 3418030"/>
              <a:gd name="connsiteY301" fmla="*/ 4878949 h 4878949"/>
              <a:gd name="connsiteX302" fmla="*/ 681749 w 3418030"/>
              <a:gd name="connsiteY302" fmla="*/ 4878949 h 4878949"/>
              <a:gd name="connsiteX303" fmla="*/ 671793 w 3418030"/>
              <a:gd name="connsiteY303" fmla="*/ 4878949 h 4878949"/>
              <a:gd name="connsiteX304" fmla="*/ 664023 w 3418030"/>
              <a:gd name="connsiteY304" fmla="*/ 4878949 h 4878949"/>
              <a:gd name="connsiteX305" fmla="*/ 663789 w 3418030"/>
              <a:gd name="connsiteY305" fmla="*/ 4878949 h 4878949"/>
              <a:gd name="connsiteX306" fmla="*/ 663785 w 3418030"/>
              <a:gd name="connsiteY306" fmla="*/ 4878949 h 4878949"/>
              <a:gd name="connsiteX307" fmla="*/ 663781 w 3418030"/>
              <a:gd name="connsiteY307" fmla="*/ 4878949 h 4878949"/>
              <a:gd name="connsiteX308" fmla="*/ 663112 w 3418030"/>
              <a:gd name="connsiteY308" fmla="*/ 4878949 h 4878949"/>
              <a:gd name="connsiteX309" fmla="*/ 645144 w 3418030"/>
              <a:gd name="connsiteY309" fmla="*/ 4878949 h 4878949"/>
              <a:gd name="connsiteX310" fmla="*/ 428353 w 3418030"/>
              <a:gd name="connsiteY310" fmla="*/ 4878949 h 4878949"/>
              <a:gd name="connsiteX311" fmla="*/ 428119 w 3418030"/>
              <a:gd name="connsiteY311" fmla="*/ 4878949 h 4878949"/>
              <a:gd name="connsiteX312" fmla="*/ 428115 w 3418030"/>
              <a:gd name="connsiteY312" fmla="*/ 4878949 h 4878949"/>
              <a:gd name="connsiteX313" fmla="*/ 428111 w 3418030"/>
              <a:gd name="connsiteY313" fmla="*/ 4878949 h 4878949"/>
              <a:gd name="connsiteX314" fmla="*/ 409474 w 3418030"/>
              <a:gd name="connsiteY314" fmla="*/ 4878949 h 4878949"/>
              <a:gd name="connsiteX315" fmla="*/ 401704 w 3418030"/>
              <a:gd name="connsiteY315" fmla="*/ 4878949 h 4878949"/>
              <a:gd name="connsiteX316" fmla="*/ 401470 w 3418030"/>
              <a:gd name="connsiteY316" fmla="*/ 4878949 h 4878949"/>
              <a:gd name="connsiteX317" fmla="*/ 401466 w 3418030"/>
              <a:gd name="connsiteY317" fmla="*/ 4878949 h 4878949"/>
              <a:gd name="connsiteX318" fmla="*/ 401462 w 3418030"/>
              <a:gd name="connsiteY318" fmla="*/ 4878949 h 4878949"/>
              <a:gd name="connsiteX319" fmla="*/ 382826 w 3418030"/>
              <a:gd name="connsiteY319" fmla="*/ 4878949 h 4878949"/>
              <a:gd name="connsiteX320" fmla="*/ 382826 w 3418030"/>
              <a:gd name="connsiteY320" fmla="*/ 4878022 h 4878949"/>
              <a:gd name="connsiteX321" fmla="*/ 363616 w 3418030"/>
              <a:gd name="connsiteY321" fmla="*/ 4877077 h 4878949"/>
              <a:gd name="connsiteX322" fmla="*/ 362450 w 3418030"/>
              <a:gd name="connsiteY322" fmla="*/ 4876905 h 4878949"/>
              <a:gd name="connsiteX323" fmla="*/ 360898 w 3418030"/>
              <a:gd name="connsiteY323" fmla="*/ 4876823 h 4878949"/>
              <a:gd name="connsiteX324" fmla="*/ 292547 w 3418030"/>
              <a:gd name="connsiteY324" fmla="*/ 4863240 h 4878949"/>
              <a:gd name="connsiteX325" fmla="*/ 290939 w 3418030"/>
              <a:gd name="connsiteY325" fmla="*/ 4862685 h 4878949"/>
              <a:gd name="connsiteX326" fmla="*/ 290662 w 3418030"/>
              <a:gd name="connsiteY326" fmla="*/ 4862616 h 4878949"/>
              <a:gd name="connsiteX327" fmla="*/ 287903 w 3418030"/>
              <a:gd name="connsiteY327" fmla="*/ 4861637 h 4878949"/>
              <a:gd name="connsiteX328" fmla="*/ 260068 w 3418030"/>
              <a:gd name="connsiteY328" fmla="*/ 4852032 h 4878949"/>
              <a:gd name="connsiteX329" fmla="*/ 257211 w 3418030"/>
              <a:gd name="connsiteY329" fmla="*/ 4850752 h 4878949"/>
              <a:gd name="connsiteX330" fmla="*/ 256125 w 3418030"/>
              <a:gd name="connsiteY330" fmla="*/ 4850367 h 4878949"/>
              <a:gd name="connsiteX331" fmla="*/ 250255 w 3418030"/>
              <a:gd name="connsiteY331" fmla="*/ 4847636 h 4878949"/>
              <a:gd name="connsiteX332" fmla="*/ 228901 w 3418030"/>
              <a:gd name="connsiteY332" fmla="*/ 4838068 h 4878949"/>
              <a:gd name="connsiteX333" fmla="*/ 224915 w 3418030"/>
              <a:gd name="connsiteY333" fmla="*/ 4835845 h 4878949"/>
              <a:gd name="connsiteX334" fmla="*/ 223101 w 3418030"/>
              <a:gd name="connsiteY334" fmla="*/ 4835001 h 4878949"/>
              <a:gd name="connsiteX335" fmla="*/ 216732 w 3418030"/>
              <a:gd name="connsiteY335" fmla="*/ 4831280 h 4878949"/>
              <a:gd name="connsiteX336" fmla="*/ 199181 w 3418030"/>
              <a:gd name="connsiteY336" fmla="*/ 4821488 h 4878949"/>
              <a:gd name="connsiteX337" fmla="*/ 194206 w 3418030"/>
              <a:gd name="connsiteY337" fmla="*/ 4818119 h 4878949"/>
              <a:gd name="connsiteX338" fmla="*/ 191756 w 3418030"/>
              <a:gd name="connsiteY338" fmla="*/ 4816688 h 4878949"/>
              <a:gd name="connsiteX339" fmla="*/ 185691 w 3418030"/>
              <a:gd name="connsiteY339" fmla="*/ 4812352 h 4878949"/>
              <a:gd name="connsiteX340" fmla="*/ 171043 w 3418030"/>
              <a:gd name="connsiteY340" fmla="*/ 4802432 h 4878949"/>
              <a:gd name="connsiteX341" fmla="*/ 165239 w 3418030"/>
              <a:gd name="connsiteY341" fmla="*/ 4797733 h 4878949"/>
              <a:gd name="connsiteX342" fmla="*/ 162251 w 3418030"/>
              <a:gd name="connsiteY342" fmla="*/ 4795598 h 4878949"/>
              <a:gd name="connsiteX343" fmla="*/ 156813 w 3418030"/>
              <a:gd name="connsiteY343" fmla="*/ 4790911 h 4878949"/>
              <a:gd name="connsiteX344" fmla="*/ 144622 w 3418030"/>
              <a:gd name="connsiteY344" fmla="*/ 4781042 h 4878949"/>
              <a:gd name="connsiteX345" fmla="*/ 138166 w 3418030"/>
              <a:gd name="connsiteY345" fmla="*/ 4774843 h 4878949"/>
              <a:gd name="connsiteX346" fmla="*/ 134753 w 3418030"/>
              <a:gd name="connsiteY346" fmla="*/ 4771903 h 4878949"/>
              <a:gd name="connsiteX347" fmla="*/ 130074 w 3418030"/>
              <a:gd name="connsiteY347" fmla="*/ 4767074 h 4878949"/>
              <a:gd name="connsiteX348" fmla="*/ 120055 w 3418030"/>
              <a:gd name="connsiteY348" fmla="*/ 4757456 h 4878949"/>
              <a:gd name="connsiteX349" fmla="*/ 113140 w 3418030"/>
              <a:gd name="connsiteY349" fmla="*/ 4749604 h 4878949"/>
              <a:gd name="connsiteX350" fmla="*/ 109426 w 3418030"/>
              <a:gd name="connsiteY350" fmla="*/ 4745772 h 4878949"/>
              <a:gd name="connsiteX351" fmla="*/ 105548 w 3418030"/>
              <a:gd name="connsiteY351" fmla="*/ 4740983 h 4878949"/>
              <a:gd name="connsiteX352" fmla="*/ 97477 w 3418030"/>
              <a:gd name="connsiteY352" fmla="*/ 4731817 h 4878949"/>
              <a:gd name="connsiteX353" fmla="*/ 90314 w 3418030"/>
              <a:gd name="connsiteY353" fmla="*/ 4722168 h 4878949"/>
              <a:gd name="connsiteX354" fmla="*/ 86434 w 3418030"/>
              <a:gd name="connsiteY354" fmla="*/ 4717378 h 4878949"/>
              <a:gd name="connsiteX355" fmla="*/ 83347 w 3418030"/>
              <a:gd name="connsiteY355" fmla="*/ 4712785 h 4878949"/>
              <a:gd name="connsiteX356" fmla="*/ 77022 w 3418030"/>
              <a:gd name="connsiteY356" fmla="*/ 4704265 h 4878949"/>
              <a:gd name="connsiteX357" fmla="*/ 69837 w 3418030"/>
              <a:gd name="connsiteY357" fmla="*/ 4692685 h 4878949"/>
              <a:gd name="connsiteX358" fmla="*/ 65942 w 3418030"/>
              <a:gd name="connsiteY358" fmla="*/ 4686890 h 4878949"/>
              <a:gd name="connsiteX359" fmla="*/ 63602 w 3418030"/>
              <a:gd name="connsiteY359" fmla="*/ 4682635 h 4878949"/>
              <a:gd name="connsiteX360" fmla="*/ 58827 w 3418030"/>
              <a:gd name="connsiteY360" fmla="*/ 4674940 h 4878949"/>
              <a:gd name="connsiteX361" fmla="*/ 51860 w 3418030"/>
              <a:gd name="connsiteY361" fmla="*/ 4661288 h 4878949"/>
              <a:gd name="connsiteX362" fmla="*/ 48114 w 3418030"/>
              <a:gd name="connsiteY362" fmla="*/ 4654479 h 4878949"/>
              <a:gd name="connsiteX363" fmla="*/ 46451 w 3418030"/>
              <a:gd name="connsiteY363" fmla="*/ 4650690 h 4878949"/>
              <a:gd name="connsiteX364" fmla="*/ 43027 w 3418030"/>
              <a:gd name="connsiteY364" fmla="*/ 4643982 h 4878949"/>
              <a:gd name="connsiteX365" fmla="*/ 36529 w 3418030"/>
              <a:gd name="connsiteY365" fmla="*/ 4628092 h 4878949"/>
              <a:gd name="connsiteX366" fmla="*/ 33114 w 3418030"/>
              <a:gd name="connsiteY366" fmla="*/ 4620315 h 4878949"/>
              <a:gd name="connsiteX367" fmla="*/ 32037 w 3418030"/>
              <a:gd name="connsiteY367" fmla="*/ 4617109 h 4878949"/>
              <a:gd name="connsiteX368" fmla="*/ 29757 w 3418030"/>
              <a:gd name="connsiteY368" fmla="*/ 4611533 h 4878949"/>
              <a:gd name="connsiteX369" fmla="*/ 23992 w 3418030"/>
              <a:gd name="connsiteY369" fmla="*/ 4593159 h 4878949"/>
              <a:gd name="connsiteX370" fmla="*/ 21107 w 3418030"/>
              <a:gd name="connsiteY370" fmla="*/ 4584570 h 4878949"/>
              <a:gd name="connsiteX371" fmla="*/ 20507 w 3418030"/>
              <a:gd name="connsiteY371" fmla="*/ 4582050 h 4878949"/>
              <a:gd name="connsiteX372" fmla="*/ 19153 w 3418030"/>
              <a:gd name="connsiteY372" fmla="*/ 4577733 h 4878949"/>
              <a:gd name="connsiteX373" fmla="*/ 14395 w 3418030"/>
              <a:gd name="connsiteY373" fmla="*/ 4556392 h 4878949"/>
              <a:gd name="connsiteX374" fmla="*/ 12257 w 3418030"/>
              <a:gd name="connsiteY374" fmla="*/ 4547414 h 4878949"/>
              <a:gd name="connsiteX375" fmla="*/ 12007 w 3418030"/>
              <a:gd name="connsiteY375" fmla="*/ 4545675 h 4878949"/>
              <a:gd name="connsiteX376" fmla="*/ 11349 w 3418030"/>
              <a:gd name="connsiteY376" fmla="*/ 4542722 h 4878949"/>
              <a:gd name="connsiteX377" fmla="*/ 7886 w 3418030"/>
              <a:gd name="connsiteY377" fmla="*/ 4517048 h 4878949"/>
              <a:gd name="connsiteX378" fmla="*/ 6730 w 3418030"/>
              <a:gd name="connsiteY378" fmla="*/ 4509017 h 4878949"/>
              <a:gd name="connsiteX379" fmla="*/ 6688 w 3418030"/>
              <a:gd name="connsiteY379" fmla="*/ 4508172 h 4878949"/>
              <a:gd name="connsiteX380" fmla="*/ 6481 w 3418030"/>
              <a:gd name="connsiteY380" fmla="*/ 4506641 h 4878949"/>
              <a:gd name="connsiteX381" fmla="*/ 5670 w 3418030"/>
              <a:gd name="connsiteY381" fmla="*/ 4488834 h 4878949"/>
              <a:gd name="connsiteX382" fmla="*/ 4679 w 3418030"/>
              <a:gd name="connsiteY382" fmla="*/ 4488834 h 4878949"/>
              <a:gd name="connsiteX383" fmla="*/ 4679 w 3418030"/>
              <a:gd name="connsiteY383" fmla="*/ 4476023 h 4878949"/>
              <a:gd name="connsiteX384" fmla="*/ 3837 w 3418030"/>
              <a:gd name="connsiteY384" fmla="*/ 4469889 h 4878949"/>
              <a:gd name="connsiteX385" fmla="*/ 2681 w 3418030"/>
              <a:gd name="connsiteY385" fmla="*/ 4461995 h 4878949"/>
              <a:gd name="connsiteX386" fmla="*/ 2640 w 3418030"/>
              <a:gd name="connsiteY386" fmla="*/ 4461163 h 4878949"/>
              <a:gd name="connsiteX387" fmla="*/ 2433 w 3418030"/>
              <a:gd name="connsiteY387" fmla="*/ 4459658 h 4878949"/>
              <a:gd name="connsiteX388" fmla="*/ 1621 w 3418030"/>
              <a:gd name="connsiteY388" fmla="*/ 4442154 h 4878949"/>
              <a:gd name="connsiteX389" fmla="*/ 631 w 3418030"/>
              <a:gd name="connsiteY389" fmla="*/ 4442154 h 4878949"/>
              <a:gd name="connsiteX390" fmla="*/ 631 w 3418030"/>
              <a:gd name="connsiteY390" fmla="*/ 4426015 h 4878949"/>
              <a:gd name="connsiteX391" fmla="*/ 631 w 3418030"/>
              <a:gd name="connsiteY391" fmla="*/ 4420821 h 4878949"/>
              <a:gd name="connsiteX392" fmla="*/ 631 w 3418030"/>
              <a:gd name="connsiteY392" fmla="*/ 4420700 h 4878949"/>
              <a:gd name="connsiteX393" fmla="*/ 156 w 3418030"/>
              <a:gd name="connsiteY393" fmla="*/ 4420700 h 4878949"/>
              <a:gd name="connsiteX394" fmla="*/ 156 w 3418030"/>
              <a:gd name="connsiteY394" fmla="*/ 4350450 h 4878949"/>
              <a:gd name="connsiteX395" fmla="*/ 156 w 3418030"/>
              <a:gd name="connsiteY395" fmla="*/ 4340879 h 4878949"/>
              <a:gd name="connsiteX396" fmla="*/ 156 w 3418030"/>
              <a:gd name="connsiteY396" fmla="*/ 4127703 h 4878949"/>
              <a:gd name="connsiteX397" fmla="*/ 156 w 3418030"/>
              <a:gd name="connsiteY397" fmla="*/ 4025885 h 4878949"/>
              <a:gd name="connsiteX398" fmla="*/ 156 w 3418030"/>
              <a:gd name="connsiteY398" fmla="*/ 3997713 h 4878949"/>
              <a:gd name="connsiteX399" fmla="*/ 626 w 3418030"/>
              <a:gd name="connsiteY399" fmla="*/ 3997713 h 4878949"/>
              <a:gd name="connsiteX400" fmla="*/ 626 w 3418030"/>
              <a:gd name="connsiteY400" fmla="*/ 3911014 h 4878949"/>
              <a:gd name="connsiteX401" fmla="*/ 0 w 3418030"/>
              <a:gd name="connsiteY401" fmla="*/ 3911014 h 4878949"/>
              <a:gd name="connsiteX402" fmla="*/ 0 w 3418030"/>
              <a:gd name="connsiteY402" fmla="*/ 3908592 h 4878949"/>
              <a:gd name="connsiteX403" fmla="*/ 0 w 3418030"/>
              <a:gd name="connsiteY403" fmla="*/ 3570744 h 4878949"/>
              <a:gd name="connsiteX404" fmla="*/ 0 w 3418030"/>
              <a:gd name="connsiteY404" fmla="*/ 2076617 h 4878949"/>
              <a:gd name="connsiteX405" fmla="*/ 3302 w 3418030"/>
              <a:gd name="connsiteY405" fmla="*/ 2076617 h 4878949"/>
              <a:gd name="connsiteX406" fmla="*/ 3302 w 3418030"/>
              <a:gd name="connsiteY406" fmla="*/ 2074287 h 4878949"/>
              <a:gd name="connsiteX407" fmla="*/ 3302 w 3418030"/>
              <a:gd name="connsiteY407" fmla="*/ 1850939 h 4878949"/>
              <a:gd name="connsiteX408" fmla="*/ 3302 w 3418030"/>
              <a:gd name="connsiteY408" fmla="*/ 1850328 h 4878949"/>
              <a:gd name="connsiteX409" fmla="*/ 3301 w 3418030"/>
              <a:gd name="connsiteY409" fmla="*/ 1850319 h 4878949"/>
              <a:gd name="connsiteX410" fmla="*/ 3302 w 3418030"/>
              <a:gd name="connsiteY410" fmla="*/ 1850309 h 4878949"/>
              <a:gd name="connsiteX411" fmla="*/ 3302 w 3418030"/>
              <a:gd name="connsiteY411" fmla="*/ 1804040 h 4878949"/>
              <a:gd name="connsiteX412" fmla="*/ 3302 w 3418030"/>
              <a:gd name="connsiteY412" fmla="*/ 1803429 h 4878949"/>
              <a:gd name="connsiteX413" fmla="*/ 3301 w 3418030"/>
              <a:gd name="connsiteY413" fmla="*/ 1803419 h 4878949"/>
              <a:gd name="connsiteX414" fmla="*/ 3302 w 3418030"/>
              <a:gd name="connsiteY414" fmla="*/ 1803409 h 4878949"/>
              <a:gd name="connsiteX415" fmla="*/ 3302 w 3418030"/>
              <a:gd name="connsiteY415" fmla="*/ 1801662 h 4878949"/>
              <a:gd name="connsiteX416" fmla="*/ 3302 w 3418030"/>
              <a:gd name="connsiteY416" fmla="*/ 1770814 h 4878949"/>
              <a:gd name="connsiteX417" fmla="*/ 3302 w 3418030"/>
              <a:gd name="connsiteY417" fmla="*/ 1770203 h 4878949"/>
              <a:gd name="connsiteX418" fmla="*/ 3301 w 3418030"/>
              <a:gd name="connsiteY418" fmla="*/ 1770192 h 4878949"/>
              <a:gd name="connsiteX419" fmla="*/ 3302 w 3418030"/>
              <a:gd name="connsiteY419" fmla="*/ 1770183 h 4878949"/>
              <a:gd name="connsiteX420" fmla="*/ 3302 w 3418030"/>
              <a:gd name="connsiteY420" fmla="*/ 1754762 h 4878949"/>
              <a:gd name="connsiteX421" fmla="*/ 3302 w 3418030"/>
              <a:gd name="connsiteY421" fmla="*/ 1723914 h 4878949"/>
              <a:gd name="connsiteX422" fmla="*/ 3302 w 3418030"/>
              <a:gd name="connsiteY422" fmla="*/ 1723304 h 4878949"/>
              <a:gd name="connsiteX423" fmla="*/ 3301 w 3418030"/>
              <a:gd name="connsiteY423" fmla="*/ 1723293 h 4878949"/>
              <a:gd name="connsiteX424" fmla="*/ 3302 w 3418030"/>
              <a:gd name="connsiteY424" fmla="*/ 1723284 h 4878949"/>
              <a:gd name="connsiteX425" fmla="*/ 3302 w 3418030"/>
              <a:gd name="connsiteY425" fmla="*/ 1721537 h 4878949"/>
              <a:gd name="connsiteX426" fmla="*/ 3302 w 3418030"/>
              <a:gd name="connsiteY426" fmla="*/ 1674636 h 4878949"/>
              <a:gd name="connsiteX427" fmla="*/ 3302 w 3418030"/>
              <a:gd name="connsiteY427" fmla="*/ 1119326 h 4878949"/>
              <a:gd name="connsiteX428" fmla="*/ 3302 w 3418030"/>
              <a:gd name="connsiteY428" fmla="*/ 1118715 h 4878949"/>
              <a:gd name="connsiteX429" fmla="*/ 3301 w 3418030"/>
              <a:gd name="connsiteY429" fmla="*/ 1118705 h 4878949"/>
              <a:gd name="connsiteX430" fmla="*/ 3302 w 3418030"/>
              <a:gd name="connsiteY430" fmla="*/ 1118695 h 4878949"/>
              <a:gd name="connsiteX431" fmla="*/ 3302 w 3418030"/>
              <a:gd name="connsiteY431" fmla="*/ 1070048 h 4878949"/>
              <a:gd name="connsiteX432" fmla="*/ 3302 w 3418030"/>
              <a:gd name="connsiteY432" fmla="*/ 1039200 h 4878949"/>
              <a:gd name="connsiteX433" fmla="*/ 3302 w 3418030"/>
              <a:gd name="connsiteY433" fmla="*/ 1038590 h 4878949"/>
              <a:gd name="connsiteX434" fmla="*/ 3301 w 3418030"/>
              <a:gd name="connsiteY434" fmla="*/ 1038579 h 4878949"/>
              <a:gd name="connsiteX435" fmla="*/ 3302 w 3418030"/>
              <a:gd name="connsiteY435" fmla="*/ 1038570 h 4878949"/>
              <a:gd name="connsiteX436" fmla="*/ 3302 w 3418030"/>
              <a:gd name="connsiteY436" fmla="*/ 989923 h 4878949"/>
              <a:gd name="connsiteX437" fmla="*/ 5852 w 3418030"/>
              <a:gd name="connsiteY437" fmla="*/ 989923 h 4878949"/>
              <a:gd name="connsiteX438" fmla="*/ 8449 w 3418030"/>
              <a:gd name="connsiteY438" fmla="*/ 939781 h 4878949"/>
              <a:gd name="connsiteX439" fmla="*/ 8925 w 3418030"/>
              <a:gd name="connsiteY439" fmla="*/ 936738 h 4878949"/>
              <a:gd name="connsiteX440" fmla="*/ 9149 w 3418030"/>
              <a:gd name="connsiteY440" fmla="*/ 932684 h 4878949"/>
              <a:gd name="connsiteX441" fmla="*/ 46506 w 3418030"/>
              <a:gd name="connsiteY441" fmla="*/ 754274 h 4878949"/>
              <a:gd name="connsiteX442" fmla="*/ 48032 w 3418030"/>
              <a:gd name="connsiteY442" fmla="*/ 750077 h 4878949"/>
              <a:gd name="connsiteX443" fmla="*/ 48222 w 3418030"/>
              <a:gd name="connsiteY443" fmla="*/ 749353 h 4878949"/>
              <a:gd name="connsiteX444" fmla="*/ 50914 w 3418030"/>
              <a:gd name="connsiteY444" fmla="*/ 742152 h 4878949"/>
              <a:gd name="connsiteX445" fmla="*/ 77329 w 3418030"/>
              <a:gd name="connsiteY445" fmla="*/ 669497 h 4878949"/>
              <a:gd name="connsiteX446" fmla="*/ 80849 w 3418030"/>
              <a:gd name="connsiteY446" fmla="*/ 662039 h 4878949"/>
              <a:gd name="connsiteX447" fmla="*/ 81908 w 3418030"/>
              <a:gd name="connsiteY447" fmla="*/ 659204 h 4878949"/>
              <a:gd name="connsiteX448" fmla="*/ 89422 w 3418030"/>
              <a:gd name="connsiteY448" fmla="*/ 643883 h 4878949"/>
              <a:gd name="connsiteX449" fmla="*/ 115734 w 3418030"/>
              <a:gd name="connsiteY449" fmla="*/ 588143 h 4878949"/>
              <a:gd name="connsiteX450" fmla="*/ 121848 w 3418030"/>
              <a:gd name="connsiteY450" fmla="*/ 577740 h 4878949"/>
              <a:gd name="connsiteX451" fmla="*/ 124169 w 3418030"/>
              <a:gd name="connsiteY451" fmla="*/ 573005 h 4878949"/>
              <a:gd name="connsiteX452" fmla="*/ 134403 w 3418030"/>
              <a:gd name="connsiteY452" fmla="*/ 556381 h 4878949"/>
              <a:gd name="connsiteX453" fmla="*/ 161333 w 3418030"/>
              <a:gd name="connsiteY453" fmla="*/ 510566 h 4878949"/>
              <a:gd name="connsiteX454" fmla="*/ 170598 w 3418030"/>
              <a:gd name="connsiteY454" fmla="*/ 497582 h 4878949"/>
              <a:gd name="connsiteX455" fmla="*/ 174534 w 3418030"/>
              <a:gd name="connsiteY455" fmla="*/ 491185 h 4878949"/>
              <a:gd name="connsiteX456" fmla="*/ 186458 w 3418030"/>
              <a:gd name="connsiteY456" fmla="*/ 475354 h 4878949"/>
              <a:gd name="connsiteX457" fmla="*/ 213741 w 3418030"/>
              <a:gd name="connsiteY457" fmla="*/ 437120 h 4878949"/>
              <a:gd name="connsiteX458" fmla="*/ 226666 w 3418030"/>
              <a:gd name="connsiteY458" fmla="*/ 421970 h 4878949"/>
              <a:gd name="connsiteX459" fmla="*/ 232537 w 3418030"/>
              <a:gd name="connsiteY459" fmla="*/ 414172 h 4878949"/>
              <a:gd name="connsiteX460" fmla="*/ 245428 w 3418030"/>
              <a:gd name="connsiteY460" fmla="*/ 399975 h 4878949"/>
              <a:gd name="connsiteX461" fmla="*/ 272569 w 3418030"/>
              <a:gd name="connsiteY461" fmla="*/ 368155 h 4878949"/>
              <a:gd name="connsiteX462" fmla="*/ 289619 w 3418030"/>
              <a:gd name="connsiteY462" fmla="*/ 351302 h 4878949"/>
              <a:gd name="connsiteX463" fmla="*/ 297703 w 3418030"/>
              <a:gd name="connsiteY463" fmla="*/ 342396 h 4878949"/>
              <a:gd name="connsiteX464" fmla="*/ 310983 w 3418030"/>
              <a:gd name="connsiteY464" fmla="*/ 330181 h 4878949"/>
              <a:gd name="connsiteX465" fmla="*/ 337434 w 3418030"/>
              <a:gd name="connsiteY465" fmla="*/ 304029 h 4878949"/>
              <a:gd name="connsiteX466" fmla="*/ 359031 w 3418030"/>
              <a:gd name="connsiteY466" fmla="*/ 285980 h 4878949"/>
              <a:gd name="connsiteX467" fmla="*/ 369567 w 3418030"/>
              <a:gd name="connsiteY467" fmla="*/ 276286 h 4878949"/>
              <a:gd name="connsiteX468" fmla="*/ 382740 w 3418030"/>
              <a:gd name="connsiteY468" fmla="*/ 266163 h 4878949"/>
              <a:gd name="connsiteX469" fmla="*/ 407948 w 3418030"/>
              <a:gd name="connsiteY469" fmla="*/ 245095 h 4878949"/>
              <a:gd name="connsiteX470" fmla="*/ 434483 w 3418030"/>
              <a:gd name="connsiteY470" fmla="*/ 226398 h 4878949"/>
              <a:gd name="connsiteX471" fmla="*/ 447659 w 3418030"/>
              <a:gd name="connsiteY471" fmla="*/ 216272 h 4878949"/>
              <a:gd name="connsiteX472" fmla="*/ 460291 w 3418030"/>
              <a:gd name="connsiteY472" fmla="*/ 208214 h 4878949"/>
              <a:gd name="connsiteX473" fmla="*/ 483722 w 3418030"/>
              <a:gd name="connsiteY473" fmla="*/ 191703 h 4878949"/>
              <a:gd name="connsiteX474" fmla="*/ 515572 w 3418030"/>
              <a:gd name="connsiteY474" fmla="*/ 172948 h 4878949"/>
              <a:gd name="connsiteX475" fmla="*/ 531508 w 3418030"/>
              <a:gd name="connsiteY475" fmla="*/ 162782 h 4878949"/>
              <a:gd name="connsiteX476" fmla="*/ 543209 w 3418030"/>
              <a:gd name="connsiteY476" fmla="*/ 156673 h 4878949"/>
              <a:gd name="connsiteX477" fmla="*/ 564373 w 3418030"/>
              <a:gd name="connsiteY477" fmla="*/ 144210 h 4878949"/>
              <a:gd name="connsiteX478" fmla="*/ 601919 w 3418030"/>
              <a:gd name="connsiteY478" fmla="*/ 126023 h 4878949"/>
              <a:gd name="connsiteX479" fmla="*/ 620646 w 3418030"/>
              <a:gd name="connsiteY479" fmla="*/ 116246 h 4878949"/>
              <a:gd name="connsiteX480" fmla="*/ 631065 w 3418030"/>
              <a:gd name="connsiteY480" fmla="*/ 111905 h 4878949"/>
              <a:gd name="connsiteX481" fmla="*/ 649513 w 3418030"/>
              <a:gd name="connsiteY481" fmla="*/ 102967 h 4878949"/>
              <a:gd name="connsiteX482" fmla="*/ 693215 w 3418030"/>
              <a:gd name="connsiteY482" fmla="*/ 86005 h 4878949"/>
              <a:gd name="connsiteX483" fmla="*/ 714604 w 3418030"/>
              <a:gd name="connsiteY483" fmla="*/ 77091 h 4878949"/>
              <a:gd name="connsiteX484" fmla="*/ 723421 w 3418030"/>
              <a:gd name="connsiteY484" fmla="*/ 74281 h 4878949"/>
              <a:gd name="connsiteX485" fmla="*/ 738755 w 3418030"/>
              <a:gd name="connsiteY485" fmla="*/ 68329 h 4878949"/>
              <a:gd name="connsiteX486" fmla="*/ 789290 w 3418030"/>
              <a:gd name="connsiteY486" fmla="*/ 53281 h 4878949"/>
              <a:gd name="connsiteX487" fmla="*/ 812911 w 3418030"/>
              <a:gd name="connsiteY487" fmla="*/ 45751 h 4878949"/>
              <a:gd name="connsiteX488" fmla="*/ 819840 w 3418030"/>
              <a:gd name="connsiteY488" fmla="*/ 44184 h 4878949"/>
              <a:gd name="connsiteX489" fmla="*/ 831714 w 3418030"/>
              <a:gd name="connsiteY489" fmla="*/ 40649 h 4878949"/>
              <a:gd name="connsiteX490" fmla="*/ 890408 w 3418030"/>
              <a:gd name="connsiteY490" fmla="*/ 28233 h 4878949"/>
              <a:gd name="connsiteX491" fmla="*/ 891488 w 3418030"/>
              <a:gd name="connsiteY491" fmla="*/ 27989 h 4878949"/>
              <a:gd name="connsiteX492" fmla="*/ 891488 w 3418030"/>
              <a:gd name="connsiteY492" fmla="*/ 26353 h 4878949"/>
              <a:gd name="connsiteX493" fmla="*/ 920414 w 3418030"/>
              <a:gd name="connsiteY493" fmla="*/ 21016 h 4878949"/>
              <a:gd name="connsiteX494" fmla="*/ 926275 w 3418030"/>
              <a:gd name="connsiteY494" fmla="*/ 20363 h 4878949"/>
              <a:gd name="connsiteX495" fmla="*/ 936223 w 3418030"/>
              <a:gd name="connsiteY495" fmla="*/ 18645 h 4878949"/>
              <a:gd name="connsiteX496" fmla="*/ 1022729 w 3418030"/>
              <a:gd name="connsiteY496" fmla="*/ 9605 h 4878949"/>
              <a:gd name="connsiteX497" fmla="*/ 1049789 w 3418030"/>
              <a:gd name="connsiteY497" fmla="*/ 6588 h 4878949"/>
              <a:gd name="connsiteX498" fmla="*/ 1052637 w 3418030"/>
              <a:gd name="connsiteY498" fmla="*/ 6482 h 4878949"/>
              <a:gd name="connsiteX499" fmla="*/ 1057795 w 3418030"/>
              <a:gd name="connsiteY499" fmla="*/ 5941 h 4878949"/>
              <a:gd name="connsiteX500" fmla="*/ 1117794 w 3418030"/>
              <a:gd name="connsiteY500" fmla="*/ 3821 h 4878949"/>
              <a:gd name="connsiteX501" fmla="*/ 1117794 w 3418030"/>
              <a:gd name="connsiteY501" fmla="*/ 1237 h 4878949"/>
              <a:gd name="connsiteX502" fmla="*/ 1173109 w 3418030"/>
              <a:gd name="connsiteY502" fmla="*/ 1237 h 4878949"/>
              <a:gd name="connsiteX503" fmla="*/ 1190915 w 3418030"/>
              <a:gd name="connsiteY503" fmla="*/ 1237 h 4878949"/>
              <a:gd name="connsiteX504" fmla="*/ 1191329 w 3418030"/>
              <a:gd name="connsiteY504" fmla="*/ 1237 h 4878949"/>
              <a:gd name="connsiteX505" fmla="*/ 1191331 w 3418030"/>
              <a:gd name="connsiteY505" fmla="*/ 1237 h 487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</a:cxnLst>
            <a:rect l="l" t="t" r="r" b="b"/>
            <a:pathLst>
              <a:path w="3418030" h="4878949">
                <a:moveTo>
                  <a:pt x="1191331" y="0"/>
                </a:moveTo>
                <a:lnTo>
                  <a:pt x="1294432" y="0"/>
                </a:lnTo>
                <a:lnTo>
                  <a:pt x="1457098" y="0"/>
                </a:lnTo>
                <a:lnTo>
                  <a:pt x="1564784" y="0"/>
                </a:lnTo>
                <a:lnTo>
                  <a:pt x="2013538" y="0"/>
                </a:lnTo>
                <a:lnTo>
                  <a:pt x="2038520" y="0"/>
                </a:lnTo>
                <a:lnTo>
                  <a:pt x="2130825" y="0"/>
                </a:lnTo>
                <a:lnTo>
                  <a:pt x="2156238" y="0"/>
                </a:lnTo>
                <a:lnTo>
                  <a:pt x="2221889" y="0"/>
                </a:lnTo>
                <a:lnTo>
                  <a:pt x="2277890" y="0"/>
                </a:lnTo>
                <a:lnTo>
                  <a:pt x="2342770" y="0"/>
                </a:lnTo>
                <a:lnTo>
                  <a:pt x="2399737" y="0"/>
                </a:lnTo>
                <a:lnTo>
                  <a:pt x="2399737" y="1224"/>
                </a:lnTo>
                <a:lnTo>
                  <a:pt x="3278911" y="1224"/>
                </a:lnTo>
                <a:lnTo>
                  <a:pt x="3418030" y="1224"/>
                </a:lnTo>
                <a:lnTo>
                  <a:pt x="3418030" y="70784"/>
                </a:lnTo>
                <a:lnTo>
                  <a:pt x="3418030" y="685938"/>
                </a:lnTo>
                <a:lnTo>
                  <a:pt x="3418030" y="732837"/>
                </a:lnTo>
                <a:lnTo>
                  <a:pt x="3418030" y="755498"/>
                </a:lnTo>
                <a:lnTo>
                  <a:pt x="3418030" y="802397"/>
                </a:lnTo>
                <a:lnTo>
                  <a:pt x="3418030" y="1036312"/>
                </a:lnTo>
                <a:lnTo>
                  <a:pt x="3418030" y="1036923"/>
                </a:lnTo>
                <a:lnTo>
                  <a:pt x="3418030" y="1036933"/>
                </a:lnTo>
                <a:lnTo>
                  <a:pt x="3418030" y="1036943"/>
                </a:lnTo>
                <a:lnTo>
                  <a:pt x="3418030" y="1085589"/>
                </a:lnTo>
                <a:lnTo>
                  <a:pt x="3418030" y="1105871"/>
                </a:lnTo>
                <a:lnTo>
                  <a:pt x="3418030" y="1106482"/>
                </a:lnTo>
                <a:lnTo>
                  <a:pt x="3418030" y="1106491"/>
                </a:lnTo>
                <a:lnTo>
                  <a:pt x="3418030" y="1106501"/>
                </a:lnTo>
                <a:lnTo>
                  <a:pt x="3418030" y="1155149"/>
                </a:lnTo>
                <a:lnTo>
                  <a:pt x="3418030" y="1417551"/>
                </a:lnTo>
                <a:lnTo>
                  <a:pt x="3418030" y="1487111"/>
                </a:lnTo>
                <a:lnTo>
                  <a:pt x="3418030" y="1721026"/>
                </a:lnTo>
                <a:lnTo>
                  <a:pt x="3418030" y="1721637"/>
                </a:lnTo>
                <a:lnTo>
                  <a:pt x="3418030" y="1721646"/>
                </a:lnTo>
                <a:lnTo>
                  <a:pt x="3418030" y="1721657"/>
                </a:lnTo>
                <a:lnTo>
                  <a:pt x="3418030" y="1767925"/>
                </a:lnTo>
                <a:lnTo>
                  <a:pt x="3418030" y="1768536"/>
                </a:lnTo>
                <a:lnTo>
                  <a:pt x="3418030" y="1768546"/>
                </a:lnTo>
                <a:lnTo>
                  <a:pt x="3418030" y="1768556"/>
                </a:lnTo>
                <a:lnTo>
                  <a:pt x="3418030" y="1770303"/>
                </a:lnTo>
                <a:lnTo>
                  <a:pt x="3418030" y="1790585"/>
                </a:lnTo>
                <a:lnTo>
                  <a:pt x="3418030" y="1791196"/>
                </a:lnTo>
                <a:lnTo>
                  <a:pt x="3418030" y="1791205"/>
                </a:lnTo>
                <a:lnTo>
                  <a:pt x="3418030" y="1791215"/>
                </a:lnTo>
                <a:lnTo>
                  <a:pt x="3418030" y="1817203"/>
                </a:lnTo>
                <a:lnTo>
                  <a:pt x="3418030" y="1837484"/>
                </a:lnTo>
                <a:lnTo>
                  <a:pt x="3418030" y="1838095"/>
                </a:lnTo>
                <a:lnTo>
                  <a:pt x="3418030" y="1838105"/>
                </a:lnTo>
                <a:lnTo>
                  <a:pt x="3418030" y="1838115"/>
                </a:lnTo>
                <a:lnTo>
                  <a:pt x="3418030" y="1839863"/>
                </a:lnTo>
                <a:lnTo>
                  <a:pt x="3418030" y="1886762"/>
                </a:lnTo>
                <a:lnTo>
                  <a:pt x="3418030" y="2452639"/>
                </a:lnTo>
                <a:lnTo>
                  <a:pt x="3418030" y="2453250"/>
                </a:lnTo>
                <a:lnTo>
                  <a:pt x="3418030" y="2453260"/>
                </a:lnTo>
                <a:lnTo>
                  <a:pt x="3418030" y="2453270"/>
                </a:lnTo>
                <a:lnTo>
                  <a:pt x="3418030" y="2501917"/>
                </a:lnTo>
                <a:lnTo>
                  <a:pt x="3418030" y="2522198"/>
                </a:lnTo>
                <a:lnTo>
                  <a:pt x="3418030" y="2522809"/>
                </a:lnTo>
                <a:lnTo>
                  <a:pt x="3418030" y="2522819"/>
                </a:lnTo>
                <a:lnTo>
                  <a:pt x="3418030" y="2522830"/>
                </a:lnTo>
                <a:lnTo>
                  <a:pt x="3418030" y="2571476"/>
                </a:lnTo>
                <a:lnTo>
                  <a:pt x="3415609" y="2571476"/>
                </a:lnTo>
                <a:lnTo>
                  <a:pt x="3413143" y="2621619"/>
                </a:lnTo>
                <a:lnTo>
                  <a:pt x="3412693" y="2624661"/>
                </a:lnTo>
                <a:lnTo>
                  <a:pt x="3412480" y="2628713"/>
                </a:lnTo>
                <a:cubicBezTo>
                  <a:pt x="3406029" y="2689917"/>
                  <a:pt x="3394048" y="2749544"/>
                  <a:pt x="3377025" y="2807125"/>
                </a:cubicBezTo>
                <a:lnTo>
                  <a:pt x="3375576" y="2811322"/>
                </a:lnTo>
                <a:lnTo>
                  <a:pt x="3375395" y="2812045"/>
                </a:lnTo>
                <a:lnTo>
                  <a:pt x="3372842" y="2819247"/>
                </a:lnTo>
                <a:lnTo>
                  <a:pt x="3347771" y="2891903"/>
                </a:lnTo>
                <a:lnTo>
                  <a:pt x="3344429" y="2899360"/>
                </a:lnTo>
                <a:lnTo>
                  <a:pt x="3343424" y="2902194"/>
                </a:lnTo>
                <a:lnTo>
                  <a:pt x="3336294" y="2917516"/>
                </a:lnTo>
                <a:lnTo>
                  <a:pt x="3311321" y="2973257"/>
                </a:lnTo>
                <a:lnTo>
                  <a:pt x="3305517" y="2983659"/>
                </a:lnTo>
                <a:lnTo>
                  <a:pt x="3303314" y="2988394"/>
                </a:lnTo>
                <a:lnTo>
                  <a:pt x="3293601" y="3005019"/>
                </a:lnTo>
                <a:lnTo>
                  <a:pt x="3268042" y="3050833"/>
                </a:lnTo>
                <a:lnTo>
                  <a:pt x="3259248" y="3063817"/>
                </a:lnTo>
                <a:lnTo>
                  <a:pt x="3255513" y="3070215"/>
                </a:lnTo>
                <a:lnTo>
                  <a:pt x="3244196" y="3086045"/>
                </a:lnTo>
                <a:lnTo>
                  <a:pt x="3218302" y="3124280"/>
                </a:lnTo>
                <a:lnTo>
                  <a:pt x="3206037" y="3139430"/>
                </a:lnTo>
                <a:lnTo>
                  <a:pt x="3200464" y="3147227"/>
                </a:lnTo>
                <a:lnTo>
                  <a:pt x="3188229" y="3161424"/>
                </a:lnTo>
                <a:lnTo>
                  <a:pt x="3162468" y="3193243"/>
                </a:lnTo>
                <a:lnTo>
                  <a:pt x="3146287" y="3210097"/>
                </a:lnTo>
                <a:lnTo>
                  <a:pt x="3138613" y="3219003"/>
                </a:lnTo>
                <a:lnTo>
                  <a:pt x="3126010" y="3231219"/>
                </a:lnTo>
                <a:lnTo>
                  <a:pt x="3100905" y="3257369"/>
                </a:lnTo>
                <a:lnTo>
                  <a:pt x="3080407" y="3275420"/>
                </a:lnTo>
                <a:lnTo>
                  <a:pt x="3070407" y="3285113"/>
                </a:lnTo>
                <a:lnTo>
                  <a:pt x="3057904" y="3295236"/>
                </a:lnTo>
                <a:lnTo>
                  <a:pt x="3033981" y="3316304"/>
                </a:lnTo>
                <a:lnTo>
                  <a:pt x="3008795" y="3335002"/>
                </a:lnTo>
                <a:lnTo>
                  <a:pt x="2996290" y="3345128"/>
                </a:lnTo>
                <a:lnTo>
                  <a:pt x="2984301" y="3353185"/>
                </a:lnTo>
                <a:lnTo>
                  <a:pt x="2962062" y="3369695"/>
                </a:lnTo>
                <a:lnTo>
                  <a:pt x="2931835" y="3388450"/>
                </a:lnTo>
                <a:lnTo>
                  <a:pt x="2916709" y="3398618"/>
                </a:lnTo>
                <a:lnTo>
                  <a:pt x="2905603" y="3404726"/>
                </a:lnTo>
                <a:lnTo>
                  <a:pt x="2885517" y="3417189"/>
                </a:lnTo>
                <a:lnTo>
                  <a:pt x="2849882" y="3435375"/>
                </a:lnTo>
                <a:lnTo>
                  <a:pt x="2832108" y="3445153"/>
                </a:lnTo>
                <a:lnTo>
                  <a:pt x="2822219" y="3449494"/>
                </a:lnTo>
                <a:lnTo>
                  <a:pt x="2804710" y="3458432"/>
                </a:lnTo>
                <a:lnTo>
                  <a:pt x="2763233" y="3475393"/>
                </a:lnTo>
                <a:lnTo>
                  <a:pt x="2742933" y="3484308"/>
                </a:lnTo>
                <a:lnTo>
                  <a:pt x="2734565" y="3487117"/>
                </a:lnTo>
                <a:lnTo>
                  <a:pt x="2720010" y="3493070"/>
                </a:lnTo>
                <a:lnTo>
                  <a:pt x="2672049" y="3508117"/>
                </a:lnTo>
                <a:lnTo>
                  <a:pt x="2649630" y="3515648"/>
                </a:lnTo>
                <a:lnTo>
                  <a:pt x="2643052" y="3517214"/>
                </a:lnTo>
                <a:lnTo>
                  <a:pt x="2631783" y="3520749"/>
                </a:lnTo>
                <a:lnTo>
                  <a:pt x="2576079" y="3533167"/>
                </a:lnTo>
                <a:lnTo>
                  <a:pt x="2552643" y="3538747"/>
                </a:lnTo>
                <a:lnTo>
                  <a:pt x="2548104" y="3539401"/>
                </a:lnTo>
                <a:lnTo>
                  <a:pt x="2540397" y="3541118"/>
                </a:lnTo>
                <a:lnTo>
                  <a:pt x="2473383" y="3550158"/>
                </a:lnTo>
                <a:lnTo>
                  <a:pt x="2452420" y="3553176"/>
                </a:lnTo>
                <a:lnTo>
                  <a:pt x="2450212" y="3553284"/>
                </a:lnTo>
                <a:lnTo>
                  <a:pt x="2446216" y="3553824"/>
                </a:lnTo>
                <a:lnTo>
                  <a:pt x="2399737" y="3555943"/>
                </a:lnTo>
                <a:lnTo>
                  <a:pt x="2399737" y="3558529"/>
                </a:lnTo>
                <a:lnTo>
                  <a:pt x="2366297" y="3558529"/>
                </a:lnTo>
                <a:lnTo>
                  <a:pt x="2350286" y="3560726"/>
                </a:lnTo>
                <a:lnTo>
                  <a:pt x="2329679" y="3563743"/>
                </a:lnTo>
                <a:lnTo>
                  <a:pt x="2327509" y="3563851"/>
                </a:lnTo>
                <a:lnTo>
                  <a:pt x="2323580" y="3564391"/>
                </a:lnTo>
                <a:lnTo>
                  <a:pt x="2277890" y="3566510"/>
                </a:lnTo>
                <a:lnTo>
                  <a:pt x="2277890" y="3569096"/>
                </a:lnTo>
                <a:lnTo>
                  <a:pt x="2235765" y="3569096"/>
                </a:lnTo>
                <a:lnTo>
                  <a:pt x="2222205" y="3569096"/>
                </a:lnTo>
                <a:lnTo>
                  <a:pt x="2221889" y="3569096"/>
                </a:lnTo>
                <a:lnTo>
                  <a:pt x="2221889" y="3570333"/>
                </a:lnTo>
                <a:lnTo>
                  <a:pt x="2038520" y="3570333"/>
                </a:lnTo>
                <a:lnTo>
                  <a:pt x="2013539" y="3570333"/>
                </a:lnTo>
                <a:lnTo>
                  <a:pt x="1650818" y="3570333"/>
                </a:lnTo>
                <a:lnTo>
                  <a:pt x="1650818" y="3570744"/>
                </a:lnTo>
                <a:lnTo>
                  <a:pt x="1652012" y="3570744"/>
                </a:lnTo>
                <a:lnTo>
                  <a:pt x="1652012" y="3571721"/>
                </a:lnTo>
                <a:lnTo>
                  <a:pt x="1671221" y="3572716"/>
                </a:lnTo>
                <a:lnTo>
                  <a:pt x="1672387" y="3572898"/>
                </a:lnTo>
                <a:lnTo>
                  <a:pt x="1673940" y="3572984"/>
                </a:lnTo>
                <a:cubicBezTo>
                  <a:pt x="1697387" y="3575588"/>
                  <a:pt x="1720231" y="3580424"/>
                  <a:pt x="1742290" y="3587296"/>
                </a:cubicBezTo>
                <a:lnTo>
                  <a:pt x="1743898" y="3587880"/>
                </a:lnTo>
                <a:lnTo>
                  <a:pt x="1744176" y="3587953"/>
                </a:lnTo>
                <a:lnTo>
                  <a:pt x="1746934" y="3588984"/>
                </a:lnTo>
                <a:lnTo>
                  <a:pt x="1774769" y="3599104"/>
                </a:lnTo>
                <a:lnTo>
                  <a:pt x="1777626" y="3600453"/>
                </a:lnTo>
                <a:lnTo>
                  <a:pt x="1778712" y="3600858"/>
                </a:lnTo>
                <a:lnTo>
                  <a:pt x="1784582" y="3603737"/>
                </a:lnTo>
                <a:lnTo>
                  <a:pt x="1805936" y="3613817"/>
                </a:lnTo>
                <a:lnTo>
                  <a:pt x="1809922" y="3616160"/>
                </a:lnTo>
                <a:lnTo>
                  <a:pt x="1811736" y="3617049"/>
                </a:lnTo>
                <a:lnTo>
                  <a:pt x="1818105" y="3620970"/>
                </a:lnTo>
                <a:lnTo>
                  <a:pt x="1835657" y="3631287"/>
                </a:lnTo>
                <a:lnTo>
                  <a:pt x="1840631" y="3634836"/>
                </a:lnTo>
                <a:lnTo>
                  <a:pt x="1843082" y="3636344"/>
                </a:lnTo>
                <a:lnTo>
                  <a:pt x="1849146" y="3640912"/>
                </a:lnTo>
                <a:lnTo>
                  <a:pt x="1863794" y="3651364"/>
                </a:lnTo>
                <a:lnTo>
                  <a:pt x="1869598" y="3656316"/>
                </a:lnTo>
                <a:lnTo>
                  <a:pt x="1872586" y="3658565"/>
                </a:lnTo>
                <a:lnTo>
                  <a:pt x="1878025" y="3663504"/>
                </a:lnTo>
                <a:lnTo>
                  <a:pt x="1890215" y="3673902"/>
                </a:lnTo>
                <a:lnTo>
                  <a:pt x="1896672" y="3680434"/>
                </a:lnTo>
                <a:lnTo>
                  <a:pt x="1900084" y="3683531"/>
                </a:lnTo>
                <a:lnTo>
                  <a:pt x="1904763" y="3688618"/>
                </a:lnTo>
                <a:lnTo>
                  <a:pt x="1914782" y="3698752"/>
                </a:lnTo>
                <a:lnTo>
                  <a:pt x="1921697" y="3707026"/>
                </a:lnTo>
                <a:lnTo>
                  <a:pt x="1925411" y="3711062"/>
                </a:lnTo>
                <a:lnTo>
                  <a:pt x="1929289" y="3716109"/>
                </a:lnTo>
                <a:lnTo>
                  <a:pt x="1937360" y="3725766"/>
                </a:lnTo>
                <a:lnTo>
                  <a:pt x="1944523" y="3735932"/>
                </a:lnTo>
                <a:lnTo>
                  <a:pt x="1948403" y="3740980"/>
                </a:lnTo>
                <a:lnTo>
                  <a:pt x="1951490" y="3745819"/>
                </a:lnTo>
                <a:lnTo>
                  <a:pt x="1957815" y="3754796"/>
                </a:lnTo>
                <a:lnTo>
                  <a:pt x="1965000" y="3766998"/>
                </a:lnTo>
                <a:lnTo>
                  <a:pt x="1968895" y="3773103"/>
                </a:lnTo>
                <a:lnTo>
                  <a:pt x="1971236" y="3777586"/>
                </a:lnTo>
                <a:lnTo>
                  <a:pt x="1976010" y="3785694"/>
                </a:lnTo>
                <a:lnTo>
                  <a:pt x="1982978" y="3800078"/>
                </a:lnTo>
                <a:lnTo>
                  <a:pt x="1986724" y="3807252"/>
                </a:lnTo>
                <a:lnTo>
                  <a:pt x="1988387" y="3811244"/>
                </a:lnTo>
                <a:lnTo>
                  <a:pt x="1991811" y="3818312"/>
                </a:lnTo>
                <a:lnTo>
                  <a:pt x="1998309" y="3835054"/>
                </a:lnTo>
                <a:lnTo>
                  <a:pt x="2001724" y="3843248"/>
                </a:lnTo>
                <a:lnTo>
                  <a:pt x="2002801" y="3846626"/>
                </a:lnTo>
                <a:lnTo>
                  <a:pt x="2005081" y="3852501"/>
                </a:lnTo>
                <a:lnTo>
                  <a:pt x="2010846" y="3871861"/>
                </a:lnTo>
                <a:lnTo>
                  <a:pt x="2013730" y="3880910"/>
                </a:lnTo>
                <a:lnTo>
                  <a:pt x="2014331" y="3883565"/>
                </a:lnTo>
                <a:lnTo>
                  <a:pt x="2015685" y="3888114"/>
                </a:lnTo>
                <a:lnTo>
                  <a:pt x="2020442" y="3910600"/>
                </a:lnTo>
                <a:lnTo>
                  <a:pt x="2020535" y="3911014"/>
                </a:lnTo>
                <a:lnTo>
                  <a:pt x="2021162" y="3911014"/>
                </a:lnTo>
                <a:lnTo>
                  <a:pt x="2023207" y="3922096"/>
                </a:lnTo>
                <a:lnTo>
                  <a:pt x="2023457" y="3924341"/>
                </a:lnTo>
                <a:lnTo>
                  <a:pt x="2024115" y="3928152"/>
                </a:lnTo>
                <a:lnTo>
                  <a:pt x="2027578" y="3961293"/>
                </a:lnTo>
                <a:lnTo>
                  <a:pt x="2028734" y="3971660"/>
                </a:lnTo>
                <a:lnTo>
                  <a:pt x="2028775" y="3972751"/>
                </a:lnTo>
                <a:lnTo>
                  <a:pt x="2028982" y="3974727"/>
                </a:lnTo>
                <a:lnTo>
                  <a:pt x="2029794" y="3997713"/>
                </a:lnTo>
                <a:lnTo>
                  <a:pt x="2030784" y="3997713"/>
                </a:lnTo>
                <a:lnTo>
                  <a:pt x="2030784" y="4018905"/>
                </a:lnTo>
                <a:lnTo>
                  <a:pt x="2030784" y="4025726"/>
                </a:lnTo>
                <a:lnTo>
                  <a:pt x="2030784" y="4025885"/>
                </a:lnTo>
                <a:lnTo>
                  <a:pt x="2030784" y="4025886"/>
                </a:lnTo>
                <a:lnTo>
                  <a:pt x="2031258" y="4025886"/>
                </a:lnTo>
                <a:lnTo>
                  <a:pt x="2031258" y="4065384"/>
                </a:lnTo>
                <a:lnTo>
                  <a:pt x="2031258" y="4127703"/>
                </a:lnTo>
                <a:lnTo>
                  <a:pt x="2031258" y="4168958"/>
                </a:lnTo>
                <a:lnTo>
                  <a:pt x="2031258" y="4340879"/>
                </a:lnTo>
                <a:lnTo>
                  <a:pt x="2031258" y="4350450"/>
                </a:lnTo>
                <a:lnTo>
                  <a:pt x="2031258" y="4385812"/>
                </a:lnTo>
                <a:lnTo>
                  <a:pt x="2031258" y="4395548"/>
                </a:lnTo>
                <a:lnTo>
                  <a:pt x="2031258" y="4420700"/>
                </a:lnTo>
                <a:lnTo>
                  <a:pt x="2031258" y="4442154"/>
                </a:lnTo>
                <a:lnTo>
                  <a:pt x="2031258" y="4467010"/>
                </a:lnTo>
                <a:lnTo>
                  <a:pt x="2031258" y="4488834"/>
                </a:lnTo>
                <a:lnTo>
                  <a:pt x="2030789" y="4488834"/>
                </a:lnTo>
                <a:lnTo>
                  <a:pt x="2030789" y="4825652"/>
                </a:lnTo>
                <a:lnTo>
                  <a:pt x="2030789" y="4878949"/>
                </a:lnTo>
                <a:lnTo>
                  <a:pt x="2004140" y="4878949"/>
                </a:lnTo>
                <a:lnTo>
                  <a:pt x="1768470" y="4878949"/>
                </a:lnTo>
                <a:lnTo>
                  <a:pt x="1750503" y="4878949"/>
                </a:lnTo>
                <a:lnTo>
                  <a:pt x="1741822" y="4878949"/>
                </a:lnTo>
                <a:lnTo>
                  <a:pt x="1723854" y="4878949"/>
                </a:lnTo>
                <a:lnTo>
                  <a:pt x="1634240" y="4878949"/>
                </a:lnTo>
                <a:lnTo>
                  <a:pt x="1634005" y="4878949"/>
                </a:lnTo>
                <a:lnTo>
                  <a:pt x="1634002" y="4878949"/>
                </a:lnTo>
                <a:lnTo>
                  <a:pt x="1633998" y="4878949"/>
                </a:lnTo>
                <a:lnTo>
                  <a:pt x="1615361" y="4878949"/>
                </a:lnTo>
                <a:lnTo>
                  <a:pt x="1607591" y="4878949"/>
                </a:lnTo>
                <a:lnTo>
                  <a:pt x="1607357" y="4878949"/>
                </a:lnTo>
                <a:lnTo>
                  <a:pt x="1607354" y="4878949"/>
                </a:lnTo>
                <a:lnTo>
                  <a:pt x="1607350" y="4878949"/>
                </a:lnTo>
                <a:lnTo>
                  <a:pt x="1588712" y="4878949"/>
                </a:lnTo>
                <a:lnTo>
                  <a:pt x="1488184" y="4878949"/>
                </a:lnTo>
                <a:lnTo>
                  <a:pt x="1461535" y="4878949"/>
                </a:lnTo>
                <a:lnTo>
                  <a:pt x="1371921" y="4878949"/>
                </a:lnTo>
                <a:lnTo>
                  <a:pt x="1371687" y="4878949"/>
                </a:lnTo>
                <a:lnTo>
                  <a:pt x="1371683" y="4878949"/>
                </a:lnTo>
                <a:lnTo>
                  <a:pt x="1371679" y="4878949"/>
                </a:lnTo>
                <a:lnTo>
                  <a:pt x="1367507" y="4878949"/>
                </a:lnTo>
                <a:lnTo>
                  <a:pt x="1353954" y="4878949"/>
                </a:lnTo>
                <a:lnTo>
                  <a:pt x="1353719" y="4878949"/>
                </a:lnTo>
                <a:lnTo>
                  <a:pt x="1353716" y="4878949"/>
                </a:lnTo>
                <a:lnTo>
                  <a:pt x="1353712" y="4878949"/>
                </a:lnTo>
                <a:lnTo>
                  <a:pt x="1353043" y="4878949"/>
                </a:lnTo>
                <a:lnTo>
                  <a:pt x="1345272" y="4878949"/>
                </a:lnTo>
                <a:lnTo>
                  <a:pt x="1345038" y="4878949"/>
                </a:lnTo>
                <a:lnTo>
                  <a:pt x="1345035" y="4878949"/>
                </a:lnTo>
                <a:lnTo>
                  <a:pt x="1345031" y="4878949"/>
                </a:lnTo>
                <a:lnTo>
                  <a:pt x="1340858" y="4878949"/>
                </a:lnTo>
                <a:lnTo>
                  <a:pt x="1335075" y="4878949"/>
                </a:lnTo>
                <a:lnTo>
                  <a:pt x="1327305" y="4878949"/>
                </a:lnTo>
                <a:lnTo>
                  <a:pt x="1327071" y="4878949"/>
                </a:lnTo>
                <a:lnTo>
                  <a:pt x="1327067" y="4878949"/>
                </a:lnTo>
                <a:lnTo>
                  <a:pt x="1327063" y="4878949"/>
                </a:lnTo>
                <a:lnTo>
                  <a:pt x="1326394" y="4878949"/>
                </a:lnTo>
                <a:lnTo>
                  <a:pt x="1308426" y="4878949"/>
                </a:lnTo>
                <a:lnTo>
                  <a:pt x="1105188" y="4878949"/>
                </a:lnTo>
                <a:lnTo>
                  <a:pt x="1091635" y="4878949"/>
                </a:lnTo>
                <a:lnTo>
                  <a:pt x="1091401" y="4878949"/>
                </a:lnTo>
                <a:lnTo>
                  <a:pt x="1091397" y="4878949"/>
                </a:lnTo>
                <a:lnTo>
                  <a:pt x="1091393" y="4878949"/>
                </a:lnTo>
                <a:lnTo>
                  <a:pt x="1087221" y="4878949"/>
                </a:lnTo>
                <a:lnTo>
                  <a:pt x="1078540" y="4878949"/>
                </a:lnTo>
                <a:lnTo>
                  <a:pt x="1072756" y="4878949"/>
                </a:lnTo>
                <a:lnTo>
                  <a:pt x="1064986" y="4878949"/>
                </a:lnTo>
                <a:lnTo>
                  <a:pt x="1064752" y="4878949"/>
                </a:lnTo>
                <a:lnTo>
                  <a:pt x="1064748" y="4878949"/>
                </a:lnTo>
                <a:lnTo>
                  <a:pt x="1064745" y="4878949"/>
                </a:lnTo>
                <a:lnTo>
                  <a:pt x="1060572" y="4878949"/>
                </a:lnTo>
                <a:lnTo>
                  <a:pt x="1046108" y="4878949"/>
                </a:lnTo>
                <a:lnTo>
                  <a:pt x="970958" y="4878949"/>
                </a:lnTo>
                <a:lnTo>
                  <a:pt x="970723" y="4878949"/>
                </a:lnTo>
                <a:lnTo>
                  <a:pt x="970720" y="4878949"/>
                </a:lnTo>
                <a:lnTo>
                  <a:pt x="970716" y="4878949"/>
                </a:lnTo>
                <a:lnTo>
                  <a:pt x="952079" y="4878949"/>
                </a:lnTo>
                <a:lnTo>
                  <a:pt x="944309" y="4878949"/>
                </a:lnTo>
                <a:lnTo>
                  <a:pt x="944075" y="4878949"/>
                </a:lnTo>
                <a:lnTo>
                  <a:pt x="944072" y="4878949"/>
                </a:lnTo>
                <a:lnTo>
                  <a:pt x="944068" y="4878949"/>
                </a:lnTo>
                <a:lnTo>
                  <a:pt x="925430" y="4878949"/>
                </a:lnTo>
                <a:lnTo>
                  <a:pt x="824902" y="4878949"/>
                </a:lnTo>
                <a:lnTo>
                  <a:pt x="798253" y="4878949"/>
                </a:lnTo>
                <a:lnTo>
                  <a:pt x="708639" y="4878949"/>
                </a:lnTo>
                <a:lnTo>
                  <a:pt x="708405" y="4878949"/>
                </a:lnTo>
                <a:lnTo>
                  <a:pt x="708401" y="4878949"/>
                </a:lnTo>
                <a:lnTo>
                  <a:pt x="708397" y="4878949"/>
                </a:lnTo>
                <a:lnTo>
                  <a:pt x="690672" y="4878949"/>
                </a:lnTo>
                <a:lnTo>
                  <a:pt x="690437" y="4878949"/>
                </a:lnTo>
                <a:lnTo>
                  <a:pt x="690434" y="4878949"/>
                </a:lnTo>
                <a:lnTo>
                  <a:pt x="690430" y="4878949"/>
                </a:lnTo>
                <a:lnTo>
                  <a:pt x="689761" y="4878949"/>
                </a:lnTo>
                <a:lnTo>
                  <a:pt x="681990" y="4878949"/>
                </a:lnTo>
                <a:lnTo>
                  <a:pt x="681756" y="4878949"/>
                </a:lnTo>
                <a:lnTo>
                  <a:pt x="681753" y="4878949"/>
                </a:lnTo>
                <a:lnTo>
                  <a:pt x="681749" y="4878949"/>
                </a:lnTo>
                <a:lnTo>
                  <a:pt x="671793" y="4878949"/>
                </a:lnTo>
                <a:lnTo>
                  <a:pt x="664023" y="4878949"/>
                </a:lnTo>
                <a:lnTo>
                  <a:pt x="663789" y="4878949"/>
                </a:lnTo>
                <a:lnTo>
                  <a:pt x="663785" y="4878949"/>
                </a:lnTo>
                <a:lnTo>
                  <a:pt x="663781" y="4878949"/>
                </a:lnTo>
                <a:lnTo>
                  <a:pt x="663112" y="4878949"/>
                </a:lnTo>
                <a:lnTo>
                  <a:pt x="645144" y="4878949"/>
                </a:lnTo>
                <a:lnTo>
                  <a:pt x="428353" y="4878949"/>
                </a:lnTo>
                <a:lnTo>
                  <a:pt x="428119" y="4878949"/>
                </a:lnTo>
                <a:lnTo>
                  <a:pt x="428115" y="4878949"/>
                </a:lnTo>
                <a:lnTo>
                  <a:pt x="428111" y="4878949"/>
                </a:lnTo>
                <a:lnTo>
                  <a:pt x="409474" y="4878949"/>
                </a:lnTo>
                <a:lnTo>
                  <a:pt x="401704" y="4878949"/>
                </a:lnTo>
                <a:lnTo>
                  <a:pt x="401470" y="4878949"/>
                </a:lnTo>
                <a:lnTo>
                  <a:pt x="401466" y="4878949"/>
                </a:lnTo>
                <a:lnTo>
                  <a:pt x="401462" y="4878949"/>
                </a:lnTo>
                <a:lnTo>
                  <a:pt x="382826" y="4878949"/>
                </a:lnTo>
                <a:lnTo>
                  <a:pt x="382826" y="4878022"/>
                </a:lnTo>
                <a:lnTo>
                  <a:pt x="363616" y="4877077"/>
                </a:lnTo>
                <a:lnTo>
                  <a:pt x="362450" y="4876905"/>
                </a:lnTo>
                <a:lnTo>
                  <a:pt x="360898" y="4876823"/>
                </a:lnTo>
                <a:cubicBezTo>
                  <a:pt x="337450" y="4874352"/>
                  <a:pt x="314607" y="4869762"/>
                  <a:pt x="292547" y="4863240"/>
                </a:cubicBezTo>
                <a:lnTo>
                  <a:pt x="290939" y="4862685"/>
                </a:lnTo>
                <a:lnTo>
                  <a:pt x="290662" y="4862616"/>
                </a:lnTo>
                <a:lnTo>
                  <a:pt x="287903" y="4861637"/>
                </a:lnTo>
                <a:lnTo>
                  <a:pt x="260068" y="4852032"/>
                </a:lnTo>
                <a:lnTo>
                  <a:pt x="257211" y="4850752"/>
                </a:lnTo>
                <a:lnTo>
                  <a:pt x="256125" y="4850367"/>
                </a:lnTo>
                <a:lnTo>
                  <a:pt x="250255" y="4847636"/>
                </a:lnTo>
                <a:lnTo>
                  <a:pt x="228901" y="4838068"/>
                </a:lnTo>
                <a:lnTo>
                  <a:pt x="224915" y="4835845"/>
                </a:lnTo>
                <a:lnTo>
                  <a:pt x="223101" y="4835001"/>
                </a:lnTo>
                <a:lnTo>
                  <a:pt x="216732" y="4831280"/>
                </a:lnTo>
                <a:lnTo>
                  <a:pt x="199181" y="4821488"/>
                </a:lnTo>
                <a:lnTo>
                  <a:pt x="194206" y="4818119"/>
                </a:lnTo>
                <a:lnTo>
                  <a:pt x="191756" y="4816688"/>
                </a:lnTo>
                <a:lnTo>
                  <a:pt x="185691" y="4812352"/>
                </a:lnTo>
                <a:lnTo>
                  <a:pt x="171043" y="4802432"/>
                </a:lnTo>
                <a:lnTo>
                  <a:pt x="165239" y="4797733"/>
                </a:lnTo>
                <a:lnTo>
                  <a:pt x="162251" y="4795598"/>
                </a:lnTo>
                <a:lnTo>
                  <a:pt x="156813" y="4790911"/>
                </a:lnTo>
                <a:lnTo>
                  <a:pt x="144622" y="4781042"/>
                </a:lnTo>
                <a:lnTo>
                  <a:pt x="138166" y="4774843"/>
                </a:lnTo>
                <a:lnTo>
                  <a:pt x="134753" y="4771903"/>
                </a:lnTo>
                <a:lnTo>
                  <a:pt x="130074" y="4767074"/>
                </a:lnTo>
                <a:lnTo>
                  <a:pt x="120055" y="4757456"/>
                </a:lnTo>
                <a:lnTo>
                  <a:pt x="113140" y="4749604"/>
                </a:lnTo>
                <a:lnTo>
                  <a:pt x="109426" y="4745772"/>
                </a:lnTo>
                <a:lnTo>
                  <a:pt x="105548" y="4740983"/>
                </a:lnTo>
                <a:lnTo>
                  <a:pt x="97477" y="4731817"/>
                </a:lnTo>
                <a:lnTo>
                  <a:pt x="90314" y="4722168"/>
                </a:lnTo>
                <a:lnTo>
                  <a:pt x="86434" y="4717378"/>
                </a:lnTo>
                <a:lnTo>
                  <a:pt x="83347" y="4712785"/>
                </a:lnTo>
                <a:lnTo>
                  <a:pt x="77022" y="4704265"/>
                </a:lnTo>
                <a:lnTo>
                  <a:pt x="69837" y="4692685"/>
                </a:lnTo>
                <a:lnTo>
                  <a:pt x="65942" y="4686890"/>
                </a:lnTo>
                <a:lnTo>
                  <a:pt x="63602" y="4682635"/>
                </a:lnTo>
                <a:lnTo>
                  <a:pt x="58827" y="4674940"/>
                </a:lnTo>
                <a:lnTo>
                  <a:pt x="51860" y="4661288"/>
                </a:lnTo>
                <a:lnTo>
                  <a:pt x="48114" y="4654479"/>
                </a:lnTo>
                <a:lnTo>
                  <a:pt x="46451" y="4650690"/>
                </a:lnTo>
                <a:lnTo>
                  <a:pt x="43027" y="4643982"/>
                </a:lnTo>
                <a:lnTo>
                  <a:pt x="36529" y="4628092"/>
                </a:lnTo>
                <a:lnTo>
                  <a:pt x="33114" y="4620315"/>
                </a:lnTo>
                <a:lnTo>
                  <a:pt x="32037" y="4617109"/>
                </a:lnTo>
                <a:lnTo>
                  <a:pt x="29757" y="4611533"/>
                </a:lnTo>
                <a:lnTo>
                  <a:pt x="23992" y="4593159"/>
                </a:lnTo>
                <a:lnTo>
                  <a:pt x="21107" y="4584570"/>
                </a:lnTo>
                <a:lnTo>
                  <a:pt x="20507" y="4582050"/>
                </a:lnTo>
                <a:lnTo>
                  <a:pt x="19153" y="4577733"/>
                </a:lnTo>
                <a:lnTo>
                  <a:pt x="14395" y="4556392"/>
                </a:lnTo>
                <a:lnTo>
                  <a:pt x="12257" y="4547414"/>
                </a:lnTo>
                <a:lnTo>
                  <a:pt x="12007" y="4545675"/>
                </a:lnTo>
                <a:lnTo>
                  <a:pt x="11349" y="4542722"/>
                </a:lnTo>
                <a:lnTo>
                  <a:pt x="7886" y="4517048"/>
                </a:lnTo>
                <a:lnTo>
                  <a:pt x="6730" y="4509017"/>
                </a:lnTo>
                <a:lnTo>
                  <a:pt x="6688" y="4508172"/>
                </a:lnTo>
                <a:lnTo>
                  <a:pt x="6481" y="4506641"/>
                </a:lnTo>
                <a:lnTo>
                  <a:pt x="5670" y="4488834"/>
                </a:lnTo>
                <a:lnTo>
                  <a:pt x="4679" y="4488834"/>
                </a:lnTo>
                <a:lnTo>
                  <a:pt x="4679" y="4476023"/>
                </a:lnTo>
                <a:lnTo>
                  <a:pt x="3837" y="4469889"/>
                </a:lnTo>
                <a:lnTo>
                  <a:pt x="2681" y="4461995"/>
                </a:lnTo>
                <a:lnTo>
                  <a:pt x="2640" y="4461163"/>
                </a:lnTo>
                <a:lnTo>
                  <a:pt x="2433" y="4459658"/>
                </a:lnTo>
                <a:lnTo>
                  <a:pt x="1621" y="4442154"/>
                </a:lnTo>
                <a:lnTo>
                  <a:pt x="631" y="4442154"/>
                </a:lnTo>
                <a:lnTo>
                  <a:pt x="631" y="4426015"/>
                </a:lnTo>
                <a:lnTo>
                  <a:pt x="631" y="4420821"/>
                </a:lnTo>
                <a:lnTo>
                  <a:pt x="631" y="4420700"/>
                </a:lnTo>
                <a:lnTo>
                  <a:pt x="156" y="4420700"/>
                </a:lnTo>
                <a:lnTo>
                  <a:pt x="156" y="4350450"/>
                </a:lnTo>
                <a:lnTo>
                  <a:pt x="156" y="4340879"/>
                </a:lnTo>
                <a:lnTo>
                  <a:pt x="156" y="4127703"/>
                </a:lnTo>
                <a:lnTo>
                  <a:pt x="156" y="4025885"/>
                </a:lnTo>
                <a:lnTo>
                  <a:pt x="156" y="3997713"/>
                </a:lnTo>
                <a:lnTo>
                  <a:pt x="626" y="3997713"/>
                </a:lnTo>
                <a:lnTo>
                  <a:pt x="626" y="3911014"/>
                </a:lnTo>
                <a:lnTo>
                  <a:pt x="0" y="3911014"/>
                </a:lnTo>
                <a:lnTo>
                  <a:pt x="0" y="3908592"/>
                </a:lnTo>
                <a:lnTo>
                  <a:pt x="0" y="3570744"/>
                </a:lnTo>
                <a:lnTo>
                  <a:pt x="0" y="2076617"/>
                </a:lnTo>
                <a:lnTo>
                  <a:pt x="3302" y="2076617"/>
                </a:lnTo>
                <a:lnTo>
                  <a:pt x="3302" y="2074287"/>
                </a:lnTo>
                <a:lnTo>
                  <a:pt x="3302" y="1850939"/>
                </a:lnTo>
                <a:lnTo>
                  <a:pt x="3302" y="1850328"/>
                </a:lnTo>
                <a:lnTo>
                  <a:pt x="3301" y="1850319"/>
                </a:lnTo>
                <a:lnTo>
                  <a:pt x="3302" y="1850309"/>
                </a:lnTo>
                <a:lnTo>
                  <a:pt x="3302" y="1804040"/>
                </a:lnTo>
                <a:lnTo>
                  <a:pt x="3302" y="1803429"/>
                </a:lnTo>
                <a:lnTo>
                  <a:pt x="3301" y="1803419"/>
                </a:lnTo>
                <a:lnTo>
                  <a:pt x="3302" y="1803409"/>
                </a:lnTo>
                <a:lnTo>
                  <a:pt x="3302" y="1801662"/>
                </a:lnTo>
                <a:lnTo>
                  <a:pt x="3302" y="1770814"/>
                </a:lnTo>
                <a:lnTo>
                  <a:pt x="3302" y="1770203"/>
                </a:lnTo>
                <a:lnTo>
                  <a:pt x="3301" y="1770192"/>
                </a:lnTo>
                <a:lnTo>
                  <a:pt x="3302" y="1770183"/>
                </a:lnTo>
                <a:lnTo>
                  <a:pt x="3302" y="1754762"/>
                </a:lnTo>
                <a:lnTo>
                  <a:pt x="3302" y="1723914"/>
                </a:lnTo>
                <a:lnTo>
                  <a:pt x="3302" y="1723304"/>
                </a:lnTo>
                <a:lnTo>
                  <a:pt x="3301" y="1723293"/>
                </a:lnTo>
                <a:lnTo>
                  <a:pt x="3302" y="1723284"/>
                </a:lnTo>
                <a:lnTo>
                  <a:pt x="3302" y="1721537"/>
                </a:lnTo>
                <a:lnTo>
                  <a:pt x="3302" y="1674636"/>
                </a:lnTo>
                <a:lnTo>
                  <a:pt x="3302" y="1119326"/>
                </a:lnTo>
                <a:lnTo>
                  <a:pt x="3302" y="1118715"/>
                </a:lnTo>
                <a:lnTo>
                  <a:pt x="3301" y="1118705"/>
                </a:lnTo>
                <a:lnTo>
                  <a:pt x="3302" y="1118695"/>
                </a:lnTo>
                <a:lnTo>
                  <a:pt x="3302" y="1070048"/>
                </a:lnTo>
                <a:lnTo>
                  <a:pt x="3302" y="1039200"/>
                </a:lnTo>
                <a:lnTo>
                  <a:pt x="3302" y="1038590"/>
                </a:lnTo>
                <a:lnTo>
                  <a:pt x="3301" y="1038579"/>
                </a:lnTo>
                <a:lnTo>
                  <a:pt x="3302" y="1038570"/>
                </a:lnTo>
                <a:lnTo>
                  <a:pt x="3302" y="989923"/>
                </a:lnTo>
                <a:lnTo>
                  <a:pt x="5852" y="989923"/>
                </a:lnTo>
                <a:lnTo>
                  <a:pt x="8449" y="939781"/>
                </a:lnTo>
                <a:lnTo>
                  <a:pt x="8925" y="936738"/>
                </a:lnTo>
                <a:lnTo>
                  <a:pt x="9149" y="932684"/>
                </a:lnTo>
                <a:cubicBezTo>
                  <a:pt x="15946" y="871482"/>
                  <a:pt x="28569" y="811856"/>
                  <a:pt x="46506" y="754274"/>
                </a:cubicBezTo>
                <a:lnTo>
                  <a:pt x="48032" y="750077"/>
                </a:lnTo>
                <a:lnTo>
                  <a:pt x="48222" y="749353"/>
                </a:lnTo>
                <a:lnTo>
                  <a:pt x="50914" y="742152"/>
                </a:lnTo>
                <a:lnTo>
                  <a:pt x="77329" y="669497"/>
                </a:lnTo>
                <a:lnTo>
                  <a:pt x="80849" y="662039"/>
                </a:lnTo>
                <a:lnTo>
                  <a:pt x="81908" y="659204"/>
                </a:lnTo>
                <a:lnTo>
                  <a:pt x="89422" y="643883"/>
                </a:lnTo>
                <a:lnTo>
                  <a:pt x="115734" y="588143"/>
                </a:lnTo>
                <a:lnTo>
                  <a:pt x="121848" y="577740"/>
                </a:lnTo>
                <a:lnTo>
                  <a:pt x="124169" y="573005"/>
                </a:lnTo>
                <a:lnTo>
                  <a:pt x="134403" y="556381"/>
                </a:lnTo>
                <a:lnTo>
                  <a:pt x="161333" y="510566"/>
                </a:lnTo>
                <a:lnTo>
                  <a:pt x="170598" y="497582"/>
                </a:lnTo>
                <a:lnTo>
                  <a:pt x="174534" y="491185"/>
                </a:lnTo>
                <a:lnTo>
                  <a:pt x="186458" y="475354"/>
                </a:lnTo>
                <a:lnTo>
                  <a:pt x="213741" y="437120"/>
                </a:lnTo>
                <a:lnTo>
                  <a:pt x="226666" y="421970"/>
                </a:lnTo>
                <a:lnTo>
                  <a:pt x="232537" y="414172"/>
                </a:lnTo>
                <a:lnTo>
                  <a:pt x="245428" y="399975"/>
                </a:lnTo>
                <a:lnTo>
                  <a:pt x="272569" y="368155"/>
                </a:lnTo>
                <a:lnTo>
                  <a:pt x="289619" y="351302"/>
                </a:lnTo>
                <a:lnTo>
                  <a:pt x="297703" y="342396"/>
                </a:lnTo>
                <a:lnTo>
                  <a:pt x="310983" y="330181"/>
                </a:lnTo>
                <a:lnTo>
                  <a:pt x="337434" y="304029"/>
                </a:lnTo>
                <a:lnTo>
                  <a:pt x="359031" y="285980"/>
                </a:lnTo>
                <a:lnTo>
                  <a:pt x="369567" y="276286"/>
                </a:lnTo>
                <a:lnTo>
                  <a:pt x="382740" y="266163"/>
                </a:lnTo>
                <a:lnTo>
                  <a:pt x="407948" y="245095"/>
                </a:lnTo>
                <a:lnTo>
                  <a:pt x="434483" y="226398"/>
                </a:lnTo>
                <a:lnTo>
                  <a:pt x="447659" y="216272"/>
                </a:lnTo>
                <a:lnTo>
                  <a:pt x="460291" y="208214"/>
                </a:lnTo>
                <a:lnTo>
                  <a:pt x="483722" y="191703"/>
                </a:lnTo>
                <a:lnTo>
                  <a:pt x="515572" y="172948"/>
                </a:lnTo>
                <a:lnTo>
                  <a:pt x="531508" y="162782"/>
                </a:lnTo>
                <a:lnTo>
                  <a:pt x="543209" y="156673"/>
                </a:lnTo>
                <a:lnTo>
                  <a:pt x="564373" y="144210"/>
                </a:lnTo>
                <a:lnTo>
                  <a:pt x="601919" y="126023"/>
                </a:lnTo>
                <a:lnTo>
                  <a:pt x="620646" y="116246"/>
                </a:lnTo>
                <a:lnTo>
                  <a:pt x="631065" y="111905"/>
                </a:lnTo>
                <a:lnTo>
                  <a:pt x="649513" y="102967"/>
                </a:lnTo>
                <a:lnTo>
                  <a:pt x="693215" y="86005"/>
                </a:lnTo>
                <a:lnTo>
                  <a:pt x="714604" y="77091"/>
                </a:lnTo>
                <a:lnTo>
                  <a:pt x="723421" y="74281"/>
                </a:lnTo>
                <a:lnTo>
                  <a:pt x="738755" y="68329"/>
                </a:lnTo>
                <a:lnTo>
                  <a:pt x="789290" y="53281"/>
                </a:lnTo>
                <a:lnTo>
                  <a:pt x="812911" y="45751"/>
                </a:lnTo>
                <a:lnTo>
                  <a:pt x="819840" y="44184"/>
                </a:lnTo>
                <a:lnTo>
                  <a:pt x="831714" y="40649"/>
                </a:lnTo>
                <a:lnTo>
                  <a:pt x="890408" y="28233"/>
                </a:lnTo>
                <a:lnTo>
                  <a:pt x="891488" y="27989"/>
                </a:lnTo>
                <a:lnTo>
                  <a:pt x="891488" y="26353"/>
                </a:lnTo>
                <a:lnTo>
                  <a:pt x="920414" y="21016"/>
                </a:lnTo>
                <a:lnTo>
                  <a:pt x="926275" y="20363"/>
                </a:lnTo>
                <a:lnTo>
                  <a:pt x="936223" y="18645"/>
                </a:lnTo>
                <a:lnTo>
                  <a:pt x="1022729" y="9605"/>
                </a:lnTo>
                <a:lnTo>
                  <a:pt x="1049789" y="6588"/>
                </a:lnTo>
                <a:lnTo>
                  <a:pt x="1052637" y="6482"/>
                </a:lnTo>
                <a:lnTo>
                  <a:pt x="1057795" y="5941"/>
                </a:lnTo>
                <a:lnTo>
                  <a:pt x="1117794" y="3821"/>
                </a:lnTo>
                <a:lnTo>
                  <a:pt x="1117794" y="1237"/>
                </a:lnTo>
                <a:lnTo>
                  <a:pt x="1173109" y="1237"/>
                </a:lnTo>
                <a:lnTo>
                  <a:pt x="1190915" y="1237"/>
                </a:lnTo>
                <a:lnTo>
                  <a:pt x="1191329" y="1237"/>
                </a:lnTo>
                <a:lnTo>
                  <a:pt x="1191331" y="12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37100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B243513-C860-481A-B891-C8D2C3C9E5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658" y="1857854"/>
            <a:ext cx="2857979" cy="4655571"/>
          </a:xfrm>
          <a:custGeom>
            <a:avLst/>
            <a:gdLst>
              <a:gd name="connsiteX0" fmla="*/ 1428980 w 2857979"/>
              <a:gd name="connsiteY0" fmla="*/ 0 h 4655571"/>
              <a:gd name="connsiteX1" fmla="*/ 1428995 w 2857979"/>
              <a:gd name="connsiteY1" fmla="*/ 1 h 4655571"/>
              <a:gd name="connsiteX2" fmla="*/ 1496034 w 2857979"/>
              <a:gd name="connsiteY2" fmla="*/ 1 h 4655571"/>
              <a:gd name="connsiteX3" fmla="*/ 1496034 w 2857979"/>
              <a:gd name="connsiteY3" fmla="*/ 3215 h 4655571"/>
              <a:gd name="connsiteX4" fmla="*/ 1565136 w 2857979"/>
              <a:gd name="connsiteY4" fmla="*/ 6488 h 4655571"/>
              <a:gd name="connsiteX5" fmla="*/ 1569329 w 2857979"/>
              <a:gd name="connsiteY5" fmla="*/ 7088 h 4655571"/>
              <a:gd name="connsiteX6" fmla="*/ 1574913 w 2857979"/>
              <a:gd name="connsiteY6" fmla="*/ 7369 h 4655571"/>
              <a:gd name="connsiteX7" fmla="*/ 1820778 w 2857979"/>
              <a:gd name="connsiteY7" fmla="*/ 54447 h 4655571"/>
              <a:gd name="connsiteX8" fmla="*/ 1826563 w 2857979"/>
              <a:gd name="connsiteY8" fmla="*/ 56369 h 4655571"/>
              <a:gd name="connsiteX9" fmla="*/ 1827559 w 2857979"/>
              <a:gd name="connsiteY9" fmla="*/ 56610 h 4655571"/>
              <a:gd name="connsiteX10" fmla="*/ 1837483 w 2857979"/>
              <a:gd name="connsiteY10" fmla="*/ 60001 h 4655571"/>
              <a:gd name="connsiteX11" fmla="*/ 1937608 w 2857979"/>
              <a:gd name="connsiteY11" fmla="*/ 93290 h 4655571"/>
              <a:gd name="connsiteX12" fmla="*/ 1947886 w 2857979"/>
              <a:gd name="connsiteY12" fmla="*/ 97727 h 4655571"/>
              <a:gd name="connsiteX13" fmla="*/ 1951791 w 2857979"/>
              <a:gd name="connsiteY13" fmla="*/ 99062 h 4655571"/>
              <a:gd name="connsiteX14" fmla="*/ 1972906 w 2857979"/>
              <a:gd name="connsiteY14" fmla="*/ 108529 h 4655571"/>
              <a:gd name="connsiteX15" fmla="*/ 2049720 w 2857979"/>
              <a:gd name="connsiteY15" fmla="*/ 141688 h 4655571"/>
              <a:gd name="connsiteX16" fmla="*/ 2064057 w 2857979"/>
              <a:gd name="connsiteY16" fmla="*/ 149394 h 4655571"/>
              <a:gd name="connsiteX17" fmla="*/ 2070581 w 2857979"/>
              <a:gd name="connsiteY17" fmla="*/ 152319 h 4655571"/>
              <a:gd name="connsiteX18" fmla="*/ 2093493 w 2857979"/>
              <a:gd name="connsiteY18" fmla="*/ 165217 h 4655571"/>
              <a:gd name="connsiteX19" fmla="*/ 2156628 w 2857979"/>
              <a:gd name="connsiteY19" fmla="*/ 199153 h 4655571"/>
              <a:gd name="connsiteX20" fmla="*/ 2174520 w 2857979"/>
              <a:gd name="connsiteY20" fmla="*/ 210829 h 4655571"/>
              <a:gd name="connsiteX21" fmla="*/ 2183337 w 2857979"/>
              <a:gd name="connsiteY21" fmla="*/ 215789 h 4655571"/>
              <a:gd name="connsiteX22" fmla="*/ 2205153 w 2857979"/>
              <a:gd name="connsiteY22" fmla="*/ 230816 h 4655571"/>
              <a:gd name="connsiteX23" fmla="*/ 2257845 w 2857979"/>
              <a:gd name="connsiteY23" fmla="*/ 265197 h 4655571"/>
              <a:gd name="connsiteX24" fmla="*/ 2278722 w 2857979"/>
              <a:gd name="connsiteY24" fmla="*/ 281484 h 4655571"/>
              <a:gd name="connsiteX25" fmla="*/ 2289467 w 2857979"/>
              <a:gd name="connsiteY25" fmla="*/ 288883 h 4655571"/>
              <a:gd name="connsiteX26" fmla="*/ 2309032 w 2857979"/>
              <a:gd name="connsiteY26" fmla="*/ 305128 h 4655571"/>
              <a:gd name="connsiteX27" fmla="*/ 2352881 w 2857979"/>
              <a:gd name="connsiteY27" fmla="*/ 339335 h 4655571"/>
              <a:gd name="connsiteX28" fmla="*/ 2376107 w 2857979"/>
              <a:gd name="connsiteY28" fmla="*/ 360819 h 4655571"/>
              <a:gd name="connsiteX29" fmla="*/ 2388380 w 2857979"/>
              <a:gd name="connsiteY29" fmla="*/ 371008 h 4655571"/>
              <a:gd name="connsiteX30" fmla="*/ 2405214 w 2857979"/>
              <a:gd name="connsiteY30" fmla="*/ 387741 h 4655571"/>
              <a:gd name="connsiteX31" fmla="*/ 2441252 w 2857979"/>
              <a:gd name="connsiteY31" fmla="*/ 421077 h 4655571"/>
              <a:gd name="connsiteX32" fmla="*/ 2466127 w 2857979"/>
              <a:gd name="connsiteY32" fmla="*/ 448293 h 4655571"/>
              <a:gd name="connsiteX33" fmla="*/ 2479485 w 2857979"/>
              <a:gd name="connsiteY33" fmla="*/ 461571 h 4655571"/>
              <a:gd name="connsiteX34" fmla="*/ 2493436 w 2857979"/>
              <a:gd name="connsiteY34" fmla="*/ 478171 h 4655571"/>
              <a:gd name="connsiteX35" fmla="*/ 2522470 w 2857979"/>
              <a:gd name="connsiteY35" fmla="*/ 509938 h 4655571"/>
              <a:gd name="connsiteX36" fmla="*/ 2548236 w 2857979"/>
              <a:gd name="connsiteY36" fmla="*/ 543379 h 4655571"/>
              <a:gd name="connsiteX37" fmla="*/ 2562191 w 2857979"/>
              <a:gd name="connsiteY37" fmla="*/ 559982 h 4655571"/>
              <a:gd name="connsiteX38" fmla="*/ 2573295 w 2857979"/>
              <a:gd name="connsiteY38" fmla="*/ 575901 h 4655571"/>
              <a:gd name="connsiteX39" fmla="*/ 2596047 w 2857979"/>
              <a:gd name="connsiteY39" fmla="*/ 605429 h 4655571"/>
              <a:gd name="connsiteX40" fmla="*/ 2621892 w 2857979"/>
              <a:gd name="connsiteY40" fmla="*/ 645566 h 4655571"/>
              <a:gd name="connsiteX41" fmla="*/ 2635905 w 2857979"/>
              <a:gd name="connsiteY41" fmla="*/ 665649 h 4655571"/>
              <a:gd name="connsiteX42" fmla="*/ 2644323 w 2857979"/>
              <a:gd name="connsiteY42" fmla="*/ 680395 h 4655571"/>
              <a:gd name="connsiteX43" fmla="*/ 2661498 w 2857979"/>
              <a:gd name="connsiteY43" fmla="*/ 707066 h 4655571"/>
              <a:gd name="connsiteX44" fmla="*/ 2686560 w 2857979"/>
              <a:gd name="connsiteY44" fmla="*/ 754381 h 4655571"/>
              <a:gd name="connsiteX45" fmla="*/ 2700035 w 2857979"/>
              <a:gd name="connsiteY45" fmla="*/ 777982 h 4655571"/>
              <a:gd name="connsiteX46" fmla="*/ 2706018 w 2857979"/>
              <a:gd name="connsiteY46" fmla="*/ 791111 h 4655571"/>
              <a:gd name="connsiteX47" fmla="*/ 2718333 w 2857979"/>
              <a:gd name="connsiteY47" fmla="*/ 814360 h 4655571"/>
              <a:gd name="connsiteX48" fmla="*/ 2741708 w 2857979"/>
              <a:gd name="connsiteY48" fmla="*/ 869434 h 4655571"/>
              <a:gd name="connsiteX49" fmla="*/ 2753992 w 2857979"/>
              <a:gd name="connsiteY49" fmla="*/ 896389 h 4655571"/>
              <a:gd name="connsiteX50" fmla="*/ 2757865 w 2857979"/>
              <a:gd name="connsiteY50" fmla="*/ 907498 h 4655571"/>
              <a:gd name="connsiteX51" fmla="*/ 2766068 w 2857979"/>
              <a:gd name="connsiteY51" fmla="*/ 926823 h 4655571"/>
              <a:gd name="connsiteX52" fmla="*/ 2786805 w 2857979"/>
              <a:gd name="connsiteY52" fmla="*/ 990506 h 4655571"/>
              <a:gd name="connsiteX53" fmla="*/ 2797182 w 2857979"/>
              <a:gd name="connsiteY53" fmla="*/ 1020275 h 4655571"/>
              <a:gd name="connsiteX54" fmla="*/ 2799341 w 2857979"/>
              <a:gd name="connsiteY54" fmla="*/ 1029006 h 4655571"/>
              <a:gd name="connsiteX55" fmla="*/ 2804213 w 2857979"/>
              <a:gd name="connsiteY55" fmla="*/ 1043971 h 4655571"/>
              <a:gd name="connsiteX56" fmla="*/ 2821323 w 2857979"/>
              <a:gd name="connsiteY56" fmla="*/ 1117937 h 4655571"/>
              <a:gd name="connsiteX57" fmla="*/ 2829016 w 2857979"/>
              <a:gd name="connsiteY57" fmla="*/ 1149052 h 4655571"/>
              <a:gd name="connsiteX58" fmla="*/ 2829916 w 2857979"/>
              <a:gd name="connsiteY58" fmla="*/ 1155080 h 4655571"/>
              <a:gd name="connsiteX59" fmla="*/ 2832283 w 2857979"/>
              <a:gd name="connsiteY59" fmla="*/ 1165313 h 4655571"/>
              <a:gd name="connsiteX60" fmla="*/ 2844741 w 2857979"/>
              <a:gd name="connsiteY60" fmla="*/ 1254295 h 4655571"/>
              <a:gd name="connsiteX61" fmla="*/ 2848900 w 2857979"/>
              <a:gd name="connsiteY61" fmla="*/ 1282127 h 4655571"/>
              <a:gd name="connsiteX62" fmla="*/ 2849048 w 2857979"/>
              <a:gd name="connsiteY62" fmla="*/ 1285059 h 4655571"/>
              <a:gd name="connsiteX63" fmla="*/ 2849790 w 2857979"/>
              <a:gd name="connsiteY63" fmla="*/ 1290365 h 4655571"/>
              <a:gd name="connsiteX64" fmla="*/ 2852713 w 2857979"/>
              <a:gd name="connsiteY64" fmla="*/ 1352080 h 4655571"/>
              <a:gd name="connsiteX65" fmla="*/ 2856274 w 2857979"/>
              <a:gd name="connsiteY65" fmla="*/ 1352080 h 4655571"/>
              <a:gd name="connsiteX66" fmla="*/ 2856274 w 2857979"/>
              <a:gd name="connsiteY66" fmla="*/ 1408978 h 4655571"/>
              <a:gd name="connsiteX67" fmla="*/ 2856274 w 2857979"/>
              <a:gd name="connsiteY67" fmla="*/ 1427293 h 4655571"/>
              <a:gd name="connsiteX68" fmla="*/ 2856274 w 2857979"/>
              <a:gd name="connsiteY68" fmla="*/ 1427719 h 4655571"/>
              <a:gd name="connsiteX69" fmla="*/ 2856274 w 2857979"/>
              <a:gd name="connsiteY69" fmla="*/ 1427720 h 4655571"/>
              <a:gd name="connsiteX70" fmla="*/ 2857979 w 2857979"/>
              <a:gd name="connsiteY70" fmla="*/ 1427720 h 4655571"/>
              <a:gd name="connsiteX71" fmla="*/ 2857979 w 2857979"/>
              <a:gd name="connsiteY71" fmla="*/ 1613887 h 4655571"/>
              <a:gd name="connsiteX72" fmla="*/ 2857979 w 2857979"/>
              <a:gd name="connsiteY72" fmla="*/ 1701091 h 4655571"/>
              <a:gd name="connsiteX73" fmla="*/ 2857979 w 2857979"/>
              <a:gd name="connsiteY73" fmla="*/ 1856116 h 4655571"/>
              <a:gd name="connsiteX74" fmla="*/ 2857979 w 2857979"/>
              <a:gd name="connsiteY74" fmla="*/ 1877704 h 4655571"/>
              <a:gd name="connsiteX75" fmla="*/ 2857979 w 2857979"/>
              <a:gd name="connsiteY75" fmla="*/ 1953345 h 4655571"/>
              <a:gd name="connsiteX76" fmla="*/ 2856292 w 2857979"/>
              <a:gd name="connsiteY76" fmla="*/ 1953345 h 4655571"/>
              <a:gd name="connsiteX77" fmla="*/ 2856292 w 2857979"/>
              <a:gd name="connsiteY77" fmla="*/ 1982173 h 4655571"/>
              <a:gd name="connsiteX78" fmla="*/ 1592136 w 2857979"/>
              <a:gd name="connsiteY78" fmla="*/ 1982173 h 4655571"/>
              <a:gd name="connsiteX79" fmla="*/ 1820778 w 2857979"/>
              <a:gd name="connsiteY79" fmla="*/ 2025953 h 4655571"/>
              <a:gd name="connsiteX80" fmla="*/ 1826563 w 2857979"/>
              <a:gd name="connsiteY80" fmla="*/ 2027875 h 4655571"/>
              <a:gd name="connsiteX81" fmla="*/ 1827559 w 2857979"/>
              <a:gd name="connsiteY81" fmla="*/ 2028116 h 4655571"/>
              <a:gd name="connsiteX82" fmla="*/ 1837483 w 2857979"/>
              <a:gd name="connsiteY82" fmla="*/ 2031509 h 4655571"/>
              <a:gd name="connsiteX83" fmla="*/ 1937608 w 2857979"/>
              <a:gd name="connsiteY83" fmla="*/ 2064797 h 4655571"/>
              <a:gd name="connsiteX84" fmla="*/ 1947886 w 2857979"/>
              <a:gd name="connsiteY84" fmla="*/ 2069234 h 4655571"/>
              <a:gd name="connsiteX85" fmla="*/ 1951791 w 2857979"/>
              <a:gd name="connsiteY85" fmla="*/ 2070568 h 4655571"/>
              <a:gd name="connsiteX86" fmla="*/ 1972906 w 2857979"/>
              <a:gd name="connsiteY86" fmla="*/ 2080035 h 4655571"/>
              <a:gd name="connsiteX87" fmla="*/ 2049720 w 2857979"/>
              <a:gd name="connsiteY87" fmla="*/ 2113194 h 4655571"/>
              <a:gd name="connsiteX88" fmla="*/ 2064057 w 2857979"/>
              <a:gd name="connsiteY88" fmla="*/ 2120900 h 4655571"/>
              <a:gd name="connsiteX89" fmla="*/ 2070581 w 2857979"/>
              <a:gd name="connsiteY89" fmla="*/ 2123825 h 4655571"/>
              <a:gd name="connsiteX90" fmla="*/ 2093493 w 2857979"/>
              <a:gd name="connsiteY90" fmla="*/ 2136723 h 4655571"/>
              <a:gd name="connsiteX91" fmla="*/ 2156628 w 2857979"/>
              <a:gd name="connsiteY91" fmla="*/ 2170659 h 4655571"/>
              <a:gd name="connsiteX92" fmla="*/ 2174520 w 2857979"/>
              <a:gd name="connsiteY92" fmla="*/ 2182335 h 4655571"/>
              <a:gd name="connsiteX93" fmla="*/ 2183337 w 2857979"/>
              <a:gd name="connsiteY93" fmla="*/ 2187296 h 4655571"/>
              <a:gd name="connsiteX94" fmla="*/ 2205153 w 2857979"/>
              <a:gd name="connsiteY94" fmla="*/ 2202322 h 4655571"/>
              <a:gd name="connsiteX95" fmla="*/ 2257845 w 2857979"/>
              <a:gd name="connsiteY95" fmla="*/ 2236704 h 4655571"/>
              <a:gd name="connsiteX96" fmla="*/ 2278723 w 2857979"/>
              <a:gd name="connsiteY96" fmla="*/ 2252990 h 4655571"/>
              <a:gd name="connsiteX97" fmla="*/ 2289467 w 2857979"/>
              <a:gd name="connsiteY97" fmla="*/ 2260389 h 4655571"/>
              <a:gd name="connsiteX98" fmla="*/ 2309032 w 2857979"/>
              <a:gd name="connsiteY98" fmla="*/ 2276635 h 4655571"/>
              <a:gd name="connsiteX99" fmla="*/ 2352881 w 2857979"/>
              <a:gd name="connsiteY99" fmla="*/ 2310840 h 4655571"/>
              <a:gd name="connsiteX100" fmla="*/ 2376107 w 2857979"/>
              <a:gd name="connsiteY100" fmla="*/ 2332325 h 4655571"/>
              <a:gd name="connsiteX101" fmla="*/ 2388380 w 2857979"/>
              <a:gd name="connsiteY101" fmla="*/ 2342514 h 4655571"/>
              <a:gd name="connsiteX102" fmla="*/ 2405214 w 2857979"/>
              <a:gd name="connsiteY102" fmla="*/ 2359248 h 4655571"/>
              <a:gd name="connsiteX103" fmla="*/ 2441252 w 2857979"/>
              <a:gd name="connsiteY103" fmla="*/ 2392582 h 4655571"/>
              <a:gd name="connsiteX104" fmla="*/ 2466127 w 2857979"/>
              <a:gd name="connsiteY104" fmla="*/ 2419799 h 4655571"/>
              <a:gd name="connsiteX105" fmla="*/ 2479485 w 2857979"/>
              <a:gd name="connsiteY105" fmla="*/ 2433078 h 4655571"/>
              <a:gd name="connsiteX106" fmla="*/ 2493436 w 2857979"/>
              <a:gd name="connsiteY106" fmla="*/ 2449678 h 4655571"/>
              <a:gd name="connsiteX107" fmla="*/ 2522469 w 2857979"/>
              <a:gd name="connsiteY107" fmla="*/ 2481443 h 4655571"/>
              <a:gd name="connsiteX108" fmla="*/ 2548236 w 2857979"/>
              <a:gd name="connsiteY108" fmla="*/ 2514884 h 4655571"/>
              <a:gd name="connsiteX109" fmla="*/ 2562191 w 2857979"/>
              <a:gd name="connsiteY109" fmla="*/ 2531488 h 4655571"/>
              <a:gd name="connsiteX110" fmla="*/ 2573295 w 2857979"/>
              <a:gd name="connsiteY110" fmla="*/ 2547408 h 4655571"/>
              <a:gd name="connsiteX111" fmla="*/ 2596047 w 2857979"/>
              <a:gd name="connsiteY111" fmla="*/ 2576936 h 4655571"/>
              <a:gd name="connsiteX112" fmla="*/ 2621892 w 2857979"/>
              <a:gd name="connsiteY112" fmla="*/ 2617072 h 4655571"/>
              <a:gd name="connsiteX113" fmla="*/ 2635904 w 2857979"/>
              <a:gd name="connsiteY113" fmla="*/ 2637156 h 4655571"/>
              <a:gd name="connsiteX114" fmla="*/ 2644322 w 2857979"/>
              <a:gd name="connsiteY114" fmla="*/ 2651901 h 4655571"/>
              <a:gd name="connsiteX115" fmla="*/ 2661498 w 2857979"/>
              <a:gd name="connsiteY115" fmla="*/ 2678572 h 4655571"/>
              <a:gd name="connsiteX116" fmla="*/ 2686560 w 2857979"/>
              <a:gd name="connsiteY116" fmla="*/ 2725888 h 4655571"/>
              <a:gd name="connsiteX117" fmla="*/ 2700035 w 2857979"/>
              <a:gd name="connsiteY117" fmla="*/ 2749488 h 4655571"/>
              <a:gd name="connsiteX118" fmla="*/ 2706018 w 2857979"/>
              <a:gd name="connsiteY118" fmla="*/ 2762618 h 4655571"/>
              <a:gd name="connsiteX119" fmla="*/ 2718332 w 2857979"/>
              <a:gd name="connsiteY119" fmla="*/ 2785865 h 4655571"/>
              <a:gd name="connsiteX120" fmla="*/ 2741708 w 2857979"/>
              <a:gd name="connsiteY120" fmla="*/ 2840939 h 4655571"/>
              <a:gd name="connsiteX121" fmla="*/ 2753991 w 2857979"/>
              <a:gd name="connsiteY121" fmla="*/ 2867894 h 4655571"/>
              <a:gd name="connsiteX122" fmla="*/ 2757865 w 2857979"/>
              <a:gd name="connsiteY122" fmla="*/ 2879005 h 4655571"/>
              <a:gd name="connsiteX123" fmla="*/ 2766068 w 2857979"/>
              <a:gd name="connsiteY123" fmla="*/ 2898329 h 4655571"/>
              <a:gd name="connsiteX124" fmla="*/ 2786804 w 2857979"/>
              <a:gd name="connsiteY124" fmla="*/ 2962013 h 4655571"/>
              <a:gd name="connsiteX125" fmla="*/ 2797182 w 2857979"/>
              <a:gd name="connsiteY125" fmla="*/ 2991781 h 4655571"/>
              <a:gd name="connsiteX126" fmla="*/ 2799341 w 2857979"/>
              <a:gd name="connsiteY126" fmla="*/ 3000513 h 4655571"/>
              <a:gd name="connsiteX127" fmla="*/ 2804213 w 2857979"/>
              <a:gd name="connsiteY127" fmla="*/ 3015476 h 4655571"/>
              <a:gd name="connsiteX128" fmla="*/ 2821323 w 2857979"/>
              <a:gd name="connsiteY128" fmla="*/ 3089443 h 4655571"/>
              <a:gd name="connsiteX129" fmla="*/ 2829016 w 2857979"/>
              <a:gd name="connsiteY129" fmla="*/ 3120558 h 4655571"/>
              <a:gd name="connsiteX130" fmla="*/ 2829916 w 2857979"/>
              <a:gd name="connsiteY130" fmla="*/ 3126586 h 4655571"/>
              <a:gd name="connsiteX131" fmla="*/ 2832283 w 2857979"/>
              <a:gd name="connsiteY131" fmla="*/ 3136820 h 4655571"/>
              <a:gd name="connsiteX132" fmla="*/ 2844741 w 2857979"/>
              <a:gd name="connsiteY132" fmla="*/ 3225801 h 4655571"/>
              <a:gd name="connsiteX133" fmla="*/ 2848899 w 2857979"/>
              <a:gd name="connsiteY133" fmla="*/ 3253634 h 4655571"/>
              <a:gd name="connsiteX134" fmla="*/ 2849047 w 2857979"/>
              <a:gd name="connsiteY134" fmla="*/ 3256565 h 4655571"/>
              <a:gd name="connsiteX135" fmla="*/ 2849790 w 2857979"/>
              <a:gd name="connsiteY135" fmla="*/ 3261871 h 4655571"/>
              <a:gd name="connsiteX136" fmla="*/ 2852712 w 2857979"/>
              <a:gd name="connsiteY136" fmla="*/ 3323586 h 4655571"/>
              <a:gd name="connsiteX137" fmla="*/ 2856274 w 2857979"/>
              <a:gd name="connsiteY137" fmla="*/ 3323586 h 4655571"/>
              <a:gd name="connsiteX138" fmla="*/ 2856274 w 2857979"/>
              <a:gd name="connsiteY138" fmla="*/ 3325569 h 4655571"/>
              <a:gd name="connsiteX139" fmla="*/ 2856291 w 2857979"/>
              <a:gd name="connsiteY139" fmla="*/ 3325569 h 4655571"/>
              <a:gd name="connsiteX140" fmla="*/ 2856291 w 2857979"/>
              <a:gd name="connsiteY140" fmla="*/ 4287276 h 4655571"/>
              <a:gd name="connsiteX141" fmla="*/ 2856291 w 2857979"/>
              <a:gd name="connsiteY141" fmla="*/ 4655570 h 4655571"/>
              <a:gd name="connsiteX142" fmla="*/ 1429853 w 2857979"/>
              <a:gd name="connsiteY142" fmla="*/ 4655570 h 4655571"/>
              <a:gd name="connsiteX143" fmla="*/ 1429012 w 2857979"/>
              <a:gd name="connsiteY143" fmla="*/ 4655570 h 4655571"/>
              <a:gd name="connsiteX144" fmla="*/ 1428999 w 2857979"/>
              <a:gd name="connsiteY144" fmla="*/ 4655571 h 4655571"/>
              <a:gd name="connsiteX145" fmla="*/ 1428985 w 2857979"/>
              <a:gd name="connsiteY145" fmla="*/ 4655570 h 4655571"/>
              <a:gd name="connsiteX146" fmla="*/ 1361945 w 2857979"/>
              <a:gd name="connsiteY146" fmla="*/ 4655570 h 4655571"/>
              <a:gd name="connsiteX147" fmla="*/ 1361945 w 2857979"/>
              <a:gd name="connsiteY147" fmla="*/ 4652356 h 4655571"/>
              <a:gd name="connsiteX148" fmla="*/ 1292844 w 2857979"/>
              <a:gd name="connsiteY148" fmla="*/ 4649083 h 4655571"/>
              <a:gd name="connsiteX149" fmla="*/ 1288651 w 2857979"/>
              <a:gd name="connsiteY149" fmla="*/ 4648484 h 4655571"/>
              <a:gd name="connsiteX150" fmla="*/ 1283066 w 2857979"/>
              <a:gd name="connsiteY150" fmla="*/ 4648203 h 4655571"/>
              <a:gd name="connsiteX151" fmla="*/ 1037200 w 2857979"/>
              <a:gd name="connsiteY151" fmla="*/ 4601124 h 4655571"/>
              <a:gd name="connsiteX152" fmla="*/ 1031416 w 2857979"/>
              <a:gd name="connsiteY152" fmla="*/ 4599202 h 4655571"/>
              <a:gd name="connsiteX153" fmla="*/ 1030420 w 2857979"/>
              <a:gd name="connsiteY153" fmla="*/ 4598961 h 4655571"/>
              <a:gd name="connsiteX154" fmla="*/ 1020496 w 2857979"/>
              <a:gd name="connsiteY154" fmla="*/ 4595571 h 4655571"/>
              <a:gd name="connsiteX155" fmla="*/ 920371 w 2857979"/>
              <a:gd name="connsiteY155" fmla="*/ 4562281 h 4655571"/>
              <a:gd name="connsiteX156" fmla="*/ 910094 w 2857979"/>
              <a:gd name="connsiteY156" fmla="*/ 4557844 h 4655571"/>
              <a:gd name="connsiteX157" fmla="*/ 906188 w 2857979"/>
              <a:gd name="connsiteY157" fmla="*/ 4556510 h 4655571"/>
              <a:gd name="connsiteX158" fmla="*/ 885073 w 2857979"/>
              <a:gd name="connsiteY158" fmla="*/ 4547042 h 4655571"/>
              <a:gd name="connsiteX159" fmla="*/ 808258 w 2857979"/>
              <a:gd name="connsiteY159" fmla="*/ 4513883 h 4655571"/>
              <a:gd name="connsiteX160" fmla="*/ 793923 w 2857979"/>
              <a:gd name="connsiteY160" fmla="*/ 4506178 h 4655571"/>
              <a:gd name="connsiteX161" fmla="*/ 787398 w 2857979"/>
              <a:gd name="connsiteY161" fmla="*/ 4503253 h 4655571"/>
              <a:gd name="connsiteX162" fmla="*/ 764486 w 2857979"/>
              <a:gd name="connsiteY162" fmla="*/ 4490355 h 4655571"/>
              <a:gd name="connsiteX163" fmla="*/ 701352 w 2857979"/>
              <a:gd name="connsiteY163" fmla="*/ 4456419 h 4655571"/>
              <a:gd name="connsiteX164" fmla="*/ 683458 w 2857979"/>
              <a:gd name="connsiteY164" fmla="*/ 4444743 h 4655571"/>
              <a:gd name="connsiteX165" fmla="*/ 674642 w 2857979"/>
              <a:gd name="connsiteY165" fmla="*/ 4439782 h 4655571"/>
              <a:gd name="connsiteX166" fmla="*/ 652826 w 2857979"/>
              <a:gd name="connsiteY166" fmla="*/ 4424756 h 4655571"/>
              <a:gd name="connsiteX167" fmla="*/ 600135 w 2857979"/>
              <a:gd name="connsiteY167" fmla="*/ 4390374 h 4655571"/>
              <a:gd name="connsiteX168" fmla="*/ 579258 w 2857979"/>
              <a:gd name="connsiteY168" fmla="*/ 4374087 h 4655571"/>
              <a:gd name="connsiteX169" fmla="*/ 568512 w 2857979"/>
              <a:gd name="connsiteY169" fmla="*/ 4366689 h 4655571"/>
              <a:gd name="connsiteX170" fmla="*/ 548947 w 2857979"/>
              <a:gd name="connsiteY170" fmla="*/ 4350444 h 4655571"/>
              <a:gd name="connsiteX171" fmla="*/ 505098 w 2857979"/>
              <a:gd name="connsiteY171" fmla="*/ 4316236 h 4655571"/>
              <a:gd name="connsiteX172" fmla="*/ 481872 w 2857979"/>
              <a:gd name="connsiteY172" fmla="*/ 4294752 h 4655571"/>
              <a:gd name="connsiteX173" fmla="*/ 469600 w 2857979"/>
              <a:gd name="connsiteY173" fmla="*/ 4284563 h 4655571"/>
              <a:gd name="connsiteX174" fmla="*/ 452765 w 2857979"/>
              <a:gd name="connsiteY174" fmla="*/ 4267831 h 4655571"/>
              <a:gd name="connsiteX175" fmla="*/ 416727 w 2857979"/>
              <a:gd name="connsiteY175" fmla="*/ 4234495 h 4655571"/>
              <a:gd name="connsiteX176" fmla="*/ 391852 w 2857979"/>
              <a:gd name="connsiteY176" fmla="*/ 4207279 h 4655571"/>
              <a:gd name="connsiteX177" fmla="*/ 378494 w 2857979"/>
              <a:gd name="connsiteY177" fmla="*/ 4194000 h 4655571"/>
              <a:gd name="connsiteX178" fmla="*/ 364543 w 2857979"/>
              <a:gd name="connsiteY178" fmla="*/ 4177400 h 4655571"/>
              <a:gd name="connsiteX179" fmla="*/ 335510 w 2857979"/>
              <a:gd name="connsiteY179" fmla="*/ 4145634 h 4655571"/>
              <a:gd name="connsiteX180" fmla="*/ 309743 w 2857979"/>
              <a:gd name="connsiteY180" fmla="*/ 4112193 h 4655571"/>
              <a:gd name="connsiteX181" fmla="*/ 295789 w 2857979"/>
              <a:gd name="connsiteY181" fmla="*/ 4095590 h 4655571"/>
              <a:gd name="connsiteX182" fmla="*/ 284685 w 2857979"/>
              <a:gd name="connsiteY182" fmla="*/ 4079671 h 4655571"/>
              <a:gd name="connsiteX183" fmla="*/ 261931 w 2857979"/>
              <a:gd name="connsiteY183" fmla="*/ 4050142 h 4655571"/>
              <a:gd name="connsiteX184" fmla="*/ 236086 w 2857979"/>
              <a:gd name="connsiteY184" fmla="*/ 4010005 h 4655571"/>
              <a:gd name="connsiteX185" fmla="*/ 222075 w 2857979"/>
              <a:gd name="connsiteY185" fmla="*/ 3989922 h 4655571"/>
              <a:gd name="connsiteX186" fmla="*/ 213657 w 2857979"/>
              <a:gd name="connsiteY186" fmla="*/ 3975176 h 4655571"/>
              <a:gd name="connsiteX187" fmla="*/ 196482 w 2857979"/>
              <a:gd name="connsiteY187" fmla="*/ 3948505 h 4655571"/>
              <a:gd name="connsiteX188" fmla="*/ 171419 w 2857979"/>
              <a:gd name="connsiteY188" fmla="*/ 3901190 h 4655571"/>
              <a:gd name="connsiteX189" fmla="*/ 157945 w 2857979"/>
              <a:gd name="connsiteY189" fmla="*/ 3877589 h 4655571"/>
              <a:gd name="connsiteX190" fmla="*/ 151962 w 2857979"/>
              <a:gd name="connsiteY190" fmla="*/ 3864460 h 4655571"/>
              <a:gd name="connsiteX191" fmla="*/ 139646 w 2857979"/>
              <a:gd name="connsiteY191" fmla="*/ 3841212 h 4655571"/>
              <a:gd name="connsiteX192" fmla="*/ 116271 w 2857979"/>
              <a:gd name="connsiteY192" fmla="*/ 3786138 h 4655571"/>
              <a:gd name="connsiteX193" fmla="*/ 103988 w 2857979"/>
              <a:gd name="connsiteY193" fmla="*/ 3759183 h 4655571"/>
              <a:gd name="connsiteX194" fmla="*/ 100114 w 2857979"/>
              <a:gd name="connsiteY194" fmla="*/ 3748073 h 4655571"/>
              <a:gd name="connsiteX195" fmla="*/ 91911 w 2857979"/>
              <a:gd name="connsiteY195" fmla="*/ 3728748 h 4655571"/>
              <a:gd name="connsiteX196" fmla="*/ 71175 w 2857979"/>
              <a:gd name="connsiteY196" fmla="*/ 3665065 h 4655571"/>
              <a:gd name="connsiteX197" fmla="*/ 60797 w 2857979"/>
              <a:gd name="connsiteY197" fmla="*/ 3635297 h 4655571"/>
              <a:gd name="connsiteX198" fmla="*/ 58639 w 2857979"/>
              <a:gd name="connsiteY198" fmla="*/ 3626565 h 4655571"/>
              <a:gd name="connsiteX199" fmla="*/ 53766 w 2857979"/>
              <a:gd name="connsiteY199" fmla="*/ 3611600 h 4655571"/>
              <a:gd name="connsiteX200" fmla="*/ 36656 w 2857979"/>
              <a:gd name="connsiteY200" fmla="*/ 3537635 h 4655571"/>
              <a:gd name="connsiteX201" fmla="*/ 28964 w 2857979"/>
              <a:gd name="connsiteY201" fmla="*/ 3506519 h 4655571"/>
              <a:gd name="connsiteX202" fmla="*/ 28064 w 2857979"/>
              <a:gd name="connsiteY202" fmla="*/ 3500492 h 4655571"/>
              <a:gd name="connsiteX203" fmla="*/ 25696 w 2857979"/>
              <a:gd name="connsiteY203" fmla="*/ 3490258 h 4655571"/>
              <a:gd name="connsiteX204" fmla="*/ 13239 w 2857979"/>
              <a:gd name="connsiteY204" fmla="*/ 3401277 h 4655571"/>
              <a:gd name="connsiteX205" fmla="*/ 9079 w 2857979"/>
              <a:gd name="connsiteY205" fmla="*/ 3373444 h 4655571"/>
              <a:gd name="connsiteX206" fmla="*/ 8931 w 2857979"/>
              <a:gd name="connsiteY206" fmla="*/ 3370513 h 4655571"/>
              <a:gd name="connsiteX207" fmla="*/ 8188 w 2857979"/>
              <a:gd name="connsiteY207" fmla="*/ 3365207 h 4655571"/>
              <a:gd name="connsiteX208" fmla="*/ 6312 w 2857979"/>
              <a:gd name="connsiteY208" fmla="*/ 3325569 h 4655571"/>
              <a:gd name="connsiteX209" fmla="*/ 0 w 2857979"/>
              <a:gd name="connsiteY209" fmla="*/ 3325569 h 4655571"/>
              <a:gd name="connsiteX210" fmla="*/ 0 w 2857979"/>
              <a:gd name="connsiteY210" fmla="*/ 3323586 h 4655571"/>
              <a:gd name="connsiteX211" fmla="*/ 1688 w 2857979"/>
              <a:gd name="connsiteY211" fmla="*/ 3323586 h 4655571"/>
              <a:gd name="connsiteX212" fmla="*/ 1688 w 2857979"/>
              <a:gd name="connsiteY212" fmla="*/ 2339801 h 4655571"/>
              <a:gd name="connsiteX213" fmla="*/ 1688 w 2857979"/>
              <a:gd name="connsiteY213" fmla="*/ 1971507 h 4655571"/>
              <a:gd name="connsiteX214" fmla="*/ 6127 w 2857979"/>
              <a:gd name="connsiteY214" fmla="*/ 1971507 h 4655571"/>
              <a:gd name="connsiteX215" fmla="*/ 5267 w 2857979"/>
              <a:gd name="connsiteY215" fmla="*/ 1953345 h 4655571"/>
              <a:gd name="connsiteX216" fmla="*/ 1705 w 2857979"/>
              <a:gd name="connsiteY216" fmla="*/ 1953345 h 4655571"/>
              <a:gd name="connsiteX217" fmla="*/ 1705 w 2857979"/>
              <a:gd name="connsiteY217" fmla="*/ 1896448 h 4655571"/>
              <a:gd name="connsiteX218" fmla="*/ 1705 w 2857979"/>
              <a:gd name="connsiteY218" fmla="*/ 1878132 h 4655571"/>
              <a:gd name="connsiteX219" fmla="*/ 1705 w 2857979"/>
              <a:gd name="connsiteY219" fmla="*/ 1877704 h 4655571"/>
              <a:gd name="connsiteX220" fmla="*/ 0 w 2857979"/>
              <a:gd name="connsiteY220" fmla="*/ 1877704 h 4655571"/>
              <a:gd name="connsiteX221" fmla="*/ 0 w 2857979"/>
              <a:gd name="connsiteY221" fmla="*/ 1856116 h 4655571"/>
              <a:gd name="connsiteX222" fmla="*/ 0 w 2857979"/>
              <a:gd name="connsiteY222" fmla="*/ 1701091 h 4655571"/>
              <a:gd name="connsiteX223" fmla="*/ 0 w 2857979"/>
              <a:gd name="connsiteY223" fmla="*/ 1613887 h 4655571"/>
              <a:gd name="connsiteX224" fmla="*/ 0 w 2857979"/>
              <a:gd name="connsiteY224" fmla="*/ 1427719 h 4655571"/>
              <a:gd name="connsiteX225" fmla="*/ 0 w 2857979"/>
              <a:gd name="connsiteY225" fmla="*/ 1352080 h 4655571"/>
              <a:gd name="connsiteX226" fmla="*/ 1689 w 2857979"/>
              <a:gd name="connsiteY226" fmla="*/ 1352080 h 4655571"/>
              <a:gd name="connsiteX227" fmla="*/ 1689 w 2857979"/>
              <a:gd name="connsiteY227" fmla="*/ 1 h 4655571"/>
              <a:gd name="connsiteX228" fmla="*/ 1428126 w 2857979"/>
              <a:gd name="connsiteY228" fmla="*/ 1 h 4655571"/>
              <a:gd name="connsiteX229" fmla="*/ 1428967 w 2857979"/>
              <a:gd name="connsiteY229" fmla="*/ 1 h 46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2857979" h="4655571">
                <a:moveTo>
                  <a:pt x="1428980" y="0"/>
                </a:moveTo>
                <a:lnTo>
                  <a:pt x="1428995" y="1"/>
                </a:lnTo>
                <a:lnTo>
                  <a:pt x="1496034" y="1"/>
                </a:lnTo>
                <a:lnTo>
                  <a:pt x="1496034" y="3215"/>
                </a:lnTo>
                <a:lnTo>
                  <a:pt x="1565136" y="6488"/>
                </a:lnTo>
                <a:lnTo>
                  <a:pt x="1569329" y="7088"/>
                </a:lnTo>
                <a:lnTo>
                  <a:pt x="1574913" y="7369"/>
                </a:lnTo>
                <a:cubicBezTo>
                  <a:pt x="1659256" y="15935"/>
                  <a:pt x="1741426" y="31844"/>
                  <a:pt x="1820778" y="54447"/>
                </a:cubicBezTo>
                <a:lnTo>
                  <a:pt x="1826563" y="56369"/>
                </a:lnTo>
                <a:lnTo>
                  <a:pt x="1827559" y="56610"/>
                </a:lnTo>
                <a:lnTo>
                  <a:pt x="1837483" y="60001"/>
                </a:lnTo>
                <a:lnTo>
                  <a:pt x="1937608" y="93290"/>
                </a:lnTo>
                <a:lnTo>
                  <a:pt x="1947886" y="97727"/>
                </a:lnTo>
                <a:lnTo>
                  <a:pt x="1951791" y="99062"/>
                </a:lnTo>
                <a:lnTo>
                  <a:pt x="1972906" y="108529"/>
                </a:lnTo>
                <a:lnTo>
                  <a:pt x="2049720" y="141688"/>
                </a:lnTo>
                <a:lnTo>
                  <a:pt x="2064057" y="149394"/>
                </a:lnTo>
                <a:lnTo>
                  <a:pt x="2070581" y="152319"/>
                </a:lnTo>
                <a:lnTo>
                  <a:pt x="2093493" y="165217"/>
                </a:lnTo>
                <a:lnTo>
                  <a:pt x="2156628" y="199153"/>
                </a:lnTo>
                <a:lnTo>
                  <a:pt x="2174520" y="210829"/>
                </a:lnTo>
                <a:lnTo>
                  <a:pt x="2183337" y="215789"/>
                </a:lnTo>
                <a:lnTo>
                  <a:pt x="2205153" y="230816"/>
                </a:lnTo>
                <a:lnTo>
                  <a:pt x="2257845" y="265197"/>
                </a:lnTo>
                <a:lnTo>
                  <a:pt x="2278722" y="281484"/>
                </a:lnTo>
                <a:lnTo>
                  <a:pt x="2289467" y="288883"/>
                </a:lnTo>
                <a:lnTo>
                  <a:pt x="2309032" y="305128"/>
                </a:lnTo>
                <a:lnTo>
                  <a:pt x="2352881" y="339335"/>
                </a:lnTo>
                <a:lnTo>
                  <a:pt x="2376107" y="360819"/>
                </a:lnTo>
                <a:lnTo>
                  <a:pt x="2388380" y="371008"/>
                </a:lnTo>
                <a:lnTo>
                  <a:pt x="2405214" y="387741"/>
                </a:lnTo>
                <a:lnTo>
                  <a:pt x="2441252" y="421077"/>
                </a:lnTo>
                <a:lnTo>
                  <a:pt x="2466127" y="448293"/>
                </a:lnTo>
                <a:lnTo>
                  <a:pt x="2479485" y="461571"/>
                </a:lnTo>
                <a:lnTo>
                  <a:pt x="2493436" y="478171"/>
                </a:lnTo>
                <a:lnTo>
                  <a:pt x="2522470" y="509938"/>
                </a:lnTo>
                <a:lnTo>
                  <a:pt x="2548236" y="543379"/>
                </a:lnTo>
                <a:lnTo>
                  <a:pt x="2562191" y="559982"/>
                </a:lnTo>
                <a:lnTo>
                  <a:pt x="2573295" y="575901"/>
                </a:lnTo>
                <a:lnTo>
                  <a:pt x="2596047" y="605429"/>
                </a:lnTo>
                <a:lnTo>
                  <a:pt x="2621892" y="645566"/>
                </a:lnTo>
                <a:lnTo>
                  <a:pt x="2635905" y="665649"/>
                </a:lnTo>
                <a:lnTo>
                  <a:pt x="2644323" y="680395"/>
                </a:lnTo>
                <a:lnTo>
                  <a:pt x="2661498" y="707066"/>
                </a:lnTo>
                <a:lnTo>
                  <a:pt x="2686560" y="754381"/>
                </a:lnTo>
                <a:lnTo>
                  <a:pt x="2700035" y="777982"/>
                </a:lnTo>
                <a:lnTo>
                  <a:pt x="2706018" y="791111"/>
                </a:lnTo>
                <a:lnTo>
                  <a:pt x="2718333" y="814360"/>
                </a:lnTo>
                <a:lnTo>
                  <a:pt x="2741708" y="869434"/>
                </a:lnTo>
                <a:lnTo>
                  <a:pt x="2753992" y="896389"/>
                </a:lnTo>
                <a:lnTo>
                  <a:pt x="2757865" y="907498"/>
                </a:lnTo>
                <a:lnTo>
                  <a:pt x="2766068" y="926823"/>
                </a:lnTo>
                <a:lnTo>
                  <a:pt x="2786805" y="990506"/>
                </a:lnTo>
                <a:lnTo>
                  <a:pt x="2797182" y="1020275"/>
                </a:lnTo>
                <a:lnTo>
                  <a:pt x="2799341" y="1029006"/>
                </a:lnTo>
                <a:lnTo>
                  <a:pt x="2804213" y="1043971"/>
                </a:lnTo>
                <a:lnTo>
                  <a:pt x="2821323" y="1117937"/>
                </a:lnTo>
                <a:lnTo>
                  <a:pt x="2829016" y="1149052"/>
                </a:lnTo>
                <a:lnTo>
                  <a:pt x="2829916" y="1155080"/>
                </a:lnTo>
                <a:lnTo>
                  <a:pt x="2832283" y="1165313"/>
                </a:lnTo>
                <a:lnTo>
                  <a:pt x="2844741" y="1254295"/>
                </a:lnTo>
                <a:lnTo>
                  <a:pt x="2848900" y="1282127"/>
                </a:lnTo>
                <a:lnTo>
                  <a:pt x="2849048" y="1285059"/>
                </a:lnTo>
                <a:lnTo>
                  <a:pt x="2849790" y="1290365"/>
                </a:lnTo>
                <a:lnTo>
                  <a:pt x="2852713" y="1352080"/>
                </a:lnTo>
                <a:lnTo>
                  <a:pt x="2856274" y="1352080"/>
                </a:lnTo>
                <a:lnTo>
                  <a:pt x="2856274" y="1408978"/>
                </a:lnTo>
                <a:lnTo>
                  <a:pt x="2856274" y="1427293"/>
                </a:lnTo>
                <a:lnTo>
                  <a:pt x="2856274" y="1427719"/>
                </a:lnTo>
                <a:lnTo>
                  <a:pt x="2856274" y="1427720"/>
                </a:lnTo>
                <a:lnTo>
                  <a:pt x="2857979" y="1427720"/>
                </a:lnTo>
                <a:lnTo>
                  <a:pt x="2857979" y="1613887"/>
                </a:lnTo>
                <a:lnTo>
                  <a:pt x="2857979" y="1701091"/>
                </a:lnTo>
                <a:lnTo>
                  <a:pt x="2857979" y="1856116"/>
                </a:lnTo>
                <a:lnTo>
                  <a:pt x="2857979" y="1877704"/>
                </a:lnTo>
                <a:lnTo>
                  <a:pt x="2857979" y="1953345"/>
                </a:lnTo>
                <a:lnTo>
                  <a:pt x="2856292" y="1953345"/>
                </a:lnTo>
                <a:lnTo>
                  <a:pt x="2856292" y="1982173"/>
                </a:lnTo>
                <a:lnTo>
                  <a:pt x="1592136" y="1982173"/>
                </a:lnTo>
                <a:lnTo>
                  <a:pt x="1820778" y="2025953"/>
                </a:lnTo>
                <a:lnTo>
                  <a:pt x="1826563" y="2027875"/>
                </a:lnTo>
                <a:lnTo>
                  <a:pt x="1827559" y="2028116"/>
                </a:lnTo>
                <a:lnTo>
                  <a:pt x="1837483" y="2031509"/>
                </a:lnTo>
                <a:lnTo>
                  <a:pt x="1937608" y="2064797"/>
                </a:lnTo>
                <a:lnTo>
                  <a:pt x="1947886" y="2069234"/>
                </a:lnTo>
                <a:lnTo>
                  <a:pt x="1951791" y="2070568"/>
                </a:lnTo>
                <a:lnTo>
                  <a:pt x="1972906" y="2080035"/>
                </a:lnTo>
                <a:lnTo>
                  <a:pt x="2049720" y="2113194"/>
                </a:lnTo>
                <a:lnTo>
                  <a:pt x="2064057" y="2120900"/>
                </a:lnTo>
                <a:lnTo>
                  <a:pt x="2070581" y="2123825"/>
                </a:lnTo>
                <a:lnTo>
                  <a:pt x="2093493" y="2136723"/>
                </a:lnTo>
                <a:lnTo>
                  <a:pt x="2156628" y="2170659"/>
                </a:lnTo>
                <a:lnTo>
                  <a:pt x="2174520" y="2182335"/>
                </a:lnTo>
                <a:lnTo>
                  <a:pt x="2183337" y="2187296"/>
                </a:lnTo>
                <a:lnTo>
                  <a:pt x="2205153" y="2202322"/>
                </a:lnTo>
                <a:lnTo>
                  <a:pt x="2257845" y="2236704"/>
                </a:lnTo>
                <a:lnTo>
                  <a:pt x="2278723" y="2252990"/>
                </a:lnTo>
                <a:lnTo>
                  <a:pt x="2289467" y="2260389"/>
                </a:lnTo>
                <a:lnTo>
                  <a:pt x="2309032" y="2276635"/>
                </a:lnTo>
                <a:lnTo>
                  <a:pt x="2352881" y="2310840"/>
                </a:lnTo>
                <a:lnTo>
                  <a:pt x="2376107" y="2332325"/>
                </a:lnTo>
                <a:lnTo>
                  <a:pt x="2388380" y="2342514"/>
                </a:lnTo>
                <a:lnTo>
                  <a:pt x="2405214" y="2359248"/>
                </a:lnTo>
                <a:lnTo>
                  <a:pt x="2441252" y="2392582"/>
                </a:lnTo>
                <a:lnTo>
                  <a:pt x="2466127" y="2419799"/>
                </a:lnTo>
                <a:lnTo>
                  <a:pt x="2479485" y="2433078"/>
                </a:lnTo>
                <a:lnTo>
                  <a:pt x="2493436" y="2449678"/>
                </a:lnTo>
                <a:lnTo>
                  <a:pt x="2522469" y="2481443"/>
                </a:lnTo>
                <a:lnTo>
                  <a:pt x="2548236" y="2514884"/>
                </a:lnTo>
                <a:lnTo>
                  <a:pt x="2562191" y="2531488"/>
                </a:lnTo>
                <a:lnTo>
                  <a:pt x="2573295" y="2547408"/>
                </a:lnTo>
                <a:lnTo>
                  <a:pt x="2596047" y="2576936"/>
                </a:lnTo>
                <a:lnTo>
                  <a:pt x="2621892" y="2617072"/>
                </a:lnTo>
                <a:lnTo>
                  <a:pt x="2635904" y="2637156"/>
                </a:lnTo>
                <a:lnTo>
                  <a:pt x="2644322" y="2651901"/>
                </a:lnTo>
                <a:lnTo>
                  <a:pt x="2661498" y="2678572"/>
                </a:lnTo>
                <a:lnTo>
                  <a:pt x="2686560" y="2725888"/>
                </a:lnTo>
                <a:lnTo>
                  <a:pt x="2700035" y="2749488"/>
                </a:lnTo>
                <a:lnTo>
                  <a:pt x="2706018" y="2762618"/>
                </a:lnTo>
                <a:lnTo>
                  <a:pt x="2718332" y="2785865"/>
                </a:lnTo>
                <a:lnTo>
                  <a:pt x="2741708" y="2840939"/>
                </a:lnTo>
                <a:lnTo>
                  <a:pt x="2753991" y="2867894"/>
                </a:lnTo>
                <a:lnTo>
                  <a:pt x="2757865" y="2879005"/>
                </a:lnTo>
                <a:lnTo>
                  <a:pt x="2766068" y="2898329"/>
                </a:lnTo>
                <a:lnTo>
                  <a:pt x="2786804" y="2962013"/>
                </a:lnTo>
                <a:lnTo>
                  <a:pt x="2797182" y="2991781"/>
                </a:lnTo>
                <a:lnTo>
                  <a:pt x="2799341" y="3000513"/>
                </a:lnTo>
                <a:lnTo>
                  <a:pt x="2804213" y="3015476"/>
                </a:lnTo>
                <a:lnTo>
                  <a:pt x="2821323" y="3089443"/>
                </a:lnTo>
                <a:lnTo>
                  <a:pt x="2829016" y="3120558"/>
                </a:lnTo>
                <a:lnTo>
                  <a:pt x="2829916" y="3126586"/>
                </a:lnTo>
                <a:lnTo>
                  <a:pt x="2832283" y="3136820"/>
                </a:lnTo>
                <a:lnTo>
                  <a:pt x="2844741" y="3225801"/>
                </a:lnTo>
                <a:lnTo>
                  <a:pt x="2848899" y="3253634"/>
                </a:lnTo>
                <a:lnTo>
                  <a:pt x="2849047" y="3256565"/>
                </a:lnTo>
                <a:lnTo>
                  <a:pt x="2849790" y="3261871"/>
                </a:lnTo>
                <a:lnTo>
                  <a:pt x="2852712" y="3323586"/>
                </a:lnTo>
                <a:lnTo>
                  <a:pt x="2856274" y="3323586"/>
                </a:lnTo>
                <a:lnTo>
                  <a:pt x="2856274" y="3325569"/>
                </a:lnTo>
                <a:lnTo>
                  <a:pt x="2856291" y="3325569"/>
                </a:lnTo>
                <a:lnTo>
                  <a:pt x="2856291" y="4287276"/>
                </a:lnTo>
                <a:lnTo>
                  <a:pt x="2856291" y="4655570"/>
                </a:lnTo>
                <a:lnTo>
                  <a:pt x="1429853" y="4655570"/>
                </a:lnTo>
                <a:lnTo>
                  <a:pt x="1429012" y="4655570"/>
                </a:lnTo>
                <a:lnTo>
                  <a:pt x="1428999" y="4655571"/>
                </a:lnTo>
                <a:lnTo>
                  <a:pt x="1428985" y="4655570"/>
                </a:lnTo>
                <a:lnTo>
                  <a:pt x="1361945" y="4655570"/>
                </a:lnTo>
                <a:lnTo>
                  <a:pt x="1361945" y="4652356"/>
                </a:lnTo>
                <a:lnTo>
                  <a:pt x="1292844" y="4649083"/>
                </a:lnTo>
                <a:lnTo>
                  <a:pt x="1288651" y="4648484"/>
                </a:lnTo>
                <a:lnTo>
                  <a:pt x="1283066" y="4648203"/>
                </a:lnTo>
                <a:cubicBezTo>
                  <a:pt x="1198724" y="4639637"/>
                  <a:pt x="1116553" y="4623728"/>
                  <a:pt x="1037200" y="4601124"/>
                </a:cubicBezTo>
                <a:lnTo>
                  <a:pt x="1031416" y="4599202"/>
                </a:lnTo>
                <a:lnTo>
                  <a:pt x="1030420" y="4598961"/>
                </a:lnTo>
                <a:lnTo>
                  <a:pt x="1020496" y="4595571"/>
                </a:lnTo>
                <a:lnTo>
                  <a:pt x="920371" y="4562281"/>
                </a:lnTo>
                <a:lnTo>
                  <a:pt x="910094" y="4557844"/>
                </a:lnTo>
                <a:lnTo>
                  <a:pt x="906188" y="4556510"/>
                </a:lnTo>
                <a:lnTo>
                  <a:pt x="885073" y="4547042"/>
                </a:lnTo>
                <a:lnTo>
                  <a:pt x="808258" y="4513883"/>
                </a:lnTo>
                <a:lnTo>
                  <a:pt x="793923" y="4506178"/>
                </a:lnTo>
                <a:lnTo>
                  <a:pt x="787398" y="4503253"/>
                </a:lnTo>
                <a:lnTo>
                  <a:pt x="764486" y="4490355"/>
                </a:lnTo>
                <a:lnTo>
                  <a:pt x="701352" y="4456419"/>
                </a:lnTo>
                <a:lnTo>
                  <a:pt x="683458" y="4444743"/>
                </a:lnTo>
                <a:lnTo>
                  <a:pt x="674642" y="4439782"/>
                </a:lnTo>
                <a:lnTo>
                  <a:pt x="652826" y="4424756"/>
                </a:lnTo>
                <a:lnTo>
                  <a:pt x="600135" y="4390374"/>
                </a:lnTo>
                <a:lnTo>
                  <a:pt x="579258" y="4374087"/>
                </a:lnTo>
                <a:lnTo>
                  <a:pt x="568512" y="4366689"/>
                </a:lnTo>
                <a:lnTo>
                  <a:pt x="548947" y="4350444"/>
                </a:lnTo>
                <a:lnTo>
                  <a:pt x="505098" y="4316236"/>
                </a:lnTo>
                <a:lnTo>
                  <a:pt x="481872" y="4294752"/>
                </a:lnTo>
                <a:lnTo>
                  <a:pt x="469600" y="4284563"/>
                </a:lnTo>
                <a:lnTo>
                  <a:pt x="452765" y="4267831"/>
                </a:lnTo>
                <a:lnTo>
                  <a:pt x="416727" y="4234495"/>
                </a:lnTo>
                <a:lnTo>
                  <a:pt x="391852" y="4207279"/>
                </a:lnTo>
                <a:lnTo>
                  <a:pt x="378494" y="4194000"/>
                </a:lnTo>
                <a:lnTo>
                  <a:pt x="364543" y="4177400"/>
                </a:lnTo>
                <a:lnTo>
                  <a:pt x="335510" y="4145634"/>
                </a:lnTo>
                <a:lnTo>
                  <a:pt x="309743" y="4112193"/>
                </a:lnTo>
                <a:lnTo>
                  <a:pt x="295789" y="4095590"/>
                </a:lnTo>
                <a:lnTo>
                  <a:pt x="284685" y="4079671"/>
                </a:lnTo>
                <a:lnTo>
                  <a:pt x="261931" y="4050142"/>
                </a:lnTo>
                <a:lnTo>
                  <a:pt x="236086" y="4010005"/>
                </a:lnTo>
                <a:lnTo>
                  <a:pt x="222075" y="3989922"/>
                </a:lnTo>
                <a:lnTo>
                  <a:pt x="213657" y="3975176"/>
                </a:lnTo>
                <a:lnTo>
                  <a:pt x="196482" y="3948505"/>
                </a:lnTo>
                <a:lnTo>
                  <a:pt x="171419" y="3901190"/>
                </a:lnTo>
                <a:lnTo>
                  <a:pt x="157945" y="3877589"/>
                </a:lnTo>
                <a:lnTo>
                  <a:pt x="151962" y="3864460"/>
                </a:lnTo>
                <a:lnTo>
                  <a:pt x="139646" y="3841212"/>
                </a:lnTo>
                <a:lnTo>
                  <a:pt x="116271" y="3786138"/>
                </a:lnTo>
                <a:lnTo>
                  <a:pt x="103988" y="3759183"/>
                </a:lnTo>
                <a:lnTo>
                  <a:pt x="100114" y="3748073"/>
                </a:lnTo>
                <a:lnTo>
                  <a:pt x="91911" y="3728748"/>
                </a:lnTo>
                <a:lnTo>
                  <a:pt x="71175" y="3665065"/>
                </a:lnTo>
                <a:lnTo>
                  <a:pt x="60797" y="3635297"/>
                </a:lnTo>
                <a:lnTo>
                  <a:pt x="58639" y="3626565"/>
                </a:lnTo>
                <a:lnTo>
                  <a:pt x="53766" y="3611600"/>
                </a:lnTo>
                <a:lnTo>
                  <a:pt x="36656" y="3537635"/>
                </a:lnTo>
                <a:lnTo>
                  <a:pt x="28964" y="3506519"/>
                </a:lnTo>
                <a:lnTo>
                  <a:pt x="28064" y="3500492"/>
                </a:lnTo>
                <a:lnTo>
                  <a:pt x="25696" y="3490258"/>
                </a:lnTo>
                <a:lnTo>
                  <a:pt x="13239" y="3401277"/>
                </a:lnTo>
                <a:lnTo>
                  <a:pt x="9079" y="3373444"/>
                </a:lnTo>
                <a:lnTo>
                  <a:pt x="8931" y="3370513"/>
                </a:lnTo>
                <a:lnTo>
                  <a:pt x="8188" y="3365207"/>
                </a:lnTo>
                <a:lnTo>
                  <a:pt x="6312" y="3325569"/>
                </a:lnTo>
                <a:lnTo>
                  <a:pt x="0" y="3325569"/>
                </a:lnTo>
                <a:lnTo>
                  <a:pt x="0" y="3323586"/>
                </a:lnTo>
                <a:lnTo>
                  <a:pt x="1688" y="3323586"/>
                </a:lnTo>
                <a:lnTo>
                  <a:pt x="1688" y="2339801"/>
                </a:lnTo>
                <a:lnTo>
                  <a:pt x="1688" y="1971507"/>
                </a:lnTo>
                <a:lnTo>
                  <a:pt x="6127" y="1971507"/>
                </a:lnTo>
                <a:lnTo>
                  <a:pt x="5267" y="1953345"/>
                </a:lnTo>
                <a:lnTo>
                  <a:pt x="1705" y="1953345"/>
                </a:lnTo>
                <a:lnTo>
                  <a:pt x="1705" y="1896448"/>
                </a:lnTo>
                <a:lnTo>
                  <a:pt x="1705" y="1878132"/>
                </a:lnTo>
                <a:lnTo>
                  <a:pt x="1705" y="1877704"/>
                </a:lnTo>
                <a:lnTo>
                  <a:pt x="0" y="1877704"/>
                </a:lnTo>
                <a:lnTo>
                  <a:pt x="0" y="1856116"/>
                </a:lnTo>
                <a:lnTo>
                  <a:pt x="0" y="1701091"/>
                </a:lnTo>
                <a:lnTo>
                  <a:pt x="0" y="1613887"/>
                </a:lnTo>
                <a:lnTo>
                  <a:pt x="0" y="1427719"/>
                </a:lnTo>
                <a:lnTo>
                  <a:pt x="0" y="1352080"/>
                </a:lnTo>
                <a:lnTo>
                  <a:pt x="1689" y="1352080"/>
                </a:lnTo>
                <a:lnTo>
                  <a:pt x="1689" y="1"/>
                </a:lnTo>
                <a:lnTo>
                  <a:pt x="1428126" y="1"/>
                </a:lnTo>
                <a:lnTo>
                  <a:pt x="1428967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69060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3FB5265-BE70-4EE7-A3F2-04ACF23BC5E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53420" y="348394"/>
            <a:ext cx="2337656" cy="2337656"/>
          </a:xfrm>
          <a:custGeom>
            <a:avLst/>
            <a:gdLst>
              <a:gd name="connsiteX0" fmla="*/ 1168828 w 2337656"/>
              <a:gd name="connsiteY0" fmla="*/ 0 h 2337656"/>
              <a:gd name="connsiteX1" fmla="*/ 2337656 w 2337656"/>
              <a:gd name="connsiteY1" fmla="*/ 1168828 h 2337656"/>
              <a:gd name="connsiteX2" fmla="*/ 1288334 w 2337656"/>
              <a:gd name="connsiteY2" fmla="*/ 2331621 h 2337656"/>
              <a:gd name="connsiteX3" fmla="*/ 1184517 w 2337656"/>
              <a:gd name="connsiteY3" fmla="*/ 2336864 h 2337656"/>
              <a:gd name="connsiteX4" fmla="*/ 1184517 w 2337656"/>
              <a:gd name="connsiteY4" fmla="*/ 2337656 h 2337656"/>
              <a:gd name="connsiteX5" fmla="*/ 1168828 w 2337656"/>
              <a:gd name="connsiteY5" fmla="*/ 2337656 h 2337656"/>
              <a:gd name="connsiteX6" fmla="*/ 1 w 2337656"/>
              <a:gd name="connsiteY6" fmla="*/ 2337656 h 2337656"/>
              <a:gd name="connsiteX7" fmla="*/ 1 w 2337656"/>
              <a:gd name="connsiteY7" fmla="*/ 1168839 h 2337656"/>
              <a:gd name="connsiteX8" fmla="*/ 0 w 2337656"/>
              <a:gd name="connsiteY8" fmla="*/ 1168828 h 2337656"/>
              <a:gd name="connsiteX9" fmla="*/ 1 w 2337656"/>
              <a:gd name="connsiteY9" fmla="*/ 1168817 h 2337656"/>
              <a:gd name="connsiteX10" fmla="*/ 1 w 2337656"/>
              <a:gd name="connsiteY10" fmla="*/ 1113917 h 2337656"/>
              <a:gd name="connsiteX11" fmla="*/ 2773 w 2337656"/>
              <a:gd name="connsiteY11" fmla="*/ 1113917 h 2337656"/>
              <a:gd name="connsiteX12" fmla="*/ 6034 w 2337656"/>
              <a:gd name="connsiteY12" fmla="*/ 1049322 h 2337656"/>
              <a:gd name="connsiteX13" fmla="*/ 1168828 w 2337656"/>
              <a:gd name="connsiteY13" fmla="*/ 0 h 2337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37656" h="2337656">
                <a:moveTo>
                  <a:pt x="1168828" y="0"/>
                </a:moveTo>
                <a:cubicBezTo>
                  <a:pt x="1814354" y="0"/>
                  <a:pt x="2337656" y="523302"/>
                  <a:pt x="2337656" y="1168828"/>
                </a:cubicBezTo>
                <a:cubicBezTo>
                  <a:pt x="2337656" y="1774009"/>
                  <a:pt x="1877722" y="2271766"/>
                  <a:pt x="1288334" y="2331621"/>
                </a:cubicBezTo>
                <a:lnTo>
                  <a:pt x="1184517" y="2336864"/>
                </a:lnTo>
                <a:lnTo>
                  <a:pt x="1184517" y="2337656"/>
                </a:lnTo>
                <a:lnTo>
                  <a:pt x="1168828" y="2337656"/>
                </a:lnTo>
                <a:lnTo>
                  <a:pt x="1" y="2337656"/>
                </a:lnTo>
                <a:lnTo>
                  <a:pt x="1" y="1168839"/>
                </a:lnTo>
                <a:lnTo>
                  <a:pt x="0" y="1168828"/>
                </a:lnTo>
                <a:lnTo>
                  <a:pt x="1" y="1168817"/>
                </a:lnTo>
                <a:lnTo>
                  <a:pt x="1" y="1113917"/>
                </a:lnTo>
                <a:lnTo>
                  <a:pt x="2773" y="1113917"/>
                </a:lnTo>
                <a:lnTo>
                  <a:pt x="6034" y="1049322"/>
                </a:lnTo>
                <a:cubicBezTo>
                  <a:pt x="65891" y="459934"/>
                  <a:pt x="563647" y="0"/>
                  <a:pt x="116882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430EA44-BCD9-4CC4-B2D8-DF2CF82CB7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3420" y="2937656"/>
            <a:ext cx="3421968" cy="3438490"/>
          </a:xfrm>
          <a:custGeom>
            <a:avLst/>
            <a:gdLst>
              <a:gd name="connsiteX0" fmla="*/ 1029 w 3421968"/>
              <a:gd name="connsiteY0" fmla="*/ 0 h 3438490"/>
              <a:gd name="connsiteX1" fmla="*/ 751547 w 3421968"/>
              <a:gd name="connsiteY1" fmla="*/ 0 h 3438490"/>
              <a:gd name="connsiteX2" fmla="*/ 869868 w 3421968"/>
              <a:gd name="connsiteY2" fmla="*/ 0 h 3438490"/>
              <a:gd name="connsiteX3" fmla="*/ 870380 w 3421968"/>
              <a:gd name="connsiteY3" fmla="*/ 0 h 3438490"/>
              <a:gd name="connsiteX4" fmla="*/ 870388 w 3421968"/>
              <a:gd name="connsiteY4" fmla="*/ 0 h 3438490"/>
              <a:gd name="connsiteX5" fmla="*/ 870397 w 3421968"/>
              <a:gd name="connsiteY5" fmla="*/ 0 h 3438490"/>
              <a:gd name="connsiteX6" fmla="*/ 911231 w 3421968"/>
              <a:gd name="connsiteY6" fmla="*/ 0 h 3438490"/>
              <a:gd name="connsiteX7" fmla="*/ 931692 w 3421968"/>
              <a:gd name="connsiteY7" fmla="*/ 0 h 3438490"/>
              <a:gd name="connsiteX8" fmla="*/ 1620386 w 3421968"/>
              <a:gd name="connsiteY8" fmla="*/ 0 h 3438490"/>
              <a:gd name="connsiteX9" fmla="*/ 1620899 w 3421968"/>
              <a:gd name="connsiteY9" fmla="*/ 0 h 3438490"/>
              <a:gd name="connsiteX10" fmla="*/ 1620906 w 3421968"/>
              <a:gd name="connsiteY10" fmla="*/ 0 h 3438490"/>
              <a:gd name="connsiteX11" fmla="*/ 1620915 w 3421968"/>
              <a:gd name="connsiteY11" fmla="*/ 0 h 3438490"/>
              <a:gd name="connsiteX12" fmla="*/ 1661749 w 3421968"/>
              <a:gd name="connsiteY12" fmla="*/ 0 h 3438490"/>
              <a:gd name="connsiteX13" fmla="*/ 1682210 w 3421968"/>
              <a:gd name="connsiteY13" fmla="*/ 0 h 3438490"/>
              <a:gd name="connsiteX14" fmla="*/ 1800530 w 3421968"/>
              <a:gd name="connsiteY14" fmla="*/ 0 h 3438490"/>
              <a:gd name="connsiteX15" fmla="*/ 1801043 w 3421968"/>
              <a:gd name="connsiteY15" fmla="*/ 0 h 3438490"/>
              <a:gd name="connsiteX16" fmla="*/ 1801050 w 3421968"/>
              <a:gd name="connsiteY16" fmla="*/ 0 h 3438490"/>
              <a:gd name="connsiteX17" fmla="*/ 1801060 w 3421968"/>
              <a:gd name="connsiteY17" fmla="*/ 0 h 3438490"/>
              <a:gd name="connsiteX18" fmla="*/ 1841893 w 3421968"/>
              <a:gd name="connsiteY18" fmla="*/ 0 h 3438490"/>
              <a:gd name="connsiteX19" fmla="*/ 2551050 w 3421968"/>
              <a:gd name="connsiteY19" fmla="*/ 0 h 3438490"/>
              <a:gd name="connsiteX20" fmla="*/ 2551562 w 3421968"/>
              <a:gd name="connsiteY20" fmla="*/ 0 h 3438490"/>
              <a:gd name="connsiteX21" fmla="*/ 2551569 w 3421968"/>
              <a:gd name="connsiteY21" fmla="*/ 0 h 3438490"/>
              <a:gd name="connsiteX22" fmla="*/ 2551578 w 3421968"/>
              <a:gd name="connsiteY22" fmla="*/ 0 h 3438490"/>
              <a:gd name="connsiteX23" fmla="*/ 2592411 w 3421968"/>
              <a:gd name="connsiteY23" fmla="*/ 0 h 3438490"/>
              <a:gd name="connsiteX24" fmla="*/ 2592411 w 3421968"/>
              <a:gd name="connsiteY24" fmla="*/ 1958 h 3438490"/>
              <a:gd name="connsiteX25" fmla="*/ 2634501 w 3421968"/>
              <a:gd name="connsiteY25" fmla="*/ 3952 h 3438490"/>
              <a:gd name="connsiteX26" fmla="*/ 2637054 w 3421968"/>
              <a:gd name="connsiteY26" fmla="*/ 4316 h 3438490"/>
              <a:gd name="connsiteX27" fmla="*/ 2640456 w 3421968"/>
              <a:gd name="connsiteY27" fmla="*/ 4488 h 3438490"/>
              <a:gd name="connsiteX28" fmla="*/ 2790212 w 3421968"/>
              <a:gd name="connsiteY28" fmla="*/ 33163 h 3438490"/>
              <a:gd name="connsiteX29" fmla="*/ 2793735 w 3421968"/>
              <a:gd name="connsiteY29" fmla="*/ 34335 h 3438490"/>
              <a:gd name="connsiteX30" fmla="*/ 2794341 w 3421968"/>
              <a:gd name="connsiteY30" fmla="*/ 34481 h 3438490"/>
              <a:gd name="connsiteX31" fmla="*/ 2800387 w 3421968"/>
              <a:gd name="connsiteY31" fmla="*/ 36546 h 3438490"/>
              <a:gd name="connsiteX32" fmla="*/ 2861373 w 3421968"/>
              <a:gd name="connsiteY32" fmla="*/ 56823 h 3438490"/>
              <a:gd name="connsiteX33" fmla="*/ 2867633 w 3421968"/>
              <a:gd name="connsiteY33" fmla="*/ 59526 h 3438490"/>
              <a:gd name="connsiteX34" fmla="*/ 2870011 w 3421968"/>
              <a:gd name="connsiteY34" fmla="*/ 60338 h 3438490"/>
              <a:gd name="connsiteX35" fmla="*/ 2882873 w 3421968"/>
              <a:gd name="connsiteY35" fmla="*/ 66104 h 3438490"/>
              <a:gd name="connsiteX36" fmla="*/ 2929660 w 3421968"/>
              <a:gd name="connsiteY36" fmla="*/ 86302 h 3438490"/>
              <a:gd name="connsiteX37" fmla="*/ 2938392 w 3421968"/>
              <a:gd name="connsiteY37" fmla="*/ 90995 h 3438490"/>
              <a:gd name="connsiteX38" fmla="*/ 2942366 w 3421968"/>
              <a:gd name="connsiteY38" fmla="*/ 92777 h 3438490"/>
              <a:gd name="connsiteX39" fmla="*/ 2956322 w 3421968"/>
              <a:gd name="connsiteY39" fmla="*/ 100633 h 3438490"/>
              <a:gd name="connsiteX40" fmla="*/ 2994777 w 3421968"/>
              <a:gd name="connsiteY40" fmla="*/ 121304 h 3438490"/>
              <a:gd name="connsiteX41" fmla="*/ 3005676 w 3421968"/>
              <a:gd name="connsiteY41" fmla="*/ 128415 h 3438490"/>
              <a:gd name="connsiteX42" fmla="*/ 3011046 w 3421968"/>
              <a:gd name="connsiteY42" fmla="*/ 131437 h 3438490"/>
              <a:gd name="connsiteX43" fmla="*/ 3024334 w 3421968"/>
              <a:gd name="connsiteY43" fmla="*/ 140589 h 3438490"/>
              <a:gd name="connsiteX44" fmla="*/ 3056428 w 3421968"/>
              <a:gd name="connsiteY44" fmla="*/ 161531 h 3438490"/>
              <a:gd name="connsiteX45" fmla="*/ 3069144 w 3421968"/>
              <a:gd name="connsiteY45" fmla="*/ 171451 h 3438490"/>
              <a:gd name="connsiteX46" fmla="*/ 3075690 w 3421968"/>
              <a:gd name="connsiteY46" fmla="*/ 175957 h 3438490"/>
              <a:gd name="connsiteX47" fmla="*/ 3087606 w 3421968"/>
              <a:gd name="connsiteY47" fmla="*/ 185852 h 3438490"/>
              <a:gd name="connsiteX48" fmla="*/ 3114314 w 3421968"/>
              <a:gd name="connsiteY48" fmla="*/ 206688 h 3438490"/>
              <a:gd name="connsiteX49" fmla="*/ 3128462 w 3421968"/>
              <a:gd name="connsiteY49" fmla="*/ 219774 h 3438490"/>
              <a:gd name="connsiteX50" fmla="*/ 3135937 w 3421968"/>
              <a:gd name="connsiteY50" fmla="*/ 225980 h 3438490"/>
              <a:gd name="connsiteX51" fmla="*/ 3146191 w 3421968"/>
              <a:gd name="connsiteY51" fmla="*/ 236171 h 3438490"/>
              <a:gd name="connsiteX52" fmla="*/ 3168141 w 3421968"/>
              <a:gd name="connsiteY52" fmla="*/ 256476 h 3438490"/>
              <a:gd name="connsiteX53" fmla="*/ 3183293 w 3421968"/>
              <a:gd name="connsiteY53" fmla="*/ 273055 h 3438490"/>
              <a:gd name="connsiteX54" fmla="*/ 3191429 w 3421968"/>
              <a:gd name="connsiteY54" fmla="*/ 281142 h 3438490"/>
              <a:gd name="connsiteX55" fmla="*/ 3199926 w 3421968"/>
              <a:gd name="connsiteY55" fmla="*/ 291252 h 3438490"/>
              <a:gd name="connsiteX56" fmla="*/ 3217610 w 3421968"/>
              <a:gd name="connsiteY56" fmla="*/ 310602 h 3438490"/>
              <a:gd name="connsiteX57" fmla="*/ 3233304 w 3421968"/>
              <a:gd name="connsiteY57" fmla="*/ 330971 h 3438490"/>
              <a:gd name="connsiteX58" fmla="*/ 3241804 w 3421968"/>
              <a:gd name="connsiteY58" fmla="*/ 341083 h 3438490"/>
              <a:gd name="connsiteX59" fmla="*/ 3248568 w 3421968"/>
              <a:gd name="connsiteY59" fmla="*/ 350779 h 3438490"/>
              <a:gd name="connsiteX60" fmla="*/ 3262426 w 3421968"/>
              <a:gd name="connsiteY60" fmla="*/ 368765 h 3438490"/>
              <a:gd name="connsiteX61" fmla="*/ 3278169 w 3421968"/>
              <a:gd name="connsiteY61" fmla="*/ 393212 h 3438490"/>
              <a:gd name="connsiteX62" fmla="*/ 3286703 w 3421968"/>
              <a:gd name="connsiteY62" fmla="*/ 405445 h 3438490"/>
              <a:gd name="connsiteX63" fmla="*/ 3291831 w 3421968"/>
              <a:gd name="connsiteY63" fmla="*/ 414427 h 3438490"/>
              <a:gd name="connsiteX64" fmla="*/ 3302291 w 3421968"/>
              <a:gd name="connsiteY64" fmla="*/ 430672 h 3438490"/>
              <a:gd name="connsiteX65" fmla="*/ 3317558 w 3421968"/>
              <a:gd name="connsiteY65" fmla="*/ 459491 h 3438490"/>
              <a:gd name="connsiteX66" fmla="*/ 3325764 w 3421968"/>
              <a:gd name="connsiteY66" fmla="*/ 473866 h 3438490"/>
              <a:gd name="connsiteX67" fmla="*/ 3329409 w 3421968"/>
              <a:gd name="connsiteY67" fmla="*/ 481864 h 3438490"/>
              <a:gd name="connsiteX68" fmla="*/ 3336910 w 3421968"/>
              <a:gd name="connsiteY68" fmla="*/ 496024 h 3438490"/>
              <a:gd name="connsiteX69" fmla="*/ 3351148 w 3421968"/>
              <a:gd name="connsiteY69" fmla="*/ 529569 h 3438490"/>
              <a:gd name="connsiteX70" fmla="*/ 3358630 w 3421968"/>
              <a:gd name="connsiteY70" fmla="*/ 545987 h 3438490"/>
              <a:gd name="connsiteX71" fmla="*/ 3360989 w 3421968"/>
              <a:gd name="connsiteY71" fmla="*/ 552754 h 3438490"/>
              <a:gd name="connsiteX72" fmla="*/ 3365986 w 3421968"/>
              <a:gd name="connsiteY72" fmla="*/ 564525 h 3438490"/>
              <a:gd name="connsiteX73" fmla="*/ 3378616 w 3421968"/>
              <a:gd name="connsiteY73" fmla="*/ 603315 h 3438490"/>
              <a:gd name="connsiteX74" fmla="*/ 3384937 w 3421968"/>
              <a:gd name="connsiteY74" fmla="*/ 621447 h 3438490"/>
              <a:gd name="connsiteX75" fmla="*/ 3386251 w 3421968"/>
              <a:gd name="connsiteY75" fmla="*/ 626765 h 3438490"/>
              <a:gd name="connsiteX76" fmla="*/ 3389219 w 3421968"/>
              <a:gd name="connsiteY76" fmla="*/ 635880 h 3438490"/>
              <a:gd name="connsiteX77" fmla="*/ 3399642 w 3421968"/>
              <a:gd name="connsiteY77" fmla="*/ 680932 h 3438490"/>
              <a:gd name="connsiteX78" fmla="*/ 3404327 w 3421968"/>
              <a:gd name="connsiteY78" fmla="*/ 699885 h 3438490"/>
              <a:gd name="connsiteX79" fmla="*/ 3404875 w 3421968"/>
              <a:gd name="connsiteY79" fmla="*/ 703555 h 3438490"/>
              <a:gd name="connsiteX80" fmla="*/ 3406317 w 3421968"/>
              <a:gd name="connsiteY80" fmla="*/ 709789 h 3438490"/>
              <a:gd name="connsiteX81" fmla="*/ 3413905 w 3421968"/>
              <a:gd name="connsiteY81" fmla="*/ 763987 h 3438490"/>
              <a:gd name="connsiteX82" fmla="*/ 3416438 w 3421968"/>
              <a:gd name="connsiteY82" fmla="*/ 780941 h 3438490"/>
              <a:gd name="connsiteX83" fmla="*/ 3416529 w 3421968"/>
              <a:gd name="connsiteY83" fmla="*/ 782725 h 3438490"/>
              <a:gd name="connsiteX84" fmla="*/ 3416981 w 3421968"/>
              <a:gd name="connsiteY84" fmla="*/ 785957 h 3438490"/>
              <a:gd name="connsiteX85" fmla="*/ 3418760 w 3421968"/>
              <a:gd name="connsiteY85" fmla="*/ 823548 h 3438490"/>
              <a:gd name="connsiteX86" fmla="*/ 3420930 w 3421968"/>
              <a:gd name="connsiteY86" fmla="*/ 823548 h 3438490"/>
              <a:gd name="connsiteX87" fmla="*/ 3420930 w 3421968"/>
              <a:gd name="connsiteY87" fmla="*/ 858205 h 3438490"/>
              <a:gd name="connsiteX88" fmla="*/ 3420930 w 3421968"/>
              <a:gd name="connsiteY88" fmla="*/ 869361 h 3438490"/>
              <a:gd name="connsiteX89" fmla="*/ 3420930 w 3421968"/>
              <a:gd name="connsiteY89" fmla="*/ 869619 h 3438490"/>
              <a:gd name="connsiteX90" fmla="*/ 3420930 w 3421968"/>
              <a:gd name="connsiteY90" fmla="*/ 869620 h 3438490"/>
              <a:gd name="connsiteX91" fmla="*/ 3421968 w 3421968"/>
              <a:gd name="connsiteY91" fmla="*/ 869620 h 3438490"/>
              <a:gd name="connsiteX92" fmla="*/ 3421968 w 3421968"/>
              <a:gd name="connsiteY92" fmla="*/ 983014 h 3438490"/>
              <a:gd name="connsiteX93" fmla="*/ 3421968 w 3421968"/>
              <a:gd name="connsiteY93" fmla="*/ 1036130 h 3438490"/>
              <a:gd name="connsiteX94" fmla="*/ 3421968 w 3421968"/>
              <a:gd name="connsiteY94" fmla="*/ 1093947 h 3438490"/>
              <a:gd name="connsiteX95" fmla="*/ 3421968 w 3421968"/>
              <a:gd name="connsiteY95" fmla="*/ 1130555 h 3438490"/>
              <a:gd name="connsiteX96" fmla="*/ 3421968 w 3421968"/>
              <a:gd name="connsiteY96" fmla="*/ 1143704 h 3438490"/>
              <a:gd name="connsiteX97" fmla="*/ 3421968 w 3421968"/>
              <a:gd name="connsiteY97" fmla="*/ 1189777 h 3438490"/>
              <a:gd name="connsiteX98" fmla="*/ 3421968 w 3421968"/>
              <a:gd name="connsiteY98" fmla="*/ 1207341 h 3438490"/>
              <a:gd name="connsiteX99" fmla="*/ 3421968 w 3421968"/>
              <a:gd name="connsiteY99" fmla="*/ 1260457 h 3438490"/>
              <a:gd name="connsiteX100" fmla="*/ 3421968 w 3421968"/>
              <a:gd name="connsiteY100" fmla="*/ 1354882 h 3438490"/>
              <a:gd name="connsiteX101" fmla="*/ 3421968 w 3421968"/>
              <a:gd name="connsiteY101" fmla="*/ 1368031 h 3438490"/>
              <a:gd name="connsiteX102" fmla="*/ 3421968 w 3421968"/>
              <a:gd name="connsiteY102" fmla="*/ 1414104 h 3438490"/>
              <a:gd name="connsiteX103" fmla="*/ 3420940 w 3421968"/>
              <a:gd name="connsiteY103" fmla="*/ 1414104 h 3438490"/>
              <a:gd name="connsiteX104" fmla="*/ 3420940 w 3421968"/>
              <a:gd name="connsiteY104" fmla="*/ 2013324 h 3438490"/>
              <a:gd name="connsiteX105" fmla="*/ 3420940 w 3421968"/>
              <a:gd name="connsiteY105" fmla="*/ 2237651 h 3438490"/>
              <a:gd name="connsiteX106" fmla="*/ 3418236 w 3421968"/>
              <a:gd name="connsiteY106" fmla="*/ 2237651 h 3438490"/>
              <a:gd name="connsiteX107" fmla="*/ 3418760 w 3421968"/>
              <a:gd name="connsiteY107" fmla="*/ 2248714 h 3438490"/>
              <a:gd name="connsiteX108" fmla="*/ 3420930 w 3421968"/>
              <a:gd name="connsiteY108" fmla="*/ 2248714 h 3438490"/>
              <a:gd name="connsiteX109" fmla="*/ 3420930 w 3421968"/>
              <a:gd name="connsiteY109" fmla="*/ 2283369 h 3438490"/>
              <a:gd name="connsiteX110" fmla="*/ 3420930 w 3421968"/>
              <a:gd name="connsiteY110" fmla="*/ 2294524 h 3438490"/>
              <a:gd name="connsiteX111" fmla="*/ 3420930 w 3421968"/>
              <a:gd name="connsiteY111" fmla="*/ 2294786 h 3438490"/>
              <a:gd name="connsiteX112" fmla="*/ 3421968 w 3421968"/>
              <a:gd name="connsiteY112" fmla="*/ 2294786 h 3438490"/>
              <a:gd name="connsiteX113" fmla="*/ 3421968 w 3421968"/>
              <a:gd name="connsiteY113" fmla="*/ 2307936 h 3438490"/>
              <a:gd name="connsiteX114" fmla="*/ 3421968 w 3421968"/>
              <a:gd name="connsiteY114" fmla="*/ 2402360 h 3438490"/>
              <a:gd name="connsiteX115" fmla="*/ 3421968 w 3421968"/>
              <a:gd name="connsiteY115" fmla="*/ 2455476 h 3438490"/>
              <a:gd name="connsiteX116" fmla="*/ 3421968 w 3421968"/>
              <a:gd name="connsiteY116" fmla="*/ 2568870 h 3438490"/>
              <a:gd name="connsiteX117" fmla="*/ 3421968 w 3421968"/>
              <a:gd name="connsiteY117" fmla="*/ 2614942 h 3438490"/>
              <a:gd name="connsiteX118" fmla="*/ 3420939 w 3421968"/>
              <a:gd name="connsiteY118" fmla="*/ 2614942 h 3438490"/>
              <a:gd name="connsiteX119" fmla="*/ 3420939 w 3421968"/>
              <a:gd name="connsiteY119" fmla="*/ 3438489 h 3438490"/>
              <a:gd name="connsiteX120" fmla="*/ 2670421 w 3421968"/>
              <a:gd name="connsiteY120" fmla="*/ 3438489 h 3438490"/>
              <a:gd name="connsiteX121" fmla="*/ 2552100 w 3421968"/>
              <a:gd name="connsiteY121" fmla="*/ 3438489 h 3438490"/>
              <a:gd name="connsiteX122" fmla="*/ 2551589 w 3421968"/>
              <a:gd name="connsiteY122" fmla="*/ 3438489 h 3438490"/>
              <a:gd name="connsiteX123" fmla="*/ 2551580 w 3421968"/>
              <a:gd name="connsiteY123" fmla="*/ 3438490 h 3438490"/>
              <a:gd name="connsiteX124" fmla="*/ 2551571 w 3421968"/>
              <a:gd name="connsiteY124" fmla="*/ 3438489 h 3438490"/>
              <a:gd name="connsiteX125" fmla="*/ 2510738 w 3421968"/>
              <a:gd name="connsiteY125" fmla="*/ 3438489 h 3438490"/>
              <a:gd name="connsiteX126" fmla="*/ 2490276 w 3421968"/>
              <a:gd name="connsiteY126" fmla="*/ 3438489 h 3438490"/>
              <a:gd name="connsiteX127" fmla="*/ 1801582 w 3421968"/>
              <a:gd name="connsiteY127" fmla="*/ 3438489 h 3438490"/>
              <a:gd name="connsiteX128" fmla="*/ 1801070 w 3421968"/>
              <a:gd name="connsiteY128" fmla="*/ 3438489 h 3438490"/>
              <a:gd name="connsiteX129" fmla="*/ 1801062 w 3421968"/>
              <a:gd name="connsiteY129" fmla="*/ 3438490 h 3438490"/>
              <a:gd name="connsiteX130" fmla="*/ 1801053 w 3421968"/>
              <a:gd name="connsiteY130" fmla="*/ 3438489 h 3438490"/>
              <a:gd name="connsiteX131" fmla="*/ 1760220 w 3421968"/>
              <a:gd name="connsiteY131" fmla="*/ 3438489 h 3438490"/>
              <a:gd name="connsiteX132" fmla="*/ 1739758 w 3421968"/>
              <a:gd name="connsiteY132" fmla="*/ 3438489 h 3438490"/>
              <a:gd name="connsiteX133" fmla="*/ 1621438 w 3421968"/>
              <a:gd name="connsiteY133" fmla="*/ 3438489 h 3438490"/>
              <a:gd name="connsiteX134" fmla="*/ 1620926 w 3421968"/>
              <a:gd name="connsiteY134" fmla="*/ 3438489 h 3438490"/>
              <a:gd name="connsiteX135" fmla="*/ 1620917 w 3421968"/>
              <a:gd name="connsiteY135" fmla="*/ 3438490 h 3438490"/>
              <a:gd name="connsiteX136" fmla="*/ 1620908 w 3421968"/>
              <a:gd name="connsiteY136" fmla="*/ 3438489 h 3438490"/>
              <a:gd name="connsiteX137" fmla="*/ 1580075 w 3421968"/>
              <a:gd name="connsiteY137" fmla="*/ 3438489 h 3438490"/>
              <a:gd name="connsiteX138" fmla="*/ 870919 w 3421968"/>
              <a:gd name="connsiteY138" fmla="*/ 3438489 h 3438490"/>
              <a:gd name="connsiteX139" fmla="*/ 870408 w 3421968"/>
              <a:gd name="connsiteY139" fmla="*/ 3438489 h 3438490"/>
              <a:gd name="connsiteX140" fmla="*/ 870400 w 3421968"/>
              <a:gd name="connsiteY140" fmla="*/ 3438490 h 3438490"/>
              <a:gd name="connsiteX141" fmla="*/ 870390 w 3421968"/>
              <a:gd name="connsiteY141" fmla="*/ 3438489 h 3438490"/>
              <a:gd name="connsiteX142" fmla="*/ 829557 w 3421968"/>
              <a:gd name="connsiteY142" fmla="*/ 3438489 h 3438490"/>
              <a:gd name="connsiteX143" fmla="*/ 829557 w 3421968"/>
              <a:gd name="connsiteY143" fmla="*/ 3436532 h 3438490"/>
              <a:gd name="connsiteX144" fmla="*/ 787467 w 3421968"/>
              <a:gd name="connsiteY144" fmla="*/ 3434538 h 3438490"/>
              <a:gd name="connsiteX145" fmla="*/ 784914 w 3421968"/>
              <a:gd name="connsiteY145" fmla="*/ 3434173 h 3438490"/>
              <a:gd name="connsiteX146" fmla="*/ 781512 w 3421968"/>
              <a:gd name="connsiteY146" fmla="*/ 3434001 h 3438490"/>
              <a:gd name="connsiteX147" fmla="*/ 631756 w 3421968"/>
              <a:gd name="connsiteY147" fmla="*/ 3405326 h 3438490"/>
              <a:gd name="connsiteX148" fmla="*/ 628233 w 3421968"/>
              <a:gd name="connsiteY148" fmla="*/ 3404156 h 3438490"/>
              <a:gd name="connsiteX149" fmla="*/ 627626 w 3421968"/>
              <a:gd name="connsiteY149" fmla="*/ 3404009 h 3438490"/>
              <a:gd name="connsiteX150" fmla="*/ 621581 w 3421968"/>
              <a:gd name="connsiteY150" fmla="*/ 3401944 h 3438490"/>
              <a:gd name="connsiteX151" fmla="*/ 560595 w 3421968"/>
              <a:gd name="connsiteY151" fmla="*/ 3381667 h 3438490"/>
              <a:gd name="connsiteX152" fmla="*/ 554335 w 3421968"/>
              <a:gd name="connsiteY152" fmla="*/ 3378965 h 3438490"/>
              <a:gd name="connsiteX153" fmla="*/ 551956 w 3421968"/>
              <a:gd name="connsiteY153" fmla="*/ 3378152 h 3438490"/>
              <a:gd name="connsiteX154" fmla="*/ 539096 w 3421968"/>
              <a:gd name="connsiteY154" fmla="*/ 3372385 h 3438490"/>
              <a:gd name="connsiteX155" fmla="*/ 492308 w 3421968"/>
              <a:gd name="connsiteY155" fmla="*/ 3352188 h 3438490"/>
              <a:gd name="connsiteX156" fmla="*/ 483576 w 3421968"/>
              <a:gd name="connsiteY156" fmla="*/ 3347496 h 3438490"/>
              <a:gd name="connsiteX157" fmla="*/ 479602 w 3421968"/>
              <a:gd name="connsiteY157" fmla="*/ 3345713 h 3438490"/>
              <a:gd name="connsiteX158" fmla="*/ 465646 w 3421968"/>
              <a:gd name="connsiteY158" fmla="*/ 3337856 h 3438490"/>
              <a:gd name="connsiteX159" fmla="*/ 427191 w 3421968"/>
              <a:gd name="connsiteY159" fmla="*/ 3317186 h 3438490"/>
              <a:gd name="connsiteX160" fmla="*/ 416293 w 3421968"/>
              <a:gd name="connsiteY160" fmla="*/ 3310074 h 3438490"/>
              <a:gd name="connsiteX161" fmla="*/ 410923 w 3421968"/>
              <a:gd name="connsiteY161" fmla="*/ 3307054 h 3438490"/>
              <a:gd name="connsiteX162" fmla="*/ 397634 w 3421968"/>
              <a:gd name="connsiteY162" fmla="*/ 3297901 h 3438490"/>
              <a:gd name="connsiteX163" fmla="*/ 365540 w 3421968"/>
              <a:gd name="connsiteY163" fmla="*/ 3276960 h 3438490"/>
              <a:gd name="connsiteX164" fmla="*/ 352824 w 3421968"/>
              <a:gd name="connsiteY164" fmla="*/ 3267038 h 3438490"/>
              <a:gd name="connsiteX165" fmla="*/ 346279 w 3421968"/>
              <a:gd name="connsiteY165" fmla="*/ 3262532 h 3438490"/>
              <a:gd name="connsiteX166" fmla="*/ 334363 w 3421968"/>
              <a:gd name="connsiteY166" fmla="*/ 3252638 h 3438490"/>
              <a:gd name="connsiteX167" fmla="*/ 307654 w 3421968"/>
              <a:gd name="connsiteY167" fmla="*/ 3231802 h 3438490"/>
              <a:gd name="connsiteX168" fmla="*/ 293506 w 3421968"/>
              <a:gd name="connsiteY168" fmla="*/ 3218717 h 3438490"/>
              <a:gd name="connsiteX169" fmla="*/ 286031 w 3421968"/>
              <a:gd name="connsiteY169" fmla="*/ 3212510 h 3438490"/>
              <a:gd name="connsiteX170" fmla="*/ 275778 w 3421968"/>
              <a:gd name="connsiteY170" fmla="*/ 3202318 h 3438490"/>
              <a:gd name="connsiteX171" fmla="*/ 253827 w 3421968"/>
              <a:gd name="connsiteY171" fmla="*/ 3182013 h 3438490"/>
              <a:gd name="connsiteX172" fmla="*/ 238676 w 3421968"/>
              <a:gd name="connsiteY172" fmla="*/ 3165436 h 3438490"/>
              <a:gd name="connsiteX173" fmla="*/ 230539 w 3421968"/>
              <a:gd name="connsiteY173" fmla="*/ 3157349 h 3438490"/>
              <a:gd name="connsiteX174" fmla="*/ 222041 w 3421968"/>
              <a:gd name="connsiteY174" fmla="*/ 3147238 h 3438490"/>
              <a:gd name="connsiteX175" fmla="*/ 204358 w 3421968"/>
              <a:gd name="connsiteY175" fmla="*/ 3127888 h 3438490"/>
              <a:gd name="connsiteX176" fmla="*/ 188664 w 3421968"/>
              <a:gd name="connsiteY176" fmla="*/ 3107519 h 3438490"/>
              <a:gd name="connsiteX177" fmla="*/ 180164 w 3421968"/>
              <a:gd name="connsiteY177" fmla="*/ 3097407 h 3438490"/>
              <a:gd name="connsiteX178" fmla="*/ 173400 w 3421968"/>
              <a:gd name="connsiteY178" fmla="*/ 3087711 h 3438490"/>
              <a:gd name="connsiteX179" fmla="*/ 159541 w 3421968"/>
              <a:gd name="connsiteY179" fmla="*/ 3069725 h 3438490"/>
              <a:gd name="connsiteX180" fmla="*/ 143800 w 3421968"/>
              <a:gd name="connsiteY180" fmla="*/ 3045278 h 3438490"/>
              <a:gd name="connsiteX181" fmla="*/ 135264 w 3421968"/>
              <a:gd name="connsiteY181" fmla="*/ 3033045 h 3438490"/>
              <a:gd name="connsiteX182" fmla="*/ 130137 w 3421968"/>
              <a:gd name="connsiteY182" fmla="*/ 3024063 h 3438490"/>
              <a:gd name="connsiteX183" fmla="*/ 119676 w 3421968"/>
              <a:gd name="connsiteY183" fmla="*/ 3007818 h 3438490"/>
              <a:gd name="connsiteX184" fmla="*/ 104410 w 3421968"/>
              <a:gd name="connsiteY184" fmla="*/ 2978998 h 3438490"/>
              <a:gd name="connsiteX185" fmla="*/ 96204 w 3421968"/>
              <a:gd name="connsiteY185" fmla="*/ 2964623 h 3438490"/>
              <a:gd name="connsiteX186" fmla="*/ 92559 w 3421968"/>
              <a:gd name="connsiteY186" fmla="*/ 2956626 h 3438490"/>
              <a:gd name="connsiteX187" fmla="*/ 85058 w 3421968"/>
              <a:gd name="connsiteY187" fmla="*/ 2942467 h 3438490"/>
              <a:gd name="connsiteX188" fmla="*/ 70820 w 3421968"/>
              <a:gd name="connsiteY188" fmla="*/ 2908920 h 3438490"/>
              <a:gd name="connsiteX189" fmla="*/ 63338 w 3421968"/>
              <a:gd name="connsiteY189" fmla="*/ 2892502 h 3438490"/>
              <a:gd name="connsiteX190" fmla="*/ 60979 w 3421968"/>
              <a:gd name="connsiteY190" fmla="*/ 2885735 h 3438490"/>
              <a:gd name="connsiteX191" fmla="*/ 55983 w 3421968"/>
              <a:gd name="connsiteY191" fmla="*/ 2873964 h 3438490"/>
              <a:gd name="connsiteX192" fmla="*/ 43352 w 3421968"/>
              <a:gd name="connsiteY192" fmla="*/ 2835175 h 3438490"/>
              <a:gd name="connsiteX193" fmla="*/ 37031 w 3421968"/>
              <a:gd name="connsiteY193" fmla="*/ 2817044 h 3438490"/>
              <a:gd name="connsiteX194" fmla="*/ 35716 w 3421968"/>
              <a:gd name="connsiteY194" fmla="*/ 2811725 h 3438490"/>
              <a:gd name="connsiteX195" fmla="*/ 32748 w 3421968"/>
              <a:gd name="connsiteY195" fmla="*/ 2802610 h 3438490"/>
              <a:gd name="connsiteX196" fmla="*/ 22327 w 3421968"/>
              <a:gd name="connsiteY196" fmla="*/ 2757558 h 3438490"/>
              <a:gd name="connsiteX197" fmla="*/ 17642 w 3421968"/>
              <a:gd name="connsiteY197" fmla="*/ 2738606 h 3438490"/>
              <a:gd name="connsiteX198" fmla="*/ 17093 w 3421968"/>
              <a:gd name="connsiteY198" fmla="*/ 2734935 h 3438490"/>
              <a:gd name="connsiteX199" fmla="*/ 15651 w 3421968"/>
              <a:gd name="connsiteY199" fmla="*/ 2728701 h 3438490"/>
              <a:gd name="connsiteX200" fmla="*/ 8064 w 3421968"/>
              <a:gd name="connsiteY200" fmla="*/ 2674503 h 3438490"/>
              <a:gd name="connsiteX201" fmla="*/ 5530 w 3421968"/>
              <a:gd name="connsiteY201" fmla="*/ 2657550 h 3438490"/>
              <a:gd name="connsiteX202" fmla="*/ 5440 w 3421968"/>
              <a:gd name="connsiteY202" fmla="*/ 2655765 h 3438490"/>
              <a:gd name="connsiteX203" fmla="*/ 4988 w 3421968"/>
              <a:gd name="connsiteY203" fmla="*/ 2652533 h 3438490"/>
              <a:gd name="connsiteX204" fmla="*/ 3208 w 3421968"/>
              <a:gd name="connsiteY204" fmla="*/ 2614942 h 3438490"/>
              <a:gd name="connsiteX205" fmla="*/ 1039 w 3421968"/>
              <a:gd name="connsiteY205" fmla="*/ 2614942 h 3438490"/>
              <a:gd name="connsiteX206" fmla="*/ 1039 w 3421968"/>
              <a:gd name="connsiteY206" fmla="*/ 2580285 h 3438490"/>
              <a:gd name="connsiteX207" fmla="*/ 1039 w 3421968"/>
              <a:gd name="connsiteY207" fmla="*/ 2569130 h 3438490"/>
              <a:gd name="connsiteX208" fmla="*/ 1039 w 3421968"/>
              <a:gd name="connsiteY208" fmla="*/ 2568870 h 3438490"/>
              <a:gd name="connsiteX209" fmla="*/ 0 w 3421968"/>
              <a:gd name="connsiteY209" fmla="*/ 2568870 h 3438490"/>
              <a:gd name="connsiteX210" fmla="*/ 0 w 3421968"/>
              <a:gd name="connsiteY210" fmla="*/ 2455476 h 3438490"/>
              <a:gd name="connsiteX211" fmla="*/ 0 w 3421968"/>
              <a:gd name="connsiteY211" fmla="*/ 2402360 h 3438490"/>
              <a:gd name="connsiteX212" fmla="*/ 0 w 3421968"/>
              <a:gd name="connsiteY212" fmla="*/ 2307936 h 3438490"/>
              <a:gd name="connsiteX213" fmla="*/ 0 w 3421968"/>
              <a:gd name="connsiteY213" fmla="*/ 2294786 h 3438490"/>
              <a:gd name="connsiteX214" fmla="*/ 0 w 3421968"/>
              <a:gd name="connsiteY214" fmla="*/ 2248714 h 3438490"/>
              <a:gd name="connsiteX215" fmla="*/ 1028 w 3421968"/>
              <a:gd name="connsiteY215" fmla="*/ 2248714 h 3438490"/>
              <a:gd name="connsiteX216" fmla="*/ 1028 w 3421968"/>
              <a:gd name="connsiteY216" fmla="*/ 2231154 h 3438490"/>
              <a:gd name="connsiteX217" fmla="*/ 751546 w 3421968"/>
              <a:gd name="connsiteY217" fmla="*/ 2231154 h 3438490"/>
              <a:gd name="connsiteX218" fmla="*/ 771021 w 3421968"/>
              <a:gd name="connsiteY218" fmla="*/ 2231154 h 3438490"/>
              <a:gd name="connsiteX219" fmla="*/ 631756 w 3421968"/>
              <a:gd name="connsiteY219" fmla="*/ 2204488 h 3438490"/>
              <a:gd name="connsiteX220" fmla="*/ 628233 w 3421968"/>
              <a:gd name="connsiteY220" fmla="*/ 2203317 h 3438490"/>
              <a:gd name="connsiteX221" fmla="*/ 627626 w 3421968"/>
              <a:gd name="connsiteY221" fmla="*/ 2203170 h 3438490"/>
              <a:gd name="connsiteX222" fmla="*/ 621582 w 3421968"/>
              <a:gd name="connsiteY222" fmla="*/ 2201104 h 3438490"/>
              <a:gd name="connsiteX223" fmla="*/ 560595 w 3421968"/>
              <a:gd name="connsiteY223" fmla="*/ 2180828 h 3438490"/>
              <a:gd name="connsiteX224" fmla="*/ 554335 w 3421968"/>
              <a:gd name="connsiteY224" fmla="*/ 2178125 h 3438490"/>
              <a:gd name="connsiteX225" fmla="*/ 551956 w 3421968"/>
              <a:gd name="connsiteY225" fmla="*/ 2177313 h 3438490"/>
              <a:gd name="connsiteX226" fmla="*/ 539096 w 3421968"/>
              <a:gd name="connsiteY226" fmla="*/ 2171547 h 3438490"/>
              <a:gd name="connsiteX227" fmla="*/ 492308 w 3421968"/>
              <a:gd name="connsiteY227" fmla="*/ 2151350 h 3438490"/>
              <a:gd name="connsiteX228" fmla="*/ 483576 w 3421968"/>
              <a:gd name="connsiteY228" fmla="*/ 2146656 h 3438490"/>
              <a:gd name="connsiteX229" fmla="*/ 479602 w 3421968"/>
              <a:gd name="connsiteY229" fmla="*/ 2144873 h 3438490"/>
              <a:gd name="connsiteX230" fmla="*/ 465646 w 3421968"/>
              <a:gd name="connsiteY230" fmla="*/ 2137018 h 3438490"/>
              <a:gd name="connsiteX231" fmla="*/ 427191 w 3421968"/>
              <a:gd name="connsiteY231" fmla="*/ 2116347 h 3438490"/>
              <a:gd name="connsiteX232" fmla="*/ 416293 w 3421968"/>
              <a:gd name="connsiteY232" fmla="*/ 2109236 h 3438490"/>
              <a:gd name="connsiteX233" fmla="*/ 410923 w 3421968"/>
              <a:gd name="connsiteY233" fmla="*/ 2106214 h 3438490"/>
              <a:gd name="connsiteX234" fmla="*/ 397634 w 3421968"/>
              <a:gd name="connsiteY234" fmla="*/ 2097063 h 3438490"/>
              <a:gd name="connsiteX235" fmla="*/ 365540 w 3421968"/>
              <a:gd name="connsiteY235" fmla="*/ 2076120 h 3438490"/>
              <a:gd name="connsiteX236" fmla="*/ 352824 w 3421968"/>
              <a:gd name="connsiteY236" fmla="*/ 2066200 h 3438490"/>
              <a:gd name="connsiteX237" fmla="*/ 346279 w 3421968"/>
              <a:gd name="connsiteY237" fmla="*/ 2061693 h 3438490"/>
              <a:gd name="connsiteX238" fmla="*/ 334363 w 3421968"/>
              <a:gd name="connsiteY238" fmla="*/ 2051798 h 3438490"/>
              <a:gd name="connsiteX239" fmla="*/ 307654 w 3421968"/>
              <a:gd name="connsiteY239" fmla="*/ 2030964 h 3438490"/>
              <a:gd name="connsiteX240" fmla="*/ 293506 w 3421968"/>
              <a:gd name="connsiteY240" fmla="*/ 2017878 h 3438490"/>
              <a:gd name="connsiteX241" fmla="*/ 286031 w 3421968"/>
              <a:gd name="connsiteY241" fmla="*/ 2011671 h 3438490"/>
              <a:gd name="connsiteX242" fmla="*/ 275778 w 3421968"/>
              <a:gd name="connsiteY242" fmla="*/ 2001479 h 3438490"/>
              <a:gd name="connsiteX243" fmla="*/ 253827 w 3421968"/>
              <a:gd name="connsiteY243" fmla="*/ 1981175 h 3438490"/>
              <a:gd name="connsiteX244" fmla="*/ 238676 w 3421968"/>
              <a:gd name="connsiteY244" fmla="*/ 1964597 h 3438490"/>
              <a:gd name="connsiteX245" fmla="*/ 230539 w 3421968"/>
              <a:gd name="connsiteY245" fmla="*/ 1956509 h 3438490"/>
              <a:gd name="connsiteX246" fmla="*/ 222041 w 3421968"/>
              <a:gd name="connsiteY246" fmla="*/ 1946399 h 3438490"/>
              <a:gd name="connsiteX247" fmla="*/ 204358 w 3421968"/>
              <a:gd name="connsiteY247" fmla="*/ 1927050 h 3438490"/>
              <a:gd name="connsiteX248" fmla="*/ 188664 w 3421968"/>
              <a:gd name="connsiteY248" fmla="*/ 1906681 h 3438490"/>
              <a:gd name="connsiteX249" fmla="*/ 180164 w 3421968"/>
              <a:gd name="connsiteY249" fmla="*/ 1896567 h 3438490"/>
              <a:gd name="connsiteX250" fmla="*/ 173400 w 3421968"/>
              <a:gd name="connsiteY250" fmla="*/ 1886871 h 3438490"/>
              <a:gd name="connsiteX251" fmla="*/ 159541 w 3421968"/>
              <a:gd name="connsiteY251" fmla="*/ 1868886 h 3438490"/>
              <a:gd name="connsiteX252" fmla="*/ 143800 w 3421968"/>
              <a:gd name="connsiteY252" fmla="*/ 1844439 h 3438490"/>
              <a:gd name="connsiteX253" fmla="*/ 135265 w 3421968"/>
              <a:gd name="connsiteY253" fmla="*/ 1832206 h 3438490"/>
              <a:gd name="connsiteX254" fmla="*/ 130138 w 3421968"/>
              <a:gd name="connsiteY254" fmla="*/ 1823225 h 3438490"/>
              <a:gd name="connsiteX255" fmla="*/ 119676 w 3421968"/>
              <a:gd name="connsiteY255" fmla="*/ 1806980 h 3438490"/>
              <a:gd name="connsiteX256" fmla="*/ 104411 w 3421968"/>
              <a:gd name="connsiteY256" fmla="*/ 1778160 h 3438490"/>
              <a:gd name="connsiteX257" fmla="*/ 96204 w 3421968"/>
              <a:gd name="connsiteY257" fmla="*/ 1763784 h 3438490"/>
              <a:gd name="connsiteX258" fmla="*/ 92559 w 3421968"/>
              <a:gd name="connsiteY258" fmla="*/ 1755787 h 3438490"/>
              <a:gd name="connsiteX259" fmla="*/ 85058 w 3421968"/>
              <a:gd name="connsiteY259" fmla="*/ 1741627 h 3438490"/>
              <a:gd name="connsiteX260" fmla="*/ 70820 w 3421968"/>
              <a:gd name="connsiteY260" fmla="*/ 1708082 h 3438490"/>
              <a:gd name="connsiteX261" fmla="*/ 63338 w 3421968"/>
              <a:gd name="connsiteY261" fmla="*/ 1691664 h 3438490"/>
              <a:gd name="connsiteX262" fmla="*/ 60979 w 3421968"/>
              <a:gd name="connsiteY262" fmla="*/ 1684897 h 3438490"/>
              <a:gd name="connsiteX263" fmla="*/ 55983 w 3421968"/>
              <a:gd name="connsiteY263" fmla="*/ 1673126 h 3438490"/>
              <a:gd name="connsiteX264" fmla="*/ 43353 w 3421968"/>
              <a:gd name="connsiteY264" fmla="*/ 1634336 h 3438490"/>
              <a:gd name="connsiteX265" fmla="*/ 37031 w 3421968"/>
              <a:gd name="connsiteY265" fmla="*/ 1616205 h 3438490"/>
              <a:gd name="connsiteX266" fmla="*/ 35716 w 3421968"/>
              <a:gd name="connsiteY266" fmla="*/ 1610886 h 3438490"/>
              <a:gd name="connsiteX267" fmla="*/ 32748 w 3421968"/>
              <a:gd name="connsiteY267" fmla="*/ 1601772 h 3438490"/>
              <a:gd name="connsiteX268" fmla="*/ 22327 w 3421968"/>
              <a:gd name="connsiteY268" fmla="*/ 1556719 h 3438490"/>
              <a:gd name="connsiteX269" fmla="*/ 17642 w 3421968"/>
              <a:gd name="connsiteY269" fmla="*/ 1537767 h 3438490"/>
              <a:gd name="connsiteX270" fmla="*/ 17093 w 3421968"/>
              <a:gd name="connsiteY270" fmla="*/ 1534095 h 3438490"/>
              <a:gd name="connsiteX271" fmla="*/ 15651 w 3421968"/>
              <a:gd name="connsiteY271" fmla="*/ 1527861 h 3438490"/>
              <a:gd name="connsiteX272" fmla="*/ 8064 w 3421968"/>
              <a:gd name="connsiteY272" fmla="*/ 1473664 h 3438490"/>
              <a:gd name="connsiteX273" fmla="*/ 5531 w 3421968"/>
              <a:gd name="connsiteY273" fmla="*/ 1456711 h 3438490"/>
              <a:gd name="connsiteX274" fmla="*/ 5440 w 3421968"/>
              <a:gd name="connsiteY274" fmla="*/ 1454926 h 3438490"/>
              <a:gd name="connsiteX275" fmla="*/ 4988 w 3421968"/>
              <a:gd name="connsiteY275" fmla="*/ 1451693 h 3438490"/>
              <a:gd name="connsiteX276" fmla="*/ 3208 w 3421968"/>
              <a:gd name="connsiteY276" fmla="*/ 1414104 h 3438490"/>
              <a:gd name="connsiteX277" fmla="*/ 1039 w 3421968"/>
              <a:gd name="connsiteY277" fmla="*/ 1414104 h 3438490"/>
              <a:gd name="connsiteX278" fmla="*/ 1039 w 3421968"/>
              <a:gd name="connsiteY278" fmla="*/ 1379448 h 3438490"/>
              <a:gd name="connsiteX279" fmla="*/ 1039 w 3421968"/>
              <a:gd name="connsiteY279" fmla="*/ 1368291 h 3438490"/>
              <a:gd name="connsiteX280" fmla="*/ 1039 w 3421968"/>
              <a:gd name="connsiteY280" fmla="*/ 1368031 h 3438490"/>
              <a:gd name="connsiteX281" fmla="*/ 0 w 3421968"/>
              <a:gd name="connsiteY281" fmla="*/ 1368031 h 3438490"/>
              <a:gd name="connsiteX282" fmla="*/ 0 w 3421968"/>
              <a:gd name="connsiteY282" fmla="*/ 1354882 h 3438490"/>
              <a:gd name="connsiteX283" fmla="*/ 0 w 3421968"/>
              <a:gd name="connsiteY283" fmla="*/ 1260457 h 3438490"/>
              <a:gd name="connsiteX284" fmla="*/ 0 w 3421968"/>
              <a:gd name="connsiteY284" fmla="*/ 1207341 h 3438490"/>
              <a:gd name="connsiteX285" fmla="*/ 0 w 3421968"/>
              <a:gd name="connsiteY285" fmla="*/ 1143704 h 3438490"/>
              <a:gd name="connsiteX286" fmla="*/ 0 w 3421968"/>
              <a:gd name="connsiteY286" fmla="*/ 1130555 h 3438490"/>
              <a:gd name="connsiteX287" fmla="*/ 0 w 3421968"/>
              <a:gd name="connsiteY287" fmla="*/ 1093946 h 3438490"/>
              <a:gd name="connsiteX288" fmla="*/ 0 w 3421968"/>
              <a:gd name="connsiteY288" fmla="*/ 1047875 h 3438490"/>
              <a:gd name="connsiteX289" fmla="*/ 0 w 3421968"/>
              <a:gd name="connsiteY289" fmla="*/ 1036130 h 3438490"/>
              <a:gd name="connsiteX290" fmla="*/ 0 w 3421968"/>
              <a:gd name="connsiteY290" fmla="*/ 983014 h 3438490"/>
              <a:gd name="connsiteX291" fmla="*/ 0 w 3421968"/>
              <a:gd name="connsiteY291" fmla="*/ 869619 h 3438490"/>
              <a:gd name="connsiteX292" fmla="*/ 0 w 3421968"/>
              <a:gd name="connsiteY292" fmla="*/ 823548 h 3438490"/>
              <a:gd name="connsiteX293" fmla="*/ 1029 w 3421968"/>
              <a:gd name="connsiteY293" fmla="*/ 823548 h 3438490"/>
              <a:gd name="connsiteX294" fmla="*/ 1029 w 3421968"/>
              <a:gd name="connsiteY294" fmla="*/ 224327 h 343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</a:cxnLst>
            <a:rect l="l" t="t" r="r" b="b"/>
            <a:pathLst>
              <a:path w="3421968" h="3438490">
                <a:moveTo>
                  <a:pt x="1029" y="0"/>
                </a:moveTo>
                <a:lnTo>
                  <a:pt x="751547" y="0"/>
                </a:lnTo>
                <a:lnTo>
                  <a:pt x="869868" y="0"/>
                </a:lnTo>
                <a:lnTo>
                  <a:pt x="870380" y="0"/>
                </a:lnTo>
                <a:lnTo>
                  <a:pt x="870388" y="0"/>
                </a:lnTo>
                <a:lnTo>
                  <a:pt x="870397" y="0"/>
                </a:lnTo>
                <a:lnTo>
                  <a:pt x="911231" y="0"/>
                </a:lnTo>
                <a:lnTo>
                  <a:pt x="931692" y="0"/>
                </a:lnTo>
                <a:lnTo>
                  <a:pt x="1620386" y="0"/>
                </a:lnTo>
                <a:lnTo>
                  <a:pt x="1620899" y="0"/>
                </a:lnTo>
                <a:lnTo>
                  <a:pt x="1620906" y="0"/>
                </a:lnTo>
                <a:lnTo>
                  <a:pt x="1620915" y="0"/>
                </a:lnTo>
                <a:lnTo>
                  <a:pt x="1661749" y="0"/>
                </a:lnTo>
                <a:lnTo>
                  <a:pt x="1682210" y="0"/>
                </a:lnTo>
                <a:lnTo>
                  <a:pt x="1800530" y="0"/>
                </a:lnTo>
                <a:lnTo>
                  <a:pt x="1801043" y="0"/>
                </a:lnTo>
                <a:lnTo>
                  <a:pt x="1801050" y="0"/>
                </a:lnTo>
                <a:lnTo>
                  <a:pt x="1801060" y="0"/>
                </a:lnTo>
                <a:lnTo>
                  <a:pt x="1841893" y="0"/>
                </a:lnTo>
                <a:lnTo>
                  <a:pt x="2551050" y="0"/>
                </a:lnTo>
                <a:lnTo>
                  <a:pt x="2551562" y="0"/>
                </a:lnTo>
                <a:lnTo>
                  <a:pt x="2551569" y="0"/>
                </a:lnTo>
                <a:lnTo>
                  <a:pt x="2551578" y="0"/>
                </a:lnTo>
                <a:lnTo>
                  <a:pt x="2592411" y="0"/>
                </a:lnTo>
                <a:lnTo>
                  <a:pt x="2592411" y="1958"/>
                </a:lnTo>
                <a:lnTo>
                  <a:pt x="2634501" y="3952"/>
                </a:lnTo>
                <a:lnTo>
                  <a:pt x="2637054" y="4316"/>
                </a:lnTo>
                <a:lnTo>
                  <a:pt x="2640456" y="4488"/>
                </a:lnTo>
                <a:cubicBezTo>
                  <a:pt x="2691829" y="9705"/>
                  <a:pt x="2741879" y="19395"/>
                  <a:pt x="2790212" y="33163"/>
                </a:cubicBezTo>
                <a:lnTo>
                  <a:pt x="2793735" y="34335"/>
                </a:lnTo>
                <a:lnTo>
                  <a:pt x="2794341" y="34481"/>
                </a:lnTo>
                <a:lnTo>
                  <a:pt x="2800387" y="36546"/>
                </a:lnTo>
                <a:lnTo>
                  <a:pt x="2861373" y="56823"/>
                </a:lnTo>
                <a:lnTo>
                  <a:pt x="2867633" y="59526"/>
                </a:lnTo>
                <a:lnTo>
                  <a:pt x="2870011" y="60338"/>
                </a:lnTo>
                <a:lnTo>
                  <a:pt x="2882873" y="66104"/>
                </a:lnTo>
                <a:lnTo>
                  <a:pt x="2929660" y="86302"/>
                </a:lnTo>
                <a:lnTo>
                  <a:pt x="2938392" y="90995"/>
                </a:lnTo>
                <a:lnTo>
                  <a:pt x="2942366" y="92777"/>
                </a:lnTo>
                <a:lnTo>
                  <a:pt x="2956322" y="100633"/>
                </a:lnTo>
                <a:lnTo>
                  <a:pt x="2994777" y="121304"/>
                </a:lnTo>
                <a:lnTo>
                  <a:pt x="3005676" y="128415"/>
                </a:lnTo>
                <a:lnTo>
                  <a:pt x="3011046" y="131437"/>
                </a:lnTo>
                <a:lnTo>
                  <a:pt x="3024334" y="140589"/>
                </a:lnTo>
                <a:lnTo>
                  <a:pt x="3056428" y="161531"/>
                </a:lnTo>
                <a:lnTo>
                  <a:pt x="3069144" y="171451"/>
                </a:lnTo>
                <a:lnTo>
                  <a:pt x="3075690" y="175957"/>
                </a:lnTo>
                <a:lnTo>
                  <a:pt x="3087606" y="185852"/>
                </a:lnTo>
                <a:lnTo>
                  <a:pt x="3114314" y="206688"/>
                </a:lnTo>
                <a:lnTo>
                  <a:pt x="3128462" y="219774"/>
                </a:lnTo>
                <a:lnTo>
                  <a:pt x="3135937" y="225980"/>
                </a:lnTo>
                <a:lnTo>
                  <a:pt x="3146191" y="236171"/>
                </a:lnTo>
                <a:lnTo>
                  <a:pt x="3168141" y="256476"/>
                </a:lnTo>
                <a:lnTo>
                  <a:pt x="3183293" y="273055"/>
                </a:lnTo>
                <a:lnTo>
                  <a:pt x="3191429" y="281142"/>
                </a:lnTo>
                <a:lnTo>
                  <a:pt x="3199926" y="291252"/>
                </a:lnTo>
                <a:lnTo>
                  <a:pt x="3217610" y="310602"/>
                </a:lnTo>
                <a:lnTo>
                  <a:pt x="3233304" y="330971"/>
                </a:lnTo>
                <a:lnTo>
                  <a:pt x="3241804" y="341083"/>
                </a:lnTo>
                <a:lnTo>
                  <a:pt x="3248568" y="350779"/>
                </a:lnTo>
                <a:lnTo>
                  <a:pt x="3262426" y="368765"/>
                </a:lnTo>
                <a:lnTo>
                  <a:pt x="3278169" y="393212"/>
                </a:lnTo>
                <a:lnTo>
                  <a:pt x="3286703" y="405445"/>
                </a:lnTo>
                <a:lnTo>
                  <a:pt x="3291831" y="414427"/>
                </a:lnTo>
                <a:lnTo>
                  <a:pt x="3302291" y="430672"/>
                </a:lnTo>
                <a:lnTo>
                  <a:pt x="3317558" y="459491"/>
                </a:lnTo>
                <a:lnTo>
                  <a:pt x="3325764" y="473866"/>
                </a:lnTo>
                <a:lnTo>
                  <a:pt x="3329409" y="481864"/>
                </a:lnTo>
                <a:lnTo>
                  <a:pt x="3336910" y="496024"/>
                </a:lnTo>
                <a:lnTo>
                  <a:pt x="3351148" y="529569"/>
                </a:lnTo>
                <a:lnTo>
                  <a:pt x="3358630" y="545987"/>
                </a:lnTo>
                <a:lnTo>
                  <a:pt x="3360989" y="552754"/>
                </a:lnTo>
                <a:lnTo>
                  <a:pt x="3365986" y="564525"/>
                </a:lnTo>
                <a:lnTo>
                  <a:pt x="3378616" y="603315"/>
                </a:lnTo>
                <a:lnTo>
                  <a:pt x="3384937" y="621447"/>
                </a:lnTo>
                <a:lnTo>
                  <a:pt x="3386251" y="626765"/>
                </a:lnTo>
                <a:lnTo>
                  <a:pt x="3389219" y="635880"/>
                </a:lnTo>
                <a:lnTo>
                  <a:pt x="3399642" y="680932"/>
                </a:lnTo>
                <a:lnTo>
                  <a:pt x="3404327" y="699885"/>
                </a:lnTo>
                <a:lnTo>
                  <a:pt x="3404875" y="703555"/>
                </a:lnTo>
                <a:lnTo>
                  <a:pt x="3406317" y="709789"/>
                </a:lnTo>
                <a:lnTo>
                  <a:pt x="3413905" y="763987"/>
                </a:lnTo>
                <a:lnTo>
                  <a:pt x="3416438" y="780941"/>
                </a:lnTo>
                <a:lnTo>
                  <a:pt x="3416529" y="782725"/>
                </a:lnTo>
                <a:lnTo>
                  <a:pt x="3416981" y="785957"/>
                </a:lnTo>
                <a:lnTo>
                  <a:pt x="3418760" y="823548"/>
                </a:lnTo>
                <a:lnTo>
                  <a:pt x="3420930" y="823548"/>
                </a:lnTo>
                <a:lnTo>
                  <a:pt x="3420930" y="858205"/>
                </a:lnTo>
                <a:lnTo>
                  <a:pt x="3420930" y="869361"/>
                </a:lnTo>
                <a:lnTo>
                  <a:pt x="3420930" y="869619"/>
                </a:lnTo>
                <a:lnTo>
                  <a:pt x="3420930" y="869620"/>
                </a:lnTo>
                <a:lnTo>
                  <a:pt x="3421968" y="869620"/>
                </a:lnTo>
                <a:lnTo>
                  <a:pt x="3421968" y="983014"/>
                </a:lnTo>
                <a:lnTo>
                  <a:pt x="3421968" y="1036130"/>
                </a:lnTo>
                <a:lnTo>
                  <a:pt x="3421968" y="1093947"/>
                </a:lnTo>
                <a:lnTo>
                  <a:pt x="3421968" y="1130555"/>
                </a:lnTo>
                <a:lnTo>
                  <a:pt x="3421968" y="1143704"/>
                </a:lnTo>
                <a:lnTo>
                  <a:pt x="3421968" y="1189777"/>
                </a:lnTo>
                <a:lnTo>
                  <a:pt x="3421968" y="1207341"/>
                </a:lnTo>
                <a:lnTo>
                  <a:pt x="3421968" y="1260457"/>
                </a:lnTo>
                <a:lnTo>
                  <a:pt x="3421968" y="1354882"/>
                </a:lnTo>
                <a:lnTo>
                  <a:pt x="3421968" y="1368031"/>
                </a:lnTo>
                <a:lnTo>
                  <a:pt x="3421968" y="1414104"/>
                </a:lnTo>
                <a:lnTo>
                  <a:pt x="3420940" y="1414104"/>
                </a:lnTo>
                <a:lnTo>
                  <a:pt x="3420940" y="2013324"/>
                </a:lnTo>
                <a:lnTo>
                  <a:pt x="3420940" y="2237651"/>
                </a:lnTo>
                <a:lnTo>
                  <a:pt x="3418236" y="2237651"/>
                </a:lnTo>
                <a:lnTo>
                  <a:pt x="3418760" y="2248714"/>
                </a:lnTo>
                <a:lnTo>
                  <a:pt x="3420930" y="2248714"/>
                </a:lnTo>
                <a:lnTo>
                  <a:pt x="3420930" y="2283369"/>
                </a:lnTo>
                <a:lnTo>
                  <a:pt x="3420930" y="2294524"/>
                </a:lnTo>
                <a:lnTo>
                  <a:pt x="3420930" y="2294786"/>
                </a:lnTo>
                <a:lnTo>
                  <a:pt x="3421968" y="2294786"/>
                </a:lnTo>
                <a:lnTo>
                  <a:pt x="3421968" y="2307936"/>
                </a:lnTo>
                <a:lnTo>
                  <a:pt x="3421968" y="2402360"/>
                </a:lnTo>
                <a:lnTo>
                  <a:pt x="3421968" y="2455476"/>
                </a:lnTo>
                <a:lnTo>
                  <a:pt x="3421968" y="2568870"/>
                </a:lnTo>
                <a:lnTo>
                  <a:pt x="3421968" y="2614942"/>
                </a:lnTo>
                <a:lnTo>
                  <a:pt x="3420939" y="2614942"/>
                </a:lnTo>
                <a:lnTo>
                  <a:pt x="3420939" y="3438489"/>
                </a:lnTo>
                <a:lnTo>
                  <a:pt x="2670421" y="3438489"/>
                </a:lnTo>
                <a:lnTo>
                  <a:pt x="2552100" y="3438489"/>
                </a:lnTo>
                <a:lnTo>
                  <a:pt x="2551589" y="3438489"/>
                </a:lnTo>
                <a:lnTo>
                  <a:pt x="2551580" y="3438490"/>
                </a:lnTo>
                <a:lnTo>
                  <a:pt x="2551571" y="3438489"/>
                </a:lnTo>
                <a:lnTo>
                  <a:pt x="2510738" y="3438489"/>
                </a:lnTo>
                <a:lnTo>
                  <a:pt x="2490276" y="3438489"/>
                </a:lnTo>
                <a:lnTo>
                  <a:pt x="1801582" y="3438489"/>
                </a:lnTo>
                <a:lnTo>
                  <a:pt x="1801070" y="3438489"/>
                </a:lnTo>
                <a:lnTo>
                  <a:pt x="1801062" y="3438490"/>
                </a:lnTo>
                <a:lnTo>
                  <a:pt x="1801053" y="3438489"/>
                </a:lnTo>
                <a:lnTo>
                  <a:pt x="1760220" y="3438489"/>
                </a:lnTo>
                <a:lnTo>
                  <a:pt x="1739758" y="3438489"/>
                </a:lnTo>
                <a:lnTo>
                  <a:pt x="1621438" y="3438489"/>
                </a:lnTo>
                <a:lnTo>
                  <a:pt x="1620926" y="3438489"/>
                </a:lnTo>
                <a:lnTo>
                  <a:pt x="1620917" y="3438490"/>
                </a:lnTo>
                <a:lnTo>
                  <a:pt x="1620908" y="3438489"/>
                </a:lnTo>
                <a:lnTo>
                  <a:pt x="1580075" y="3438489"/>
                </a:lnTo>
                <a:lnTo>
                  <a:pt x="870919" y="3438489"/>
                </a:lnTo>
                <a:lnTo>
                  <a:pt x="870408" y="3438489"/>
                </a:lnTo>
                <a:lnTo>
                  <a:pt x="870400" y="3438490"/>
                </a:lnTo>
                <a:lnTo>
                  <a:pt x="870390" y="3438489"/>
                </a:lnTo>
                <a:lnTo>
                  <a:pt x="829557" y="3438489"/>
                </a:lnTo>
                <a:lnTo>
                  <a:pt x="829557" y="3436532"/>
                </a:lnTo>
                <a:lnTo>
                  <a:pt x="787467" y="3434538"/>
                </a:lnTo>
                <a:lnTo>
                  <a:pt x="784914" y="3434173"/>
                </a:lnTo>
                <a:lnTo>
                  <a:pt x="781512" y="3434001"/>
                </a:lnTo>
                <a:cubicBezTo>
                  <a:pt x="730139" y="3428784"/>
                  <a:pt x="680090" y="3419094"/>
                  <a:pt x="631756" y="3405326"/>
                </a:cubicBezTo>
                <a:lnTo>
                  <a:pt x="628233" y="3404156"/>
                </a:lnTo>
                <a:lnTo>
                  <a:pt x="627626" y="3404009"/>
                </a:lnTo>
                <a:lnTo>
                  <a:pt x="621581" y="3401944"/>
                </a:lnTo>
                <a:lnTo>
                  <a:pt x="560595" y="3381667"/>
                </a:lnTo>
                <a:lnTo>
                  <a:pt x="554335" y="3378965"/>
                </a:lnTo>
                <a:lnTo>
                  <a:pt x="551956" y="3378152"/>
                </a:lnTo>
                <a:lnTo>
                  <a:pt x="539096" y="3372385"/>
                </a:lnTo>
                <a:lnTo>
                  <a:pt x="492308" y="3352188"/>
                </a:lnTo>
                <a:lnTo>
                  <a:pt x="483576" y="3347496"/>
                </a:lnTo>
                <a:lnTo>
                  <a:pt x="479602" y="3345713"/>
                </a:lnTo>
                <a:lnTo>
                  <a:pt x="465646" y="3337856"/>
                </a:lnTo>
                <a:lnTo>
                  <a:pt x="427191" y="3317186"/>
                </a:lnTo>
                <a:lnTo>
                  <a:pt x="416293" y="3310074"/>
                </a:lnTo>
                <a:lnTo>
                  <a:pt x="410923" y="3307054"/>
                </a:lnTo>
                <a:lnTo>
                  <a:pt x="397634" y="3297901"/>
                </a:lnTo>
                <a:lnTo>
                  <a:pt x="365540" y="3276960"/>
                </a:lnTo>
                <a:lnTo>
                  <a:pt x="352824" y="3267038"/>
                </a:lnTo>
                <a:lnTo>
                  <a:pt x="346279" y="3262532"/>
                </a:lnTo>
                <a:lnTo>
                  <a:pt x="334363" y="3252638"/>
                </a:lnTo>
                <a:lnTo>
                  <a:pt x="307654" y="3231802"/>
                </a:lnTo>
                <a:lnTo>
                  <a:pt x="293506" y="3218717"/>
                </a:lnTo>
                <a:lnTo>
                  <a:pt x="286031" y="3212510"/>
                </a:lnTo>
                <a:lnTo>
                  <a:pt x="275778" y="3202318"/>
                </a:lnTo>
                <a:lnTo>
                  <a:pt x="253827" y="3182013"/>
                </a:lnTo>
                <a:lnTo>
                  <a:pt x="238676" y="3165436"/>
                </a:lnTo>
                <a:lnTo>
                  <a:pt x="230539" y="3157349"/>
                </a:lnTo>
                <a:lnTo>
                  <a:pt x="222041" y="3147238"/>
                </a:lnTo>
                <a:lnTo>
                  <a:pt x="204358" y="3127888"/>
                </a:lnTo>
                <a:lnTo>
                  <a:pt x="188664" y="3107519"/>
                </a:lnTo>
                <a:lnTo>
                  <a:pt x="180164" y="3097407"/>
                </a:lnTo>
                <a:lnTo>
                  <a:pt x="173400" y="3087711"/>
                </a:lnTo>
                <a:lnTo>
                  <a:pt x="159541" y="3069725"/>
                </a:lnTo>
                <a:lnTo>
                  <a:pt x="143800" y="3045278"/>
                </a:lnTo>
                <a:lnTo>
                  <a:pt x="135264" y="3033045"/>
                </a:lnTo>
                <a:lnTo>
                  <a:pt x="130137" y="3024063"/>
                </a:lnTo>
                <a:lnTo>
                  <a:pt x="119676" y="3007818"/>
                </a:lnTo>
                <a:lnTo>
                  <a:pt x="104410" y="2978998"/>
                </a:lnTo>
                <a:lnTo>
                  <a:pt x="96204" y="2964623"/>
                </a:lnTo>
                <a:lnTo>
                  <a:pt x="92559" y="2956626"/>
                </a:lnTo>
                <a:lnTo>
                  <a:pt x="85058" y="2942467"/>
                </a:lnTo>
                <a:lnTo>
                  <a:pt x="70820" y="2908920"/>
                </a:lnTo>
                <a:lnTo>
                  <a:pt x="63338" y="2892502"/>
                </a:lnTo>
                <a:lnTo>
                  <a:pt x="60979" y="2885735"/>
                </a:lnTo>
                <a:lnTo>
                  <a:pt x="55983" y="2873964"/>
                </a:lnTo>
                <a:lnTo>
                  <a:pt x="43352" y="2835175"/>
                </a:lnTo>
                <a:lnTo>
                  <a:pt x="37031" y="2817044"/>
                </a:lnTo>
                <a:lnTo>
                  <a:pt x="35716" y="2811725"/>
                </a:lnTo>
                <a:lnTo>
                  <a:pt x="32748" y="2802610"/>
                </a:lnTo>
                <a:lnTo>
                  <a:pt x="22327" y="2757558"/>
                </a:lnTo>
                <a:lnTo>
                  <a:pt x="17642" y="2738606"/>
                </a:lnTo>
                <a:lnTo>
                  <a:pt x="17093" y="2734935"/>
                </a:lnTo>
                <a:lnTo>
                  <a:pt x="15651" y="2728701"/>
                </a:lnTo>
                <a:lnTo>
                  <a:pt x="8064" y="2674503"/>
                </a:lnTo>
                <a:lnTo>
                  <a:pt x="5530" y="2657550"/>
                </a:lnTo>
                <a:lnTo>
                  <a:pt x="5440" y="2655765"/>
                </a:lnTo>
                <a:lnTo>
                  <a:pt x="4988" y="2652533"/>
                </a:lnTo>
                <a:lnTo>
                  <a:pt x="3208" y="2614942"/>
                </a:lnTo>
                <a:lnTo>
                  <a:pt x="1039" y="2614942"/>
                </a:lnTo>
                <a:lnTo>
                  <a:pt x="1039" y="2580285"/>
                </a:lnTo>
                <a:lnTo>
                  <a:pt x="1039" y="2569130"/>
                </a:lnTo>
                <a:lnTo>
                  <a:pt x="1039" y="2568870"/>
                </a:lnTo>
                <a:lnTo>
                  <a:pt x="0" y="2568870"/>
                </a:lnTo>
                <a:lnTo>
                  <a:pt x="0" y="2455476"/>
                </a:lnTo>
                <a:lnTo>
                  <a:pt x="0" y="2402360"/>
                </a:lnTo>
                <a:lnTo>
                  <a:pt x="0" y="2307936"/>
                </a:lnTo>
                <a:lnTo>
                  <a:pt x="0" y="2294786"/>
                </a:lnTo>
                <a:lnTo>
                  <a:pt x="0" y="2248714"/>
                </a:lnTo>
                <a:lnTo>
                  <a:pt x="1028" y="2248714"/>
                </a:lnTo>
                <a:lnTo>
                  <a:pt x="1028" y="2231154"/>
                </a:lnTo>
                <a:lnTo>
                  <a:pt x="751546" y="2231154"/>
                </a:lnTo>
                <a:lnTo>
                  <a:pt x="771021" y="2231154"/>
                </a:lnTo>
                <a:lnTo>
                  <a:pt x="631756" y="2204488"/>
                </a:lnTo>
                <a:lnTo>
                  <a:pt x="628233" y="2203317"/>
                </a:lnTo>
                <a:lnTo>
                  <a:pt x="627626" y="2203170"/>
                </a:lnTo>
                <a:lnTo>
                  <a:pt x="621582" y="2201104"/>
                </a:lnTo>
                <a:lnTo>
                  <a:pt x="560595" y="2180828"/>
                </a:lnTo>
                <a:lnTo>
                  <a:pt x="554335" y="2178125"/>
                </a:lnTo>
                <a:lnTo>
                  <a:pt x="551956" y="2177313"/>
                </a:lnTo>
                <a:lnTo>
                  <a:pt x="539096" y="2171547"/>
                </a:lnTo>
                <a:lnTo>
                  <a:pt x="492308" y="2151350"/>
                </a:lnTo>
                <a:lnTo>
                  <a:pt x="483576" y="2146656"/>
                </a:lnTo>
                <a:lnTo>
                  <a:pt x="479602" y="2144873"/>
                </a:lnTo>
                <a:lnTo>
                  <a:pt x="465646" y="2137018"/>
                </a:lnTo>
                <a:lnTo>
                  <a:pt x="427191" y="2116347"/>
                </a:lnTo>
                <a:lnTo>
                  <a:pt x="416293" y="2109236"/>
                </a:lnTo>
                <a:lnTo>
                  <a:pt x="410923" y="2106214"/>
                </a:lnTo>
                <a:lnTo>
                  <a:pt x="397634" y="2097063"/>
                </a:lnTo>
                <a:lnTo>
                  <a:pt x="365540" y="2076120"/>
                </a:lnTo>
                <a:lnTo>
                  <a:pt x="352824" y="2066200"/>
                </a:lnTo>
                <a:lnTo>
                  <a:pt x="346279" y="2061693"/>
                </a:lnTo>
                <a:lnTo>
                  <a:pt x="334363" y="2051798"/>
                </a:lnTo>
                <a:lnTo>
                  <a:pt x="307654" y="2030964"/>
                </a:lnTo>
                <a:lnTo>
                  <a:pt x="293506" y="2017878"/>
                </a:lnTo>
                <a:lnTo>
                  <a:pt x="286031" y="2011671"/>
                </a:lnTo>
                <a:lnTo>
                  <a:pt x="275778" y="2001479"/>
                </a:lnTo>
                <a:lnTo>
                  <a:pt x="253827" y="1981175"/>
                </a:lnTo>
                <a:lnTo>
                  <a:pt x="238676" y="1964597"/>
                </a:lnTo>
                <a:lnTo>
                  <a:pt x="230539" y="1956509"/>
                </a:lnTo>
                <a:lnTo>
                  <a:pt x="222041" y="1946399"/>
                </a:lnTo>
                <a:lnTo>
                  <a:pt x="204358" y="1927050"/>
                </a:lnTo>
                <a:lnTo>
                  <a:pt x="188664" y="1906681"/>
                </a:lnTo>
                <a:lnTo>
                  <a:pt x="180164" y="1896567"/>
                </a:lnTo>
                <a:lnTo>
                  <a:pt x="173400" y="1886871"/>
                </a:lnTo>
                <a:lnTo>
                  <a:pt x="159541" y="1868886"/>
                </a:lnTo>
                <a:lnTo>
                  <a:pt x="143800" y="1844439"/>
                </a:lnTo>
                <a:lnTo>
                  <a:pt x="135265" y="1832206"/>
                </a:lnTo>
                <a:lnTo>
                  <a:pt x="130138" y="1823225"/>
                </a:lnTo>
                <a:lnTo>
                  <a:pt x="119676" y="1806980"/>
                </a:lnTo>
                <a:lnTo>
                  <a:pt x="104411" y="1778160"/>
                </a:lnTo>
                <a:lnTo>
                  <a:pt x="96204" y="1763784"/>
                </a:lnTo>
                <a:lnTo>
                  <a:pt x="92559" y="1755787"/>
                </a:lnTo>
                <a:lnTo>
                  <a:pt x="85058" y="1741627"/>
                </a:lnTo>
                <a:lnTo>
                  <a:pt x="70820" y="1708082"/>
                </a:lnTo>
                <a:lnTo>
                  <a:pt x="63338" y="1691664"/>
                </a:lnTo>
                <a:lnTo>
                  <a:pt x="60979" y="1684897"/>
                </a:lnTo>
                <a:lnTo>
                  <a:pt x="55983" y="1673126"/>
                </a:lnTo>
                <a:lnTo>
                  <a:pt x="43353" y="1634336"/>
                </a:lnTo>
                <a:lnTo>
                  <a:pt x="37031" y="1616205"/>
                </a:lnTo>
                <a:lnTo>
                  <a:pt x="35716" y="1610886"/>
                </a:lnTo>
                <a:lnTo>
                  <a:pt x="32748" y="1601772"/>
                </a:lnTo>
                <a:lnTo>
                  <a:pt x="22327" y="1556719"/>
                </a:lnTo>
                <a:lnTo>
                  <a:pt x="17642" y="1537767"/>
                </a:lnTo>
                <a:lnTo>
                  <a:pt x="17093" y="1534095"/>
                </a:lnTo>
                <a:lnTo>
                  <a:pt x="15651" y="1527861"/>
                </a:lnTo>
                <a:lnTo>
                  <a:pt x="8064" y="1473664"/>
                </a:lnTo>
                <a:lnTo>
                  <a:pt x="5531" y="1456711"/>
                </a:lnTo>
                <a:lnTo>
                  <a:pt x="5440" y="1454926"/>
                </a:lnTo>
                <a:lnTo>
                  <a:pt x="4988" y="1451693"/>
                </a:lnTo>
                <a:lnTo>
                  <a:pt x="3208" y="1414104"/>
                </a:lnTo>
                <a:lnTo>
                  <a:pt x="1039" y="1414104"/>
                </a:lnTo>
                <a:lnTo>
                  <a:pt x="1039" y="1379448"/>
                </a:lnTo>
                <a:lnTo>
                  <a:pt x="1039" y="1368291"/>
                </a:lnTo>
                <a:lnTo>
                  <a:pt x="1039" y="1368031"/>
                </a:lnTo>
                <a:lnTo>
                  <a:pt x="0" y="1368031"/>
                </a:lnTo>
                <a:lnTo>
                  <a:pt x="0" y="1354882"/>
                </a:lnTo>
                <a:lnTo>
                  <a:pt x="0" y="1260457"/>
                </a:lnTo>
                <a:lnTo>
                  <a:pt x="0" y="1207341"/>
                </a:lnTo>
                <a:lnTo>
                  <a:pt x="0" y="1143704"/>
                </a:lnTo>
                <a:lnTo>
                  <a:pt x="0" y="1130555"/>
                </a:lnTo>
                <a:lnTo>
                  <a:pt x="0" y="1093946"/>
                </a:lnTo>
                <a:lnTo>
                  <a:pt x="0" y="1047875"/>
                </a:lnTo>
                <a:lnTo>
                  <a:pt x="0" y="1036130"/>
                </a:lnTo>
                <a:lnTo>
                  <a:pt x="0" y="983014"/>
                </a:lnTo>
                <a:lnTo>
                  <a:pt x="0" y="869619"/>
                </a:lnTo>
                <a:lnTo>
                  <a:pt x="0" y="823548"/>
                </a:lnTo>
                <a:lnTo>
                  <a:pt x="1029" y="823548"/>
                </a:lnTo>
                <a:lnTo>
                  <a:pt x="1029" y="22432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6320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F53B9-D8CC-CA47-825A-BAB455123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B894B2-5C5B-6445-9C2B-F916E997F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F41D90-22FA-6B44-AD9C-8BD5673675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89503038-7BAC-334A-8964-F6A3D9542FBE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B5E48212-1C36-2F44-98CF-4F936F6B10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81F05B0-E452-DA4C-842D-639C35F13DE7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8678601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C9F0DB2-0512-401D-8243-4C10160F486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09642" y="0"/>
            <a:ext cx="4694471" cy="6855583"/>
          </a:xfrm>
          <a:custGeom>
            <a:avLst/>
            <a:gdLst>
              <a:gd name="connsiteX0" fmla="*/ 2738 w 4694471"/>
              <a:gd name="connsiteY0" fmla="*/ 0 h 6855583"/>
              <a:gd name="connsiteX1" fmla="*/ 961282 w 4694471"/>
              <a:gd name="connsiteY1" fmla="*/ 0 h 6855583"/>
              <a:gd name="connsiteX2" fmla="*/ 1974639 w 4694471"/>
              <a:gd name="connsiteY2" fmla="*/ 0 h 6855583"/>
              <a:gd name="connsiteX3" fmla="*/ 2050909 w 4694471"/>
              <a:gd name="connsiteY3" fmla="*/ 0 h 6855583"/>
              <a:gd name="connsiteX4" fmla="*/ 2600795 w 4694471"/>
              <a:gd name="connsiteY4" fmla="*/ 0 h 6855583"/>
              <a:gd name="connsiteX5" fmla="*/ 2671049 w 4694471"/>
              <a:gd name="connsiteY5" fmla="*/ 0 h 6855583"/>
              <a:gd name="connsiteX6" fmla="*/ 2747320 w 4694471"/>
              <a:gd name="connsiteY6" fmla="*/ 0 h 6855583"/>
              <a:gd name="connsiteX7" fmla="*/ 2933183 w 4694471"/>
              <a:gd name="connsiteY7" fmla="*/ 0 h 6855583"/>
              <a:gd name="connsiteX8" fmla="*/ 3009453 w 4694471"/>
              <a:gd name="connsiteY8" fmla="*/ 0 h 6855583"/>
              <a:gd name="connsiteX9" fmla="*/ 3559339 w 4694471"/>
              <a:gd name="connsiteY9" fmla="*/ 0 h 6855583"/>
              <a:gd name="connsiteX10" fmla="*/ 3559339 w 4694471"/>
              <a:gd name="connsiteY10" fmla="*/ 1 h 6855583"/>
              <a:gd name="connsiteX11" fmla="*/ 3629003 w 4694471"/>
              <a:gd name="connsiteY11" fmla="*/ 1 h 6855583"/>
              <a:gd name="connsiteX12" fmla="*/ 3629584 w 4694471"/>
              <a:gd name="connsiteY12" fmla="*/ 1 h 6855583"/>
              <a:gd name="connsiteX13" fmla="*/ 3629593 w 4694471"/>
              <a:gd name="connsiteY13" fmla="*/ 0 h 6855583"/>
              <a:gd name="connsiteX14" fmla="*/ 3629603 w 4694471"/>
              <a:gd name="connsiteY14" fmla="*/ 1 h 6855583"/>
              <a:gd name="connsiteX15" fmla="*/ 3675909 w 4694471"/>
              <a:gd name="connsiteY15" fmla="*/ 1 h 6855583"/>
              <a:gd name="connsiteX16" fmla="*/ 3705273 w 4694471"/>
              <a:gd name="connsiteY16" fmla="*/ 1 h 6855583"/>
              <a:gd name="connsiteX17" fmla="*/ 3705854 w 4694471"/>
              <a:gd name="connsiteY17" fmla="*/ 1 h 6855583"/>
              <a:gd name="connsiteX18" fmla="*/ 3705864 w 4694471"/>
              <a:gd name="connsiteY18" fmla="*/ 0 h 6855583"/>
              <a:gd name="connsiteX19" fmla="*/ 3705872 w 4694471"/>
              <a:gd name="connsiteY19" fmla="*/ 1 h 6855583"/>
              <a:gd name="connsiteX20" fmla="*/ 3752180 w 4694471"/>
              <a:gd name="connsiteY20" fmla="*/ 1 h 6855583"/>
              <a:gd name="connsiteX21" fmla="*/ 3752180 w 4694471"/>
              <a:gd name="connsiteY21" fmla="*/ 2441 h 6855583"/>
              <a:gd name="connsiteX22" fmla="*/ 3799909 w 4694471"/>
              <a:gd name="connsiteY22" fmla="*/ 4925 h 6855583"/>
              <a:gd name="connsiteX23" fmla="*/ 3802804 w 4694471"/>
              <a:gd name="connsiteY23" fmla="*/ 5380 h 6855583"/>
              <a:gd name="connsiteX24" fmla="*/ 3806663 w 4694471"/>
              <a:gd name="connsiteY24" fmla="*/ 5593 h 6855583"/>
              <a:gd name="connsiteX25" fmla="*/ 3976490 w 4694471"/>
              <a:gd name="connsiteY25" fmla="*/ 41323 h 6855583"/>
              <a:gd name="connsiteX26" fmla="*/ 3980485 w 4694471"/>
              <a:gd name="connsiteY26" fmla="*/ 42781 h 6855583"/>
              <a:gd name="connsiteX27" fmla="*/ 3981173 w 4694471"/>
              <a:gd name="connsiteY27" fmla="*/ 42964 h 6855583"/>
              <a:gd name="connsiteX28" fmla="*/ 3988028 w 4694471"/>
              <a:gd name="connsiteY28" fmla="*/ 45538 h 6855583"/>
              <a:gd name="connsiteX29" fmla="*/ 4057188 w 4694471"/>
              <a:gd name="connsiteY29" fmla="*/ 70802 h 6855583"/>
              <a:gd name="connsiteX30" fmla="*/ 4064286 w 4694471"/>
              <a:gd name="connsiteY30" fmla="*/ 74169 h 6855583"/>
              <a:gd name="connsiteX31" fmla="*/ 4066984 w 4694471"/>
              <a:gd name="connsiteY31" fmla="*/ 75182 h 6855583"/>
              <a:gd name="connsiteX32" fmla="*/ 4081569 w 4694471"/>
              <a:gd name="connsiteY32" fmla="*/ 82367 h 6855583"/>
              <a:gd name="connsiteX33" fmla="*/ 4134626 w 4694471"/>
              <a:gd name="connsiteY33" fmla="*/ 107533 h 6855583"/>
              <a:gd name="connsiteX34" fmla="*/ 4144529 w 4694471"/>
              <a:gd name="connsiteY34" fmla="*/ 113381 h 6855583"/>
              <a:gd name="connsiteX35" fmla="*/ 4149036 w 4694471"/>
              <a:gd name="connsiteY35" fmla="*/ 115600 h 6855583"/>
              <a:gd name="connsiteX36" fmla="*/ 4164861 w 4694471"/>
              <a:gd name="connsiteY36" fmla="*/ 125388 h 6855583"/>
              <a:gd name="connsiteX37" fmla="*/ 4208472 w 4694471"/>
              <a:gd name="connsiteY37" fmla="*/ 151145 h 6855583"/>
              <a:gd name="connsiteX38" fmla="*/ 4220829 w 4694471"/>
              <a:gd name="connsiteY38" fmla="*/ 160005 h 6855583"/>
              <a:gd name="connsiteX39" fmla="*/ 4226920 w 4694471"/>
              <a:gd name="connsiteY39" fmla="*/ 163770 h 6855583"/>
              <a:gd name="connsiteX40" fmla="*/ 4241989 w 4694471"/>
              <a:gd name="connsiteY40" fmla="*/ 175174 h 6855583"/>
              <a:gd name="connsiteX41" fmla="*/ 4278383 w 4694471"/>
              <a:gd name="connsiteY41" fmla="*/ 201267 h 6855583"/>
              <a:gd name="connsiteX42" fmla="*/ 4292804 w 4694471"/>
              <a:gd name="connsiteY42" fmla="*/ 213629 h 6855583"/>
              <a:gd name="connsiteX43" fmla="*/ 4300227 w 4694471"/>
              <a:gd name="connsiteY43" fmla="*/ 219244 h 6855583"/>
              <a:gd name="connsiteX44" fmla="*/ 4313741 w 4694471"/>
              <a:gd name="connsiteY44" fmla="*/ 231573 h 6855583"/>
              <a:gd name="connsiteX45" fmla="*/ 4344028 w 4694471"/>
              <a:gd name="connsiteY45" fmla="*/ 257532 h 6855583"/>
              <a:gd name="connsiteX46" fmla="*/ 4360072 w 4694471"/>
              <a:gd name="connsiteY46" fmla="*/ 273838 h 6855583"/>
              <a:gd name="connsiteX47" fmla="*/ 4368549 w 4694471"/>
              <a:gd name="connsiteY47" fmla="*/ 281570 h 6855583"/>
              <a:gd name="connsiteX48" fmla="*/ 4380176 w 4694471"/>
              <a:gd name="connsiteY48" fmla="*/ 294271 h 6855583"/>
              <a:gd name="connsiteX49" fmla="*/ 4405069 w 4694471"/>
              <a:gd name="connsiteY49" fmla="*/ 319569 h 6855583"/>
              <a:gd name="connsiteX50" fmla="*/ 4422252 w 4694471"/>
              <a:gd name="connsiteY50" fmla="*/ 340225 h 6855583"/>
              <a:gd name="connsiteX51" fmla="*/ 4431478 w 4694471"/>
              <a:gd name="connsiteY51" fmla="*/ 350303 h 6855583"/>
              <a:gd name="connsiteX52" fmla="*/ 4441115 w 4694471"/>
              <a:gd name="connsiteY52" fmla="*/ 362902 h 6855583"/>
              <a:gd name="connsiteX53" fmla="*/ 4461169 w 4694471"/>
              <a:gd name="connsiteY53" fmla="*/ 387010 h 6855583"/>
              <a:gd name="connsiteX54" fmla="*/ 4478966 w 4694471"/>
              <a:gd name="connsiteY54" fmla="*/ 412388 h 6855583"/>
              <a:gd name="connsiteX55" fmla="*/ 4488605 w 4694471"/>
              <a:gd name="connsiteY55" fmla="*/ 424989 h 6855583"/>
              <a:gd name="connsiteX56" fmla="*/ 4496275 w 4694471"/>
              <a:gd name="connsiteY56" fmla="*/ 437070 h 6855583"/>
              <a:gd name="connsiteX57" fmla="*/ 4511991 w 4694471"/>
              <a:gd name="connsiteY57" fmla="*/ 459481 h 6855583"/>
              <a:gd name="connsiteX58" fmla="*/ 4529843 w 4694471"/>
              <a:gd name="connsiteY58" fmla="*/ 489942 h 6855583"/>
              <a:gd name="connsiteX59" fmla="*/ 4539521 w 4694471"/>
              <a:gd name="connsiteY59" fmla="*/ 505184 h 6855583"/>
              <a:gd name="connsiteX60" fmla="*/ 4545336 w 4694471"/>
              <a:gd name="connsiteY60" fmla="*/ 516375 h 6855583"/>
              <a:gd name="connsiteX61" fmla="*/ 4557199 w 4694471"/>
              <a:gd name="connsiteY61" fmla="*/ 536617 h 6855583"/>
              <a:gd name="connsiteX62" fmla="*/ 4574510 w 4694471"/>
              <a:gd name="connsiteY62" fmla="*/ 572526 h 6855583"/>
              <a:gd name="connsiteX63" fmla="*/ 4583819 w 4694471"/>
              <a:gd name="connsiteY63" fmla="*/ 590437 h 6855583"/>
              <a:gd name="connsiteX64" fmla="*/ 4587950 w 4694471"/>
              <a:gd name="connsiteY64" fmla="*/ 600402 h 6855583"/>
              <a:gd name="connsiteX65" fmla="*/ 4596457 w 4694471"/>
              <a:gd name="connsiteY65" fmla="*/ 618045 h 6855583"/>
              <a:gd name="connsiteX66" fmla="*/ 4612602 w 4694471"/>
              <a:gd name="connsiteY66" fmla="*/ 659843 h 6855583"/>
              <a:gd name="connsiteX67" fmla="*/ 4621089 w 4694471"/>
              <a:gd name="connsiteY67" fmla="*/ 680300 h 6855583"/>
              <a:gd name="connsiteX68" fmla="*/ 4623764 w 4694471"/>
              <a:gd name="connsiteY68" fmla="*/ 688731 h 6855583"/>
              <a:gd name="connsiteX69" fmla="*/ 4629429 w 4694471"/>
              <a:gd name="connsiteY69" fmla="*/ 703398 h 6855583"/>
              <a:gd name="connsiteX70" fmla="*/ 4643753 w 4694471"/>
              <a:gd name="connsiteY70" fmla="*/ 751729 h 6855583"/>
              <a:gd name="connsiteX71" fmla="*/ 4650921 w 4694471"/>
              <a:gd name="connsiteY71" fmla="*/ 774321 h 6855583"/>
              <a:gd name="connsiteX72" fmla="*/ 4652412 w 4694471"/>
              <a:gd name="connsiteY72" fmla="*/ 780948 h 6855583"/>
              <a:gd name="connsiteX73" fmla="*/ 4655777 w 4694471"/>
              <a:gd name="connsiteY73" fmla="*/ 792304 h 6855583"/>
              <a:gd name="connsiteX74" fmla="*/ 4667595 w 4694471"/>
              <a:gd name="connsiteY74" fmla="*/ 848440 h 6855583"/>
              <a:gd name="connsiteX75" fmla="*/ 4667828 w 4694471"/>
              <a:gd name="connsiteY75" fmla="*/ 849474 h 6855583"/>
              <a:gd name="connsiteX76" fmla="*/ 4669385 w 4694471"/>
              <a:gd name="connsiteY76" fmla="*/ 849474 h 6855583"/>
              <a:gd name="connsiteX77" fmla="*/ 4674465 w 4694471"/>
              <a:gd name="connsiteY77" fmla="*/ 877139 h 6855583"/>
              <a:gd name="connsiteX78" fmla="*/ 4675087 w 4694471"/>
              <a:gd name="connsiteY78" fmla="*/ 882743 h 6855583"/>
              <a:gd name="connsiteX79" fmla="*/ 4676722 w 4694471"/>
              <a:gd name="connsiteY79" fmla="*/ 892259 h 6855583"/>
              <a:gd name="connsiteX80" fmla="*/ 4685327 w 4694471"/>
              <a:gd name="connsiteY80" fmla="*/ 974994 h 6855583"/>
              <a:gd name="connsiteX81" fmla="*/ 4688200 w 4694471"/>
              <a:gd name="connsiteY81" fmla="*/ 1000874 h 6855583"/>
              <a:gd name="connsiteX82" fmla="*/ 4688301 w 4694471"/>
              <a:gd name="connsiteY82" fmla="*/ 1003598 h 6855583"/>
              <a:gd name="connsiteX83" fmla="*/ 4688815 w 4694471"/>
              <a:gd name="connsiteY83" fmla="*/ 1008533 h 6855583"/>
              <a:gd name="connsiteX84" fmla="*/ 4690833 w 4694471"/>
              <a:gd name="connsiteY84" fmla="*/ 1065916 h 6855583"/>
              <a:gd name="connsiteX85" fmla="*/ 4693293 w 4694471"/>
              <a:gd name="connsiteY85" fmla="*/ 1065916 h 6855583"/>
              <a:gd name="connsiteX86" fmla="*/ 4693293 w 4694471"/>
              <a:gd name="connsiteY86" fmla="*/ 1118819 h 6855583"/>
              <a:gd name="connsiteX87" fmla="*/ 4693293 w 4694471"/>
              <a:gd name="connsiteY87" fmla="*/ 1135849 h 6855583"/>
              <a:gd name="connsiteX88" fmla="*/ 4693293 w 4694471"/>
              <a:gd name="connsiteY88" fmla="*/ 1136246 h 6855583"/>
              <a:gd name="connsiteX89" fmla="*/ 4693293 w 4694471"/>
              <a:gd name="connsiteY89" fmla="*/ 1136247 h 6855583"/>
              <a:gd name="connsiteX90" fmla="*/ 4694471 w 4694471"/>
              <a:gd name="connsiteY90" fmla="*/ 1136247 h 6855583"/>
              <a:gd name="connsiteX91" fmla="*/ 4694471 w 4694471"/>
              <a:gd name="connsiteY91" fmla="*/ 1234853 h 6855583"/>
              <a:gd name="connsiteX92" fmla="*/ 4694471 w 4694471"/>
              <a:gd name="connsiteY92" fmla="*/ 1390429 h 6855583"/>
              <a:gd name="connsiteX93" fmla="*/ 4694471 w 4694471"/>
              <a:gd name="connsiteY93" fmla="*/ 1493422 h 6855583"/>
              <a:gd name="connsiteX94" fmla="*/ 4694471 w 4694471"/>
              <a:gd name="connsiteY94" fmla="*/ 1922616 h 6855583"/>
              <a:gd name="connsiteX95" fmla="*/ 4694471 w 4694471"/>
              <a:gd name="connsiteY95" fmla="*/ 1946509 h 6855583"/>
              <a:gd name="connsiteX96" fmla="*/ 4694471 w 4694471"/>
              <a:gd name="connsiteY96" fmla="*/ 2034790 h 6855583"/>
              <a:gd name="connsiteX97" fmla="*/ 4694471 w 4694471"/>
              <a:gd name="connsiteY97" fmla="*/ 2059094 h 6855583"/>
              <a:gd name="connsiteX98" fmla="*/ 4694471 w 4694471"/>
              <a:gd name="connsiteY98" fmla="*/ 2121885 h 6855583"/>
              <a:gd name="connsiteX99" fmla="*/ 4694471 w 4694471"/>
              <a:gd name="connsiteY99" fmla="*/ 2175446 h 6855583"/>
              <a:gd name="connsiteX100" fmla="*/ 4694471 w 4694471"/>
              <a:gd name="connsiteY100" fmla="*/ 2237497 h 6855583"/>
              <a:gd name="connsiteX101" fmla="*/ 4694471 w 4694471"/>
              <a:gd name="connsiteY101" fmla="*/ 2291981 h 6855583"/>
              <a:gd name="connsiteX102" fmla="*/ 4693305 w 4694471"/>
              <a:gd name="connsiteY102" fmla="*/ 2291981 h 6855583"/>
              <a:gd name="connsiteX103" fmla="*/ 4693305 w 4694471"/>
              <a:gd name="connsiteY103" fmla="*/ 3132833 h 6855583"/>
              <a:gd name="connsiteX104" fmla="*/ 4693305 w 4694471"/>
              <a:gd name="connsiteY104" fmla="*/ 3265888 h 6855583"/>
              <a:gd name="connsiteX105" fmla="*/ 4627092 w 4694471"/>
              <a:gd name="connsiteY105" fmla="*/ 3265888 h 6855583"/>
              <a:gd name="connsiteX106" fmla="*/ 3996894 w 4694471"/>
              <a:gd name="connsiteY106" fmla="*/ 3265888 h 6855583"/>
              <a:gd name="connsiteX107" fmla="*/ 3930683 w 4694471"/>
              <a:gd name="connsiteY107" fmla="*/ 3265888 h 6855583"/>
              <a:gd name="connsiteX108" fmla="*/ 3734761 w 4694471"/>
              <a:gd name="connsiteY108" fmla="*/ 3265888 h 6855583"/>
              <a:gd name="connsiteX109" fmla="*/ 3708022 w 4694471"/>
              <a:gd name="connsiteY109" fmla="*/ 3265888 h 6855583"/>
              <a:gd name="connsiteX110" fmla="*/ 3707441 w 4694471"/>
              <a:gd name="connsiteY110" fmla="*/ 3265888 h 6855583"/>
              <a:gd name="connsiteX111" fmla="*/ 3707431 w 4694471"/>
              <a:gd name="connsiteY111" fmla="*/ 3265888 h 6855583"/>
              <a:gd name="connsiteX112" fmla="*/ 3707422 w 4694471"/>
              <a:gd name="connsiteY112" fmla="*/ 3265888 h 6855583"/>
              <a:gd name="connsiteX113" fmla="*/ 3668548 w 4694471"/>
              <a:gd name="connsiteY113" fmla="*/ 3265888 h 6855583"/>
              <a:gd name="connsiteX114" fmla="*/ 3661115 w 4694471"/>
              <a:gd name="connsiteY114" fmla="*/ 3265888 h 6855583"/>
              <a:gd name="connsiteX115" fmla="*/ 3641811 w 4694471"/>
              <a:gd name="connsiteY115" fmla="*/ 3265888 h 6855583"/>
              <a:gd name="connsiteX116" fmla="*/ 3641229 w 4694471"/>
              <a:gd name="connsiteY116" fmla="*/ 3265888 h 6855583"/>
              <a:gd name="connsiteX117" fmla="*/ 3641220 w 4694471"/>
              <a:gd name="connsiteY117" fmla="*/ 3265888 h 6855583"/>
              <a:gd name="connsiteX118" fmla="*/ 3641210 w 4694471"/>
              <a:gd name="connsiteY118" fmla="*/ 3265888 h 6855583"/>
              <a:gd name="connsiteX119" fmla="*/ 3594904 w 4694471"/>
              <a:gd name="connsiteY119" fmla="*/ 3265888 h 6855583"/>
              <a:gd name="connsiteX120" fmla="*/ 3559339 w 4694471"/>
              <a:gd name="connsiteY120" fmla="*/ 3265888 h 6855583"/>
              <a:gd name="connsiteX121" fmla="*/ 3559339 w 4694471"/>
              <a:gd name="connsiteY121" fmla="*/ 3265890 h 6855583"/>
              <a:gd name="connsiteX122" fmla="*/ 3574921 w 4694471"/>
              <a:gd name="connsiteY122" fmla="*/ 3265890 h 6855583"/>
              <a:gd name="connsiteX123" fmla="*/ 3607197 w 4694471"/>
              <a:gd name="connsiteY123" fmla="*/ 3265890 h 6855583"/>
              <a:gd name="connsiteX124" fmla="*/ 3607836 w 4694471"/>
              <a:gd name="connsiteY124" fmla="*/ 3265890 h 6855583"/>
              <a:gd name="connsiteX125" fmla="*/ 3607845 w 4694471"/>
              <a:gd name="connsiteY125" fmla="*/ 3265889 h 6855583"/>
              <a:gd name="connsiteX126" fmla="*/ 3607855 w 4694471"/>
              <a:gd name="connsiteY126" fmla="*/ 3265890 h 6855583"/>
              <a:gd name="connsiteX127" fmla="*/ 3658753 w 4694471"/>
              <a:gd name="connsiteY127" fmla="*/ 3265890 h 6855583"/>
              <a:gd name="connsiteX128" fmla="*/ 3658753 w 4694471"/>
              <a:gd name="connsiteY128" fmla="*/ 3268571 h 6855583"/>
              <a:gd name="connsiteX129" fmla="*/ 3711215 w 4694471"/>
              <a:gd name="connsiteY129" fmla="*/ 3271301 h 6855583"/>
              <a:gd name="connsiteX130" fmla="*/ 3714398 w 4694471"/>
              <a:gd name="connsiteY130" fmla="*/ 3271802 h 6855583"/>
              <a:gd name="connsiteX131" fmla="*/ 3718640 w 4694471"/>
              <a:gd name="connsiteY131" fmla="*/ 3272037 h 6855583"/>
              <a:gd name="connsiteX132" fmla="*/ 3905304 w 4694471"/>
              <a:gd name="connsiteY132" fmla="*/ 3311308 h 6855583"/>
              <a:gd name="connsiteX133" fmla="*/ 3909694 w 4694471"/>
              <a:gd name="connsiteY133" fmla="*/ 3312912 h 6855583"/>
              <a:gd name="connsiteX134" fmla="*/ 3910452 w 4694471"/>
              <a:gd name="connsiteY134" fmla="*/ 3313112 h 6855583"/>
              <a:gd name="connsiteX135" fmla="*/ 3917986 w 4694471"/>
              <a:gd name="connsiteY135" fmla="*/ 3315942 h 6855583"/>
              <a:gd name="connsiteX136" fmla="*/ 3994003 w 4694471"/>
              <a:gd name="connsiteY136" fmla="*/ 3343710 h 6855583"/>
              <a:gd name="connsiteX137" fmla="*/ 4001805 w 4694471"/>
              <a:gd name="connsiteY137" fmla="*/ 3347410 h 6855583"/>
              <a:gd name="connsiteX138" fmla="*/ 4004771 w 4694471"/>
              <a:gd name="connsiteY138" fmla="*/ 3348524 h 6855583"/>
              <a:gd name="connsiteX139" fmla="*/ 4020801 w 4694471"/>
              <a:gd name="connsiteY139" fmla="*/ 3356422 h 6855583"/>
              <a:gd name="connsiteX140" fmla="*/ 4079119 w 4694471"/>
              <a:gd name="connsiteY140" fmla="*/ 3384083 h 6855583"/>
              <a:gd name="connsiteX141" fmla="*/ 4090003 w 4694471"/>
              <a:gd name="connsiteY141" fmla="*/ 3390510 h 6855583"/>
              <a:gd name="connsiteX142" fmla="*/ 4094957 w 4694471"/>
              <a:gd name="connsiteY142" fmla="*/ 3392950 h 6855583"/>
              <a:gd name="connsiteX143" fmla="*/ 4112351 w 4694471"/>
              <a:gd name="connsiteY143" fmla="*/ 3403709 h 6855583"/>
              <a:gd name="connsiteX144" fmla="*/ 4160286 w 4694471"/>
              <a:gd name="connsiteY144" fmla="*/ 3432019 h 6855583"/>
              <a:gd name="connsiteX145" fmla="*/ 4173870 w 4694471"/>
              <a:gd name="connsiteY145" fmla="*/ 3441758 h 6855583"/>
              <a:gd name="connsiteX146" fmla="*/ 4180562 w 4694471"/>
              <a:gd name="connsiteY146" fmla="*/ 3445896 h 6855583"/>
              <a:gd name="connsiteX147" fmla="*/ 4197126 w 4694471"/>
              <a:gd name="connsiteY147" fmla="*/ 3458431 h 6855583"/>
              <a:gd name="connsiteX148" fmla="*/ 4237129 w 4694471"/>
              <a:gd name="connsiteY148" fmla="*/ 3487112 h 6855583"/>
              <a:gd name="connsiteX149" fmla="*/ 4252979 w 4694471"/>
              <a:gd name="connsiteY149" fmla="*/ 3500699 h 6855583"/>
              <a:gd name="connsiteX150" fmla="*/ 4261138 w 4694471"/>
              <a:gd name="connsiteY150" fmla="*/ 3506870 h 6855583"/>
              <a:gd name="connsiteX151" fmla="*/ 4275993 w 4694471"/>
              <a:gd name="connsiteY151" fmla="*/ 3520422 h 6855583"/>
              <a:gd name="connsiteX152" fmla="*/ 4309284 w 4694471"/>
              <a:gd name="connsiteY152" fmla="*/ 3548954 h 6855583"/>
              <a:gd name="connsiteX153" fmla="*/ 4326916 w 4694471"/>
              <a:gd name="connsiteY153" fmla="*/ 3566877 h 6855583"/>
              <a:gd name="connsiteX154" fmla="*/ 4336234 w 4694471"/>
              <a:gd name="connsiteY154" fmla="*/ 3575376 h 6855583"/>
              <a:gd name="connsiteX155" fmla="*/ 4349015 w 4694471"/>
              <a:gd name="connsiteY155" fmla="*/ 3589336 h 6855583"/>
              <a:gd name="connsiteX156" fmla="*/ 4376377 w 4694471"/>
              <a:gd name="connsiteY156" fmla="*/ 3617142 h 6855583"/>
              <a:gd name="connsiteX157" fmla="*/ 4395261 w 4694471"/>
              <a:gd name="connsiteY157" fmla="*/ 3639845 h 6855583"/>
              <a:gd name="connsiteX158" fmla="*/ 4405403 w 4694471"/>
              <a:gd name="connsiteY158" fmla="*/ 3650923 h 6855583"/>
              <a:gd name="connsiteX159" fmla="*/ 4415995 w 4694471"/>
              <a:gd name="connsiteY159" fmla="*/ 3664770 h 6855583"/>
              <a:gd name="connsiteX160" fmla="*/ 4438037 w 4694471"/>
              <a:gd name="connsiteY160" fmla="*/ 3691269 h 6855583"/>
              <a:gd name="connsiteX161" fmla="*/ 4457599 w 4694471"/>
              <a:gd name="connsiteY161" fmla="*/ 3719164 h 6855583"/>
              <a:gd name="connsiteX162" fmla="*/ 4468193 w 4694471"/>
              <a:gd name="connsiteY162" fmla="*/ 3733015 h 6855583"/>
              <a:gd name="connsiteX163" fmla="*/ 4476623 w 4694471"/>
              <a:gd name="connsiteY163" fmla="*/ 3746294 h 6855583"/>
              <a:gd name="connsiteX164" fmla="*/ 4493900 w 4694471"/>
              <a:gd name="connsiteY164" fmla="*/ 3770927 h 6855583"/>
              <a:gd name="connsiteX165" fmla="*/ 4513522 w 4694471"/>
              <a:gd name="connsiteY165" fmla="*/ 3804408 h 6855583"/>
              <a:gd name="connsiteX166" fmla="*/ 4524158 w 4694471"/>
              <a:gd name="connsiteY166" fmla="*/ 3821161 h 6855583"/>
              <a:gd name="connsiteX167" fmla="*/ 4530550 w 4694471"/>
              <a:gd name="connsiteY167" fmla="*/ 3833462 h 6855583"/>
              <a:gd name="connsiteX168" fmla="*/ 4543589 w 4694471"/>
              <a:gd name="connsiteY168" fmla="*/ 3855710 h 6855583"/>
              <a:gd name="connsiteX169" fmla="*/ 4562617 w 4694471"/>
              <a:gd name="connsiteY169" fmla="*/ 3895180 h 6855583"/>
              <a:gd name="connsiteX170" fmla="*/ 4572847 w 4694471"/>
              <a:gd name="connsiteY170" fmla="*/ 3914866 h 6855583"/>
              <a:gd name="connsiteX171" fmla="*/ 4577389 w 4694471"/>
              <a:gd name="connsiteY171" fmla="*/ 3925819 h 6855583"/>
              <a:gd name="connsiteX172" fmla="*/ 4586740 w 4694471"/>
              <a:gd name="connsiteY172" fmla="*/ 3945212 h 6855583"/>
              <a:gd name="connsiteX173" fmla="*/ 4604487 w 4694471"/>
              <a:gd name="connsiteY173" fmla="*/ 3991153 h 6855583"/>
              <a:gd name="connsiteX174" fmla="*/ 4613813 w 4694471"/>
              <a:gd name="connsiteY174" fmla="*/ 4013638 h 6855583"/>
              <a:gd name="connsiteX175" fmla="*/ 4616753 w 4694471"/>
              <a:gd name="connsiteY175" fmla="*/ 4022906 h 6855583"/>
              <a:gd name="connsiteX176" fmla="*/ 4622981 w 4694471"/>
              <a:gd name="connsiteY176" fmla="*/ 4039027 h 6855583"/>
              <a:gd name="connsiteX177" fmla="*/ 4638724 w 4694471"/>
              <a:gd name="connsiteY177" fmla="*/ 4092151 h 6855583"/>
              <a:gd name="connsiteX178" fmla="*/ 4646603 w 4694471"/>
              <a:gd name="connsiteY178" fmla="*/ 4116982 h 6855583"/>
              <a:gd name="connsiteX179" fmla="*/ 4648243 w 4694471"/>
              <a:gd name="connsiteY179" fmla="*/ 4124267 h 6855583"/>
              <a:gd name="connsiteX180" fmla="*/ 4651941 w 4694471"/>
              <a:gd name="connsiteY180" fmla="*/ 4136749 h 6855583"/>
              <a:gd name="connsiteX181" fmla="*/ 4664931 w 4694471"/>
              <a:gd name="connsiteY181" fmla="*/ 4198450 h 6855583"/>
              <a:gd name="connsiteX182" fmla="*/ 4665187 w 4694471"/>
              <a:gd name="connsiteY182" fmla="*/ 4199586 h 6855583"/>
              <a:gd name="connsiteX183" fmla="*/ 4666897 w 4694471"/>
              <a:gd name="connsiteY183" fmla="*/ 4199586 h 6855583"/>
              <a:gd name="connsiteX184" fmla="*/ 4672481 w 4694471"/>
              <a:gd name="connsiteY184" fmla="*/ 4229994 h 6855583"/>
              <a:gd name="connsiteX185" fmla="*/ 4673165 w 4694471"/>
              <a:gd name="connsiteY185" fmla="*/ 4236155 h 6855583"/>
              <a:gd name="connsiteX186" fmla="*/ 4674963 w 4694471"/>
              <a:gd name="connsiteY186" fmla="*/ 4246612 h 6855583"/>
              <a:gd name="connsiteX187" fmla="*/ 4684421 w 4694471"/>
              <a:gd name="connsiteY187" fmla="*/ 4337551 h 6855583"/>
              <a:gd name="connsiteX188" fmla="*/ 4687579 w 4694471"/>
              <a:gd name="connsiteY188" fmla="*/ 4365998 h 6855583"/>
              <a:gd name="connsiteX189" fmla="*/ 4687689 w 4694471"/>
              <a:gd name="connsiteY189" fmla="*/ 4368991 h 6855583"/>
              <a:gd name="connsiteX190" fmla="*/ 4688255 w 4694471"/>
              <a:gd name="connsiteY190" fmla="*/ 4374414 h 6855583"/>
              <a:gd name="connsiteX191" fmla="*/ 4690473 w 4694471"/>
              <a:gd name="connsiteY191" fmla="*/ 4437487 h 6855583"/>
              <a:gd name="connsiteX192" fmla="*/ 4693177 w 4694471"/>
              <a:gd name="connsiteY192" fmla="*/ 4437487 h 6855583"/>
              <a:gd name="connsiteX193" fmla="*/ 4693177 w 4694471"/>
              <a:gd name="connsiteY193" fmla="*/ 4495636 h 6855583"/>
              <a:gd name="connsiteX194" fmla="*/ 4693177 w 4694471"/>
              <a:gd name="connsiteY194" fmla="*/ 4514355 h 6855583"/>
              <a:gd name="connsiteX195" fmla="*/ 4693177 w 4694471"/>
              <a:gd name="connsiteY195" fmla="*/ 4514790 h 6855583"/>
              <a:gd name="connsiteX196" fmla="*/ 4693177 w 4694471"/>
              <a:gd name="connsiteY196" fmla="*/ 4514792 h 6855583"/>
              <a:gd name="connsiteX197" fmla="*/ 4694471 w 4694471"/>
              <a:gd name="connsiteY197" fmla="*/ 4514792 h 6855583"/>
              <a:gd name="connsiteX198" fmla="*/ 4694471 w 4694471"/>
              <a:gd name="connsiteY198" fmla="*/ 4623176 h 6855583"/>
              <a:gd name="connsiteX199" fmla="*/ 4694471 w 4694471"/>
              <a:gd name="connsiteY199" fmla="*/ 4794177 h 6855583"/>
              <a:gd name="connsiteX200" fmla="*/ 4694471 w 4694471"/>
              <a:gd name="connsiteY200" fmla="*/ 4907381 h 6855583"/>
              <a:gd name="connsiteX201" fmla="*/ 4694471 w 4694471"/>
              <a:gd name="connsiteY201" fmla="*/ 5379129 h 6855583"/>
              <a:gd name="connsiteX202" fmla="*/ 4694471 w 4694471"/>
              <a:gd name="connsiteY202" fmla="*/ 5405390 h 6855583"/>
              <a:gd name="connsiteX203" fmla="*/ 4694471 w 4694471"/>
              <a:gd name="connsiteY203" fmla="*/ 5502425 h 6855583"/>
              <a:gd name="connsiteX204" fmla="*/ 4694471 w 4694471"/>
              <a:gd name="connsiteY204" fmla="*/ 5529139 h 6855583"/>
              <a:gd name="connsiteX205" fmla="*/ 4694471 w 4694471"/>
              <a:gd name="connsiteY205" fmla="*/ 5598155 h 6855583"/>
              <a:gd name="connsiteX206" fmla="*/ 4694471 w 4694471"/>
              <a:gd name="connsiteY206" fmla="*/ 5657026 h 6855583"/>
              <a:gd name="connsiteX207" fmla="*/ 4694471 w 4694471"/>
              <a:gd name="connsiteY207" fmla="*/ 5725229 h 6855583"/>
              <a:gd name="connsiteX208" fmla="*/ 4694471 w 4694471"/>
              <a:gd name="connsiteY208" fmla="*/ 5785115 h 6855583"/>
              <a:gd name="connsiteX209" fmla="*/ 4693189 w 4694471"/>
              <a:gd name="connsiteY209" fmla="*/ 5785115 h 6855583"/>
              <a:gd name="connsiteX210" fmla="*/ 4693189 w 4694471"/>
              <a:gd name="connsiteY210" fmla="*/ 6709336 h 6855583"/>
              <a:gd name="connsiteX211" fmla="*/ 4693189 w 4694471"/>
              <a:gd name="connsiteY211" fmla="*/ 6855583 h 6855583"/>
              <a:gd name="connsiteX212" fmla="*/ 4620412 w 4694471"/>
              <a:gd name="connsiteY212" fmla="*/ 6855583 h 6855583"/>
              <a:gd name="connsiteX213" fmla="*/ 3976799 w 4694471"/>
              <a:gd name="connsiteY213" fmla="*/ 6855583 h 6855583"/>
              <a:gd name="connsiteX214" fmla="*/ 3927731 w 4694471"/>
              <a:gd name="connsiteY214" fmla="*/ 6855583 h 6855583"/>
              <a:gd name="connsiteX215" fmla="*/ 3904023 w 4694471"/>
              <a:gd name="connsiteY215" fmla="*/ 6855583 h 6855583"/>
              <a:gd name="connsiteX216" fmla="*/ 3854954 w 4694471"/>
              <a:gd name="connsiteY216" fmla="*/ 6855583 h 6855583"/>
              <a:gd name="connsiteX217" fmla="*/ 3734645 w 4694471"/>
              <a:gd name="connsiteY217" fmla="*/ 6855583 h 6855583"/>
              <a:gd name="connsiteX218" fmla="*/ 3661868 w 4694471"/>
              <a:gd name="connsiteY218" fmla="*/ 6855583 h 6855583"/>
              <a:gd name="connsiteX219" fmla="*/ 3610218 w 4694471"/>
              <a:gd name="connsiteY219" fmla="*/ 6855583 h 6855583"/>
              <a:gd name="connsiteX220" fmla="*/ 3609578 w 4694471"/>
              <a:gd name="connsiteY220" fmla="*/ 6855583 h 6855583"/>
              <a:gd name="connsiteX221" fmla="*/ 3609569 w 4694471"/>
              <a:gd name="connsiteY221" fmla="*/ 6855583 h 6855583"/>
              <a:gd name="connsiteX222" fmla="*/ 3609558 w 4694471"/>
              <a:gd name="connsiteY222" fmla="*/ 6855583 h 6855583"/>
              <a:gd name="connsiteX223" fmla="*/ 3559339 w 4694471"/>
              <a:gd name="connsiteY223" fmla="*/ 6855583 h 6855583"/>
              <a:gd name="connsiteX224" fmla="*/ 3558661 w 4694471"/>
              <a:gd name="connsiteY224" fmla="*/ 6855583 h 6855583"/>
              <a:gd name="connsiteX225" fmla="*/ 3537440 w 4694471"/>
              <a:gd name="connsiteY225" fmla="*/ 6855583 h 6855583"/>
              <a:gd name="connsiteX226" fmla="*/ 3536802 w 4694471"/>
              <a:gd name="connsiteY226" fmla="*/ 6855583 h 6855583"/>
              <a:gd name="connsiteX227" fmla="*/ 3536793 w 4694471"/>
              <a:gd name="connsiteY227" fmla="*/ 6855583 h 6855583"/>
              <a:gd name="connsiteX228" fmla="*/ 3536782 w 4694471"/>
              <a:gd name="connsiteY228" fmla="*/ 6855583 h 6855583"/>
              <a:gd name="connsiteX229" fmla="*/ 3485884 w 4694471"/>
              <a:gd name="connsiteY229" fmla="*/ 6855583 h 6855583"/>
              <a:gd name="connsiteX230" fmla="*/ 3211343 w 4694471"/>
              <a:gd name="connsiteY230" fmla="*/ 6855583 h 6855583"/>
              <a:gd name="connsiteX231" fmla="*/ 3138565 w 4694471"/>
              <a:gd name="connsiteY231" fmla="*/ 6855583 h 6855583"/>
              <a:gd name="connsiteX232" fmla="*/ 3018255 w 4694471"/>
              <a:gd name="connsiteY232" fmla="*/ 6855583 h 6855583"/>
              <a:gd name="connsiteX233" fmla="*/ 2969187 w 4694471"/>
              <a:gd name="connsiteY233" fmla="*/ 6855583 h 6855583"/>
              <a:gd name="connsiteX234" fmla="*/ 2945479 w 4694471"/>
              <a:gd name="connsiteY234" fmla="*/ 6855583 h 6855583"/>
              <a:gd name="connsiteX235" fmla="*/ 2896410 w 4694471"/>
              <a:gd name="connsiteY235" fmla="*/ 6855583 h 6855583"/>
              <a:gd name="connsiteX236" fmla="*/ 2893829 w 4694471"/>
              <a:gd name="connsiteY236" fmla="*/ 6855583 h 6855583"/>
              <a:gd name="connsiteX237" fmla="*/ 2893189 w 4694471"/>
              <a:gd name="connsiteY237" fmla="*/ 6855583 h 6855583"/>
              <a:gd name="connsiteX238" fmla="*/ 2893179 w 4694471"/>
              <a:gd name="connsiteY238" fmla="*/ 6855583 h 6855583"/>
              <a:gd name="connsiteX239" fmla="*/ 2893168 w 4694471"/>
              <a:gd name="connsiteY239" fmla="*/ 6855583 h 6855583"/>
              <a:gd name="connsiteX240" fmla="*/ 2844760 w 4694471"/>
              <a:gd name="connsiteY240" fmla="*/ 6855583 h 6855583"/>
              <a:gd name="connsiteX241" fmla="*/ 2844120 w 4694471"/>
              <a:gd name="connsiteY241" fmla="*/ 6855583 h 6855583"/>
              <a:gd name="connsiteX242" fmla="*/ 2844111 w 4694471"/>
              <a:gd name="connsiteY242" fmla="*/ 6855583 h 6855583"/>
              <a:gd name="connsiteX243" fmla="*/ 2844100 w 4694471"/>
              <a:gd name="connsiteY243" fmla="*/ 6855583 h 6855583"/>
              <a:gd name="connsiteX244" fmla="*/ 2842271 w 4694471"/>
              <a:gd name="connsiteY244" fmla="*/ 6855583 h 6855583"/>
              <a:gd name="connsiteX245" fmla="*/ 2821051 w 4694471"/>
              <a:gd name="connsiteY245" fmla="*/ 6855583 h 6855583"/>
              <a:gd name="connsiteX246" fmla="*/ 2820413 w 4694471"/>
              <a:gd name="connsiteY246" fmla="*/ 6855583 h 6855583"/>
              <a:gd name="connsiteX247" fmla="*/ 2820403 w 4694471"/>
              <a:gd name="connsiteY247" fmla="*/ 6855583 h 6855583"/>
              <a:gd name="connsiteX248" fmla="*/ 2820392 w 4694471"/>
              <a:gd name="connsiteY248" fmla="*/ 6855583 h 6855583"/>
              <a:gd name="connsiteX249" fmla="*/ 2793202 w 4694471"/>
              <a:gd name="connsiteY249" fmla="*/ 6855583 h 6855583"/>
              <a:gd name="connsiteX250" fmla="*/ 2771983 w 4694471"/>
              <a:gd name="connsiteY250" fmla="*/ 6855583 h 6855583"/>
              <a:gd name="connsiteX251" fmla="*/ 2771344 w 4694471"/>
              <a:gd name="connsiteY251" fmla="*/ 6855583 h 6855583"/>
              <a:gd name="connsiteX252" fmla="*/ 2771334 w 4694471"/>
              <a:gd name="connsiteY252" fmla="*/ 6855583 h 6855583"/>
              <a:gd name="connsiteX253" fmla="*/ 2771323 w 4694471"/>
              <a:gd name="connsiteY253" fmla="*/ 6855583 h 6855583"/>
              <a:gd name="connsiteX254" fmla="*/ 2769494 w 4694471"/>
              <a:gd name="connsiteY254" fmla="*/ 6855583 h 6855583"/>
              <a:gd name="connsiteX255" fmla="*/ 2720426 w 4694471"/>
              <a:gd name="connsiteY255" fmla="*/ 6855583 h 6855583"/>
              <a:gd name="connsiteX256" fmla="*/ 2651674 w 4694471"/>
              <a:gd name="connsiteY256" fmla="*/ 6855583 h 6855583"/>
              <a:gd name="connsiteX257" fmla="*/ 2651034 w 4694471"/>
              <a:gd name="connsiteY257" fmla="*/ 6855583 h 6855583"/>
              <a:gd name="connsiteX258" fmla="*/ 2651025 w 4694471"/>
              <a:gd name="connsiteY258" fmla="*/ 6855583 h 6855583"/>
              <a:gd name="connsiteX259" fmla="*/ 2651014 w 4694471"/>
              <a:gd name="connsiteY259" fmla="*/ 6855583 h 6855583"/>
              <a:gd name="connsiteX260" fmla="*/ 2600795 w 4694471"/>
              <a:gd name="connsiteY260" fmla="*/ 6855583 h 6855583"/>
              <a:gd name="connsiteX261" fmla="*/ 2600117 w 4694471"/>
              <a:gd name="connsiteY261" fmla="*/ 6855583 h 6855583"/>
              <a:gd name="connsiteX262" fmla="*/ 2578896 w 4694471"/>
              <a:gd name="connsiteY262" fmla="*/ 6855583 h 6855583"/>
              <a:gd name="connsiteX263" fmla="*/ 2578258 w 4694471"/>
              <a:gd name="connsiteY263" fmla="*/ 6855583 h 6855583"/>
              <a:gd name="connsiteX264" fmla="*/ 2578249 w 4694471"/>
              <a:gd name="connsiteY264" fmla="*/ 6855583 h 6855583"/>
              <a:gd name="connsiteX265" fmla="*/ 2578238 w 4694471"/>
              <a:gd name="connsiteY265" fmla="*/ 6855583 h 6855583"/>
              <a:gd name="connsiteX266" fmla="*/ 2527340 w 4694471"/>
              <a:gd name="connsiteY266" fmla="*/ 6855583 h 6855583"/>
              <a:gd name="connsiteX267" fmla="*/ 2252799 w 4694471"/>
              <a:gd name="connsiteY267" fmla="*/ 6855583 h 6855583"/>
              <a:gd name="connsiteX268" fmla="*/ 2180021 w 4694471"/>
              <a:gd name="connsiteY268" fmla="*/ 6855583 h 6855583"/>
              <a:gd name="connsiteX269" fmla="*/ 2128371 w 4694471"/>
              <a:gd name="connsiteY269" fmla="*/ 6855583 h 6855583"/>
              <a:gd name="connsiteX270" fmla="*/ 2127731 w 4694471"/>
              <a:gd name="connsiteY270" fmla="*/ 6855583 h 6855583"/>
              <a:gd name="connsiteX271" fmla="*/ 2127721 w 4694471"/>
              <a:gd name="connsiteY271" fmla="*/ 6855583 h 6855583"/>
              <a:gd name="connsiteX272" fmla="*/ 2127710 w 4694471"/>
              <a:gd name="connsiteY272" fmla="*/ 6855583 h 6855583"/>
              <a:gd name="connsiteX273" fmla="*/ 2076812 w 4694471"/>
              <a:gd name="connsiteY273" fmla="*/ 6855583 h 6855583"/>
              <a:gd name="connsiteX274" fmla="*/ 2055593 w 4694471"/>
              <a:gd name="connsiteY274" fmla="*/ 6855583 h 6855583"/>
              <a:gd name="connsiteX275" fmla="*/ 2054955 w 4694471"/>
              <a:gd name="connsiteY275" fmla="*/ 6855583 h 6855583"/>
              <a:gd name="connsiteX276" fmla="*/ 2054944 w 4694471"/>
              <a:gd name="connsiteY276" fmla="*/ 6855583 h 6855583"/>
              <a:gd name="connsiteX277" fmla="*/ 2054933 w 4694471"/>
              <a:gd name="connsiteY277" fmla="*/ 6855583 h 6855583"/>
              <a:gd name="connsiteX278" fmla="*/ 2004036 w 4694471"/>
              <a:gd name="connsiteY278" fmla="*/ 6855583 h 6855583"/>
              <a:gd name="connsiteX279" fmla="*/ 1935285 w 4694471"/>
              <a:gd name="connsiteY279" fmla="*/ 6855583 h 6855583"/>
              <a:gd name="connsiteX280" fmla="*/ 1934645 w 4694471"/>
              <a:gd name="connsiteY280" fmla="*/ 6855583 h 6855583"/>
              <a:gd name="connsiteX281" fmla="*/ 1934635 w 4694471"/>
              <a:gd name="connsiteY281" fmla="*/ 6855583 h 6855583"/>
              <a:gd name="connsiteX282" fmla="*/ 1934624 w 4694471"/>
              <a:gd name="connsiteY282" fmla="*/ 6855583 h 6855583"/>
              <a:gd name="connsiteX283" fmla="*/ 1886216 w 4694471"/>
              <a:gd name="connsiteY283" fmla="*/ 6855583 h 6855583"/>
              <a:gd name="connsiteX284" fmla="*/ 1885576 w 4694471"/>
              <a:gd name="connsiteY284" fmla="*/ 6855583 h 6855583"/>
              <a:gd name="connsiteX285" fmla="*/ 1885567 w 4694471"/>
              <a:gd name="connsiteY285" fmla="*/ 6855583 h 6855583"/>
              <a:gd name="connsiteX286" fmla="*/ 1885556 w 4694471"/>
              <a:gd name="connsiteY286" fmla="*/ 6855583 h 6855583"/>
              <a:gd name="connsiteX287" fmla="*/ 1883727 w 4694471"/>
              <a:gd name="connsiteY287" fmla="*/ 6855583 h 6855583"/>
              <a:gd name="connsiteX288" fmla="*/ 1862507 w 4694471"/>
              <a:gd name="connsiteY288" fmla="*/ 6855583 h 6855583"/>
              <a:gd name="connsiteX289" fmla="*/ 1861869 w 4694471"/>
              <a:gd name="connsiteY289" fmla="*/ 6855583 h 6855583"/>
              <a:gd name="connsiteX290" fmla="*/ 1861859 w 4694471"/>
              <a:gd name="connsiteY290" fmla="*/ 6855583 h 6855583"/>
              <a:gd name="connsiteX291" fmla="*/ 1861848 w 4694471"/>
              <a:gd name="connsiteY291" fmla="*/ 6855583 h 6855583"/>
              <a:gd name="connsiteX292" fmla="*/ 1834658 w 4694471"/>
              <a:gd name="connsiteY292" fmla="*/ 6855583 h 6855583"/>
              <a:gd name="connsiteX293" fmla="*/ 1813439 w 4694471"/>
              <a:gd name="connsiteY293" fmla="*/ 6855583 h 6855583"/>
              <a:gd name="connsiteX294" fmla="*/ 1812800 w 4694471"/>
              <a:gd name="connsiteY294" fmla="*/ 6855583 h 6855583"/>
              <a:gd name="connsiteX295" fmla="*/ 1812790 w 4694471"/>
              <a:gd name="connsiteY295" fmla="*/ 6855583 h 6855583"/>
              <a:gd name="connsiteX296" fmla="*/ 1812779 w 4694471"/>
              <a:gd name="connsiteY296" fmla="*/ 6855583 h 6855583"/>
              <a:gd name="connsiteX297" fmla="*/ 1810950 w 4694471"/>
              <a:gd name="connsiteY297" fmla="*/ 6855583 h 6855583"/>
              <a:gd name="connsiteX298" fmla="*/ 1761882 w 4694471"/>
              <a:gd name="connsiteY298" fmla="*/ 6855583 h 6855583"/>
              <a:gd name="connsiteX299" fmla="*/ 1169827 w 4694471"/>
              <a:gd name="connsiteY299" fmla="*/ 6855583 h 6855583"/>
              <a:gd name="connsiteX300" fmla="*/ 1169187 w 4694471"/>
              <a:gd name="connsiteY300" fmla="*/ 6855583 h 6855583"/>
              <a:gd name="connsiteX301" fmla="*/ 1169177 w 4694471"/>
              <a:gd name="connsiteY301" fmla="*/ 6855583 h 6855583"/>
              <a:gd name="connsiteX302" fmla="*/ 1169166 w 4694471"/>
              <a:gd name="connsiteY302" fmla="*/ 6855583 h 6855583"/>
              <a:gd name="connsiteX303" fmla="*/ 1118268 w 4694471"/>
              <a:gd name="connsiteY303" fmla="*/ 6855583 h 6855583"/>
              <a:gd name="connsiteX304" fmla="*/ 1097049 w 4694471"/>
              <a:gd name="connsiteY304" fmla="*/ 6855583 h 6855583"/>
              <a:gd name="connsiteX305" fmla="*/ 1096411 w 4694471"/>
              <a:gd name="connsiteY305" fmla="*/ 6855583 h 6855583"/>
              <a:gd name="connsiteX306" fmla="*/ 1096400 w 4694471"/>
              <a:gd name="connsiteY306" fmla="*/ 6855583 h 6855583"/>
              <a:gd name="connsiteX307" fmla="*/ 1096389 w 4694471"/>
              <a:gd name="connsiteY307" fmla="*/ 6855583 h 6855583"/>
              <a:gd name="connsiteX308" fmla="*/ 1045492 w 4694471"/>
              <a:gd name="connsiteY308" fmla="*/ 6855583 h 6855583"/>
              <a:gd name="connsiteX309" fmla="*/ 961282 w 4694471"/>
              <a:gd name="connsiteY309" fmla="*/ 6855583 h 6855583"/>
              <a:gd name="connsiteX310" fmla="*/ 2738 w 4694471"/>
              <a:gd name="connsiteY310" fmla="*/ 6855583 h 6855583"/>
              <a:gd name="connsiteX311" fmla="*/ 2738 w 4694471"/>
              <a:gd name="connsiteY311" fmla="*/ 5657026 h 6855583"/>
              <a:gd name="connsiteX312" fmla="*/ 1722 w 4694471"/>
              <a:gd name="connsiteY312" fmla="*/ 5657026 h 6855583"/>
              <a:gd name="connsiteX313" fmla="*/ 1722 w 4694471"/>
              <a:gd name="connsiteY313" fmla="*/ 5612741 h 6855583"/>
              <a:gd name="connsiteX314" fmla="*/ 1722 w 4694471"/>
              <a:gd name="connsiteY314" fmla="*/ 5598486 h 6855583"/>
              <a:gd name="connsiteX315" fmla="*/ 1722 w 4694471"/>
              <a:gd name="connsiteY315" fmla="*/ 5598155 h 6855583"/>
              <a:gd name="connsiteX316" fmla="*/ 426 w 4694471"/>
              <a:gd name="connsiteY316" fmla="*/ 5598155 h 6855583"/>
              <a:gd name="connsiteX317" fmla="*/ 426 w 4694471"/>
              <a:gd name="connsiteY317" fmla="*/ 5405390 h 6855583"/>
              <a:gd name="connsiteX318" fmla="*/ 426 w 4694471"/>
              <a:gd name="connsiteY318" fmla="*/ 5379129 h 6855583"/>
              <a:gd name="connsiteX319" fmla="*/ 428 w 4694471"/>
              <a:gd name="connsiteY319" fmla="*/ 4794177 h 6855583"/>
              <a:gd name="connsiteX320" fmla="*/ 428 w 4694471"/>
              <a:gd name="connsiteY320" fmla="*/ 4514790 h 6855583"/>
              <a:gd name="connsiteX321" fmla="*/ 428 w 4694471"/>
              <a:gd name="connsiteY321" fmla="*/ 4437487 h 6855583"/>
              <a:gd name="connsiteX322" fmla="*/ 1710 w 4694471"/>
              <a:gd name="connsiteY322" fmla="*/ 4437487 h 6855583"/>
              <a:gd name="connsiteX323" fmla="*/ 1710 w 4694471"/>
              <a:gd name="connsiteY323" fmla="*/ 4199586 h 6855583"/>
              <a:gd name="connsiteX324" fmla="*/ 0 w 4694471"/>
              <a:gd name="connsiteY324" fmla="*/ 4199586 h 6855583"/>
              <a:gd name="connsiteX325" fmla="*/ 0 w 4694471"/>
              <a:gd name="connsiteY325" fmla="*/ 3265890 h 6855583"/>
              <a:gd name="connsiteX326" fmla="*/ 2738 w 4694471"/>
              <a:gd name="connsiteY326" fmla="*/ 3265890 h 6855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</a:cxnLst>
            <a:rect l="l" t="t" r="r" b="b"/>
            <a:pathLst>
              <a:path w="4694471" h="6855583">
                <a:moveTo>
                  <a:pt x="2738" y="0"/>
                </a:moveTo>
                <a:lnTo>
                  <a:pt x="961282" y="0"/>
                </a:lnTo>
                <a:lnTo>
                  <a:pt x="1974639" y="0"/>
                </a:lnTo>
                <a:lnTo>
                  <a:pt x="2050909" y="0"/>
                </a:lnTo>
                <a:lnTo>
                  <a:pt x="2600795" y="0"/>
                </a:lnTo>
                <a:lnTo>
                  <a:pt x="2671049" y="0"/>
                </a:lnTo>
                <a:lnTo>
                  <a:pt x="2747320" y="0"/>
                </a:lnTo>
                <a:lnTo>
                  <a:pt x="2933183" y="0"/>
                </a:lnTo>
                <a:lnTo>
                  <a:pt x="3009453" y="0"/>
                </a:lnTo>
                <a:lnTo>
                  <a:pt x="3559339" y="0"/>
                </a:lnTo>
                <a:lnTo>
                  <a:pt x="3559339" y="1"/>
                </a:lnTo>
                <a:lnTo>
                  <a:pt x="3629003" y="1"/>
                </a:lnTo>
                <a:lnTo>
                  <a:pt x="3629584" y="1"/>
                </a:lnTo>
                <a:lnTo>
                  <a:pt x="3629593" y="0"/>
                </a:lnTo>
                <a:lnTo>
                  <a:pt x="3629603" y="1"/>
                </a:lnTo>
                <a:lnTo>
                  <a:pt x="3675909" y="1"/>
                </a:lnTo>
                <a:lnTo>
                  <a:pt x="3705273" y="1"/>
                </a:lnTo>
                <a:lnTo>
                  <a:pt x="3705854" y="1"/>
                </a:lnTo>
                <a:lnTo>
                  <a:pt x="3705864" y="0"/>
                </a:lnTo>
                <a:lnTo>
                  <a:pt x="3705872" y="1"/>
                </a:lnTo>
                <a:lnTo>
                  <a:pt x="3752180" y="1"/>
                </a:lnTo>
                <a:lnTo>
                  <a:pt x="3752180" y="2441"/>
                </a:lnTo>
                <a:lnTo>
                  <a:pt x="3799909" y="4925"/>
                </a:lnTo>
                <a:lnTo>
                  <a:pt x="3802804" y="5380"/>
                </a:lnTo>
                <a:lnTo>
                  <a:pt x="3806663" y="5593"/>
                </a:lnTo>
                <a:cubicBezTo>
                  <a:pt x="3864922" y="12094"/>
                  <a:pt x="3921679" y="24167"/>
                  <a:pt x="3976490" y="41323"/>
                </a:cubicBezTo>
                <a:lnTo>
                  <a:pt x="3980485" y="42781"/>
                </a:lnTo>
                <a:lnTo>
                  <a:pt x="3981173" y="42964"/>
                </a:lnTo>
                <a:lnTo>
                  <a:pt x="3988028" y="45538"/>
                </a:lnTo>
                <a:lnTo>
                  <a:pt x="4057188" y="70802"/>
                </a:lnTo>
                <a:lnTo>
                  <a:pt x="4064286" y="74169"/>
                </a:lnTo>
                <a:lnTo>
                  <a:pt x="4066984" y="75182"/>
                </a:lnTo>
                <a:lnTo>
                  <a:pt x="4081569" y="82367"/>
                </a:lnTo>
                <a:lnTo>
                  <a:pt x="4134626" y="107533"/>
                </a:lnTo>
                <a:lnTo>
                  <a:pt x="4144529" y="113381"/>
                </a:lnTo>
                <a:lnTo>
                  <a:pt x="4149036" y="115600"/>
                </a:lnTo>
                <a:lnTo>
                  <a:pt x="4164861" y="125388"/>
                </a:lnTo>
                <a:lnTo>
                  <a:pt x="4208472" y="151145"/>
                </a:lnTo>
                <a:lnTo>
                  <a:pt x="4220829" y="160005"/>
                </a:lnTo>
                <a:lnTo>
                  <a:pt x="4226920" y="163770"/>
                </a:lnTo>
                <a:lnTo>
                  <a:pt x="4241989" y="175174"/>
                </a:lnTo>
                <a:lnTo>
                  <a:pt x="4278383" y="201267"/>
                </a:lnTo>
                <a:lnTo>
                  <a:pt x="4292804" y="213629"/>
                </a:lnTo>
                <a:lnTo>
                  <a:pt x="4300227" y="219244"/>
                </a:lnTo>
                <a:lnTo>
                  <a:pt x="4313741" y="231573"/>
                </a:lnTo>
                <a:lnTo>
                  <a:pt x="4344028" y="257532"/>
                </a:lnTo>
                <a:lnTo>
                  <a:pt x="4360072" y="273838"/>
                </a:lnTo>
                <a:lnTo>
                  <a:pt x="4368549" y="281570"/>
                </a:lnTo>
                <a:lnTo>
                  <a:pt x="4380176" y="294271"/>
                </a:lnTo>
                <a:lnTo>
                  <a:pt x="4405069" y="319569"/>
                </a:lnTo>
                <a:lnTo>
                  <a:pt x="4422252" y="340225"/>
                </a:lnTo>
                <a:lnTo>
                  <a:pt x="4431478" y="350303"/>
                </a:lnTo>
                <a:lnTo>
                  <a:pt x="4441115" y="362902"/>
                </a:lnTo>
                <a:lnTo>
                  <a:pt x="4461169" y="387010"/>
                </a:lnTo>
                <a:lnTo>
                  <a:pt x="4478966" y="412388"/>
                </a:lnTo>
                <a:lnTo>
                  <a:pt x="4488605" y="424989"/>
                </a:lnTo>
                <a:lnTo>
                  <a:pt x="4496275" y="437070"/>
                </a:lnTo>
                <a:lnTo>
                  <a:pt x="4511991" y="459481"/>
                </a:lnTo>
                <a:lnTo>
                  <a:pt x="4529843" y="489942"/>
                </a:lnTo>
                <a:lnTo>
                  <a:pt x="4539521" y="505184"/>
                </a:lnTo>
                <a:lnTo>
                  <a:pt x="4545336" y="516375"/>
                </a:lnTo>
                <a:lnTo>
                  <a:pt x="4557199" y="536617"/>
                </a:lnTo>
                <a:lnTo>
                  <a:pt x="4574510" y="572526"/>
                </a:lnTo>
                <a:lnTo>
                  <a:pt x="4583819" y="590437"/>
                </a:lnTo>
                <a:lnTo>
                  <a:pt x="4587950" y="600402"/>
                </a:lnTo>
                <a:lnTo>
                  <a:pt x="4596457" y="618045"/>
                </a:lnTo>
                <a:lnTo>
                  <a:pt x="4612602" y="659843"/>
                </a:lnTo>
                <a:lnTo>
                  <a:pt x="4621089" y="680300"/>
                </a:lnTo>
                <a:lnTo>
                  <a:pt x="4623764" y="688731"/>
                </a:lnTo>
                <a:lnTo>
                  <a:pt x="4629429" y="703398"/>
                </a:lnTo>
                <a:lnTo>
                  <a:pt x="4643753" y="751729"/>
                </a:lnTo>
                <a:lnTo>
                  <a:pt x="4650921" y="774321"/>
                </a:lnTo>
                <a:lnTo>
                  <a:pt x="4652412" y="780948"/>
                </a:lnTo>
                <a:lnTo>
                  <a:pt x="4655777" y="792304"/>
                </a:lnTo>
                <a:lnTo>
                  <a:pt x="4667595" y="848440"/>
                </a:lnTo>
                <a:lnTo>
                  <a:pt x="4667828" y="849474"/>
                </a:lnTo>
                <a:lnTo>
                  <a:pt x="4669385" y="849474"/>
                </a:lnTo>
                <a:lnTo>
                  <a:pt x="4674465" y="877139"/>
                </a:lnTo>
                <a:lnTo>
                  <a:pt x="4675087" y="882743"/>
                </a:lnTo>
                <a:lnTo>
                  <a:pt x="4676722" y="892259"/>
                </a:lnTo>
                <a:lnTo>
                  <a:pt x="4685327" y="974994"/>
                </a:lnTo>
                <a:lnTo>
                  <a:pt x="4688200" y="1000874"/>
                </a:lnTo>
                <a:lnTo>
                  <a:pt x="4688301" y="1003598"/>
                </a:lnTo>
                <a:lnTo>
                  <a:pt x="4688815" y="1008533"/>
                </a:lnTo>
                <a:lnTo>
                  <a:pt x="4690833" y="1065916"/>
                </a:lnTo>
                <a:lnTo>
                  <a:pt x="4693293" y="1065916"/>
                </a:lnTo>
                <a:lnTo>
                  <a:pt x="4693293" y="1118819"/>
                </a:lnTo>
                <a:lnTo>
                  <a:pt x="4693293" y="1135849"/>
                </a:lnTo>
                <a:lnTo>
                  <a:pt x="4693293" y="1136246"/>
                </a:lnTo>
                <a:lnTo>
                  <a:pt x="4693293" y="1136247"/>
                </a:lnTo>
                <a:lnTo>
                  <a:pt x="4694471" y="1136247"/>
                </a:lnTo>
                <a:lnTo>
                  <a:pt x="4694471" y="1234853"/>
                </a:lnTo>
                <a:lnTo>
                  <a:pt x="4694471" y="1390429"/>
                </a:lnTo>
                <a:lnTo>
                  <a:pt x="4694471" y="1493422"/>
                </a:lnTo>
                <a:lnTo>
                  <a:pt x="4694471" y="1922616"/>
                </a:lnTo>
                <a:lnTo>
                  <a:pt x="4694471" y="1946509"/>
                </a:lnTo>
                <a:lnTo>
                  <a:pt x="4694471" y="2034790"/>
                </a:lnTo>
                <a:lnTo>
                  <a:pt x="4694471" y="2059094"/>
                </a:lnTo>
                <a:lnTo>
                  <a:pt x="4694471" y="2121885"/>
                </a:lnTo>
                <a:lnTo>
                  <a:pt x="4694471" y="2175446"/>
                </a:lnTo>
                <a:lnTo>
                  <a:pt x="4694471" y="2237497"/>
                </a:lnTo>
                <a:lnTo>
                  <a:pt x="4694471" y="2291981"/>
                </a:lnTo>
                <a:lnTo>
                  <a:pt x="4693305" y="2291981"/>
                </a:lnTo>
                <a:lnTo>
                  <a:pt x="4693305" y="3132833"/>
                </a:lnTo>
                <a:lnTo>
                  <a:pt x="4693305" y="3265888"/>
                </a:lnTo>
                <a:lnTo>
                  <a:pt x="4627092" y="3265888"/>
                </a:lnTo>
                <a:lnTo>
                  <a:pt x="3996894" y="3265888"/>
                </a:lnTo>
                <a:lnTo>
                  <a:pt x="3930683" y="3265888"/>
                </a:lnTo>
                <a:lnTo>
                  <a:pt x="3734761" y="3265888"/>
                </a:lnTo>
                <a:lnTo>
                  <a:pt x="3708022" y="3265888"/>
                </a:lnTo>
                <a:lnTo>
                  <a:pt x="3707441" y="3265888"/>
                </a:lnTo>
                <a:lnTo>
                  <a:pt x="3707431" y="3265888"/>
                </a:lnTo>
                <a:lnTo>
                  <a:pt x="3707422" y="3265888"/>
                </a:lnTo>
                <a:lnTo>
                  <a:pt x="3668548" y="3265888"/>
                </a:lnTo>
                <a:lnTo>
                  <a:pt x="3661115" y="3265888"/>
                </a:lnTo>
                <a:lnTo>
                  <a:pt x="3641811" y="3265888"/>
                </a:lnTo>
                <a:lnTo>
                  <a:pt x="3641229" y="3265888"/>
                </a:lnTo>
                <a:lnTo>
                  <a:pt x="3641220" y="3265888"/>
                </a:lnTo>
                <a:lnTo>
                  <a:pt x="3641210" y="3265888"/>
                </a:lnTo>
                <a:lnTo>
                  <a:pt x="3594904" y="3265888"/>
                </a:lnTo>
                <a:lnTo>
                  <a:pt x="3559339" y="3265888"/>
                </a:lnTo>
                <a:lnTo>
                  <a:pt x="3559339" y="3265890"/>
                </a:lnTo>
                <a:lnTo>
                  <a:pt x="3574921" y="3265890"/>
                </a:lnTo>
                <a:lnTo>
                  <a:pt x="3607197" y="3265890"/>
                </a:lnTo>
                <a:lnTo>
                  <a:pt x="3607836" y="3265890"/>
                </a:lnTo>
                <a:lnTo>
                  <a:pt x="3607845" y="3265889"/>
                </a:lnTo>
                <a:lnTo>
                  <a:pt x="3607855" y="3265890"/>
                </a:lnTo>
                <a:lnTo>
                  <a:pt x="3658753" y="3265890"/>
                </a:lnTo>
                <a:lnTo>
                  <a:pt x="3658753" y="3268571"/>
                </a:lnTo>
                <a:lnTo>
                  <a:pt x="3711215" y="3271301"/>
                </a:lnTo>
                <a:lnTo>
                  <a:pt x="3714398" y="3271802"/>
                </a:lnTo>
                <a:lnTo>
                  <a:pt x="3718640" y="3272037"/>
                </a:lnTo>
                <a:cubicBezTo>
                  <a:pt x="3782673" y="3279182"/>
                  <a:pt x="3845058" y="3292453"/>
                  <a:pt x="3905304" y="3311308"/>
                </a:cubicBezTo>
                <a:lnTo>
                  <a:pt x="3909694" y="3312912"/>
                </a:lnTo>
                <a:lnTo>
                  <a:pt x="3910452" y="3313112"/>
                </a:lnTo>
                <a:lnTo>
                  <a:pt x="3917986" y="3315942"/>
                </a:lnTo>
                <a:lnTo>
                  <a:pt x="3994003" y="3343710"/>
                </a:lnTo>
                <a:lnTo>
                  <a:pt x="4001805" y="3347410"/>
                </a:lnTo>
                <a:lnTo>
                  <a:pt x="4004771" y="3348524"/>
                </a:lnTo>
                <a:lnTo>
                  <a:pt x="4020801" y="3356422"/>
                </a:lnTo>
                <a:lnTo>
                  <a:pt x="4079119" y="3384083"/>
                </a:lnTo>
                <a:lnTo>
                  <a:pt x="4090003" y="3390510"/>
                </a:lnTo>
                <a:lnTo>
                  <a:pt x="4094957" y="3392950"/>
                </a:lnTo>
                <a:lnTo>
                  <a:pt x="4112351" y="3403709"/>
                </a:lnTo>
                <a:lnTo>
                  <a:pt x="4160286" y="3432019"/>
                </a:lnTo>
                <a:lnTo>
                  <a:pt x="4173870" y="3441758"/>
                </a:lnTo>
                <a:lnTo>
                  <a:pt x="4180562" y="3445896"/>
                </a:lnTo>
                <a:lnTo>
                  <a:pt x="4197126" y="3458431"/>
                </a:lnTo>
                <a:lnTo>
                  <a:pt x="4237129" y="3487112"/>
                </a:lnTo>
                <a:lnTo>
                  <a:pt x="4252979" y="3500699"/>
                </a:lnTo>
                <a:lnTo>
                  <a:pt x="4261138" y="3506870"/>
                </a:lnTo>
                <a:lnTo>
                  <a:pt x="4275993" y="3520422"/>
                </a:lnTo>
                <a:lnTo>
                  <a:pt x="4309284" y="3548954"/>
                </a:lnTo>
                <a:lnTo>
                  <a:pt x="4326916" y="3566877"/>
                </a:lnTo>
                <a:lnTo>
                  <a:pt x="4336234" y="3575376"/>
                </a:lnTo>
                <a:lnTo>
                  <a:pt x="4349015" y="3589336"/>
                </a:lnTo>
                <a:lnTo>
                  <a:pt x="4376377" y="3617142"/>
                </a:lnTo>
                <a:lnTo>
                  <a:pt x="4395261" y="3639845"/>
                </a:lnTo>
                <a:lnTo>
                  <a:pt x="4405403" y="3650923"/>
                </a:lnTo>
                <a:lnTo>
                  <a:pt x="4415995" y="3664770"/>
                </a:lnTo>
                <a:lnTo>
                  <a:pt x="4438037" y="3691269"/>
                </a:lnTo>
                <a:lnTo>
                  <a:pt x="4457599" y="3719164"/>
                </a:lnTo>
                <a:lnTo>
                  <a:pt x="4468193" y="3733015"/>
                </a:lnTo>
                <a:lnTo>
                  <a:pt x="4476623" y="3746294"/>
                </a:lnTo>
                <a:lnTo>
                  <a:pt x="4493900" y="3770927"/>
                </a:lnTo>
                <a:lnTo>
                  <a:pt x="4513522" y="3804408"/>
                </a:lnTo>
                <a:lnTo>
                  <a:pt x="4524158" y="3821161"/>
                </a:lnTo>
                <a:lnTo>
                  <a:pt x="4530550" y="3833462"/>
                </a:lnTo>
                <a:lnTo>
                  <a:pt x="4543589" y="3855710"/>
                </a:lnTo>
                <a:lnTo>
                  <a:pt x="4562617" y="3895180"/>
                </a:lnTo>
                <a:lnTo>
                  <a:pt x="4572847" y="3914866"/>
                </a:lnTo>
                <a:lnTo>
                  <a:pt x="4577389" y="3925819"/>
                </a:lnTo>
                <a:lnTo>
                  <a:pt x="4586740" y="3945212"/>
                </a:lnTo>
                <a:lnTo>
                  <a:pt x="4604487" y="3991153"/>
                </a:lnTo>
                <a:lnTo>
                  <a:pt x="4613813" y="4013638"/>
                </a:lnTo>
                <a:lnTo>
                  <a:pt x="4616753" y="4022906"/>
                </a:lnTo>
                <a:lnTo>
                  <a:pt x="4622981" y="4039027"/>
                </a:lnTo>
                <a:lnTo>
                  <a:pt x="4638724" y="4092151"/>
                </a:lnTo>
                <a:lnTo>
                  <a:pt x="4646603" y="4116982"/>
                </a:lnTo>
                <a:lnTo>
                  <a:pt x="4648243" y="4124267"/>
                </a:lnTo>
                <a:lnTo>
                  <a:pt x="4651941" y="4136749"/>
                </a:lnTo>
                <a:lnTo>
                  <a:pt x="4664931" y="4198450"/>
                </a:lnTo>
                <a:lnTo>
                  <a:pt x="4665187" y="4199586"/>
                </a:lnTo>
                <a:lnTo>
                  <a:pt x="4666897" y="4199586"/>
                </a:lnTo>
                <a:lnTo>
                  <a:pt x="4672481" y="4229994"/>
                </a:lnTo>
                <a:lnTo>
                  <a:pt x="4673165" y="4236155"/>
                </a:lnTo>
                <a:lnTo>
                  <a:pt x="4674963" y="4246612"/>
                </a:lnTo>
                <a:lnTo>
                  <a:pt x="4684421" y="4337551"/>
                </a:lnTo>
                <a:lnTo>
                  <a:pt x="4687579" y="4365998"/>
                </a:lnTo>
                <a:lnTo>
                  <a:pt x="4687689" y="4368991"/>
                </a:lnTo>
                <a:lnTo>
                  <a:pt x="4688255" y="4374414"/>
                </a:lnTo>
                <a:lnTo>
                  <a:pt x="4690473" y="4437487"/>
                </a:lnTo>
                <a:lnTo>
                  <a:pt x="4693177" y="4437487"/>
                </a:lnTo>
                <a:lnTo>
                  <a:pt x="4693177" y="4495636"/>
                </a:lnTo>
                <a:lnTo>
                  <a:pt x="4693177" y="4514355"/>
                </a:lnTo>
                <a:lnTo>
                  <a:pt x="4693177" y="4514790"/>
                </a:lnTo>
                <a:lnTo>
                  <a:pt x="4693177" y="4514792"/>
                </a:lnTo>
                <a:lnTo>
                  <a:pt x="4694471" y="4514792"/>
                </a:lnTo>
                <a:lnTo>
                  <a:pt x="4694471" y="4623176"/>
                </a:lnTo>
                <a:lnTo>
                  <a:pt x="4694471" y="4794177"/>
                </a:lnTo>
                <a:lnTo>
                  <a:pt x="4694471" y="4907381"/>
                </a:lnTo>
                <a:lnTo>
                  <a:pt x="4694471" y="5379129"/>
                </a:lnTo>
                <a:lnTo>
                  <a:pt x="4694471" y="5405390"/>
                </a:lnTo>
                <a:lnTo>
                  <a:pt x="4694471" y="5502425"/>
                </a:lnTo>
                <a:lnTo>
                  <a:pt x="4694471" y="5529139"/>
                </a:lnTo>
                <a:lnTo>
                  <a:pt x="4694471" y="5598155"/>
                </a:lnTo>
                <a:lnTo>
                  <a:pt x="4694471" y="5657026"/>
                </a:lnTo>
                <a:lnTo>
                  <a:pt x="4694471" y="5725229"/>
                </a:lnTo>
                <a:lnTo>
                  <a:pt x="4694471" y="5785115"/>
                </a:lnTo>
                <a:lnTo>
                  <a:pt x="4693189" y="5785115"/>
                </a:lnTo>
                <a:lnTo>
                  <a:pt x="4693189" y="6709336"/>
                </a:lnTo>
                <a:lnTo>
                  <a:pt x="4693189" y="6855583"/>
                </a:lnTo>
                <a:lnTo>
                  <a:pt x="4620412" y="6855583"/>
                </a:lnTo>
                <a:lnTo>
                  <a:pt x="3976799" y="6855583"/>
                </a:lnTo>
                <a:lnTo>
                  <a:pt x="3927731" y="6855583"/>
                </a:lnTo>
                <a:lnTo>
                  <a:pt x="3904023" y="6855583"/>
                </a:lnTo>
                <a:lnTo>
                  <a:pt x="3854954" y="6855583"/>
                </a:lnTo>
                <a:lnTo>
                  <a:pt x="3734645" y="6855583"/>
                </a:lnTo>
                <a:lnTo>
                  <a:pt x="3661868" y="6855583"/>
                </a:lnTo>
                <a:lnTo>
                  <a:pt x="3610218" y="6855583"/>
                </a:lnTo>
                <a:lnTo>
                  <a:pt x="3609578" y="6855583"/>
                </a:lnTo>
                <a:lnTo>
                  <a:pt x="3609569" y="6855583"/>
                </a:lnTo>
                <a:lnTo>
                  <a:pt x="3609558" y="6855583"/>
                </a:lnTo>
                <a:lnTo>
                  <a:pt x="3559339" y="6855583"/>
                </a:lnTo>
                <a:lnTo>
                  <a:pt x="3558661" y="6855583"/>
                </a:lnTo>
                <a:lnTo>
                  <a:pt x="3537440" y="6855583"/>
                </a:lnTo>
                <a:lnTo>
                  <a:pt x="3536802" y="6855583"/>
                </a:lnTo>
                <a:lnTo>
                  <a:pt x="3536793" y="6855583"/>
                </a:lnTo>
                <a:lnTo>
                  <a:pt x="3536782" y="6855583"/>
                </a:lnTo>
                <a:lnTo>
                  <a:pt x="3485884" y="6855583"/>
                </a:lnTo>
                <a:lnTo>
                  <a:pt x="3211343" y="6855583"/>
                </a:lnTo>
                <a:lnTo>
                  <a:pt x="3138565" y="6855583"/>
                </a:lnTo>
                <a:lnTo>
                  <a:pt x="3018255" y="6855583"/>
                </a:lnTo>
                <a:lnTo>
                  <a:pt x="2969187" y="6855583"/>
                </a:lnTo>
                <a:lnTo>
                  <a:pt x="2945479" y="6855583"/>
                </a:lnTo>
                <a:lnTo>
                  <a:pt x="2896410" y="6855583"/>
                </a:lnTo>
                <a:lnTo>
                  <a:pt x="2893829" y="6855583"/>
                </a:lnTo>
                <a:lnTo>
                  <a:pt x="2893189" y="6855583"/>
                </a:lnTo>
                <a:lnTo>
                  <a:pt x="2893179" y="6855583"/>
                </a:lnTo>
                <a:lnTo>
                  <a:pt x="2893168" y="6855583"/>
                </a:lnTo>
                <a:lnTo>
                  <a:pt x="2844760" y="6855583"/>
                </a:lnTo>
                <a:lnTo>
                  <a:pt x="2844120" y="6855583"/>
                </a:lnTo>
                <a:lnTo>
                  <a:pt x="2844111" y="6855583"/>
                </a:lnTo>
                <a:lnTo>
                  <a:pt x="2844100" y="6855583"/>
                </a:lnTo>
                <a:lnTo>
                  <a:pt x="2842271" y="6855583"/>
                </a:lnTo>
                <a:lnTo>
                  <a:pt x="2821051" y="6855583"/>
                </a:lnTo>
                <a:lnTo>
                  <a:pt x="2820413" y="6855583"/>
                </a:lnTo>
                <a:lnTo>
                  <a:pt x="2820403" y="6855583"/>
                </a:lnTo>
                <a:lnTo>
                  <a:pt x="2820392" y="6855583"/>
                </a:lnTo>
                <a:lnTo>
                  <a:pt x="2793202" y="6855583"/>
                </a:lnTo>
                <a:lnTo>
                  <a:pt x="2771983" y="6855583"/>
                </a:lnTo>
                <a:lnTo>
                  <a:pt x="2771344" y="6855583"/>
                </a:lnTo>
                <a:lnTo>
                  <a:pt x="2771334" y="6855583"/>
                </a:lnTo>
                <a:lnTo>
                  <a:pt x="2771323" y="6855583"/>
                </a:lnTo>
                <a:lnTo>
                  <a:pt x="2769494" y="6855583"/>
                </a:lnTo>
                <a:lnTo>
                  <a:pt x="2720426" y="6855583"/>
                </a:lnTo>
                <a:lnTo>
                  <a:pt x="2651674" y="6855583"/>
                </a:lnTo>
                <a:lnTo>
                  <a:pt x="2651034" y="6855583"/>
                </a:lnTo>
                <a:lnTo>
                  <a:pt x="2651025" y="6855583"/>
                </a:lnTo>
                <a:lnTo>
                  <a:pt x="2651014" y="6855583"/>
                </a:lnTo>
                <a:lnTo>
                  <a:pt x="2600795" y="6855583"/>
                </a:lnTo>
                <a:lnTo>
                  <a:pt x="2600117" y="6855583"/>
                </a:lnTo>
                <a:lnTo>
                  <a:pt x="2578896" y="6855583"/>
                </a:lnTo>
                <a:lnTo>
                  <a:pt x="2578258" y="6855583"/>
                </a:lnTo>
                <a:lnTo>
                  <a:pt x="2578249" y="6855583"/>
                </a:lnTo>
                <a:lnTo>
                  <a:pt x="2578238" y="6855583"/>
                </a:lnTo>
                <a:lnTo>
                  <a:pt x="2527340" y="6855583"/>
                </a:lnTo>
                <a:lnTo>
                  <a:pt x="2252799" y="6855583"/>
                </a:lnTo>
                <a:lnTo>
                  <a:pt x="2180021" y="6855583"/>
                </a:lnTo>
                <a:lnTo>
                  <a:pt x="2128371" y="6855583"/>
                </a:lnTo>
                <a:lnTo>
                  <a:pt x="2127731" y="6855583"/>
                </a:lnTo>
                <a:lnTo>
                  <a:pt x="2127721" y="6855583"/>
                </a:lnTo>
                <a:lnTo>
                  <a:pt x="2127710" y="6855583"/>
                </a:lnTo>
                <a:lnTo>
                  <a:pt x="2076812" y="6855583"/>
                </a:lnTo>
                <a:lnTo>
                  <a:pt x="2055593" y="6855583"/>
                </a:lnTo>
                <a:lnTo>
                  <a:pt x="2054955" y="6855583"/>
                </a:lnTo>
                <a:lnTo>
                  <a:pt x="2054944" y="6855583"/>
                </a:lnTo>
                <a:lnTo>
                  <a:pt x="2054933" y="6855583"/>
                </a:lnTo>
                <a:lnTo>
                  <a:pt x="2004036" y="6855583"/>
                </a:lnTo>
                <a:lnTo>
                  <a:pt x="1935285" y="6855583"/>
                </a:lnTo>
                <a:lnTo>
                  <a:pt x="1934645" y="6855583"/>
                </a:lnTo>
                <a:lnTo>
                  <a:pt x="1934635" y="6855583"/>
                </a:lnTo>
                <a:lnTo>
                  <a:pt x="1934624" y="6855583"/>
                </a:lnTo>
                <a:lnTo>
                  <a:pt x="1886216" y="6855583"/>
                </a:lnTo>
                <a:lnTo>
                  <a:pt x="1885576" y="6855583"/>
                </a:lnTo>
                <a:lnTo>
                  <a:pt x="1885567" y="6855583"/>
                </a:lnTo>
                <a:lnTo>
                  <a:pt x="1885556" y="6855583"/>
                </a:lnTo>
                <a:lnTo>
                  <a:pt x="1883727" y="6855583"/>
                </a:lnTo>
                <a:lnTo>
                  <a:pt x="1862507" y="6855583"/>
                </a:lnTo>
                <a:lnTo>
                  <a:pt x="1861869" y="6855583"/>
                </a:lnTo>
                <a:lnTo>
                  <a:pt x="1861859" y="6855583"/>
                </a:lnTo>
                <a:lnTo>
                  <a:pt x="1861848" y="6855583"/>
                </a:lnTo>
                <a:lnTo>
                  <a:pt x="1834658" y="6855583"/>
                </a:lnTo>
                <a:lnTo>
                  <a:pt x="1813439" y="6855583"/>
                </a:lnTo>
                <a:lnTo>
                  <a:pt x="1812800" y="6855583"/>
                </a:lnTo>
                <a:lnTo>
                  <a:pt x="1812790" y="6855583"/>
                </a:lnTo>
                <a:lnTo>
                  <a:pt x="1812779" y="6855583"/>
                </a:lnTo>
                <a:lnTo>
                  <a:pt x="1810950" y="6855583"/>
                </a:lnTo>
                <a:lnTo>
                  <a:pt x="1761882" y="6855583"/>
                </a:lnTo>
                <a:lnTo>
                  <a:pt x="1169827" y="6855583"/>
                </a:lnTo>
                <a:lnTo>
                  <a:pt x="1169187" y="6855583"/>
                </a:lnTo>
                <a:lnTo>
                  <a:pt x="1169177" y="6855583"/>
                </a:lnTo>
                <a:lnTo>
                  <a:pt x="1169166" y="6855583"/>
                </a:lnTo>
                <a:lnTo>
                  <a:pt x="1118268" y="6855583"/>
                </a:lnTo>
                <a:lnTo>
                  <a:pt x="1097049" y="6855583"/>
                </a:lnTo>
                <a:lnTo>
                  <a:pt x="1096411" y="6855583"/>
                </a:lnTo>
                <a:lnTo>
                  <a:pt x="1096400" y="6855583"/>
                </a:lnTo>
                <a:lnTo>
                  <a:pt x="1096389" y="6855583"/>
                </a:lnTo>
                <a:lnTo>
                  <a:pt x="1045492" y="6855583"/>
                </a:lnTo>
                <a:lnTo>
                  <a:pt x="961282" y="6855583"/>
                </a:lnTo>
                <a:lnTo>
                  <a:pt x="2738" y="6855583"/>
                </a:lnTo>
                <a:lnTo>
                  <a:pt x="2738" y="5657026"/>
                </a:lnTo>
                <a:lnTo>
                  <a:pt x="1722" y="5657026"/>
                </a:lnTo>
                <a:lnTo>
                  <a:pt x="1722" y="5612741"/>
                </a:lnTo>
                <a:lnTo>
                  <a:pt x="1722" y="5598486"/>
                </a:lnTo>
                <a:lnTo>
                  <a:pt x="1722" y="5598155"/>
                </a:lnTo>
                <a:lnTo>
                  <a:pt x="426" y="5598155"/>
                </a:lnTo>
                <a:lnTo>
                  <a:pt x="426" y="5405390"/>
                </a:lnTo>
                <a:lnTo>
                  <a:pt x="426" y="5379129"/>
                </a:lnTo>
                <a:lnTo>
                  <a:pt x="428" y="4794177"/>
                </a:lnTo>
                <a:lnTo>
                  <a:pt x="428" y="4514790"/>
                </a:lnTo>
                <a:lnTo>
                  <a:pt x="428" y="4437487"/>
                </a:lnTo>
                <a:lnTo>
                  <a:pt x="1710" y="4437487"/>
                </a:lnTo>
                <a:lnTo>
                  <a:pt x="1710" y="4199586"/>
                </a:lnTo>
                <a:lnTo>
                  <a:pt x="0" y="4199586"/>
                </a:lnTo>
                <a:lnTo>
                  <a:pt x="0" y="3265890"/>
                </a:lnTo>
                <a:lnTo>
                  <a:pt x="2738" y="326589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518504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E570EC-073C-4640-BFF5-772A5C70DB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2051049"/>
            <a:ext cx="12191999" cy="2570073"/>
          </a:xfrm>
          <a:custGeom>
            <a:avLst/>
            <a:gdLst>
              <a:gd name="connsiteX0" fmla="*/ 1126324 w 12191999"/>
              <a:gd name="connsiteY0" fmla="*/ 0 h 2570073"/>
              <a:gd name="connsiteX1" fmla="*/ 2454730 w 12191999"/>
              <a:gd name="connsiteY1" fmla="*/ 0 h 2570073"/>
              <a:gd name="connsiteX2" fmla="*/ 3481005 w 12191999"/>
              <a:gd name="connsiteY2" fmla="*/ 0 h 2570073"/>
              <a:gd name="connsiteX3" fmla="*/ 3540677 w 12191999"/>
              <a:gd name="connsiteY3" fmla="*/ 0 h 2570073"/>
              <a:gd name="connsiteX4" fmla="*/ 4809411 w 12191999"/>
              <a:gd name="connsiteY4" fmla="*/ 0 h 2570073"/>
              <a:gd name="connsiteX5" fmla="*/ 4869084 w 12191999"/>
              <a:gd name="connsiteY5" fmla="*/ 0 h 2570073"/>
              <a:gd name="connsiteX6" fmla="*/ 4869084 w 12191999"/>
              <a:gd name="connsiteY6" fmla="*/ 1332 h 2570073"/>
              <a:gd name="connsiteX7" fmla="*/ 5935733 w 12191999"/>
              <a:gd name="connsiteY7" fmla="*/ 1332 h 2570073"/>
              <a:gd name="connsiteX8" fmla="*/ 5935733 w 12191999"/>
              <a:gd name="connsiteY8" fmla="*/ 316755 h 2570073"/>
              <a:gd name="connsiteX9" fmla="*/ 5935733 w 12191999"/>
              <a:gd name="connsiteY9" fmla="*/ 1082676 h 2570073"/>
              <a:gd name="connsiteX10" fmla="*/ 5935736 w 12191999"/>
              <a:gd name="connsiteY10" fmla="*/ 1082676 h 2570073"/>
              <a:gd name="connsiteX11" fmla="*/ 5935736 w 12191999"/>
              <a:gd name="connsiteY11" fmla="*/ 1074434 h 2570073"/>
              <a:gd name="connsiteX12" fmla="*/ 5938272 w 12191999"/>
              <a:gd name="connsiteY12" fmla="*/ 1074434 h 2570073"/>
              <a:gd name="connsiteX13" fmla="*/ 5940853 w 12191999"/>
              <a:gd name="connsiteY13" fmla="*/ 1019920 h 2570073"/>
              <a:gd name="connsiteX14" fmla="*/ 5941325 w 12191999"/>
              <a:gd name="connsiteY14" fmla="*/ 1016613 h 2570073"/>
              <a:gd name="connsiteX15" fmla="*/ 5941548 w 12191999"/>
              <a:gd name="connsiteY15" fmla="*/ 1012207 h 2570073"/>
              <a:gd name="connsiteX16" fmla="*/ 5978687 w 12191999"/>
              <a:gd name="connsiteY16" fmla="*/ 818244 h 2570073"/>
              <a:gd name="connsiteX17" fmla="*/ 5980204 w 12191999"/>
              <a:gd name="connsiteY17" fmla="*/ 813682 h 2570073"/>
              <a:gd name="connsiteX18" fmla="*/ 5980394 w 12191999"/>
              <a:gd name="connsiteY18" fmla="*/ 812894 h 2570073"/>
              <a:gd name="connsiteX19" fmla="*/ 5983069 w 12191999"/>
              <a:gd name="connsiteY19" fmla="*/ 805066 h 2570073"/>
              <a:gd name="connsiteX20" fmla="*/ 6009331 w 12191999"/>
              <a:gd name="connsiteY20" fmla="*/ 726078 h 2570073"/>
              <a:gd name="connsiteX21" fmla="*/ 6012831 w 12191999"/>
              <a:gd name="connsiteY21" fmla="*/ 717971 h 2570073"/>
              <a:gd name="connsiteX22" fmla="*/ 6013884 w 12191999"/>
              <a:gd name="connsiteY22" fmla="*/ 714889 h 2570073"/>
              <a:gd name="connsiteX23" fmla="*/ 6021353 w 12191999"/>
              <a:gd name="connsiteY23" fmla="*/ 698231 h 2570073"/>
              <a:gd name="connsiteX24" fmla="*/ 6047512 w 12191999"/>
              <a:gd name="connsiteY24" fmla="*/ 637633 h 2570073"/>
              <a:gd name="connsiteX25" fmla="*/ 6053591 w 12191999"/>
              <a:gd name="connsiteY25" fmla="*/ 626323 h 2570073"/>
              <a:gd name="connsiteX26" fmla="*/ 6055898 w 12191999"/>
              <a:gd name="connsiteY26" fmla="*/ 621176 h 2570073"/>
              <a:gd name="connsiteX27" fmla="*/ 6066073 w 12191999"/>
              <a:gd name="connsiteY27" fmla="*/ 603101 h 2570073"/>
              <a:gd name="connsiteX28" fmla="*/ 6092845 w 12191999"/>
              <a:gd name="connsiteY28" fmla="*/ 553294 h 2570073"/>
              <a:gd name="connsiteX29" fmla="*/ 6102056 w 12191999"/>
              <a:gd name="connsiteY29" fmla="*/ 539178 h 2570073"/>
              <a:gd name="connsiteX30" fmla="*/ 6105971 w 12191999"/>
              <a:gd name="connsiteY30" fmla="*/ 532224 h 2570073"/>
              <a:gd name="connsiteX31" fmla="*/ 6117824 w 12191999"/>
              <a:gd name="connsiteY31" fmla="*/ 515013 h 2570073"/>
              <a:gd name="connsiteX32" fmla="*/ 6144948 w 12191999"/>
              <a:gd name="connsiteY32" fmla="*/ 473445 h 2570073"/>
              <a:gd name="connsiteX33" fmla="*/ 6157796 w 12191999"/>
              <a:gd name="connsiteY33" fmla="*/ 456974 h 2570073"/>
              <a:gd name="connsiteX34" fmla="*/ 6163633 w 12191999"/>
              <a:gd name="connsiteY34" fmla="*/ 448498 h 2570073"/>
              <a:gd name="connsiteX35" fmla="*/ 6176449 w 12191999"/>
              <a:gd name="connsiteY35" fmla="*/ 433062 h 2570073"/>
              <a:gd name="connsiteX36" fmla="*/ 6203434 w 12191999"/>
              <a:gd name="connsiteY36" fmla="*/ 398470 h 2570073"/>
              <a:gd name="connsiteX37" fmla="*/ 6220382 w 12191999"/>
              <a:gd name="connsiteY37" fmla="*/ 380147 h 2570073"/>
              <a:gd name="connsiteX38" fmla="*/ 6228421 w 12191999"/>
              <a:gd name="connsiteY38" fmla="*/ 370466 h 2570073"/>
              <a:gd name="connsiteX39" fmla="*/ 6241622 w 12191999"/>
              <a:gd name="connsiteY39" fmla="*/ 357186 h 2570073"/>
              <a:gd name="connsiteX40" fmla="*/ 6267920 w 12191999"/>
              <a:gd name="connsiteY40" fmla="*/ 328755 h 2570073"/>
              <a:gd name="connsiteX41" fmla="*/ 6289391 w 12191999"/>
              <a:gd name="connsiteY41" fmla="*/ 309131 h 2570073"/>
              <a:gd name="connsiteX42" fmla="*/ 6299866 w 12191999"/>
              <a:gd name="connsiteY42" fmla="*/ 298593 h 2570073"/>
              <a:gd name="connsiteX43" fmla="*/ 6312962 w 12191999"/>
              <a:gd name="connsiteY43" fmla="*/ 287587 h 2570073"/>
              <a:gd name="connsiteX44" fmla="*/ 6338022 w 12191999"/>
              <a:gd name="connsiteY44" fmla="*/ 264683 h 2570073"/>
              <a:gd name="connsiteX45" fmla="*/ 6364404 w 12191999"/>
              <a:gd name="connsiteY45" fmla="*/ 244356 h 2570073"/>
              <a:gd name="connsiteX46" fmla="*/ 6377502 w 12191999"/>
              <a:gd name="connsiteY46" fmla="*/ 233348 h 2570073"/>
              <a:gd name="connsiteX47" fmla="*/ 6390060 w 12191999"/>
              <a:gd name="connsiteY47" fmla="*/ 224587 h 2570073"/>
              <a:gd name="connsiteX48" fmla="*/ 6413355 w 12191999"/>
              <a:gd name="connsiteY48" fmla="*/ 206638 h 2570073"/>
              <a:gd name="connsiteX49" fmla="*/ 6445019 w 12191999"/>
              <a:gd name="connsiteY49" fmla="*/ 186248 h 2570073"/>
              <a:gd name="connsiteX50" fmla="*/ 6460863 w 12191999"/>
              <a:gd name="connsiteY50" fmla="*/ 175195 h 2570073"/>
              <a:gd name="connsiteX51" fmla="*/ 6472496 w 12191999"/>
              <a:gd name="connsiteY51" fmla="*/ 168554 h 2570073"/>
              <a:gd name="connsiteX52" fmla="*/ 6493536 w 12191999"/>
              <a:gd name="connsiteY52" fmla="*/ 155005 h 2570073"/>
              <a:gd name="connsiteX53" fmla="*/ 6530863 w 12191999"/>
              <a:gd name="connsiteY53" fmla="*/ 135232 h 2570073"/>
              <a:gd name="connsiteX54" fmla="*/ 6549482 w 12191999"/>
              <a:gd name="connsiteY54" fmla="*/ 124603 h 2570073"/>
              <a:gd name="connsiteX55" fmla="*/ 6559839 w 12191999"/>
              <a:gd name="connsiteY55" fmla="*/ 119882 h 2570073"/>
              <a:gd name="connsiteX56" fmla="*/ 6578180 w 12191999"/>
              <a:gd name="connsiteY56" fmla="*/ 110167 h 2570073"/>
              <a:gd name="connsiteX57" fmla="*/ 6621627 w 12191999"/>
              <a:gd name="connsiteY57" fmla="*/ 91726 h 2570073"/>
              <a:gd name="connsiteX58" fmla="*/ 6642891 w 12191999"/>
              <a:gd name="connsiteY58" fmla="*/ 82036 h 2570073"/>
              <a:gd name="connsiteX59" fmla="*/ 6651657 w 12191999"/>
              <a:gd name="connsiteY59" fmla="*/ 78980 h 2570073"/>
              <a:gd name="connsiteX60" fmla="*/ 6666902 w 12191999"/>
              <a:gd name="connsiteY60" fmla="*/ 72509 h 2570073"/>
              <a:gd name="connsiteX61" fmla="*/ 6717142 w 12191999"/>
              <a:gd name="connsiteY61" fmla="*/ 56150 h 2570073"/>
              <a:gd name="connsiteX62" fmla="*/ 6740626 w 12191999"/>
              <a:gd name="connsiteY62" fmla="*/ 47963 h 2570073"/>
              <a:gd name="connsiteX63" fmla="*/ 6747514 w 12191999"/>
              <a:gd name="connsiteY63" fmla="*/ 46260 h 2570073"/>
              <a:gd name="connsiteX64" fmla="*/ 6759319 w 12191999"/>
              <a:gd name="connsiteY64" fmla="*/ 42416 h 2570073"/>
              <a:gd name="connsiteX65" fmla="*/ 6817670 w 12191999"/>
              <a:gd name="connsiteY65" fmla="*/ 28918 h 2570073"/>
              <a:gd name="connsiteX66" fmla="*/ 6842218 w 12191999"/>
              <a:gd name="connsiteY66" fmla="*/ 22850 h 2570073"/>
              <a:gd name="connsiteX67" fmla="*/ 6846973 w 12191999"/>
              <a:gd name="connsiteY67" fmla="*/ 22139 h 2570073"/>
              <a:gd name="connsiteX68" fmla="*/ 6855046 w 12191999"/>
              <a:gd name="connsiteY68" fmla="*/ 20272 h 2570073"/>
              <a:gd name="connsiteX69" fmla="*/ 6925243 w 12191999"/>
              <a:gd name="connsiteY69" fmla="*/ 10445 h 2570073"/>
              <a:gd name="connsiteX70" fmla="*/ 6947201 w 12191999"/>
              <a:gd name="connsiteY70" fmla="*/ 7163 h 2570073"/>
              <a:gd name="connsiteX71" fmla="*/ 6949512 w 12191999"/>
              <a:gd name="connsiteY71" fmla="*/ 7047 h 2570073"/>
              <a:gd name="connsiteX72" fmla="*/ 6953699 w 12191999"/>
              <a:gd name="connsiteY72" fmla="*/ 6460 h 2570073"/>
              <a:gd name="connsiteX73" fmla="*/ 7002386 w 12191999"/>
              <a:gd name="connsiteY73" fmla="*/ 4155 h 2570073"/>
              <a:gd name="connsiteX74" fmla="*/ 7002386 w 12191999"/>
              <a:gd name="connsiteY74" fmla="*/ 1346 h 2570073"/>
              <a:gd name="connsiteX75" fmla="*/ 7047272 w 12191999"/>
              <a:gd name="connsiteY75" fmla="*/ 1346 h 2570073"/>
              <a:gd name="connsiteX76" fmla="*/ 7061721 w 12191999"/>
              <a:gd name="connsiteY76" fmla="*/ 1346 h 2570073"/>
              <a:gd name="connsiteX77" fmla="*/ 7062058 w 12191999"/>
              <a:gd name="connsiteY77" fmla="*/ 1346 h 2570073"/>
              <a:gd name="connsiteX78" fmla="*/ 7062058 w 12191999"/>
              <a:gd name="connsiteY78" fmla="*/ 0 h 2570073"/>
              <a:gd name="connsiteX79" fmla="*/ 9416738 w 12191999"/>
              <a:gd name="connsiteY79" fmla="*/ 0 h 2570073"/>
              <a:gd name="connsiteX80" fmla="*/ 9476411 w 12191999"/>
              <a:gd name="connsiteY80" fmla="*/ 0 h 2570073"/>
              <a:gd name="connsiteX81" fmla="*/ 9476411 w 12191999"/>
              <a:gd name="connsiteY81" fmla="*/ 1332 h 2570073"/>
              <a:gd name="connsiteX82" fmla="*/ 9621926 w 12191999"/>
              <a:gd name="connsiteY82" fmla="*/ 1332 h 2570073"/>
              <a:gd name="connsiteX83" fmla="*/ 9621926 w 12191999"/>
              <a:gd name="connsiteY83" fmla="*/ 1232695 h 2570073"/>
              <a:gd name="connsiteX84" fmla="*/ 9621927 w 12191999"/>
              <a:gd name="connsiteY84" fmla="*/ 1232695 h 2570073"/>
              <a:gd name="connsiteX85" fmla="*/ 9621927 w 12191999"/>
              <a:gd name="connsiteY85" fmla="*/ 1224666 h 2570073"/>
              <a:gd name="connsiteX86" fmla="*/ 9624974 w 12191999"/>
              <a:gd name="connsiteY86" fmla="*/ 1224666 h 2570073"/>
              <a:gd name="connsiteX87" fmla="*/ 9628560 w 12191999"/>
              <a:gd name="connsiteY87" fmla="*/ 1153649 h 2570073"/>
              <a:gd name="connsiteX88" fmla="*/ 10906963 w 12191999"/>
              <a:gd name="connsiteY88" fmla="*/ 0 h 2570073"/>
              <a:gd name="connsiteX89" fmla="*/ 12191999 w 12191999"/>
              <a:gd name="connsiteY89" fmla="*/ 1285037 h 2570073"/>
              <a:gd name="connsiteX90" fmla="*/ 11038350 w 12191999"/>
              <a:gd name="connsiteY90" fmla="*/ 2563438 h 2570073"/>
              <a:gd name="connsiteX91" fmla="*/ 10924212 w 12191999"/>
              <a:gd name="connsiteY91" fmla="*/ 2569202 h 2570073"/>
              <a:gd name="connsiteX92" fmla="*/ 10924212 w 12191999"/>
              <a:gd name="connsiteY92" fmla="*/ 2570073 h 2570073"/>
              <a:gd name="connsiteX93" fmla="*/ 10906963 w 12191999"/>
              <a:gd name="connsiteY93" fmla="*/ 2570073 h 2570073"/>
              <a:gd name="connsiteX94" fmla="*/ 10572749 w 12191999"/>
              <a:gd name="connsiteY94" fmla="*/ 2570073 h 2570073"/>
              <a:gd name="connsiteX95" fmla="*/ 9621927 w 12191999"/>
              <a:gd name="connsiteY95" fmla="*/ 2570073 h 2570073"/>
              <a:gd name="connsiteX96" fmla="*/ 9416738 w 12191999"/>
              <a:gd name="connsiteY96" fmla="*/ 2570073 h 2570073"/>
              <a:gd name="connsiteX97" fmla="*/ 7062058 w 12191999"/>
              <a:gd name="connsiteY97" fmla="*/ 2570073 h 2570073"/>
              <a:gd name="connsiteX98" fmla="*/ 7002386 w 12191999"/>
              <a:gd name="connsiteY98" fmla="*/ 2570073 h 2570073"/>
              <a:gd name="connsiteX99" fmla="*/ 6572249 w 12191999"/>
              <a:gd name="connsiteY99" fmla="*/ 2570073 h 2570073"/>
              <a:gd name="connsiteX100" fmla="*/ 6572249 w 12191999"/>
              <a:gd name="connsiteY100" fmla="*/ 2568741 h 2570073"/>
              <a:gd name="connsiteX101" fmla="*/ 5935736 w 12191999"/>
              <a:gd name="connsiteY101" fmla="*/ 2568741 h 2570073"/>
              <a:gd name="connsiteX102" fmla="*/ 5935736 w 12191999"/>
              <a:gd name="connsiteY102" fmla="*/ 2253318 h 2570073"/>
              <a:gd name="connsiteX103" fmla="*/ 5935736 w 12191999"/>
              <a:gd name="connsiteY103" fmla="*/ 1487489 h 2570073"/>
              <a:gd name="connsiteX104" fmla="*/ 5935733 w 12191999"/>
              <a:gd name="connsiteY104" fmla="*/ 1487489 h 2570073"/>
              <a:gd name="connsiteX105" fmla="*/ 5935733 w 12191999"/>
              <a:gd name="connsiteY105" fmla="*/ 1495639 h 2570073"/>
              <a:gd name="connsiteX106" fmla="*/ 5933197 w 12191999"/>
              <a:gd name="connsiteY106" fmla="*/ 1495639 h 2570073"/>
              <a:gd name="connsiteX107" fmla="*/ 5930616 w 12191999"/>
              <a:gd name="connsiteY107" fmla="*/ 1550153 h 2570073"/>
              <a:gd name="connsiteX108" fmla="*/ 5930144 w 12191999"/>
              <a:gd name="connsiteY108" fmla="*/ 1553460 h 2570073"/>
              <a:gd name="connsiteX109" fmla="*/ 5929922 w 12191999"/>
              <a:gd name="connsiteY109" fmla="*/ 1557867 h 2570073"/>
              <a:gd name="connsiteX110" fmla="*/ 5892782 w 12191999"/>
              <a:gd name="connsiteY110" fmla="*/ 1751829 h 2570073"/>
              <a:gd name="connsiteX111" fmla="*/ 5891264 w 12191999"/>
              <a:gd name="connsiteY111" fmla="*/ 1756392 h 2570073"/>
              <a:gd name="connsiteX112" fmla="*/ 5891075 w 12191999"/>
              <a:gd name="connsiteY112" fmla="*/ 1757179 h 2570073"/>
              <a:gd name="connsiteX113" fmla="*/ 5888400 w 12191999"/>
              <a:gd name="connsiteY113" fmla="*/ 1765008 h 2570073"/>
              <a:gd name="connsiteX114" fmla="*/ 5862137 w 12191999"/>
              <a:gd name="connsiteY114" fmla="*/ 1843996 h 2570073"/>
              <a:gd name="connsiteX115" fmla="*/ 5858638 w 12191999"/>
              <a:gd name="connsiteY115" fmla="*/ 1852103 h 2570073"/>
              <a:gd name="connsiteX116" fmla="*/ 5857585 w 12191999"/>
              <a:gd name="connsiteY116" fmla="*/ 1855185 h 2570073"/>
              <a:gd name="connsiteX117" fmla="*/ 5850118 w 12191999"/>
              <a:gd name="connsiteY117" fmla="*/ 1871843 h 2570073"/>
              <a:gd name="connsiteX118" fmla="*/ 5823957 w 12191999"/>
              <a:gd name="connsiteY118" fmla="*/ 1932441 h 2570073"/>
              <a:gd name="connsiteX119" fmla="*/ 5817877 w 12191999"/>
              <a:gd name="connsiteY119" fmla="*/ 1943751 h 2570073"/>
              <a:gd name="connsiteX120" fmla="*/ 5815570 w 12191999"/>
              <a:gd name="connsiteY120" fmla="*/ 1948897 h 2570073"/>
              <a:gd name="connsiteX121" fmla="*/ 5805396 w 12191999"/>
              <a:gd name="connsiteY121" fmla="*/ 1966972 h 2570073"/>
              <a:gd name="connsiteX122" fmla="*/ 5778623 w 12191999"/>
              <a:gd name="connsiteY122" fmla="*/ 2016780 h 2570073"/>
              <a:gd name="connsiteX123" fmla="*/ 5769413 w 12191999"/>
              <a:gd name="connsiteY123" fmla="*/ 2030895 h 2570073"/>
              <a:gd name="connsiteX124" fmla="*/ 5765499 w 12191999"/>
              <a:gd name="connsiteY124" fmla="*/ 2037850 h 2570073"/>
              <a:gd name="connsiteX125" fmla="*/ 5753645 w 12191999"/>
              <a:gd name="connsiteY125" fmla="*/ 2055061 h 2570073"/>
              <a:gd name="connsiteX126" fmla="*/ 5726521 w 12191999"/>
              <a:gd name="connsiteY126" fmla="*/ 2096629 h 2570073"/>
              <a:gd name="connsiteX127" fmla="*/ 5713673 w 12191999"/>
              <a:gd name="connsiteY127" fmla="*/ 2113099 h 2570073"/>
              <a:gd name="connsiteX128" fmla="*/ 5707835 w 12191999"/>
              <a:gd name="connsiteY128" fmla="*/ 2121576 h 2570073"/>
              <a:gd name="connsiteX129" fmla="*/ 5695020 w 12191999"/>
              <a:gd name="connsiteY129" fmla="*/ 2137011 h 2570073"/>
              <a:gd name="connsiteX130" fmla="*/ 5668036 w 12191999"/>
              <a:gd name="connsiteY130" fmla="*/ 2171603 h 2570073"/>
              <a:gd name="connsiteX131" fmla="*/ 5651086 w 12191999"/>
              <a:gd name="connsiteY131" fmla="*/ 2189926 h 2570073"/>
              <a:gd name="connsiteX132" fmla="*/ 5643047 w 12191999"/>
              <a:gd name="connsiteY132" fmla="*/ 2199608 h 2570073"/>
              <a:gd name="connsiteX133" fmla="*/ 5629847 w 12191999"/>
              <a:gd name="connsiteY133" fmla="*/ 2212888 h 2570073"/>
              <a:gd name="connsiteX134" fmla="*/ 5603549 w 12191999"/>
              <a:gd name="connsiteY134" fmla="*/ 2241318 h 2570073"/>
              <a:gd name="connsiteX135" fmla="*/ 5582078 w 12191999"/>
              <a:gd name="connsiteY135" fmla="*/ 2260943 h 2570073"/>
              <a:gd name="connsiteX136" fmla="*/ 5571603 w 12191999"/>
              <a:gd name="connsiteY136" fmla="*/ 2271480 h 2570073"/>
              <a:gd name="connsiteX137" fmla="*/ 5558506 w 12191999"/>
              <a:gd name="connsiteY137" fmla="*/ 2282487 h 2570073"/>
              <a:gd name="connsiteX138" fmla="*/ 5533446 w 12191999"/>
              <a:gd name="connsiteY138" fmla="*/ 2305391 h 2570073"/>
              <a:gd name="connsiteX139" fmla="*/ 5507066 w 12191999"/>
              <a:gd name="connsiteY139" fmla="*/ 2325718 h 2570073"/>
              <a:gd name="connsiteX140" fmla="*/ 5493966 w 12191999"/>
              <a:gd name="connsiteY140" fmla="*/ 2336726 h 2570073"/>
              <a:gd name="connsiteX141" fmla="*/ 5481407 w 12191999"/>
              <a:gd name="connsiteY141" fmla="*/ 2345487 h 2570073"/>
              <a:gd name="connsiteX142" fmla="*/ 5458113 w 12191999"/>
              <a:gd name="connsiteY142" fmla="*/ 2363435 h 2570073"/>
              <a:gd name="connsiteX143" fmla="*/ 5426450 w 12191999"/>
              <a:gd name="connsiteY143" fmla="*/ 2383826 h 2570073"/>
              <a:gd name="connsiteX144" fmla="*/ 5410605 w 12191999"/>
              <a:gd name="connsiteY144" fmla="*/ 2394879 h 2570073"/>
              <a:gd name="connsiteX145" fmla="*/ 5398974 w 12191999"/>
              <a:gd name="connsiteY145" fmla="*/ 2401520 h 2570073"/>
              <a:gd name="connsiteX146" fmla="*/ 5377932 w 12191999"/>
              <a:gd name="connsiteY146" fmla="*/ 2415069 h 2570073"/>
              <a:gd name="connsiteX147" fmla="*/ 5340606 w 12191999"/>
              <a:gd name="connsiteY147" fmla="*/ 2434842 h 2570073"/>
              <a:gd name="connsiteX148" fmla="*/ 5321988 w 12191999"/>
              <a:gd name="connsiteY148" fmla="*/ 2445471 h 2570073"/>
              <a:gd name="connsiteX149" fmla="*/ 5311629 w 12191999"/>
              <a:gd name="connsiteY149" fmla="*/ 2450191 h 2570073"/>
              <a:gd name="connsiteX150" fmla="*/ 5293289 w 12191999"/>
              <a:gd name="connsiteY150" fmla="*/ 2459906 h 2570073"/>
              <a:gd name="connsiteX151" fmla="*/ 5249843 w 12191999"/>
              <a:gd name="connsiteY151" fmla="*/ 2478347 h 2570073"/>
              <a:gd name="connsiteX152" fmla="*/ 5228578 w 12191999"/>
              <a:gd name="connsiteY152" fmla="*/ 2488037 h 2570073"/>
              <a:gd name="connsiteX153" fmla="*/ 5219811 w 12191999"/>
              <a:gd name="connsiteY153" fmla="*/ 2491093 h 2570073"/>
              <a:gd name="connsiteX154" fmla="*/ 5204566 w 12191999"/>
              <a:gd name="connsiteY154" fmla="*/ 2497564 h 2570073"/>
              <a:gd name="connsiteX155" fmla="*/ 5154326 w 12191999"/>
              <a:gd name="connsiteY155" fmla="*/ 2513923 h 2570073"/>
              <a:gd name="connsiteX156" fmla="*/ 5130842 w 12191999"/>
              <a:gd name="connsiteY156" fmla="*/ 2522110 h 2570073"/>
              <a:gd name="connsiteX157" fmla="*/ 5123955 w 12191999"/>
              <a:gd name="connsiteY157" fmla="*/ 2523813 h 2570073"/>
              <a:gd name="connsiteX158" fmla="*/ 5112149 w 12191999"/>
              <a:gd name="connsiteY158" fmla="*/ 2527657 h 2570073"/>
              <a:gd name="connsiteX159" fmla="*/ 5053798 w 12191999"/>
              <a:gd name="connsiteY159" fmla="*/ 2541156 h 2570073"/>
              <a:gd name="connsiteX160" fmla="*/ 5029250 w 12191999"/>
              <a:gd name="connsiteY160" fmla="*/ 2547223 h 2570073"/>
              <a:gd name="connsiteX161" fmla="*/ 5024496 w 12191999"/>
              <a:gd name="connsiteY161" fmla="*/ 2547934 h 2570073"/>
              <a:gd name="connsiteX162" fmla="*/ 5016422 w 12191999"/>
              <a:gd name="connsiteY162" fmla="*/ 2549802 h 2570073"/>
              <a:gd name="connsiteX163" fmla="*/ 4946225 w 12191999"/>
              <a:gd name="connsiteY163" fmla="*/ 2559629 h 2570073"/>
              <a:gd name="connsiteX164" fmla="*/ 4924267 w 12191999"/>
              <a:gd name="connsiteY164" fmla="*/ 2562910 h 2570073"/>
              <a:gd name="connsiteX165" fmla="*/ 4921957 w 12191999"/>
              <a:gd name="connsiteY165" fmla="*/ 2563027 h 2570073"/>
              <a:gd name="connsiteX166" fmla="*/ 4917769 w 12191999"/>
              <a:gd name="connsiteY166" fmla="*/ 2563613 h 2570073"/>
              <a:gd name="connsiteX167" fmla="*/ 4869084 w 12191999"/>
              <a:gd name="connsiteY167" fmla="*/ 2565918 h 2570073"/>
              <a:gd name="connsiteX168" fmla="*/ 4869084 w 12191999"/>
              <a:gd name="connsiteY168" fmla="*/ 2568728 h 2570073"/>
              <a:gd name="connsiteX169" fmla="*/ 4824196 w 12191999"/>
              <a:gd name="connsiteY169" fmla="*/ 2568728 h 2570073"/>
              <a:gd name="connsiteX170" fmla="*/ 4809749 w 12191999"/>
              <a:gd name="connsiteY170" fmla="*/ 2568728 h 2570073"/>
              <a:gd name="connsiteX171" fmla="*/ 4809411 w 12191999"/>
              <a:gd name="connsiteY171" fmla="*/ 2568728 h 2570073"/>
              <a:gd name="connsiteX172" fmla="*/ 4809411 w 12191999"/>
              <a:gd name="connsiteY172" fmla="*/ 2570073 h 2570073"/>
              <a:gd name="connsiteX173" fmla="*/ 3481005 w 12191999"/>
              <a:gd name="connsiteY173" fmla="*/ 2570073 h 2570073"/>
              <a:gd name="connsiteX174" fmla="*/ 2454730 w 12191999"/>
              <a:gd name="connsiteY174" fmla="*/ 2570073 h 2570073"/>
              <a:gd name="connsiteX175" fmla="*/ 2395058 w 12191999"/>
              <a:gd name="connsiteY175" fmla="*/ 2570073 h 2570073"/>
              <a:gd name="connsiteX176" fmla="*/ 1126324 w 12191999"/>
              <a:gd name="connsiteY176" fmla="*/ 2570073 h 2570073"/>
              <a:gd name="connsiteX177" fmla="*/ 1066652 w 12191999"/>
              <a:gd name="connsiteY177" fmla="*/ 2570073 h 2570073"/>
              <a:gd name="connsiteX178" fmla="*/ 1066652 w 12191999"/>
              <a:gd name="connsiteY178" fmla="*/ 2568741 h 2570073"/>
              <a:gd name="connsiteX179" fmla="*/ 1 w 12191999"/>
              <a:gd name="connsiteY179" fmla="*/ 2568741 h 2570073"/>
              <a:gd name="connsiteX180" fmla="*/ 1 w 12191999"/>
              <a:gd name="connsiteY180" fmla="*/ 2253318 h 2570073"/>
              <a:gd name="connsiteX181" fmla="*/ 1 w 12191999"/>
              <a:gd name="connsiteY181" fmla="*/ 1443429 h 2570073"/>
              <a:gd name="connsiteX182" fmla="*/ 1 w 12191999"/>
              <a:gd name="connsiteY182" fmla="*/ 1442766 h 2570073"/>
              <a:gd name="connsiteX183" fmla="*/ 0 w 12191999"/>
              <a:gd name="connsiteY183" fmla="*/ 1442755 h 2570073"/>
              <a:gd name="connsiteX184" fmla="*/ 1 w 12191999"/>
              <a:gd name="connsiteY184" fmla="*/ 1442744 h 2570073"/>
              <a:gd name="connsiteX185" fmla="*/ 1 w 12191999"/>
              <a:gd name="connsiteY185" fmla="*/ 1389857 h 2570073"/>
              <a:gd name="connsiteX186" fmla="*/ 1 w 12191999"/>
              <a:gd name="connsiteY186" fmla="*/ 1128007 h 2570073"/>
              <a:gd name="connsiteX187" fmla="*/ 1 w 12191999"/>
              <a:gd name="connsiteY187" fmla="*/ 1127343 h 2570073"/>
              <a:gd name="connsiteX188" fmla="*/ 0 w 12191999"/>
              <a:gd name="connsiteY188" fmla="*/ 1127332 h 2570073"/>
              <a:gd name="connsiteX189" fmla="*/ 1 w 12191999"/>
              <a:gd name="connsiteY189" fmla="*/ 1127322 h 2570073"/>
              <a:gd name="connsiteX190" fmla="*/ 1 w 12191999"/>
              <a:gd name="connsiteY190" fmla="*/ 1074434 h 2570073"/>
              <a:gd name="connsiteX191" fmla="*/ 2538 w 12191999"/>
              <a:gd name="connsiteY191" fmla="*/ 1074434 h 2570073"/>
              <a:gd name="connsiteX192" fmla="*/ 5119 w 12191999"/>
              <a:gd name="connsiteY192" fmla="*/ 1019920 h 2570073"/>
              <a:gd name="connsiteX193" fmla="*/ 5592 w 12191999"/>
              <a:gd name="connsiteY193" fmla="*/ 1016613 h 2570073"/>
              <a:gd name="connsiteX194" fmla="*/ 5814 w 12191999"/>
              <a:gd name="connsiteY194" fmla="*/ 1012207 h 2570073"/>
              <a:gd name="connsiteX195" fmla="*/ 42953 w 12191999"/>
              <a:gd name="connsiteY195" fmla="*/ 818244 h 2570073"/>
              <a:gd name="connsiteX196" fmla="*/ 44470 w 12191999"/>
              <a:gd name="connsiteY196" fmla="*/ 813682 h 2570073"/>
              <a:gd name="connsiteX197" fmla="*/ 44660 w 12191999"/>
              <a:gd name="connsiteY197" fmla="*/ 812894 h 2570073"/>
              <a:gd name="connsiteX198" fmla="*/ 47335 w 12191999"/>
              <a:gd name="connsiteY198" fmla="*/ 805066 h 2570073"/>
              <a:gd name="connsiteX199" fmla="*/ 73597 w 12191999"/>
              <a:gd name="connsiteY199" fmla="*/ 726078 h 2570073"/>
              <a:gd name="connsiteX200" fmla="*/ 77097 w 12191999"/>
              <a:gd name="connsiteY200" fmla="*/ 717971 h 2570073"/>
              <a:gd name="connsiteX201" fmla="*/ 78150 w 12191999"/>
              <a:gd name="connsiteY201" fmla="*/ 714889 h 2570073"/>
              <a:gd name="connsiteX202" fmla="*/ 85619 w 12191999"/>
              <a:gd name="connsiteY202" fmla="*/ 698231 h 2570073"/>
              <a:gd name="connsiteX203" fmla="*/ 111778 w 12191999"/>
              <a:gd name="connsiteY203" fmla="*/ 637633 h 2570073"/>
              <a:gd name="connsiteX204" fmla="*/ 117857 w 12191999"/>
              <a:gd name="connsiteY204" fmla="*/ 626323 h 2570073"/>
              <a:gd name="connsiteX205" fmla="*/ 120165 w 12191999"/>
              <a:gd name="connsiteY205" fmla="*/ 621176 h 2570073"/>
              <a:gd name="connsiteX206" fmla="*/ 130339 w 12191999"/>
              <a:gd name="connsiteY206" fmla="*/ 603101 h 2570073"/>
              <a:gd name="connsiteX207" fmla="*/ 157112 w 12191999"/>
              <a:gd name="connsiteY207" fmla="*/ 553294 h 2570073"/>
              <a:gd name="connsiteX208" fmla="*/ 166322 w 12191999"/>
              <a:gd name="connsiteY208" fmla="*/ 539178 h 2570073"/>
              <a:gd name="connsiteX209" fmla="*/ 170237 w 12191999"/>
              <a:gd name="connsiteY209" fmla="*/ 532224 h 2570073"/>
              <a:gd name="connsiteX210" fmla="*/ 182090 w 12191999"/>
              <a:gd name="connsiteY210" fmla="*/ 515013 h 2570073"/>
              <a:gd name="connsiteX211" fmla="*/ 209214 w 12191999"/>
              <a:gd name="connsiteY211" fmla="*/ 473445 h 2570073"/>
              <a:gd name="connsiteX212" fmla="*/ 222062 w 12191999"/>
              <a:gd name="connsiteY212" fmla="*/ 456974 h 2570073"/>
              <a:gd name="connsiteX213" fmla="*/ 227900 w 12191999"/>
              <a:gd name="connsiteY213" fmla="*/ 448498 h 2570073"/>
              <a:gd name="connsiteX214" fmla="*/ 240715 w 12191999"/>
              <a:gd name="connsiteY214" fmla="*/ 433062 h 2570073"/>
              <a:gd name="connsiteX215" fmla="*/ 267700 w 12191999"/>
              <a:gd name="connsiteY215" fmla="*/ 398470 h 2570073"/>
              <a:gd name="connsiteX216" fmla="*/ 284649 w 12191999"/>
              <a:gd name="connsiteY216" fmla="*/ 380147 h 2570073"/>
              <a:gd name="connsiteX217" fmla="*/ 292687 w 12191999"/>
              <a:gd name="connsiteY217" fmla="*/ 370466 h 2570073"/>
              <a:gd name="connsiteX218" fmla="*/ 305888 w 12191999"/>
              <a:gd name="connsiteY218" fmla="*/ 357186 h 2570073"/>
              <a:gd name="connsiteX219" fmla="*/ 332186 w 12191999"/>
              <a:gd name="connsiteY219" fmla="*/ 328755 h 2570073"/>
              <a:gd name="connsiteX220" fmla="*/ 353657 w 12191999"/>
              <a:gd name="connsiteY220" fmla="*/ 309131 h 2570073"/>
              <a:gd name="connsiteX221" fmla="*/ 364133 w 12191999"/>
              <a:gd name="connsiteY221" fmla="*/ 298593 h 2570073"/>
              <a:gd name="connsiteX222" fmla="*/ 377228 w 12191999"/>
              <a:gd name="connsiteY222" fmla="*/ 287587 h 2570073"/>
              <a:gd name="connsiteX223" fmla="*/ 402288 w 12191999"/>
              <a:gd name="connsiteY223" fmla="*/ 264683 h 2570073"/>
              <a:gd name="connsiteX224" fmla="*/ 428670 w 12191999"/>
              <a:gd name="connsiteY224" fmla="*/ 244356 h 2570073"/>
              <a:gd name="connsiteX225" fmla="*/ 441769 w 12191999"/>
              <a:gd name="connsiteY225" fmla="*/ 233348 h 2570073"/>
              <a:gd name="connsiteX226" fmla="*/ 454327 w 12191999"/>
              <a:gd name="connsiteY226" fmla="*/ 224587 h 2570073"/>
              <a:gd name="connsiteX227" fmla="*/ 477622 w 12191999"/>
              <a:gd name="connsiteY227" fmla="*/ 206638 h 2570073"/>
              <a:gd name="connsiteX228" fmla="*/ 509285 w 12191999"/>
              <a:gd name="connsiteY228" fmla="*/ 186248 h 2570073"/>
              <a:gd name="connsiteX229" fmla="*/ 525129 w 12191999"/>
              <a:gd name="connsiteY229" fmla="*/ 175195 h 2570073"/>
              <a:gd name="connsiteX230" fmla="*/ 536762 w 12191999"/>
              <a:gd name="connsiteY230" fmla="*/ 168554 h 2570073"/>
              <a:gd name="connsiteX231" fmla="*/ 557803 w 12191999"/>
              <a:gd name="connsiteY231" fmla="*/ 155005 h 2570073"/>
              <a:gd name="connsiteX232" fmla="*/ 595129 w 12191999"/>
              <a:gd name="connsiteY232" fmla="*/ 135232 h 2570073"/>
              <a:gd name="connsiteX233" fmla="*/ 613748 w 12191999"/>
              <a:gd name="connsiteY233" fmla="*/ 124603 h 2570073"/>
              <a:gd name="connsiteX234" fmla="*/ 624106 w 12191999"/>
              <a:gd name="connsiteY234" fmla="*/ 119882 h 2570073"/>
              <a:gd name="connsiteX235" fmla="*/ 642446 w 12191999"/>
              <a:gd name="connsiteY235" fmla="*/ 110167 h 2570073"/>
              <a:gd name="connsiteX236" fmla="*/ 685893 w 12191999"/>
              <a:gd name="connsiteY236" fmla="*/ 91726 h 2570073"/>
              <a:gd name="connsiteX237" fmla="*/ 707157 w 12191999"/>
              <a:gd name="connsiteY237" fmla="*/ 82036 h 2570073"/>
              <a:gd name="connsiteX238" fmla="*/ 715923 w 12191999"/>
              <a:gd name="connsiteY238" fmla="*/ 78980 h 2570073"/>
              <a:gd name="connsiteX239" fmla="*/ 731168 w 12191999"/>
              <a:gd name="connsiteY239" fmla="*/ 72509 h 2570073"/>
              <a:gd name="connsiteX240" fmla="*/ 781408 w 12191999"/>
              <a:gd name="connsiteY240" fmla="*/ 56150 h 2570073"/>
              <a:gd name="connsiteX241" fmla="*/ 804892 w 12191999"/>
              <a:gd name="connsiteY241" fmla="*/ 47963 h 2570073"/>
              <a:gd name="connsiteX242" fmla="*/ 811780 w 12191999"/>
              <a:gd name="connsiteY242" fmla="*/ 46260 h 2570073"/>
              <a:gd name="connsiteX243" fmla="*/ 823585 w 12191999"/>
              <a:gd name="connsiteY243" fmla="*/ 42416 h 2570073"/>
              <a:gd name="connsiteX244" fmla="*/ 881937 w 12191999"/>
              <a:gd name="connsiteY244" fmla="*/ 28918 h 2570073"/>
              <a:gd name="connsiteX245" fmla="*/ 906484 w 12191999"/>
              <a:gd name="connsiteY245" fmla="*/ 22850 h 2570073"/>
              <a:gd name="connsiteX246" fmla="*/ 911239 w 12191999"/>
              <a:gd name="connsiteY246" fmla="*/ 22139 h 2570073"/>
              <a:gd name="connsiteX247" fmla="*/ 919312 w 12191999"/>
              <a:gd name="connsiteY247" fmla="*/ 20272 h 2570073"/>
              <a:gd name="connsiteX248" fmla="*/ 989509 w 12191999"/>
              <a:gd name="connsiteY248" fmla="*/ 10445 h 2570073"/>
              <a:gd name="connsiteX249" fmla="*/ 1011467 w 12191999"/>
              <a:gd name="connsiteY249" fmla="*/ 7163 h 2570073"/>
              <a:gd name="connsiteX250" fmla="*/ 1013779 w 12191999"/>
              <a:gd name="connsiteY250" fmla="*/ 7047 h 2570073"/>
              <a:gd name="connsiteX251" fmla="*/ 1017965 w 12191999"/>
              <a:gd name="connsiteY251" fmla="*/ 6460 h 2570073"/>
              <a:gd name="connsiteX252" fmla="*/ 1066652 w 12191999"/>
              <a:gd name="connsiteY252" fmla="*/ 4155 h 2570073"/>
              <a:gd name="connsiteX253" fmla="*/ 1066652 w 12191999"/>
              <a:gd name="connsiteY253" fmla="*/ 1346 h 2570073"/>
              <a:gd name="connsiteX254" fmla="*/ 1111538 w 12191999"/>
              <a:gd name="connsiteY254" fmla="*/ 1346 h 2570073"/>
              <a:gd name="connsiteX255" fmla="*/ 1125987 w 12191999"/>
              <a:gd name="connsiteY255" fmla="*/ 1346 h 2570073"/>
              <a:gd name="connsiteX256" fmla="*/ 1126324 w 12191999"/>
              <a:gd name="connsiteY256" fmla="*/ 1346 h 2570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</a:cxnLst>
            <a:rect l="l" t="t" r="r" b="b"/>
            <a:pathLst>
              <a:path w="12191999" h="2570073">
                <a:moveTo>
                  <a:pt x="1126324" y="0"/>
                </a:moveTo>
                <a:lnTo>
                  <a:pt x="2454730" y="0"/>
                </a:lnTo>
                <a:lnTo>
                  <a:pt x="3481005" y="0"/>
                </a:lnTo>
                <a:lnTo>
                  <a:pt x="3540677" y="0"/>
                </a:lnTo>
                <a:lnTo>
                  <a:pt x="4809411" y="0"/>
                </a:lnTo>
                <a:lnTo>
                  <a:pt x="4869084" y="0"/>
                </a:lnTo>
                <a:lnTo>
                  <a:pt x="4869084" y="1332"/>
                </a:lnTo>
                <a:lnTo>
                  <a:pt x="5935733" y="1332"/>
                </a:lnTo>
                <a:lnTo>
                  <a:pt x="5935733" y="316755"/>
                </a:lnTo>
                <a:lnTo>
                  <a:pt x="5935733" y="1082676"/>
                </a:lnTo>
                <a:lnTo>
                  <a:pt x="5935736" y="1082676"/>
                </a:lnTo>
                <a:lnTo>
                  <a:pt x="5935736" y="1074434"/>
                </a:lnTo>
                <a:lnTo>
                  <a:pt x="5938272" y="1074434"/>
                </a:lnTo>
                <a:lnTo>
                  <a:pt x="5940853" y="1019920"/>
                </a:lnTo>
                <a:lnTo>
                  <a:pt x="5941325" y="1016613"/>
                </a:lnTo>
                <a:lnTo>
                  <a:pt x="5941548" y="1012207"/>
                </a:lnTo>
                <a:cubicBezTo>
                  <a:pt x="5948305" y="945669"/>
                  <a:pt x="5960856" y="880845"/>
                  <a:pt x="5978687" y="818244"/>
                </a:cubicBezTo>
                <a:lnTo>
                  <a:pt x="5980204" y="813682"/>
                </a:lnTo>
                <a:lnTo>
                  <a:pt x="5980394" y="812894"/>
                </a:lnTo>
                <a:lnTo>
                  <a:pt x="5983069" y="805066"/>
                </a:lnTo>
                <a:lnTo>
                  <a:pt x="6009331" y="726078"/>
                </a:lnTo>
                <a:lnTo>
                  <a:pt x="6012831" y="717971"/>
                </a:lnTo>
                <a:lnTo>
                  <a:pt x="6013884" y="714889"/>
                </a:lnTo>
                <a:lnTo>
                  <a:pt x="6021353" y="698231"/>
                </a:lnTo>
                <a:lnTo>
                  <a:pt x="6047512" y="637633"/>
                </a:lnTo>
                <a:lnTo>
                  <a:pt x="6053591" y="626323"/>
                </a:lnTo>
                <a:lnTo>
                  <a:pt x="6055898" y="621176"/>
                </a:lnTo>
                <a:lnTo>
                  <a:pt x="6066073" y="603101"/>
                </a:lnTo>
                <a:lnTo>
                  <a:pt x="6092845" y="553294"/>
                </a:lnTo>
                <a:lnTo>
                  <a:pt x="6102056" y="539178"/>
                </a:lnTo>
                <a:lnTo>
                  <a:pt x="6105971" y="532224"/>
                </a:lnTo>
                <a:lnTo>
                  <a:pt x="6117824" y="515013"/>
                </a:lnTo>
                <a:lnTo>
                  <a:pt x="6144948" y="473445"/>
                </a:lnTo>
                <a:lnTo>
                  <a:pt x="6157796" y="456974"/>
                </a:lnTo>
                <a:lnTo>
                  <a:pt x="6163633" y="448498"/>
                </a:lnTo>
                <a:lnTo>
                  <a:pt x="6176449" y="433062"/>
                </a:lnTo>
                <a:lnTo>
                  <a:pt x="6203434" y="398470"/>
                </a:lnTo>
                <a:lnTo>
                  <a:pt x="6220382" y="380147"/>
                </a:lnTo>
                <a:lnTo>
                  <a:pt x="6228421" y="370466"/>
                </a:lnTo>
                <a:lnTo>
                  <a:pt x="6241622" y="357186"/>
                </a:lnTo>
                <a:lnTo>
                  <a:pt x="6267920" y="328755"/>
                </a:lnTo>
                <a:lnTo>
                  <a:pt x="6289391" y="309131"/>
                </a:lnTo>
                <a:lnTo>
                  <a:pt x="6299866" y="298593"/>
                </a:lnTo>
                <a:lnTo>
                  <a:pt x="6312962" y="287587"/>
                </a:lnTo>
                <a:lnTo>
                  <a:pt x="6338022" y="264683"/>
                </a:lnTo>
                <a:lnTo>
                  <a:pt x="6364404" y="244356"/>
                </a:lnTo>
                <a:lnTo>
                  <a:pt x="6377502" y="233348"/>
                </a:lnTo>
                <a:lnTo>
                  <a:pt x="6390060" y="224587"/>
                </a:lnTo>
                <a:lnTo>
                  <a:pt x="6413355" y="206638"/>
                </a:lnTo>
                <a:lnTo>
                  <a:pt x="6445019" y="186248"/>
                </a:lnTo>
                <a:lnTo>
                  <a:pt x="6460863" y="175195"/>
                </a:lnTo>
                <a:lnTo>
                  <a:pt x="6472496" y="168554"/>
                </a:lnTo>
                <a:lnTo>
                  <a:pt x="6493536" y="155005"/>
                </a:lnTo>
                <a:lnTo>
                  <a:pt x="6530863" y="135232"/>
                </a:lnTo>
                <a:lnTo>
                  <a:pt x="6549482" y="124603"/>
                </a:lnTo>
                <a:lnTo>
                  <a:pt x="6559839" y="119882"/>
                </a:lnTo>
                <a:lnTo>
                  <a:pt x="6578180" y="110167"/>
                </a:lnTo>
                <a:lnTo>
                  <a:pt x="6621627" y="91726"/>
                </a:lnTo>
                <a:lnTo>
                  <a:pt x="6642891" y="82036"/>
                </a:lnTo>
                <a:lnTo>
                  <a:pt x="6651657" y="78980"/>
                </a:lnTo>
                <a:lnTo>
                  <a:pt x="6666902" y="72509"/>
                </a:lnTo>
                <a:lnTo>
                  <a:pt x="6717142" y="56150"/>
                </a:lnTo>
                <a:lnTo>
                  <a:pt x="6740626" y="47963"/>
                </a:lnTo>
                <a:lnTo>
                  <a:pt x="6747514" y="46260"/>
                </a:lnTo>
                <a:lnTo>
                  <a:pt x="6759319" y="42416"/>
                </a:lnTo>
                <a:lnTo>
                  <a:pt x="6817670" y="28918"/>
                </a:lnTo>
                <a:lnTo>
                  <a:pt x="6842218" y="22850"/>
                </a:lnTo>
                <a:lnTo>
                  <a:pt x="6846973" y="22139"/>
                </a:lnTo>
                <a:lnTo>
                  <a:pt x="6855046" y="20272"/>
                </a:lnTo>
                <a:lnTo>
                  <a:pt x="6925243" y="10445"/>
                </a:lnTo>
                <a:lnTo>
                  <a:pt x="6947201" y="7163"/>
                </a:lnTo>
                <a:lnTo>
                  <a:pt x="6949512" y="7047"/>
                </a:lnTo>
                <a:lnTo>
                  <a:pt x="6953699" y="6460"/>
                </a:lnTo>
                <a:lnTo>
                  <a:pt x="7002386" y="4155"/>
                </a:lnTo>
                <a:lnTo>
                  <a:pt x="7002386" y="1346"/>
                </a:lnTo>
                <a:lnTo>
                  <a:pt x="7047272" y="1346"/>
                </a:lnTo>
                <a:lnTo>
                  <a:pt x="7061721" y="1346"/>
                </a:lnTo>
                <a:lnTo>
                  <a:pt x="7062058" y="1346"/>
                </a:lnTo>
                <a:lnTo>
                  <a:pt x="7062058" y="0"/>
                </a:lnTo>
                <a:lnTo>
                  <a:pt x="9416738" y="0"/>
                </a:lnTo>
                <a:lnTo>
                  <a:pt x="9476411" y="0"/>
                </a:lnTo>
                <a:lnTo>
                  <a:pt x="9476411" y="1332"/>
                </a:lnTo>
                <a:lnTo>
                  <a:pt x="9621926" y="1332"/>
                </a:lnTo>
                <a:lnTo>
                  <a:pt x="9621926" y="1232695"/>
                </a:lnTo>
                <a:lnTo>
                  <a:pt x="9621927" y="1232695"/>
                </a:lnTo>
                <a:lnTo>
                  <a:pt x="9621927" y="1224666"/>
                </a:lnTo>
                <a:lnTo>
                  <a:pt x="9624974" y="1224666"/>
                </a:lnTo>
                <a:lnTo>
                  <a:pt x="9628560" y="1153649"/>
                </a:lnTo>
                <a:cubicBezTo>
                  <a:pt x="9694367" y="505662"/>
                  <a:pt x="10241613" y="0"/>
                  <a:pt x="10906963" y="0"/>
                </a:cubicBezTo>
                <a:cubicBezTo>
                  <a:pt x="11616669" y="0"/>
                  <a:pt x="12191999" y="575331"/>
                  <a:pt x="12191999" y="1285037"/>
                </a:cubicBezTo>
                <a:cubicBezTo>
                  <a:pt x="12191999" y="1950386"/>
                  <a:pt x="11686337" y="2497632"/>
                  <a:pt x="11038350" y="2563438"/>
                </a:cubicBezTo>
                <a:lnTo>
                  <a:pt x="10924212" y="2569202"/>
                </a:lnTo>
                <a:lnTo>
                  <a:pt x="10924212" y="2570073"/>
                </a:lnTo>
                <a:lnTo>
                  <a:pt x="10906963" y="2570073"/>
                </a:lnTo>
                <a:lnTo>
                  <a:pt x="10572749" y="2570073"/>
                </a:lnTo>
                <a:lnTo>
                  <a:pt x="9621927" y="2570073"/>
                </a:lnTo>
                <a:lnTo>
                  <a:pt x="9416738" y="2570073"/>
                </a:lnTo>
                <a:lnTo>
                  <a:pt x="7062058" y="2570073"/>
                </a:lnTo>
                <a:lnTo>
                  <a:pt x="7002386" y="2570073"/>
                </a:lnTo>
                <a:lnTo>
                  <a:pt x="6572249" y="2570073"/>
                </a:lnTo>
                <a:lnTo>
                  <a:pt x="6572249" y="2568741"/>
                </a:lnTo>
                <a:lnTo>
                  <a:pt x="5935736" y="2568741"/>
                </a:lnTo>
                <a:lnTo>
                  <a:pt x="5935736" y="2253318"/>
                </a:lnTo>
                <a:lnTo>
                  <a:pt x="5935736" y="1487489"/>
                </a:lnTo>
                <a:lnTo>
                  <a:pt x="5935733" y="1487489"/>
                </a:lnTo>
                <a:lnTo>
                  <a:pt x="5935733" y="1495639"/>
                </a:lnTo>
                <a:lnTo>
                  <a:pt x="5933197" y="1495639"/>
                </a:lnTo>
                <a:lnTo>
                  <a:pt x="5930616" y="1550153"/>
                </a:lnTo>
                <a:lnTo>
                  <a:pt x="5930144" y="1553460"/>
                </a:lnTo>
                <a:lnTo>
                  <a:pt x="5929922" y="1557867"/>
                </a:lnTo>
                <a:cubicBezTo>
                  <a:pt x="5923163" y="1624404"/>
                  <a:pt x="5910612" y="1689229"/>
                  <a:pt x="5892782" y="1751829"/>
                </a:cubicBezTo>
                <a:lnTo>
                  <a:pt x="5891264" y="1756392"/>
                </a:lnTo>
                <a:lnTo>
                  <a:pt x="5891075" y="1757179"/>
                </a:lnTo>
                <a:lnTo>
                  <a:pt x="5888400" y="1765008"/>
                </a:lnTo>
                <a:lnTo>
                  <a:pt x="5862137" y="1843996"/>
                </a:lnTo>
                <a:lnTo>
                  <a:pt x="5858638" y="1852103"/>
                </a:lnTo>
                <a:lnTo>
                  <a:pt x="5857585" y="1855185"/>
                </a:lnTo>
                <a:lnTo>
                  <a:pt x="5850118" y="1871843"/>
                </a:lnTo>
                <a:lnTo>
                  <a:pt x="5823957" y="1932441"/>
                </a:lnTo>
                <a:lnTo>
                  <a:pt x="5817877" y="1943751"/>
                </a:lnTo>
                <a:lnTo>
                  <a:pt x="5815570" y="1948897"/>
                </a:lnTo>
                <a:lnTo>
                  <a:pt x="5805396" y="1966972"/>
                </a:lnTo>
                <a:lnTo>
                  <a:pt x="5778623" y="2016780"/>
                </a:lnTo>
                <a:lnTo>
                  <a:pt x="5769413" y="2030895"/>
                </a:lnTo>
                <a:lnTo>
                  <a:pt x="5765499" y="2037850"/>
                </a:lnTo>
                <a:lnTo>
                  <a:pt x="5753645" y="2055061"/>
                </a:lnTo>
                <a:lnTo>
                  <a:pt x="5726521" y="2096629"/>
                </a:lnTo>
                <a:lnTo>
                  <a:pt x="5713673" y="2113099"/>
                </a:lnTo>
                <a:lnTo>
                  <a:pt x="5707835" y="2121576"/>
                </a:lnTo>
                <a:lnTo>
                  <a:pt x="5695020" y="2137011"/>
                </a:lnTo>
                <a:lnTo>
                  <a:pt x="5668036" y="2171603"/>
                </a:lnTo>
                <a:lnTo>
                  <a:pt x="5651086" y="2189926"/>
                </a:lnTo>
                <a:lnTo>
                  <a:pt x="5643047" y="2199608"/>
                </a:lnTo>
                <a:lnTo>
                  <a:pt x="5629847" y="2212888"/>
                </a:lnTo>
                <a:lnTo>
                  <a:pt x="5603549" y="2241318"/>
                </a:lnTo>
                <a:lnTo>
                  <a:pt x="5582078" y="2260943"/>
                </a:lnTo>
                <a:lnTo>
                  <a:pt x="5571603" y="2271480"/>
                </a:lnTo>
                <a:lnTo>
                  <a:pt x="5558506" y="2282487"/>
                </a:lnTo>
                <a:lnTo>
                  <a:pt x="5533446" y="2305391"/>
                </a:lnTo>
                <a:lnTo>
                  <a:pt x="5507066" y="2325718"/>
                </a:lnTo>
                <a:lnTo>
                  <a:pt x="5493966" y="2336726"/>
                </a:lnTo>
                <a:lnTo>
                  <a:pt x="5481407" y="2345487"/>
                </a:lnTo>
                <a:lnTo>
                  <a:pt x="5458113" y="2363435"/>
                </a:lnTo>
                <a:lnTo>
                  <a:pt x="5426450" y="2383826"/>
                </a:lnTo>
                <a:lnTo>
                  <a:pt x="5410605" y="2394879"/>
                </a:lnTo>
                <a:lnTo>
                  <a:pt x="5398974" y="2401520"/>
                </a:lnTo>
                <a:lnTo>
                  <a:pt x="5377932" y="2415069"/>
                </a:lnTo>
                <a:lnTo>
                  <a:pt x="5340606" y="2434842"/>
                </a:lnTo>
                <a:lnTo>
                  <a:pt x="5321988" y="2445471"/>
                </a:lnTo>
                <a:lnTo>
                  <a:pt x="5311629" y="2450191"/>
                </a:lnTo>
                <a:lnTo>
                  <a:pt x="5293289" y="2459906"/>
                </a:lnTo>
                <a:lnTo>
                  <a:pt x="5249843" y="2478347"/>
                </a:lnTo>
                <a:lnTo>
                  <a:pt x="5228578" y="2488037"/>
                </a:lnTo>
                <a:lnTo>
                  <a:pt x="5219811" y="2491093"/>
                </a:lnTo>
                <a:lnTo>
                  <a:pt x="5204566" y="2497564"/>
                </a:lnTo>
                <a:lnTo>
                  <a:pt x="5154326" y="2513923"/>
                </a:lnTo>
                <a:lnTo>
                  <a:pt x="5130842" y="2522110"/>
                </a:lnTo>
                <a:lnTo>
                  <a:pt x="5123955" y="2523813"/>
                </a:lnTo>
                <a:lnTo>
                  <a:pt x="5112149" y="2527657"/>
                </a:lnTo>
                <a:lnTo>
                  <a:pt x="5053798" y="2541156"/>
                </a:lnTo>
                <a:lnTo>
                  <a:pt x="5029250" y="2547223"/>
                </a:lnTo>
                <a:lnTo>
                  <a:pt x="5024496" y="2547934"/>
                </a:lnTo>
                <a:lnTo>
                  <a:pt x="5016422" y="2549802"/>
                </a:lnTo>
                <a:lnTo>
                  <a:pt x="4946225" y="2559629"/>
                </a:lnTo>
                <a:lnTo>
                  <a:pt x="4924267" y="2562910"/>
                </a:lnTo>
                <a:lnTo>
                  <a:pt x="4921957" y="2563027"/>
                </a:lnTo>
                <a:lnTo>
                  <a:pt x="4917769" y="2563613"/>
                </a:lnTo>
                <a:lnTo>
                  <a:pt x="4869084" y="2565918"/>
                </a:lnTo>
                <a:lnTo>
                  <a:pt x="4869084" y="2568728"/>
                </a:lnTo>
                <a:lnTo>
                  <a:pt x="4824196" y="2568728"/>
                </a:lnTo>
                <a:lnTo>
                  <a:pt x="4809749" y="2568728"/>
                </a:lnTo>
                <a:lnTo>
                  <a:pt x="4809411" y="2568728"/>
                </a:lnTo>
                <a:lnTo>
                  <a:pt x="4809411" y="2570073"/>
                </a:lnTo>
                <a:lnTo>
                  <a:pt x="3481005" y="2570073"/>
                </a:lnTo>
                <a:lnTo>
                  <a:pt x="2454730" y="2570073"/>
                </a:lnTo>
                <a:lnTo>
                  <a:pt x="2395058" y="2570073"/>
                </a:lnTo>
                <a:lnTo>
                  <a:pt x="1126324" y="2570073"/>
                </a:lnTo>
                <a:lnTo>
                  <a:pt x="1066652" y="2570073"/>
                </a:lnTo>
                <a:lnTo>
                  <a:pt x="1066652" y="2568741"/>
                </a:lnTo>
                <a:lnTo>
                  <a:pt x="1" y="2568741"/>
                </a:lnTo>
                <a:lnTo>
                  <a:pt x="1" y="2253318"/>
                </a:lnTo>
                <a:lnTo>
                  <a:pt x="1" y="1443429"/>
                </a:lnTo>
                <a:lnTo>
                  <a:pt x="1" y="1442766"/>
                </a:lnTo>
                <a:lnTo>
                  <a:pt x="0" y="1442755"/>
                </a:lnTo>
                <a:lnTo>
                  <a:pt x="1" y="1442744"/>
                </a:lnTo>
                <a:lnTo>
                  <a:pt x="1" y="1389857"/>
                </a:lnTo>
                <a:lnTo>
                  <a:pt x="1" y="1128007"/>
                </a:lnTo>
                <a:lnTo>
                  <a:pt x="1" y="1127343"/>
                </a:lnTo>
                <a:lnTo>
                  <a:pt x="0" y="1127332"/>
                </a:lnTo>
                <a:lnTo>
                  <a:pt x="1" y="1127322"/>
                </a:lnTo>
                <a:lnTo>
                  <a:pt x="1" y="1074434"/>
                </a:lnTo>
                <a:lnTo>
                  <a:pt x="2538" y="1074434"/>
                </a:lnTo>
                <a:lnTo>
                  <a:pt x="5119" y="1019920"/>
                </a:lnTo>
                <a:lnTo>
                  <a:pt x="5592" y="1016613"/>
                </a:lnTo>
                <a:lnTo>
                  <a:pt x="5814" y="1012207"/>
                </a:lnTo>
                <a:cubicBezTo>
                  <a:pt x="12572" y="945669"/>
                  <a:pt x="25122" y="880845"/>
                  <a:pt x="42953" y="818244"/>
                </a:cubicBezTo>
                <a:lnTo>
                  <a:pt x="44470" y="813682"/>
                </a:lnTo>
                <a:lnTo>
                  <a:pt x="44660" y="812894"/>
                </a:lnTo>
                <a:lnTo>
                  <a:pt x="47335" y="805066"/>
                </a:lnTo>
                <a:lnTo>
                  <a:pt x="73597" y="726078"/>
                </a:lnTo>
                <a:lnTo>
                  <a:pt x="77097" y="717971"/>
                </a:lnTo>
                <a:lnTo>
                  <a:pt x="78150" y="714889"/>
                </a:lnTo>
                <a:lnTo>
                  <a:pt x="85619" y="698231"/>
                </a:lnTo>
                <a:lnTo>
                  <a:pt x="111778" y="637633"/>
                </a:lnTo>
                <a:lnTo>
                  <a:pt x="117857" y="626323"/>
                </a:lnTo>
                <a:lnTo>
                  <a:pt x="120165" y="621176"/>
                </a:lnTo>
                <a:lnTo>
                  <a:pt x="130339" y="603101"/>
                </a:lnTo>
                <a:lnTo>
                  <a:pt x="157112" y="553294"/>
                </a:lnTo>
                <a:lnTo>
                  <a:pt x="166322" y="539178"/>
                </a:lnTo>
                <a:lnTo>
                  <a:pt x="170237" y="532224"/>
                </a:lnTo>
                <a:lnTo>
                  <a:pt x="182090" y="515013"/>
                </a:lnTo>
                <a:lnTo>
                  <a:pt x="209214" y="473445"/>
                </a:lnTo>
                <a:lnTo>
                  <a:pt x="222062" y="456974"/>
                </a:lnTo>
                <a:lnTo>
                  <a:pt x="227900" y="448498"/>
                </a:lnTo>
                <a:lnTo>
                  <a:pt x="240715" y="433062"/>
                </a:lnTo>
                <a:lnTo>
                  <a:pt x="267700" y="398470"/>
                </a:lnTo>
                <a:lnTo>
                  <a:pt x="284649" y="380147"/>
                </a:lnTo>
                <a:lnTo>
                  <a:pt x="292687" y="370466"/>
                </a:lnTo>
                <a:lnTo>
                  <a:pt x="305888" y="357186"/>
                </a:lnTo>
                <a:lnTo>
                  <a:pt x="332186" y="328755"/>
                </a:lnTo>
                <a:lnTo>
                  <a:pt x="353657" y="309131"/>
                </a:lnTo>
                <a:lnTo>
                  <a:pt x="364133" y="298593"/>
                </a:lnTo>
                <a:lnTo>
                  <a:pt x="377228" y="287587"/>
                </a:lnTo>
                <a:lnTo>
                  <a:pt x="402288" y="264683"/>
                </a:lnTo>
                <a:lnTo>
                  <a:pt x="428670" y="244356"/>
                </a:lnTo>
                <a:lnTo>
                  <a:pt x="441769" y="233348"/>
                </a:lnTo>
                <a:lnTo>
                  <a:pt x="454327" y="224587"/>
                </a:lnTo>
                <a:lnTo>
                  <a:pt x="477622" y="206638"/>
                </a:lnTo>
                <a:lnTo>
                  <a:pt x="509285" y="186248"/>
                </a:lnTo>
                <a:lnTo>
                  <a:pt x="525129" y="175195"/>
                </a:lnTo>
                <a:lnTo>
                  <a:pt x="536762" y="168554"/>
                </a:lnTo>
                <a:lnTo>
                  <a:pt x="557803" y="155005"/>
                </a:lnTo>
                <a:lnTo>
                  <a:pt x="595129" y="135232"/>
                </a:lnTo>
                <a:lnTo>
                  <a:pt x="613748" y="124603"/>
                </a:lnTo>
                <a:lnTo>
                  <a:pt x="624106" y="119882"/>
                </a:lnTo>
                <a:lnTo>
                  <a:pt x="642446" y="110167"/>
                </a:lnTo>
                <a:lnTo>
                  <a:pt x="685893" y="91726"/>
                </a:lnTo>
                <a:lnTo>
                  <a:pt x="707157" y="82036"/>
                </a:lnTo>
                <a:lnTo>
                  <a:pt x="715923" y="78980"/>
                </a:lnTo>
                <a:lnTo>
                  <a:pt x="731168" y="72509"/>
                </a:lnTo>
                <a:lnTo>
                  <a:pt x="781408" y="56150"/>
                </a:lnTo>
                <a:lnTo>
                  <a:pt x="804892" y="47963"/>
                </a:lnTo>
                <a:lnTo>
                  <a:pt x="811780" y="46260"/>
                </a:lnTo>
                <a:lnTo>
                  <a:pt x="823585" y="42416"/>
                </a:lnTo>
                <a:lnTo>
                  <a:pt x="881937" y="28918"/>
                </a:lnTo>
                <a:lnTo>
                  <a:pt x="906484" y="22850"/>
                </a:lnTo>
                <a:lnTo>
                  <a:pt x="911239" y="22139"/>
                </a:lnTo>
                <a:lnTo>
                  <a:pt x="919312" y="20272"/>
                </a:lnTo>
                <a:lnTo>
                  <a:pt x="989509" y="10445"/>
                </a:lnTo>
                <a:lnTo>
                  <a:pt x="1011467" y="7163"/>
                </a:lnTo>
                <a:lnTo>
                  <a:pt x="1013779" y="7047"/>
                </a:lnTo>
                <a:lnTo>
                  <a:pt x="1017965" y="6460"/>
                </a:lnTo>
                <a:lnTo>
                  <a:pt x="1066652" y="4155"/>
                </a:lnTo>
                <a:lnTo>
                  <a:pt x="1066652" y="1346"/>
                </a:lnTo>
                <a:lnTo>
                  <a:pt x="1111538" y="1346"/>
                </a:lnTo>
                <a:lnTo>
                  <a:pt x="1125987" y="1346"/>
                </a:lnTo>
                <a:lnTo>
                  <a:pt x="1126324" y="134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66312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7C4926E-FE39-4D92-B15E-E7E84687505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00496" y="3967737"/>
            <a:ext cx="2187798" cy="2187798"/>
          </a:xfrm>
          <a:custGeom>
            <a:avLst/>
            <a:gdLst>
              <a:gd name="connsiteX0" fmla="*/ 1079216 w 2187798"/>
              <a:gd name="connsiteY0" fmla="*/ 0 h 2187798"/>
              <a:gd name="connsiteX1" fmla="*/ 1093899 w 2187798"/>
              <a:gd name="connsiteY1" fmla="*/ 0 h 2187798"/>
              <a:gd name="connsiteX2" fmla="*/ 2187798 w 2187798"/>
              <a:gd name="connsiteY2" fmla="*/ 0 h 2187798"/>
              <a:gd name="connsiteX3" fmla="*/ 2187798 w 2187798"/>
              <a:gd name="connsiteY3" fmla="*/ 1093889 h 2187798"/>
              <a:gd name="connsiteX4" fmla="*/ 2187798 w 2187798"/>
              <a:gd name="connsiteY4" fmla="*/ 1093899 h 2187798"/>
              <a:gd name="connsiteX5" fmla="*/ 2187798 w 2187798"/>
              <a:gd name="connsiteY5" fmla="*/ 1093910 h 2187798"/>
              <a:gd name="connsiteX6" fmla="*/ 2187798 w 2187798"/>
              <a:gd name="connsiteY6" fmla="*/ 1145290 h 2187798"/>
              <a:gd name="connsiteX7" fmla="*/ 2185204 w 2187798"/>
              <a:gd name="connsiteY7" fmla="*/ 1145290 h 2187798"/>
              <a:gd name="connsiteX8" fmla="*/ 2182151 w 2187798"/>
              <a:gd name="connsiteY8" fmla="*/ 1205743 h 2187798"/>
              <a:gd name="connsiteX9" fmla="*/ 1093899 w 2187798"/>
              <a:gd name="connsiteY9" fmla="*/ 2187798 h 2187798"/>
              <a:gd name="connsiteX10" fmla="*/ 0 w 2187798"/>
              <a:gd name="connsiteY10" fmla="*/ 1093899 h 2187798"/>
              <a:gd name="connsiteX11" fmla="*/ 982055 w 2187798"/>
              <a:gd name="connsiteY11" fmla="*/ 5647 h 2187798"/>
              <a:gd name="connsiteX12" fmla="*/ 1079216 w 2187798"/>
              <a:gd name="connsiteY12" fmla="*/ 741 h 218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87798" h="2187798">
                <a:moveTo>
                  <a:pt x="1079216" y="0"/>
                </a:moveTo>
                <a:lnTo>
                  <a:pt x="1093899" y="0"/>
                </a:lnTo>
                <a:lnTo>
                  <a:pt x="2187798" y="0"/>
                </a:lnTo>
                <a:lnTo>
                  <a:pt x="2187798" y="1093889"/>
                </a:lnTo>
                <a:lnTo>
                  <a:pt x="2187798" y="1093899"/>
                </a:lnTo>
                <a:lnTo>
                  <a:pt x="2187798" y="1093910"/>
                </a:lnTo>
                <a:lnTo>
                  <a:pt x="2187798" y="1145290"/>
                </a:lnTo>
                <a:lnTo>
                  <a:pt x="2185204" y="1145290"/>
                </a:lnTo>
                <a:lnTo>
                  <a:pt x="2182151" y="1205743"/>
                </a:lnTo>
                <a:cubicBezTo>
                  <a:pt x="2126132" y="1757349"/>
                  <a:pt x="1660284" y="2187798"/>
                  <a:pt x="1093899" y="2187798"/>
                </a:cubicBezTo>
                <a:cubicBezTo>
                  <a:pt x="489755" y="2187798"/>
                  <a:pt x="0" y="1698043"/>
                  <a:pt x="0" y="1093899"/>
                </a:cubicBezTo>
                <a:cubicBezTo>
                  <a:pt x="0" y="527514"/>
                  <a:pt x="430449" y="61666"/>
                  <a:pt x="982055" y="5647"/>
                </a:cubicBezTo>
                <a:lnTo>
                  <a:pt x="1079216" y="74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267D55D-E2CE-493C-9AC4-CAFC21A6948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817164" y="722543"/>
            <a:ext cx="1892234" cy="3082398"/>
          </a:xfrm>
          <a:custGeom>
            <a:avLst/>
            <a:gdLst>
              <a:gd name="connsiteX0" fmla="*/ 946123 w 1892234"/>
              <a:gd name="connsiteY0" fmla="*/ 0 h 3082398"/>
              <a:gd name="connsiteX1" fmla="*/ 946132 w 1892234"/>
              <a:gd name="connsiteY1" fmla="*/ 1 h 3082398"/>
              <a:gd name="connsiteX2" fmla="*/ 946689 w 1892234"/>
              <a:gd name="connsiteY2" fmla="*/ 1 h 3082398"/>
              <a:gd name="connsiteX3" fmla="*/ 1891116 w 1892234"/>
              <a:gd name="connsiteY3" fmla="*/ 1 h 3082398"/>
              <a:gd name="connsiteX4" fmla="*/ 1891116 w 1892234"/>
              <a:gd name="connsiteY4" fmla="*/ 243844 h 3082398"/>
              <a:gd name="connsiteX5" fmla="*/ 1891116 w 1892234"/>
              <a:gd name="connsiteY5" fmla="*/ 880579 h 3082398"/>
              <a:gd name="connsiteX6" fmla="*/ 1891105 w 1892234"/>
              <a:gd name="connsiteY6" fmla="*/ 880579 h 3082398"/>
              <a:gd name="connsiteX7" fmla="*/ 1891105 w 1892234"/>
              <a:gd name="connsiteY7" fmla="*/ 881891 h 3082398"/>
              <a:gd name="connsiteX8" fmla="*/ 1888747 w 1892234"/>
              <a:gd name="connsiteY8" fmla="*/ 881891 h 3082398"/>
              <a:gd name="connsiteX9" fmla="*/ 1886812 w 1892234"/>
              <a:gd name="connsiteY9" fmla="*/ 922752 h 3082398"/>
              <a:gd name="connsiteX10" fmla="*/ 1886320 w 1892234"/>
              <a:gd name="connsiteY10" fmla="*/ 926265 h 3082398"/>
              <a:gd name="connsiteX11" fmla="*/ 1886222 w 1892234"/>
              <a:gd name="connsiteY11" fmla="*/ 928206 h 3082398"/>
              <a:gd name="connsiteX12" fmla="*/ 1883469 w 1892234"/>
              <a:gd name="connsiteY12" fmla="*/ 946634 h 3082398"/>
              <a:gd name="connsiteX13" fmla="*/ 1875221 w 1892234"/>
              <a:gd name="connsiteY13" fmla="*/ 1005547 h 3082398"/>
              <a:gd name="connsiteX14" fmla="*/ 1873654 w 1892234"/>
              <a:gd name="connsiteY14" fmla="*/ 1012323 h 3082398"/>
              <a:gd name="connsiteX15" fmla="*/ 1873058 w 1892234"/>
              <a:gd name="connsiteY15" fmla="*/ 1016314 h 3082398"/>
              <a:gd name="connsiteX16" fmla="*/ 1867964 w 1892234"/>
              <a:gd name="connsiteY16" fmla="*/ 1036915 h 3082398"/>
              <a:gd name="connsiteX17" fmla="*/ 1856636 w 1892234"/>
              <a:gd name="connsiteY17" fmla="*/ 1085888 h 3082398"/>
              <a:gd name="connsiteX18" fmla="*/ 1853410 w 1892234"/>
              <a:gd name="connsiteY18" fmla="*/ 1095794 h 3082398"/>
              <a:gd name="connsiteX19" fmla="*/ 1851981 w 1892234"/>
              <a:gd name="connsiteY19" fmla="*/ 1101576 h 3082398"/>
              <a:gd name="connsiteX20" fmla="*/ 1845110 w 1892234"/>
              <a:gd name="connsiteY20" fmla="*/ 1121285 h 3082398"/>
              <a:gd name="connsiteX21" fmla="*/ 1831381 w 1892234"/>
              <a:gd name="connsiteY21" fmla="*/ 1163449 h 3082398"/>
              <a:gd name="connsiteX22" fmla="*/ 1825950 w 1892234"/>
              <a:gd name="connsiteY22" fmla="*/ 1176243 h 3082398"/>
              <a:gd name="connsiteX23" fmla="*/ 1823385 w 1892234"/>
              <a:gd name="connsiteY23" fmla="*/ 1183600 h 3082398"/>
              <a:gd name="connsiteX24" fmla="*/ 1815252 w 1892234"/>
              <a:gd name="connsiteY24" fmla="*/ 1201446 h 3082398"/>
              <a:gd name="connsiteX25" fmla="*/ 1799775 w 1892234"/>
              <a:gd name="connsiteY25" fmla="*/ 1237910 h 3082398"/>
              <a:gd name="connsiteX26" fmla="*/ 1791622 w 1892234"/>
              <a:gd name="connsiteY26" fmla="*/ 1253302 h 3082398"/>
              <a:gd name="connsiteX27" fmla="*/ 1787661 w 1892234"/>
              <a:gd name="connsiteY27" fmla="*/ 1261995 h 3082398"/>
              <a:gd name="connsiteX28" fmla="*/ 1778740 w 1892234"/>
              <a:gd name="connsiteY28" fmla="*/ 1277620 h 3082398"/>
              <a:gd name="connsiteX29" fmla="*/ 1762146 w 1892234"/>
              <a:gd name="connsiteY29" fmla="*/ 1308948 h 3082398"/>
              <a:gd name="connsiteX30" fmla="*/ 1750774 w 1892234"/>
              <a:gd name="connsiteY30" fmla="*/ 1326606 h 3082398"/>
              <a:gd name="connsiteX31" fmla="*/ 1745201 w 1892234"/>
              <a:gd name="connsiteY31" fmla="*/ 1336369 h 3082398"/>
              <a:gd name="connsiteX32" fmla="*/ 1735924 w 1892234"/>
              <a:gd name="connsiteY32" fmla="*/ 1349666 h 3082398"/>
              <a:gd name="connsiteX33" fmla="*/ 1718812 w 1892234"/>
              <a:gd name="connsiteY33" fmla="*/ 1376240 h 3082398"/>
              <a:gd name="connsiteX34" fmla="*/ 1703748 w 1892234"/>
              <a:gd name="connsiteY34" fmla="*/ 1395790 h 3082398"/>
              <a:gd name="connsiteX35" fmla="*/ 1696396 w 1892234"/>
              <a:gd name="connsiteY35" fmla="*/ 1406330 h 3082398"/>
              <a:gd name="connsiteX36" fmla="*/ 1687157 w 1892234"/>
              <a:gd name="connsiteY36" fmla="*/ 1417324 h 3082398"/>
              <a:gd name="connsiteX37" fmla="*/ 1670097 w 1892234"/>
              <a:gd name="connsiteY37" fmla="*/ 1439464 h 3082398"/>
              <a:gd name="connsiteX38" fmla="*/ 1650874 w 1892234"/>
              <a:gd name="connsiteY38" fmla="*/ 1460496 h 3082398"/>
              <a:gd name="connsiteX39" fmla="*/ 1641638 w 1892234"/>
              <a:gd name="connsiteY39" fmla="*/ 1471486 h 3082398"/>
              <a:gd name="connsiteX40" fmla="*/ 1632794 w 1892234"/>
              <a:gd name="connsiteY40" fmla="*/ 1480278 h 3082398"/>
              <a:gd name="connsiteX41" fmla="*/ 1616324 w 1892234"/>
              <a:gd name="connsiteY41" fmla="*/ 1498298 h 3082398"/>
              <a:gd name="connsiteX42" fmla="*/ 1592464 w 1892234"/>
              <a:gd name="connsiteY42" fmla="*/ 1520368 h 3082398"/>
              <a:gd name="connsiteX43" fmla="*/ 1581318 w 1892234"/>
              <a:gd name="connsiteY43" fmla="*/ 1531448 h 3082398"/>
              <a:gd name="connsiteX44" fmla="*/ 1573192 w 1892234"/>
              <a:gd name="connsiteY44" fmla="*/ 1538194 h 3082398"/>
              <a:gd name="connsiteX45" fmla="*/ 1557815 w 1892234"/>
              <a:gd name="connsiteY45" fmla="*/ 1552419 h 3082398"/>
              <a:gd name="connsiteX46" fmla="*/ 1528783 w 1892234"/>
              <a:gd name="connsiteY46" fmla="*/ 1575065 h 3082398"/>
              <a:gd name="connsiteX47" fmla="*/ 1515829 w 1892234"/>
              <a:gd name="connsiteY47" fmla="*/ 1585822 h 3082398"/>
              <a:gd name="connsiteX48" fmla="*/ 1508716 w 1892234"/>
              <a:gd name="connsiteY48" fmla="*/ 1590720 h 3082398"/>
              <a:gd name="connsiteX49" fmla="*/ 1494892 w 1892234"/>
              <a:gd name="connsiteY49" fmla="*/ 1601503 h 3082398"/>
              <a:gd name="connsiteX50" fmla="*/ 1460006 w 1892234"/>
              <a:gd name="connsiteY50" fmla="*/ 1624267 h 3082398"/>
              <a:gd name="connsiteX51" fmla="*/ 1445562 w 1892234"/>
              <a:gd name="connsiteY51" fmla="*/ 1634216 h 3082398"/>
              <a:gd name="connsiteX52" fmla="*/ 1439724 w 1892234"/>
              <a:gd name="connsiteY52" fmla="*/ 1637500 h 3082398"/>
              <a:gd name="connsiteX53" fmla="*/ 1427878 w 1892234"/>
              <a:gd name="connsiteY53" fmla="*/ 1645231 h 3082398"/>
              <a:gd name="connsiteX54" fmla="*/ 1386077 w 1892234"/>
              <a:gd name="connsiteY54" fmla="*/ 1667699 h 3082398"/>
              <a:gd name="connsiteX55" fmla="*/ 1370907 w 1892234"/>
              <a:gd name="connsiteY55" fmla="*/ 1676239 h 3082398"/>
              <a:gd name="connsiteX56" fmla="*/ 1366588 w 1892234"/>
              <a:gd name="connsiteY56" fmla="*/ 1678176 h 3082398"/>
              <a:gd name="connsiteX57" fmla="*/ 1357095 w 1892234"/>
              <a:gd name="connsiteY57" fmla="*/ 1683278 h 3082398"/>
              <a:gd name="connsiteX58" fmla="*/ 1306238 w 1892234"/>
              <a:gd name="connsiteY58" fmla="*/ 1705232 h 3082398"/>
              <a:gd name="connsiteX59" fmla="*/ 1292258 w 1892234"/>
              <a:gd name="connsiteY59" fmla="*/ 1711500 h 3082398"/>
              <a:gd name="connsiteX60" fmla="*/ 1289672 w 1892234"/>
              <a:gd name="connsiteY60" fmla="*/ 1712383 h 3082398"/>
              <a:gd name="connsiteX61" fmla="*/ 1282867 w 1892234"/>
              <a:gd name="connsiteY61" fmla="*/ 1715321 h 3082398"/>
              <a:gd name="connsiteX62" fmla="*/ 1216576 w 1892234"/>
              <a:gd name="connsiteY62" fmla="*/ 1737360 h 3082398"/>
              <a:gd name="connsiteX63" fmla="*/ 1210005 w 1892234"/>
              <a:gd name="connsiteY63" fmla="*/ 1739607 h 3082398"/>
              <a:gd name="connsiteX64" fmla="*/ 1209346 w 1892234"/>
              <a:gd name="connsiteY64" fmla="*/ 1739766 h 3082398"/>
              <a:gd name="connsiteX65" fmla="*/ 1205516 w 1892234"/>
              <a:gd name="connsiteY65" fmla="*/ 1741039 h 3082398"/>
              <a:gd name="connsiteX66" fmla="*/ 1054134 w 1892234"/>
              <a:gd name="connsiteY66" fmla="*/ 1770025 h 3082398"/>
              <a:gd name="connsiteX67" fmla="*/ 1891117 w 1892234"/>
              <a:gd name="connsiteY67" fmla="*/ 1770025 h 3082398"/>
              <a:gd name="connsiteX68" fmla="*/ 1891117 w 1892234"/>
              <a:gd name="connsiteY68" fmla="*/ 1789112 h 3082398"/>
              <a:gd name="connsiteX69" fmla="*/ 1892234 w 1892234"/>
              <a:gd name="connsiteY69" fmla="*/ 1789112 h 3082398"/>
              <a:gd name="connsiteX70" fmla="*/ 1892234 w 1892234"/>
              <a:gd name="connsiteY70" fmla="*/ 1839193 h 3082398"/>
              <a:gd name="connsiteX71" fmla="*/ 1892234 w 1892234"/>
              <a:gd name="connsiteY71" fmla="*/ 1853486 h 3082398"/>
              <a:gd name="connsiteX72" fmla="*/ 1892234 w 1892234"/>
              <a:gd name="connsiteY72" fmla="*/ 1956126 h 3082398"/>
              <a:gd name="connsiteX73" fmla="*/ 1892234 w 1892234"/>
              <a:gd name="connsiteY73" fmla="*/ 2013863 h 3082398"/>
              <a:gd name="connsiteX74" fmla="*/ 1892234 w 1892234"/>
              <a:gd name="connsiteY74" fmla="*/ 2137122 h 3082398"/>
              <a:gd name="connsiteX75" fmla="*/ 1891105 w 1892234"/>
              <a:gd name="connsiteY75" fmla="*/ 2137122 h 3082398"/>
              <a:gd name="connsiteX76" fmla="*/ 1891105 w 1892234"/>
              <a:gd name="connsiteY76" fmla="*/ 2137122 h 3082398"/>
              <a:gd name="connsiteX77" fmla="*/ 1891105 w 1892234"/>
              <a:gd name="connsiteY77" fmla="*/ 2137404 h 3082398"/>
              <a:gd name="connsiteX78" fmla="*/ 1891105 w 1892234"/>
              <a:gd name="connsiteY78" fmla="*/ 2149531 h 3082398"/>
              <a:gd name="connsiteX79" fmla="*/ 1891105 w 1892234"/>
              <a:gd name="connsiteY79" fmla="*/ 2187202 h 3082398"/>
              <a:gd name="connsiteX80" fmla="*/ 1888748 w 1892234"/>
              <a:gd name="connsiteY80" fmla="*/ 2187202 h 3082398"/>
              <a:gd name="connsiteX81" fmla="*/ 1886812 w 1892234"/>
              <a:gd name="connsiteY81" fmla="*/ 2228063 h 3082398"/>
              <a:gd name="connsiteX82" fmla="*/ 1886321 w 1892234"/>
              <a:gd name="connsiteY82" fmla="*/ 2231576 h 3082398"/>
              <a:gd name="connsiteX83" fmla="*/ 1886223 w 1892234"/>
              <a:gd name="connsiteY83" fmla="*/ 2233517 h 3082398"/>
              <a:gd name="connsiteX84" fmla="*/ 1883469 w 1892234"/>
              <a:gd name="connsiteY84" fmla="*/ 2251944 h 3082398"/>
              <a:gd name="connsiteX85" fmla="*/ 1875221 w 1892234"/>
              <a:gd name="connsiteY85" fmla="*/ 2310858 h 3082398"/>
              <a:gd name="connsiteX86" fmla="*/ 1873654 w 1892234"/>
              <a:gd name="connsiteY86" fmla="*/ 2317633 h 3082398"/>
              <a:gd name="connsiteX87" fmla="*/ 1873058 w 1892234"/>
              <a:gd name="connsiteY87" fmla="*/ 2321625 h 3082398"/>
              <a:gd name="connsiteX88" fmla="*/ 1867964 w 1892234"/>
              <a:gd name="connsiteY88" fmla="*/ 2342225 h 3082398"/>
              <a:gd name="connsiteX89" fmla="*/ 1856636 w 1892234"/>
              <a:gd name="connsiteY89" fmla="*/ 2391197 h 3082398"/>
              <a:gd name="connsiteX90" fmla="*/ 1853410 w 1892234"/>
              <a:gd name="connsiteY90" fmla="*/ 2401106 h 3082398"/>
              <a:gd name="connsiteX91" fmla="*/ 1851981 w 1892234"/>
              <a:gd name="connsiteY91" fmla="*/ 2406886 h 3082398"/>
              <a:gd name="connsiteX92" fmla="*/ 1845110 w 1892234"/>
              <a:gd name="connsiteY92" fmla="*/ 2426596 h 3082398"/>
              <a:gd name="connsiteX93" fmla="*/ 1831381 w 1892234"/>
              <a:gd name="connsiteY93" fmla="*/ 2468760 h 3082398"/>
              <a:gd name="connsiteX94" fmla="*/ 1825950 w 1892234"/>
              <a:gd name="connsiteY94" fmla="*/ 2481555 h 3082398"/>
              <a:gd name="connsiteX95" fmla="*/ 1823386 w 1892234"/>
              <a:gd name="connsiteY95" fmla="*/ 2488910 h 3082398"/>
              <a:gd name="connsiteX96" fmla="*/ 1815252 w 1892234"/>
              <a:gd name="connsiteY96" fmla="*/ 2506756 h 3082398"/>
              <a:gd name="connsiteX97" fmla="*/ 1799776 w 1892234"/>
              <a:gd name="connsiteY97" fmla="*/ 2543220 h 3082398"/>
              <a:gd name="connsiteX98" fmla="*/ 1791622 w 1892234"/>
              <a:gd name="connsiteY98" fmla="*/ 2558613 h 3082398"/>
              <a:gd name="connsiteX99" fmla="*/ 1787661 w 1892234"/>
              <a:gd name="connsiteY99" fmla="*/ 2567306 h 3082398"/>
              <a:gd name="connsiteX100" fmla="*/ 1778740 w 1892234"/>
              <a:gd name="connsiteY100" fmla="*/ 2582931 h 3082398"/>
              <a:gd name="connsiteX101" fmla="*/ 1762146 w 1892234"/>
              <a:gd name="connsiteY101" fmla="*/ 2614258 h 3082398"/>
              <a:gd name="connsiteX102" fmla="*/ 1750775 w 1892234"/>
              <a:gd name="connsiteY102" fmla="*/ 2631917 h 3082398"/>
              <a:gd name="connsiteX103" fmla="*/ 1745202 w 1892234"/>
              <a:gd name="connsiteY103" fmla="*/ 2641680 h 3082398"/>
              <a:gd name="connsiteX104" fmla="*/ 1735924 w 1892234"/>
              <a:gd name="connsiteY104" fmla="*/ 2654977 h 3082398"/>
              <a:gd name="connsiteX105" fmla="*/ 1718812 w 1892234"/>
              <a:gd name="connsiteY105" fmla="*/ 2681551 h 3082398"/>
              <a:gd name="connsiteX106" fmla="*/ 1703748 w 1892234"/>
              <a:gd name="connsiteY106" fmla="*/ 2701101 h 3082398"/>
              <a:gd name="connsiteX107" fmla="*/ 1696396 w 1892234"/>
              <a:gd name="connsiteY107" fmla="*/ 2711641 h 3082398"/>
              <a:gd name="connsiteX108" fmla="*/ 1687157 w 1892234"/>
              <a:gd name="connsiteY108" fmla="*/ 2722633 h 3082398"/>
              <a:gd name="connsiteX109" fmla="*/ 1670098 w 1892234"/>
              <a:gd name="connsiteY109" fmla="*/ 2744774 h 3082398"/>
              <a:gd name="connsiteX110" fmla="*/ 1650874 w 1892234"/>
              <a:gd name="connsiteY110" fmla="*/ 2765807 h 3082398"/>
              <a:gd name="connsiteX111" fmla="*/ 1641638 w 1892234"/>
              <a:gd name="connsiteY111" fmla="*/ 2776797 h 3082398"/>
              <a:gd name="connsiteX112" fmla="*/ 1632794 w 1892234"/>
              <a:gd name="connsiteY112" fmla="*/ 2785589 h 3082398"/>
              <a:gd name="connsiteX113" fmla="*/ 1616324 w 1892234"/>
              <a:gd name="connsiteY113" fmla="*/ 2803608 h 3082398"/>
              <a:gd name="connsiteX114" fmla="*/ 1592464 w 1892234"/>
              <a:gd name="connsiteY114" fmla="*/ 2825679 h 3082398"/>
              <a:gd name="connsiteX115" fmla="*/ 1581318 w 1892234"/>
              <a:gd name="connsiteY115" fmla="*/ 2836758 h 3082398"/>
              <a:gd name="connsiteX116" fmla="*/ 1573192 w 1892234"/>
              <a:gd name="connsiteY116" fmla="*/ 2843504 h 3082398"/>
              <a:gd name="connsiteX117" fmla="*/ 1557815 w 1892234"/>
              <a:gd name="connsiteY117" fmla="*/ 2857728 h 3082398"/>
              <a:gd name="connsiteX118" fmla="*/ 1528783 w 1892234"/>
              <a:gd name="connsiteY118" fmla="*/ 2880377 h 3082398"/>
              <a:gd name="connsiteX119" fmla="*/ 1515829 w 1892234"/>
              <a:gd name="connsiteY119" fmla="*/ 2891132 h 3082398"/>
              <a:gd name="connsiteX120" fmla="*/ 1508715 w 1892234"/>
              <a:gd name="connsiteY120" fmla="*/ 2896031 h 3082398"/>
              <a:gd name="connsiteX121" fmla="*/ 1494892 w 1892234"/>
              <a:gd name="connsiteY121" fmla="*/ 2906814 h 3082398"/>
              <a:gd name="connsiteX122" fmla="*/ 1460006 w 1892234"/>
              <a:gd name="connsiteY122" fmla="*/ 2929578 h 3082398"/>
              <a:gd name="connsiteX123" fmla="*/ 1445562 w 1892234"/>
              <a:gd name="connsiteY123" fmla="*/ 2939527 h 3082398"/>
              <a:gd name="connsiteX124" fmla="*/ 1439724 w 1892234"/>
              <a:gd name="connsiteY124" fmla="*/ 2942811 h 3082398"/>
              <a:gd name="connsiteX125" fmla="*/ 1427878 w 1892234"/>
              <a:gd name="connsiteY125" fmla="*/ 2950541 h 3082398"/>
              <a:gd name="connsiteX126" fmla="*/ 1386077 w 1892234"/>
              <a:gd name="connsiteY126" fmla="*/ 2973010 h 3082398"/>
              <a:gd name="connsiteX127" fmla="*/ 1370907 w 1892234"/>
              <a:gd name="connsiteY127" fmla="*/ 2981550 h 3082398"/>
              <a:gd name="connsiteX128" fmla="*/ 1366588 w 1892234"/>
              <a:gd name="connsiteY128" fmla="*/ 2983486 h 3082398"/>
              <a:gd name="connsiteX129" fmla="*/ 1357095 w 1892234"/>
              <a:gd name="connsiteY129" fmla="*/ 2988588 h 3082398"/>
              <a:gd name="connsiteX130" fmla="*/ 1306238 w 1892234"/>
              <a:gd name="connsiteY130" fmla="*/ 3010542 h 3082398"/>
              <a:gd name="connsiteX131" fmla="*/ 1292258 w 1892234"/>
              <a:gd name="connsiteY131" fmla="*/ 3016810 h 3082398"/>
              <a:gd name="connsiteX132" fmla="*/ 1289672 w 1892234"/>
              <a:gd name="connsiteY132" fmla="*/ 3017694 h 3082398"/>
              <a:gd name="connsiteX133" fmla="*/ 1282867 w 1892234"/>
              <a:gd name="connsiteY133" fmla="*/ 3020632 h 3082398"/>
              <a:gd name="connsiteX134" fmla="*/ 1216576 w 1892234"/>
              <a:gd name="connsiteY134" fmla="*/ 3042672 h 3082398"/>
              <a:gd name="connsiteX135" fmla="*/ 1210005 w 1892234"/>
              <a:gd name="connsiteY135" fmla="*/ 3044917 h 3082398"/>
              <a:gd name="connsiteX136" fmla="*/ 1209346 w 1892234"/>
              <a:gd name="connsiteY136" fmla="*/ 3045077 h 3082398"/>
              <a:gd name="connsiteX137" fmla="*/ 1205516 w 1892234"/>
              <a:gd name="connsiteY137" fmla="*/ 3046349 h 3082398"/>
              <a:gd name="connsiteX138" fmla="*/ 1042731 w 1892234"/>
              <a:gd name="connsiteY138" fmla="*/ 3077519 h 3082398"/>
              <a:gd name="connsiteX139" fmla="*/ 1039034 w 1892234"/>
              <a:gd name="connsiteY139" fmla="*/ 3077705 h 3082398"/>
              <a:gd name="connsiteX140" fmla="*/ 1036258 w 1892234"/>
              <a:gd name="connsiteY140" fmla="*/ 3078102 h 3082398"/>
              <a:gd name="connsiteX141" fmla="*/ 990506 w 1892234"/>
              <a:gd name="connsiteY141" fmla="*/ 3080270 h 3082398"/>
              <a:gd name="connsiteX142" fmla="*/ 990506 w 1892234"/>
              <a:gd name="connsiteY142" fmla="*/ 3082397 h 3082398"/>
              <a:gd name="connsiteX143" fmla="*/ 946121 w 1892234"/>
              <a:gd name="connsiteY143" fmla="*/ 3082397 h 3082398"/>
              <a:gd name="connsiteX144" fmla="*/ 946111 w 1892234"/>
              <a:gd name="connsiteY144" fmla="*/ 3082398 h 3082398"/>
              <a:gd name="connsiteX145" fmla="*/ 946102 w 1892234"/>
              <a:gd name="connsiteY145" fmla="*/ 3082397 h 3082398"/>
              <a:gd name="connsiteX146" fmla="*/ 945545 w 1892234"/>
              <a:gd name="connsiteY146" fmla="*/ 3082397 h 3082398"/>
              <a:gd name="connsiteX147" fmla="*/ 1118 w 1892234"/>
              <a:gd name="connsiteY147" fmla="*/ 3082397 h 3082398"/>
              <a:gd name="connsiteX148" fmla="*/ 1118 w 1892234"/>
              <a:gd name="connsiteY148" fmla="*/ 2187202 h 3082398"/>
              <a:gd name="connsiteX149" fmla="*/ 0 w 1892234"/>
              <a:gd name="connsiteY149" fmla="*/ 2187202 h 3082398"/>
              <a:gd name="connsiteX150" fmla="*/ 0 w 1892234"/>
              <a:gd name="connsiteY150" fmla="*/ 2137122 h 3082398"/>
              <a:gd name="connsiteX151" fmla="*/ 0 w 1892234"/>
              <a:gd name="connsiteY151" fmla="*/ 2013863 h 3082398"/>
              <a:gd name="connsiteX152" fmla="*/ 0 w 1892234"/>
              <a:gd name="connsiteY152" fmla="*/ 1956126 h 3082398"/>
              <a:gd name="connsiteX153" fmla="*/ 0 w 1892234"/>
              <a:gd name="connsiteY153" fmla="*/ 1853486 h 3082398"/>
              <a:gd name="connsiteX154" fmla="*/ 0 w 1892234"/>
              <a:gd name="connsiteY154" fmla="*/ 1839193 h 3082398"/>
              <a:gd name="connsiteX155" fmla="*/ 1129 w 1892234"/>
              <a:gd name="connsiteY155" fmla="*/ 1839193 h 3082398"/>
              <a:gd name="connsiteX156" fmla="*/ 1129 w 1892234"/>
              <a:gd name="connsiteY156" fmla="*/ 1838909 h 3082398"/>
              <a:gd name="connsiteX157" fmla="*/ 1129 w 1892234"/>
              <a:gd name="connsiteY157" fmla="*/ 1826783 h 3082398"/>
              <a:gd name="connsiteX158" fmla="*/ 1129 w 1892234"/>
              <a:gd name="connsiteY158" fmla="*/ 1789112 h 3082398"/>
              <a:gd name="connsiteX159" fmla="*/ 3487 w 1892234"/>
              <a:gd name="connsiteY159" fmla="*/ 1789112 h 3082398"/>
              <a:gd name="connsiteX160" fmla="*/ 4057 w 1892234"/>
              <a:gd name="connsiteY160" fmla="*/ 1777087 h 3082398"/>
              <a:gd name="connsiteX161" fmla="*/ 1118 w 1892234"/>
              <a:gd name="connsiteY161" fmla="*/ 1777087 h 3082398"/>
              <a:gd name="connsiteX162" fmla="*/ 1118 w 1892234"/>
              <a:gd name="connsiteY162" fmla="*/ 1533244 h 3082398"/>
              <a:gd name="connsiteX163" fmla="*/ 1118 w 1892234"/>
              <a:gd name="connsiteY163" fmla="*/ 881891 h 3082398"/>
              <a:gd name="connsiteX164" fmla="*/ 0 w 1892234"/>
              <a:gd name="connsiteY164" fmla="*/ 881891 h 3082398"/>
              <a:gd name="connsiteX165" fmla="*/ 0 w 1892234"/>
              <a:gd name="connsiteY165" fmla="*/ 880579 h 3082398"/>
              <a:gd name="connsiteX166" fmla="*/ 4179 w 1892234"/>
              <a:gd name="connsiteY166" fmla="*/ 880579 h 3082398"/>
              <a:gd name="connsiteX167" fmla="*/ 5421 w 1892234"/>
              <a:gd name="connsiteY167" fmla="*/ 854335 h 3082398"/>
              <a:gd name="connsiteX168" fmla="*/ 5913 w 1892234"/>
              <a:gd name="connsiteY168" fmla="*/ 850822 h 3082398"/>
              <a:gd name="connsiteX169" fmla="*/ 6011 w 1892234"/>
              <a:gd name="connsiteY169" fmla="*/ 848881 h 3082398"/>
              <a:gd name="connsiteX170" fmla="*/ 8765 w 1892234"/>
              <a:gd name="connsiteY170" fmla="*/ 830453 h 3082398"/>
              <a:gd name="connsiteX171" fmla="*/ 17013 w 1892234"/>
              <a:gd name="connsiteY171" fmla="*/ 771540 h 3082398"/>
              <a:gd name="connsiteX172" fmla="*/ 18581 w 1892234"/>
              <a:gd name="connsiteY172" fmla="*/ 764764 h 3082398"/>
              <a:gd name="connsiteX173" fmla="*/ 19177 w 1892234"/>
              <a:gd name="connsiteY173" fmla="*/ 760774 h 3082398"/>
              <a:gd name="connsiteX174" fmla="*/ 24270 w 1892234"/>
              <a:gd name="connsiteY174" fmla="*/ 740172 h 3082398"/>
              <a:gd name="connsiteX175" fmla="*/ 35598 w 1892234"/>
              <a:gd name="connsiteY175" fmla="*/ 691201 h 3082398"/>
              <a:gd name="connsiteX176" fmla="*/ 38824 w 1892234"/>
              <a:gd name="connsiteY176" fmla="*/ 681293 h 3082398"/>
              <a:gd name="connsiteX177" fmla="*/ 40253 w 1892234"/>
              <a:gd name="connsiteY177" fmla="*/ 675511 h 3082398"/>
              <a:gd name="connsiteX178" fmla="*/ 47124 w 1892234"/>
              <a:gd name="connsiteY178" fmla="*/ 655802 h 3082398"/>
              <a:gd name="connsiteX179" fmla="*/ 60853 w 1892234"/>
              <a:gd name="connsiteY179" fmla="*/ 613639 h 3082398"/>
              <a:gd name="connsiteX180" fmla="*/ 66284 w 1892234"/>
              <a:gd name="connsiteY180" fmla="*/ 600844 h 3082398"/>
              <a:gd name="connsiteX181" fmla="*/ 68849 w 1892234"/>
              <a:gd name="connsiteY181" fmla="*/ 593488 h 3082398"/>
              <a:gd name="connsiteX182" fmla="*/ 76982 w 1892234"/>
              <a:gd name="connsiteY182" fmla="*/ 575641 h 3082398"/>
              <a:gd name="connsiteX183" fmla="*/ 92458 w 1892234"/>
              <a:gd name="connsiteY183" fmla="*/ 539178 h 3082398"/>
              <a:gd name="connsiteX184" fmla="*/ 100612 w 1892234"/>
              <a:gd name="connsiteY184" fmla="*/ 523785 h 3082398"/>
              <a:gd name="connsiteX185" fmla="*/ 104574 w 1892234"/>
              <a:gd name="connsiteY185" fmla="*/ 515093 h 3082398"/>
              <a:gd name="connsiteX186" fmla="*/ 113494 w 1892234"/>
              <a:gd name="connsiteY186" fmla="*/ 499467 h 3082398"/>
              <a:gd name="connsiteX187" fmla="*/ 130088 w 1892234"/>
              <a:gd name="connsiteY187" fmla="*/ 468140 h 3082398"/>
              <a:gd name="connsiteX188" fmla="*/ 141460 w 1892234"/>
              <a:gd name="connsiteY188" fmla="*/ 450482 h 3082398"/>
              <a:gd name="connsiteX189" fmla="*/ 147033 w 1892234"/>
              <a:gd name="connsiteY189" fmla="*/ 440718 h 3082398"/>
              <a:gd name="connsiteX190" fmla="*/ 156310 w 1892234"/>
              <a:gd name="connsiteY190" fmla="*/ 427422 h 3082398"/>
              <a:gd name="connsiteX191" fmla="*/ 173421 w 1892234"/>
              <a:gd name="connsiteY191" fmla="*/ 400847 h 3082398"/>
              <a:gd name="connsiteX192" fmla="*/ 188487 w 1892234"/>
              <a:gd name="connsiteY192" fmla="*/ 381297 h 3082398"/>
              <a:gd name="connsiteX193" fmla="*/ 195838 w 1892234"/>
              <a:gd name="connsiteY193" fmla="*/ 370757 h 3082398"/>
              <a:gd name="connsiteX194" fmla="*/ 205077 w 1892234"/>
              <a:gd name="connsiteY194" fmla="*/ 359764 h 3082398"/>
              <a:gd name="connsiteX195" fmla="*/ 222137 w 1892234"/>
              <a:gd name="connsiteY195" fmla="*/ 337623 h 3082398"/>
              <a:gd name="connsiteX196" fmla="*/ 241360 w 1892234"/>
              <a:gd name="connsiteY196" fmla="*/ 316591 h 3082398"/>
              <a:gd name="connsiteX197" fmla="*/ 250596 w 1892234"/>
              <a:gd name="connsiteY197" fmla="*/ 305601 h 3082398"/>
              <a:gd name="connsiteX198" fmla="*/ 259441 w 1892234"/>
              <a:gd name="connsiteY198" fmla="*/ 296809 h 3082398"/>
              <a:gd name="connsiteX199" fmla="*/ 275910 w 1892234"/>
              <a:gd name="connsiteY199" fmla="*/ 278790 h 3082398"/>
              <a:gd name="connsiteX200" fmla="*/ 299770 w 1892234"/>
              <a:gd name="connsiteY200" fmla="*/ 256718 h 3082398"/>
              <a:gd name="connsiteX201" fmla="*/ 310917 w 1892234"/>
              <a:gd name="connsiteY201" fmla="*/ 245640 h 3082398"/>
              <a:gd name="connsiteX202" fmla="*/ 319042 w 1892234"/>
              <a:gd name="connsiteY202" fmla="*/ 238894 h 3082398"/>
              <a:gd name="connsiteX203" fmla="*/ 334419 w 1892234"/>
              <a:gd name="connsiteY203" fmla="*/ 224670 h 3082398"/>
              <a:gd name="connsiteX204" fmla="*/ 363451 w 1892234"/>
              <a:gd name="connsiteY204" fmla="*/ 202021 h 3082398"/>
              <a:gd name="connsiteX205" fmla="*/ 376405 w 1892234"/>
              <a:gd name="connsiteY205" fmla="*/ 191265 h 3082398"/>
              <a:gd name="connsiteX206" fmla="*/ 383520 w 1892234"/>
              <a:gd name="connsiteY206" fmla="*/ 186367 h 3082398"/>
              <a:gd name="connsiteX207" fmla="*/ 397342 w 1892234"/>
              <a:gd name="connsiteY207" fmla="*/ 175584 h 3082398"/>
              <a:gd name="connsiteX208" fmla="*/ 432228 w 1892234"/>
              <a:gd name="connsiteY208" fmla="*/ 152820 h 3082398"/>
              <a:gd name="connsiteX209" fmla="*/ 446672 w 1892234"/>
              <a:gd name="connsiteY209" fmla="*/ 142871 h 3082398"/>
              <a:gd name="connsiteX210" fmla="*/ 452509 w 1892234"/>
              <a:gd name="connsiteY210" fmla="*/ 139587 h 3082398"/>
              <a:gd name="connsiteX211" fmla="*/ 464357 w 1892234"/>
              <a:gd name="connsiteY211" fmla="*/ 131856 h 3082398"/>
              <a:gd name="connsiteX212" fmla="*/ 506157 w 1892234"/>
              <a:gd name="connsiteY212" fmla="*/ 109388 h 3082398"/>
              <a:gd name="connsiteX213" fmla="*/ 521327 w 1892234"/>
              <a:gd name="connsiteY213" fmla="*/ 100848 h 3082398"/>
              <a:gd name="connsiteX214" fmla="*/ 525647 w 1892234"/>
              <a:gd name="connsiteY214" fmla="*/ 98911 h 3082398"/>
              <a:gd name="connsiteX215" fmla="*/ 535138 w 1892234"/>
              <a:gd name="connsiteY215" fmla="*/ 93810 h 3082398"/>
              <a:gd name="connsiteX216" fmla="*/ 585996 w 1892234"/>
              <a:gd name="connsiteY216" fmla="*/ 71856 h 3082398"/>
              <a:gd name="connsiteX217" fmla="*/ 599976 w 1892234"/>
              <a:gd name="connsiteY217" fmla="*/ 65587 h 3082398"/>
              <a:gd name="connsiteX218" fmla="*/ 602562 w 1892234"/>
              <a:gd name="connsiteY218" fmla="*/ 64704 h 3082398"/>
              <a:gd name="connsiteX219" fmla="*/ 609367 w 1892234"/>
              <a:gd name="connsiteY219" fmla="*/ 61766 h 3082398"/>
              <a:gd name="connsiteX220" fmla="*/ 675658 w 1892234"/>
              <a:gd name="connsiteY220" fmla="*/ 39725 h 3082398"/>
              <a:gd name="connsiteX221" fmla="*/ 682229 w 1892234"/>
              <a:gd name="connsiteY221" fmla="*/ 37481 h 3082398"/>
              <a:gd name="connsiteX222" fmla="*/ 682888 w 1892234"/>
              <a:gd name="connsiteY222" fmla="*/ 37321 h 3082398"/>
              <a:gd name="connsiteX223" fmla="*/ 686718 w 1892234"/>
              <a:gd name="connsiteY223" fmla="*/ 36049 h 3082398"/>
              <a:gd name="connsiteX224" fmla="*/ 849503 w 1892234"/>
              <a:gd name="connsiteY224" fmla="*/ 4878 h 3082398"/>
              <a:gd name="connsiteX225" fmla="*/ 853201 w 1892234"/>
              <a:gd name="connsiteY225" fmla="*/ 4692 h 3082398"/>
              <a:gd name="connsiteX226" fmla="*/ 855977 w 1892234"/>
              <a:gd name="connsiteY226" fmla="*/ 4296 h 3082398"/>
              <a:gd name="connsiteX227" fmla="*/ 901728 w 1892234"/>
              <a:gd name="connsiteY227" fmla="*/ 2129 h 3082398"/>
              <a:gd name="connsiteX228" fmla="*/ 901728 w 1892234"/>
              <a:gd name="connsiteY228" fmla="*/ 1 h 3082398"/>
              <a:gd name="connsiteX229" fmla="*/ 946114 w 1892234"/>
              <a:gd name="connsiteY229" fmla="*/ 1 h 308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2234" h="3082398">
                <a:moveTo>
                  <a:pt x="946123" y="0"/>
                </a:moveTo>
                <a:lnTo>
                  <a:pt x="946132" y="1"/>
                </a:lnTo>
                <a:lnTo>
                  <a:pt x="946689" y="1"/>
                </a:lnTo>
                <a:lnTo>
                  <a:pt x="1891116" y="1"/>
                </a:lnTo>
                <a:lnTo>
                  <a:pt x="1891116" y="243844"/>
                </a:lnTo>
                <a:lnTo>
                  <a:pt x="1891116" y="880579"/>
                </a:lnTo>
                <a:lnTo>
                  <a:pt x="1891105" y="880579"/>
                </a:lnTo>
                <a:lnTo>
                  <a:pt x="1891105" y="881891"/>
                </a:lnTo>
                <a:lnTo>
                  <a:pt x="1888747" y="881891"/>
                </a:lnTo>
                <a:lnTo>
                  <a:pt x="1886812" y="922752"/>
                </a:lnTo>
                <a:lnTo>
                  <a:pt x="1886320" y="926265"/>
                </a:lnTo>
                <a:lnTo>
                  <a:pt x="1886222" y="928206"/>
                </a:lnTo>
                <a:lnTo>
                  <a:pt x="1883469" y="946634"/>
                </a:lnTo>
                <a:lnTo>
                  <a:pt x="1875221" y="1005547"/>
                </a:lnTo>
                <a:lnTo>
                  <a:pt x="1873654" y="1012323"/>
                </a:lnTo>
                <a:lnTo>
                  <a:pt x="1873058" y="1016314"/>
                </a:lnTo>
                <a:lnTo>
                  <a:pt x="1867964" y="1036915"/>
                </a:lnTo>
                <a:lnTo>
                  <a:pt x="1856636" y="1085888"/>
                </a:lnTo>
                <a:lnTo>
                  <a:pt x="1853410" y="1095794"/>
                </a:lnTo>
                <a:lnTo>
                  <a:pt x="1851981" y="1101576"/>
                </a:lnTo>
                <a:lnTo>
                  <a:pt x="1845110" y="1121285"/>
                </a:lnTo>
                <a:lnTo>
                  <a:pt x="1831381" y="1163449"/>
                </a:lnTo>
                <a:lnTo>
                  <a:pt x="1825950" y="1176243"/>
                </a:lnTo>
                <a:lnTo>
                  <a:pt x="1823385" y="1183600"/>
                </a:lnTo>
                <a:lnTo>
                  <a:pt x="1815252" y="1201446"/>
                </a:lnTo>
                <a:lnTo>
                  <a:pt x="1799775" y="1237910"/>
                </a:lnTo>
                <a:lnTo>
                  <a:pt x="1791622" y="1253302"/>
                </a:lnTo>
                <a:lnTo>
                  <a:pt x="1787661" y="1261995"/>
                </a:lnTo>
                <a:lnTo>
                  <a:pt x="1778740" y="1277620"/>
                </a:lnTo>
                <a:lnTo>
                  <a:pt x="1762146" y="1308948"/>
                </a:lnTo>
                <a:lnTo>
                  <a:pt x="1750774" y="1326606"/>
                </a:lnTo>
                <a:lnTo>
                  <a:pt x="1745201" y="1336369"/>
                </a:lnTo>
                <a:lnTo>
                  <a:pt x="1735924" y="1349666"/>
                </a:lnTo>
                <a:lnTo>
                  <a:pt x="1718812" y="1376240"/>
                </a:lnTo>
                <a:lnTo>
                  <a:pt x="1703748" y="1395790"/>
                </a:lnTo>
                <a:lnTo>
                  <a:pt x="1696396" y="1406330"/>
                </a:lnTo>
                <a:lnTo>
                  <a:pt x="1687157" y="1417324"/>
                </a:lnTo>
                <a:lnTo>
                  <a:pt x="1670097" y="1439464"/>
                </a:lnTo>
                <a:lnTo>
                  <a:pt x="1650874" y="1460496"/>
                </a:lnTo>
                <a:lnTo>
                  <a:pt x="1641638" y="1471486"/>
                </a:lnTo>
                <a:lnTo>
                  <a:pt x="1632794" y="1480278"/>
                </a:lnTo>
                <a:lnTo>
                  <a:pt x="1616324" y="1498298"/>
                </a:lnTo>
                <a:lnTo>
                  <a:pt x="1592464" y="1520368"/>
                </a:lnTo>
                <a:lnTo>
                  <a:pt x="1581318" y="1531448"/>
                </a:lnTo>
                <a:lnTo>
                  <a:pt x="1573192" y="1538194"/>
                </a:lnTo>
                <a:lnTo>
                  <a:pt x="1557815" y="1552419"/>
                </a:lnTo>
                <a:lnTo>
                  <a:pt x="1528783" y="1575065"/>
                </a:lnTo>
                <a:lnTo>
                  <a:pt x="1515829" y="1585822"/>
                </a:lnTo>
                <a:lnTo>
                  <a:pt x="1508716" y="1590720"/>
                </a:lnTo>
                <a:lnTo>
                  <a:pt x="1494892" y="1601503"/>
                </a:lnTo>
                <a:lnTo>
                  <a:pt x="1460006" y="1624267"/>
                </a:lnTo>
                <a:lnTo>
                  <a:pt x="1445562" y="1634216"/>
                </a:lnTo>
                <a:lnTo>
                  <a:pt x="1439724" y="1637500"/>
                </a:lnTo>
                <a:lnTo>
                  <a:pt x="1427878" y="1645231"/>
                </a:lnTo>
                <a:lnTo>
                  <a:pt x="1386077" y="1667699"/>
                </a:lnTo>
                <a:lnTo>
                  <a:pt x="1370907" y="1676239"/>
                </a:lnTo>
                <a:lnTo>
                  <a:pt x="1366588" y="1678176"/>
                </a:lnTo>
                <a:lnTo>
                  <a:pt x="1357095" y="1683278"/>
                </a:lnTo>
                <a:lnTo>
                  <a:pt x="1306238" y="1705232"/>
                </a:lnTo>
                <a:lnTo>
                  <a:pt x="1292258" y="1711500"/>
                </a:lnTo>
                <a:lnTo>
                  <a:pt x="1289672" y="1712383"/>
                </a:lnTo>
                <a:lnTo>
                  <a:pt x="1282867" y="1715321"/>
                </a:lnTo>
                <a:lnTo>
                  <a:pt x="1216576" y="1737360"/>
                </a:lnTo>
                <a:lnTo>
                  <a:pt x="1210005" y="1739607"/>
                </a:lnTo>
                <a:lnTo>
                  <a:pt x="1209346" y="1739766"/>
                </a:lnTo>
                <a:lnTo>
                  <a:pt x="1205516" y="1741039"/>
                </a:lnTo>
                <a:lnTo>
                  <a:pt x="1054134" y="1770025"/>
                </a:lnTo>
                <a:lnTo>
                  <a:pt x="1891117" y="1770025"/>
                </a:lnTo>
                <a:lnTo>
                  <a:pt x="1891117" y="1789112"/>
                </a:lnTo>
                <a:lnTo>
                  <a:pt x="1892234" y="1789112"/>
                </a:lnTo>
                <a:lnTo>
                  <a:pt x="1892234" y="1839193"/>
                </a:lnTo>
                <a:lnTo>
                  <a:pt x="1892234" y="1853486"/>
                </a:lnTo>
                <a:lnTo>
                  <a:pt x="1892234" y="1956126"/>
                </a:lnTo>
                <a:lnTo>
                  <a:pt x="1892234" y="2013863"/>
                </a:lnTo>
                <a:lnTo>
                  <a:pt x="1892234" y="2137122"/>
                </a:lnTo>
                <a:lnTo>
                  <a:pt x="1891105" y="2137122"/>
                </a:lnTo>
                <a:lnTo>
                  <a:pt x="1891105" y="2137122"/>
                </a:lnTo>
                <a:lnTo>
                  <a:pt x="1891105" y="2137404"/>
                </a:lnTo>
                <a:lnTo>
                  <a:pt x="1891105" y="2149531"/>
                </a:lnTo>
                <a:lnTo>
                  <a:pt x="1891105" y="2187202"/>
                </a:lnTo>
                <a:lnTo>
                  <a:pt x="1888748" y="2187202"/>
                </a:lnTo>
                <a:lnTo>
                  <a:pt x="1886812" y="2228063"/>
                </a:lnTo>
                <a:lnTo>
                  <a:pt x="1886321" y="2231576"/>
                </a:lnTo>
                <a:lnTo>
                  <a:pt x="1886223" y="2233517"/>
                </a:lnTo>
                <a:lnTo>
                  <a:pt x="1883469" y="2251944"/>
                </a:lnTo>
                <a:lnTo>
                  <a:pt x="1875221" y="2310858"/>
                </a:lnTo>
                <a:lnTo>
                  <a:pt x="1873654" y="2317633"/>
                </a:lnTo>
                <a:lnTo>
                  <a:pt x="1873058" y="2321625"/>
                </a:lnTo>
                <a:lnTo>
                  <a:pt x="1867964" y="2342225"/>
                </a:lnTo>
                <a:lnTo>
                  <a:pt x="1856636" y="2391197"/>
                </a:lnTo>
                <a:lnTo>
                  <a:pt x="1853410" y="2401106"/>
                </a:lnTo>
                <a:lnTo>
                  <a:pt x="1851981" y="2406886"/>
                </a:lnTo>
                <a:lnTo>
                  <a:pt x="1845110" y="2426596"/>
                </a:lnTo>
                <a:lnTo>
                  <a:pt x="1831381" y="2468760"/>
                </a:lnTo>
                <a:lnTo>
                  <a:pt x="1825950" y="2481555"/>
                </a:lnTo>
                <a:lnTo>
                  <a:pt x="1823386" y="2488910"/>
                </a:lnTo>
                <a:lnTo>
                  <a:pt x="1815252" y="2506756"/>
                </a:lnTo>
                <a:lnTo>
                  <a:pt x="1799776" y="2543220"/>
                </a:lnTo>
                <a:lnTo>
                  <a:pt x="1791622" y="2558613"/>
                </a:lnTo>
                <a:lnTo>
                  <a:pt x="1787661" y="2567306"/>
                </a:lnTo>
                <a:lnTo>
                  <a:pt x="1778740" y="2582931"/>
                </a:lnTo>
                <a:lnTo>
                  <a:pt x="1762146" y="2614258"/>
                </a:lnTo>
                <a:lnTo>
                  <a:pt x="1750775" y="2631917"/>
                </a:lnTo>
                <a:lnTo>
                  <a:pt x="1745202" y="2641680"/>
                </a:lnTo>
                <a:lnTo>
                  <a:pt x="1735924" y="2654977"/>
                </a:lnTo>
                <a:lnTo>
                  <a:pt x="1718812" y="2681551"/>
                </a:lnTo>
                <a:lnTo>
                  <a:pt x="1703748" y="2701101"/>
                </a:lnTo>
                <a:lnTo>
                  <a:pt x="1696396" y="2711641"/>
                </a:lnTo>
                <a:lnTo>
                  <a:pt x="1687157" y="2722633"/>
                </a:lnTo>
                <a:lnTo>
                  <a:pt x="1670098" y="2744774"/>
                </a:lnTo>
                <a:lnTo>
                  <a:pt x="1650874" y="2765807"/>
                </a:lnTo>
                <a:lnTo>
                  <a:pt x="1641638" y="2776797"/>
                </a:lnTo>
                <a:lnTo>
                  <a:pt x="1632794" y="2785589"/>
                </a:lnTo>
                <a:lnTo>
                  <a:pt x="1616324" y="2803608"/>
                </a:lnTo>
                <a:lnTo>
                  <a:pt x="1592464" y="2825679"/>
                </a:lnTo>
                <a:lnTo>
                  <a:pt x="1581318" y="2836758"/>
                </a:lnTo>
                <a:lnTo>
                  <a:pt x="1573192" y="2843504"/>
                </a:lnTo>
                <a:lnTo>
                  <a:pt x="1557815" y="2857728"/>
                </a:lnTo>
                <a:lnTo>
                  <a:pt x="1528783" y="2880377"/>
                </a:lnTo>
                <a:lnTo>
                  <a:pt x="1515829" y="2891132"/>
                </a:lnTo>
                <a:lnTo>
                  <a:pt x="1508715" y="2896031"/>
                </a:lnTo>
                <a:lnTo>
                  <a:pt x="1494892" y="2906814"/>
                </a:lnTo>
                <a:lnTo>
                  <a:pt x="1460006" y="2929578"/>
                </a:lnTo>
                <a:lnTo>
                  <a:pt x="1445562" y="2939527"/>
                </a:lnTo>
                <a:lnTo>
                  <a:pt x="1439724" y="2942811"/>
                </a:lnTo>
                <a:lnTo>
                  <a:pt x="1427878" y="2950541"/>
                </a:lnTo>
                <a:lnTo>
                  <a:pt x="1386077" y="2973010"/>
                </a:lnTo>
                <a:lnTo>
                  <a:pt x="1370907" y="2981550"/>
                </a:lnTo>
                <a:lnTo>
                  <a:pt x="1366588" y="2983486"/>
                </a:lnTo>
                <a:lnTo>
                  <a:pt x="1357095" y="2988588"/>
                </a:lnTo>
                <a:lnTo>
                  <a:pt x="1306238" y="3010542"/>
                </a:lnTo>
                <a:lnTo>
                  <a:pt x="1292258" y="3016810"/>
                </a:lnTo>
                <a:lnTo>
                  <a:pt x="1289672" y="3017694"/>
                </a:lnTo>
                <a:lnTo>
                  <a:pt x="1282867" y="3020632"/>
                </a:lnTo>
                <a:lnTo>
                  <a:pt x="1216576" y="3042672"/>
                </a:lnTo>
                <a:lnTo>
                  <a:pt x="1210005" y="3044917"/>
                </a:lnTo>
                <a:lnTo>
                  <a:pt x="1209346" y="3045077"/>
                </a:lnTo>
                <a:lnTo>
                  <a:pt x="1205516" y="3046349"/>
                </a:lnTo>
                <a:cubicBezTo>
                  <a:pt x="1152978" y="3061315"/>
                  <a:pt x="1098574" y="3071848"/>
                  <a:pt x="1042731" y="3077519"/>
                </a:cubicBezTo>
                <a:lnTo>
                  <a:pt x="1039034" y="3077705"/>
                </a:lnTo>
                <a:lnTo>
                  <a:pt x="1036258" y="3078102"/>
                </a:lnTo>
                <a:lnTo>
                  <a:pt x="990506" y="3080270"/>
                </a:lnTo>
                <a:lnTo>
                  <a:pt x="990506" y="3082397"/>
                </a:lnTo>
                <a:lnTo>
                  <a:pt x="946121" y="3082397"/>
                </a:lnTo>
                <a:lnTo>
                  <a:pt x="946111" y="3082398"/>
                </a:lnTo>
                <a:lnTo>
                  <a:pt x="946102" y="3082397"/>
                </a:lnTo>
                <a:lnTo>
                  <a:pt x="945545" y="3082397"/>
                </a:lnTo>
                <a:lnTo>
                  <a:pt x="1118" y="3082397"/>
                </a:lnTo>
                <a:lnTo>
                  <a:pt x="1118" y="2187202"/>
                </a:lnTo>
                <a:lnTo>
                  <a:pt x="0" y="2187202"/>
                </a:lnTo>
                <a:lnTo>
                  <a:pt x="0" y="2137122"/>
                </a:lnTo>
                <a:lnTo>
                  <a:pt x="0" y="2013863"/>
                </a:lnTo>
                <a:lnTo>
                  <a:pt x="0" y="1956126"/>
                </a:lnTo>
                <a:lnTo>
                  <a:pt x="0" y="1853486"/>
                </a:lnTo>
                <a:lnTo>
                  <a:pt x="0" y="1839193"/>
                </a:lnTo>
                <a:lnTo>
                  <a:pt x="1129" y="1839193"/>
                </a:lnTo>
                <a:lnTo>
                  <a:pt x="1129" y="1838909"/>
                </a:lnTo>
                <a:lnTo>
                  <a:pt x="1129" y="1826783"/>
                </a:lnTo>
                <a:lnTo>
                  <a:pt x="1129" y="1789112"/>
                </a:lnTo>
                <a:lnTo>
                  <a:pt x="3487" y="1789112"/>
                </a:lnTo>
                <a:lnTo>
                  <a:pt x="4057" y="1777087"/>
                </a:lnTo>
                <a:lnTo>
                  <a:pt x="1118" y="1777087"/>
                </a:lnTo>
                <a:lnTo>
                  <a:pt x="1118" y="1533244"/>
                </a:lnTo>
                <a:lnTo>
                  <a:pt x="1118" y="881891"/>
                </a:lnTo>
                <a:lnTo>
                  <a:pt x="0" y="881891"/>
                </a:lnTo>
                <a:lnTo>
                  <a:pt x="0" y="880579"/>
                </a:lnTo>
                <a:lnTo>
                  <a:pt x="4179" y="880579"/>
                </a:lnTo>
                <a:lnTo>
                  <a:pt x="5421" y="854335"/>
                </a:lnTo>
                <a:lnTo>
                  <a:pt x="5913" y="850822"/>
                </a:lnTo>
                <a:lnTo>
                  <a:pt x="6011" y="848881"/>
                </a:lnTo>
                <a:lnTo>
                  <a:pt x="8765" y="830453"/>
                </a:lnTo>
                <a:lnTo>
                  <a:pt x="17013" y="771540"/>
                </a:lnTo>
                <a:lnTo>
                  <a:pt x="18581" y="764764"/>
                </a:lnTo>
                <a:lnTo>
                  <a:pt x="19177" y="760774"/>
                </a:lnTo>
                <a:lnTo>
                  <a:pt x="24270" y="740172"/>
                </a:lnTo>
                <a:lnTo>
                  <a:pt x="35598" y="691201"/>
                </a:lnTo>
                <a:lnTo>
                  <a:pt x="38824" y="681293"/>
                </a:lnTo>
                <a:lnTo>
                  <a:pt x="40253" y="675511"/>
                </a:lnTo>
                <a:lnTo>
                  <a:pt x="47124" y="655802"/>
                </a:lnTo>
                <a:lnTo>
                  <a:pt x="60853" y="613639"/>
                </a:lnTo>
                <a:lnTo>
                  <a:pt x="66284" y="600844"/>
                </a:lnTo>
                <a:lnTo>
                  <a:pt x="68849" y="593488"/>
                </a:lnTo>
                <a:lnTo>
                  <a:pt x="76982" y="575641"/>
                </a:lnTo>
                <a:lnTo>
                  <a:pt x="92458" y="539178"/>
                </a:lnTo>
                <a:lnTo>
                  <a:pt x="100612" y="523785"/>
                </a:lnTo>
                <a:lnTo>
                  <a:pt x="104574" y="515093"/>
                </a:lnTo>
                <a:lnTo>
                  <a:pt x="113494" y="499467"/>
                </a:lnTo>
                <a:lnTo>
                  <a:pt x="130088" y="468140"/>
                </a:lnTo>
                <a:lnTo>
                  <a:pt x="141460" y="450482"/>
                </a:lnTo>
                <a:lnTo>
                  <a:pt x="147033" y="440718"/>
                </a:lnTo>
                <a:lnTo>
                  <a:pt x="156310" y="427422"/>
                </a:lnTo>
                <a:lnTo>
                  <a:pt x="173421" y="400847"/>
                </a:lnTo>
                <a:lnTo>
                  <a:pt x="188487" y="381297"/>
                </a:lnTo>
                <a:lnTo>
                  <a:pt x="195838" y="370757"/>
                </a:lnTo>
                <a:lnTo>
                  <a:pt x="205077" y="359764"/>
                </a:lnTo>
                <a:lnTo>
                  <a:pt x="222137" y="337623"/>
                </a:lnTo>
                <a:lnTo>
                  <a:pt x="241360" y="316591"/>
                </a:lnTo>
                <a:lnTo>
                  <a:pt x="250596" y="305601"/>
                </a:lnTo>
                <a:lnTo>
                  <a:pt x="259441" y="296809"/>
                </a:lnTo>
                <a:lnTo>
                  <a:pt x="275910" y="278790"/>
                </a:lnTo>
                <a:lnTo>
                  <a:pt x="299770" y="256718"/>
                </a:lnTo>
                <a:lnTo>
                  <a:pt x="310917" y="245640"/>
                </a:lnTo>
                <a:lnTo>
                  <a:pt x="319042" y="238894"/>
                </a:lnTo>
                <a:lnTo>
                  <a:pt x="334419" y="224670"/>
                </a:lnTo>
                <a:lnTo>
                  <a:pt x="363451" y="202021"/>
                </a:lnTo>
                <a:lnTo>
                  <a:pt x="376405" y="191265"/>
                </a:lnTo>
                <a:lnTo>
                  <a:pt x="383520" y="186367"/>
                </a:lnTo>
                <a:lnTo>
                  <a:pt x="397342" y="175584"/>
                </a:lnTo>
                <a:lnTo>
                  <a:pt x="432228" y="152820"/>
                </a:lnTo>
                <a:lnTo>
                  <a:pt x="446672" y="142871"/>
                </a:lnTo>
                <a:lnTo>
                  <a:pt x="452509" y="139587"/>
                </a:lnTo>
                <a:lnTo>
                  <a:pt x="464357" y="131856"/>
                </a:lnTo>
                <a:lnTo>
                  <a:pt x="506157" y="109388"/>
                </a:lnTo>
                <a:lnTo>
                  <a:pt x="521327" y="100848"/>
                </a:lnTo>
                <a:lnTo>
                  <a:pt x="525647" y="98911"/>
                </a:lnTo>
                <a:lnTo>
                  <a:pt x="535138" y="93810"/>
                </a:lnTo>
                <a:lnTo>
                  <a:pt x="585996" y="71856"/>
                </a:lnTo>
                <a:lnTo>
                  <a:pt x="599976" y="65587"/>
                </a:lnTo>
                <a:lnTo>
                  <a:pt x="602562" y="64704"/>
                </a:lnTo>
                <a:lnTo>
                  <a:pt x="609367" y="61766"/>
                </a:lnTo>
                <a:lnTo>
                  <a:pt x="675658" y="39725"/>
                </a:lnTo>
                <a:lnTo>
                  <a:pt x="682229" y="37481"/>
                </a:lnTo>
                <a:lnTo>
                  <a:pt x="682888" y="37321"/>
                </a:lnTo>
                <a:lnTo>
                  <a:pt x="686718" y="36049"/>
                </a:lnTo>
                <a:cubicBezTo>
                  <a:pt x="739256" y="21083"/>
                  <a:pt x="793661" y="10550"/>
                  <a:pt x="849503" y="4878"/>
                </a:cubicBezTo>
                <a:lnTo>
                  <a:pt x="853201" y="4692"/>
                </a:lnTo>
                <a:lnTo>
                  <a:pt x="855977" y="4296"/>
                </a:lnTo>
                <a:lnTo>
                  <a:pt x="901728" y="2129"/>
                </a:lnTo>
                <a:lnTo>
                  <a:pt x="901728" y="1"/>
                </a:lnTo>
                <a:lnTo>
                  <a:pt x="946114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081BAE9-DA5F-4164-A88D-A73E8A30973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05896" y="740780"/>
            <a:ext cx="3082396" cy="3082397"/>
          </a:xfrm>
          <a:custGeom>
            <a:avLst/>
            <a:gdLst>
              <a:gd name="connsiteX0" fmla="*/ 1541197 w 3082396"/>
              <a:gd name="connsiteY0" fmla="*/ 0 h 3082397"/>
              <a:gd name="connsiteX1" fmla="*/ 3074439 w 3082396"/>
              <a:gd name="connsiteY1" fmla="*/ 1383621 h 3082397"/>
              <a:gd name="connsiteX2" fmla="*/ 3081351 w 3082396"/>
              <a:gd name="connsiteY2" fmla="*/ 1520511 h 3082397"/>
              <a:gd name="connsiteX3" fmla="*/ 3082396 w 3082396"/>
              <a:gd name="connsiteY3" fmla="*/ 1520511 h 3082397"/>
              <a:gd name="connsiteX4" fmla="*/ 3082396 w 3082396"/>
              <a:gd name="connsiteY4" fmla="*/ 1541199 h 3082397"/>
              <a:gd name="connsiteX5" fmla="*/ 3082396 w 3082396"/>
              <a:gd name="connsiteY5" fmla="*/ 3082396 h 3082397"/>
              <a:gd name="connsiteX6" fmla="*/ 1541212 w 3082396"/>
              <a:gd name="connsiteY6" fmla="*/ 3082396 h 3082397"/>
              <a:gd name="connsiteX7" fmla="*/ 1541198 w 3082396"/>
              <a:gd name="connsiteY7" fmla="*/ 3082397 h 3082397"/>
              <a:gd name="connsiteX8" fmla="*/ 1541183 w 3082396"/>
              <a:gd name="connsiteY8" fmla="*/ 3082396 h 3082397"/>
              <a:gd name="connsiteX9" fmla="*/ 1468793 w 3082396"/>
              <a:gd name="connsiteY9" fmla="*/ 3082396 h 3082397"/>
              <a:gd name="connsiteX10" fmla="*/ 1468793 w 3082396"/>
              <a:gd name="connsiteY10" fmla="*/ 3078741 h 3082397"/>
              <a:gd name="connsiteX11" fmla="*/ 1383621 w 3082396"/>
              <a:gd name="connsiteY11" fmla="*/ 3074441 h 3082397"/>
              <a:gd name="connsiteX12" fmla="*/ 0 w 3082396"/>
              <a:gd name="connsiteY12" fmla="*/ 1541198 h 3082397"/>
              <a:gd name="connsiteX13" fmla="*/ 1541197 w 3082396"/>
              <a:gd name="connsiteY13" fmla="*/ 0 h 308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082396" h="3082397">
                <a:moveTo>
                  <a:pt x="1541197" y="0"/>
                </a:moveTo>
                <a:cubicBezTo>
                  <a:pt x="2339179" y="0"/>
                  <a:pt x="2995514" y="606461"/>
                  <a:pt x="3074439" y="1383621"/>
                </a:cubicBezTo>
                <a:lnTo>
                  <a:pt x="3081351" y="1520511"/>
                </a:lnTo>
                <a:lnTo>
                  <a:pt x="3082396" y="1520511"/>
                </a:lnTo>
                <a:lnTo>
                  <a:pt x="3082396" y="1541199"/>
                </a:lnTo>
                <a:lnTo>
                  <a:pt x="3082396" y="3082396"/>
                </a:lnTo>
                <a:lnTo>
                  <a:pt x="1541212" y="3082396"/>
                </a:lnTo>
                <a:lnTo>
                  <a:pt x="1541198" y="3082397"/>
                </a:lnTo>
                <a:lnTo>
                  <a:pt x="1541183" y="3082396"/>
                </a:lnTo>
                <a:lnTo>
                  <a:pt x="1468793" y="3082396"/>
                </a:lnTo>
                <a:lnTo>
                  <a:pt x="1468793" y="3078741"/>
                </a:lnTo>
                <a:lnTo>
                  <a:pt x="1383621" y="3074441"/>
                </a:lnTo>
                <a:cubicBezTo>
                  <a:pt x="606461" y="2995515"/>
                  <a:pt x="0" y="2339180"/>
                  <a:pt x="0" y="1541198"/>
                </a:cubicBezTo>
                <a:cubicBezTo>
                  <a:pt x="0" y="690018"/>
                  <a:pt x="690017" y="0"/>
                  <a:pt x="154119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47864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C656358-89EF-4084-ADF6-0BE45ED82F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5410553" cy="6858000"/>
          </a:xfrm>
          <a:custGeom>
            <a:avLst/>
            <a:gdLst>
              <a:gd name="connsiteX0" fmla="*/ 0 w 5410553"/>
              <a:gd name="connsiteY0" fmla="*/ 0 h 6858000"/>
              <a:gd name="connsiteX1" fmla="*/ 1627873 w 5410553"/>
              <a:gd name="connsiteY1" fmla="*/ 0 h 6858000"/>
              <a:gd name="connsiteX2" fmla="*/ 2168929 w 5410553"/>
              <a:gd name="connsiteY2" fmla="*/ 0 h 6858000"/>
              <a:gd name="connsiteX3" fmla="*/ 3241609 w 5410553"/>
              <a:gd name="connsiteY3" fmla="*/ 0 h 6858000"/>
              <a:gd name="connsiteX4" fmla="*/ 3782664 w 5410553"/>
              <a:gd name="connsiteY4" fmla="*/ 0 h 6858000"/>
              <a:gd name="connsiteX5" fmla="*/ 3825750 w 5410553"/>
              <a:gd name="connsiteY5" fmla="*/ 0 h 6858000"/>
              <a:gd name="connsiteX6" fmla="*/ 3825750 w 5410553"/>
              <a:gd name="connsiteY6" fmla="*/ 1 h 6858000"/>
              <a:gd name="connsiteX7" fmla="*/ 3859050 w 5410553"/>
              <a:gd name="connsiteY7" fmla="*/ 1 h 6858000"/>
              <a:gd name="connsiteX8" fmla="*/ 3859050 w 5410553"/>
              <a:gd name="connsiteY8" fmla="*/ 3976 h 6858000"/>
              <a:gd name="connsiteX9" fmla="*/ 3937767 w 5410553"/>
              <a:gd name="connsiteY9" fmla="*/ 8022 h 6858000"/>
              <a:gd name="connsiteX10" fmla="*/ 3942543 w 5410553"/>
              <a:gd name="connsiteY10" fmla="*/ 8764 h 6858000"/>
              <a:gd name="connsiteX11" fmla="*/ 3948907 w 5410553"/>
              <a:gd name="connsiteY11" fmla="*/ 9111 h 6858000"/>
              <a:gd name="connsiteX12" fmla="*/ 4228992 w 5410553"/>
              <a:gd name="connsiteY12" fmla="*/ 67312 h 6858000"/>
              <a:gd name="connsiteX13" fmla="*/ 4235582 w 5410553"/>
              <a:gd name="connsiteY13" fmla="*/ 69688 h 6858000"/>
              <a:gd name="connsiteX14" fmla="*/ 4236717 w 5410553"/>
              <a:gd name="connsiteY14" fmla="*/ 69985 h 6858000"/>
              <a:gd name="connsiteX15" fmla="*/ 4248022 w 5410553"/>
              <a:gd name="connsiteY15" fmla="*/ 74178 h 6858000"/>
              <a:gd name="connsiteX16" fmla="*/ 4362084 w 5410553"/>
              <a:gd name="connsiteY16" fmla="*/ 115332 h 6858000"/>
              <a:gd name="connsiteX17" fmla="*/ 4373791 w 5410553"/>
              <a:gd name="connsiteY17" fmla="*/ 120816 h 6858000"/>
              <a:gd name="connsiteX18" fmla="*/ 4378240 w 5410553"/>
              <a:gd name="connsiteY18" fmla="*/ 122467 h 6858000"/>
              <a:gd name="connsiteX19" fmla="*/ 4402294 w 5410553"/>
              <a:gd name="connsiteY19" fmla="*/ 134171 h 6858000"/>
              <a:gd name="connsiteX20" fmla="*/ 4489799 w 5410553"/>
              <a:gd name="connsiteY20" fmla="*/ 175163 h 6858000"/>
              <a:gd name="connsiteX21" fmla="*/ 4506131 w 5410553"/>
              <a:gd name="connsiteY21" fmla="*/ 184690 h 6858000"/>
              <a:gd name="connsiteX22" fmla="*/ 4513564 w 5410553"/>
              <a:gd name="connsiteY22" fmla="*/ 188306 h 6858000"/>
              <a:gd name="connsiteX23" fmla="*/ 4539665 w 5410553"/>
              <a:gd name="connsiteY23" fmla="*/ 204251 h 6858000"/>
              <a:gd name="connsiteX24" fmla="*/ 4611586 w 5410553"/>
              <a:gd name="connsiteY24" fmla="*/ 246206 h 6858000"/>
              <a:gd name="connsiteX25" fmla="*/ 4631969 w 5410553"/>
              <a:gd name="connsiteY25" fmla="*/ 260639 h 6858000"/>
              <a:gd name="connsiteX26" fmla="*/ 4642014 w 5410553"/>
              <a:gd name="connsiteY26" fmla="*/ 266773 h 6858000"/>
              <a:gd name="connsiteX27" fmla="*/ 4666865 w 5410553"/>
              <a:gd name="connsiteY27" fmla="*/ 285348 h 6858000"/>
              <a:gd name="connsiteX28" fmla="*/ 4726890 w 5410553"/>
              <a:gd name="connsiteY28" fmla="*/ 327853 h 6858000"/>
              <a:gd name="connsiteX29" fmla="*/ 4750674 w 5410553"/>
              <a:gd name="connsiteY29" fmla="*/ 347987 h 6858000"/>
              <a:gd name="connsiteX30" fmla="*/ 4762915 w 5410553"/>
              <a:gd name="connsiteY30" fmla="*/ 357135 h 6858000"/>
              <a:gd name="connsiteX31" fmla="*/ 4785202 w 5410553"/>
              <a:gd name="connsiteY31" fmla="*/ 377217 h 6858000"/>
              <a:gd name="connsiteX32" fmla="*/ 4835155 w 5410553"/>
              <a:gd name="connsiteY32" fmla="*/ 419505 h 6858000"/>
              <a:gd name="connsiteX33" fmla="*/ 4861614 w 5410553"/>
              <a:gd name="connsiteY33" fmla="*/ 446067 h 6858000"/>
              <a:gd name="connsiteX34" fmla="*/ 4875593 w 5410553"/>
              <a:gd name="connsiteY34" fmla="*/ 458661 h 6858000"/>
              <a:gd name="connsiteX35" fmla="*/ 4894771 w 5410553"/>
              <a:gd name="connsiteY35" fmla="*/ 479349 h 6858000"/>
              <a:gd name="connsiteX36" fmla="*/ 4935827 w 5410553"/>
              <a:gd name="connsiteY36" fmla="*/ 520560 h 6858000"/>
              <a:gd name="connsiteX37" fmla="*/ 4964164 w 5410553"/>
              <a:gd name="connsiteY37" fmla="*/ 554208 h 6858000"/>
              <a:gd name="connsiteX38" fmla="*/ 4979380 w 5410553"/>
              <a:gd name="connsiteY38" fmla="*/ 570622 h 6858000"/>
              <a:gd name="connsiteX39" fmla="*/ 4995273 w 5410553"/>
              <a:gd name="connsiteY39" fmla="*/ 591145 h 6858000"/>
              <a:gd name="connsiteX40" fmla="*/ 5028346 w 5410553"/>
              <a:gd name="connsiteY40" fmla="*/ 630415 h 6858000"/>
              <a:gd name="connsiteX41" fmla="*/ 5057701 w 5410553"/>
              <a:gd name="connsiteY41" fmla="*/ 671758 h 6858000"/>
              <a:gd name="connsiteX42" fmla="*/ 5073596 w 5410553"/>
              <a:gd name="connsiteY42" fmla="*/ 692284 h 6858000"/>
              <a:gd name="connsiteX43" fmla="*/ 5086246 w 5410553"/>
              <a:gd name="connsiteY43" fmla="*/ 711964 h 6858000"/>
              <a:gd name="connsiteX44" fmla="*/ 5112165 w 5410553"/>
              <a:gd name="connsiteY44" fmla="*/ 748469 h 6858000"/>
              <a:gd name="connsiteX45" fmla="*/ 5141608 w 5410553"/>
              <a:gd name="connsiteY45" fmla="*/ 798086 h 6858000"/>
              <a:gd name="connsiteX46" fmla="*/ 5157568 w 5410553"/>
              <a:gd name="connsiteY46" fmla="*/ 822915 h 6858000"/>
              <a:gd name="connsiteX47" fmla="*/ 5167158 w 5410553"/>
              <a:gd name="connsiteY47" fmla="*/ 841145 h 6858000"/>
              <a:gd name="connsiteX48" fmla="*/ 5186726 w 5410553"/>
              <a:gd name="connsiteY48" fmla="*/ 874117 h 6858000"/>
              <a:gd name="connsiteX49" fmla="*/ 5215275 w 5410553"/>
              <a:gd name="connsiteY49" fmla="*/ 932612 h 6858000"/>
              <a:gd name="connsiteX50" fmla="*/ 5230626 w 5410553"/>
              <a:gd name="connsiteY50" fmla="*/ 961788 h 6858000"/>
              <a:gd name="connsiteX51" fmla="*/ 5237440 w 5410553"/>
              <a:gd name="connsiteY51" fmla="*/ 978019 h 6858000"/>
              <a:gd name="connsiteX52" fmla="*/ 5251470 w 5410553"/>
              <a:gd name="connsiteY52" fmla="*/ 1006759 h 6858000"/>
              <a:gd name="connsiteX53" fmla="*/ 5278100 w 5410553"/>
              <a:gd name="connsiteY53" fmla="*/ 1074845 h 6858000"/>
              <a:gd name="connsiteX54" fmla="*/ 5292092 w 5410553"/>
              <a:gd name="connsiteY54" fmla="*/ 1108170 h 6858000"/>
              <a:gd name="connsiteX55" fmla="*/ 5296506 w 5410553"/>
              <a:gd name="connsiteY55" fmla="*/ 1121904 h 6858000"/>
              <a:gd name="connsiteX56" fmla="*/ 5305849 w 5410553"/>
              <a:gd name="connsiteY56" fmla="*/ 1145796 h 6858000"/>
              <a:gd name="connsiteX57" fmla="*/ 5329473 w 5410553"/>
              <a:gd name="connsiteY57" fmla="*/ 1224524 h 6858000"/>
              <a:gd name="connsiteX58" fmla="*/ 5341296 w 5410553"/>
              <a:gd name="connsiteY58" fmla="*/ 1261324 h 6858000"/>
              <a:gd name="connsiteX59" fmla="*/ 5343755 w 5410553"/>
              <a:gd name="connsiteY59" fmla="*/ 1272119 h 6858000"/>
              <a:gd name="connsiteX60" fmla="*/ 5349304 w 5410553"/>
              <a:gd name="connsiteY60" fmla="*/ 1290618 h 6858000"/>
              <a:gd name="connsiteX61" fmla="*/ 5368796 w 5410553"/>
              <a:gd name="connsiteY61" fmla="*/ 1382061 h 6858000"/>
              <a:gd name="connsiteX62" fmla="*/ 5377559 w 5410553"/>
              <a:gd name="connsiteY62" fmla="*/ 1420528 h 6858000"/>
              <a:gd name="connsiteX63" fmla="*/ 5378584 w 5410553"/>
              <a:gd name="connsiteY63" fmla="*/ 1427980 h 6858000"/>
              <a:gd name="connsiteX64" fmla="*/ 5381281 w 5410553"/>
              <a:gd name="connsiteY64" fmla="*/ 1440629 h 6858000"/>
              <a:gd name="connsiteX65" fmla="*/ 5395472 w 5410553"/>
              <a:gd name="connsiteY65" fmla="*/ 1550634 h 6858000"/>
              <a:gd name="connsiteX66" fmla="*/ 5400211 w 5410553"/>
              <a:gd name="connsiteY66" fmla="*/ 1585042 h 6858000"/>
              <a:gd name="connsiteX67" fmla="*/ 5400379 w 5410553"/>
              <a:gd name="connsiteY67" fmla="*/ 1588666 h 6858000"/>
              <a:gd name="connsiteX68" fmla="*/ 5401224 w 5410553"/>
              <a:gd name="connsiteY68" fmla="*/ 1595226 h 6858000"/>
              <a:gd name="connsiteX69" fmla="*/ 5404555 w 5410553"/>
              <a:gd name="connsiteY69" fmla="*/ 1671522 h 6858000"/>
              <a:gd name="connsiteX70" fmla="*/ 5408611 w 5410553"/>
              <a:gd name="connsiteY70" fmla="*/ 1671522 h 6858000"/>
              <a:gd name="connsiteX71" fmla="*/ 5408611 w 5410553"/>
              <a:gd name="connsiteY71" fmla="*/ 1741862 h 6858000"/>
              <a:gd name="connsiteX72" fmla="*/ 5408611 w 5410553"/>
              <a:gd name="connsiteY72" fmla="*/ 1764504 h 6858000"/>
              <a:gd name="connsiteX73" fmla="*/ 5408611 w 5410553"/>
              <a:gd name="connsiteY73" fmla="*/ 1765033 h 6858000"/>
              <a:gd name="connsiteX74" fmla="*/ 5410553 w 5410553"/>
              <a:gd name="connsiteY74" fmla="*/ 1765033 h 6858000"/>
              <a:gd name="connsiteX75" fmla="*/ 5410553 w 5410553"/>
              <a:gd name="connsiteY75" fmla="*/ 1944433 h 6858000"/>
              <a:gd name="connsiteX76" fmla="*/ 3825750 w 5410553"/>
              <a:gd name="connsiteY76" fmla="*/ 1944433 h 6858000"/>
              <a:gd name="connsiteX77" fmla="*/ 3825750 w 5410553"/>
              <a:gd name="connsiteY77" fmla="*/ 1944434 h 6858000"/>
              <a:gd name="connsiteX78" fmla="*/ 3859049 w 5410553"/>
              <a:gd name="connsiteY78" fmla="*/ 1944434 h 6858000"/>
              <a:gd name="connsiteX79" fmla="*/ 3859049 w 5410553"/>
              <a:gd name="connsiteY79" fmla="*/ 1948409 h 6858000"/>
              <a:gd name="connsiteX80" fmla="*/ 3937767 w 5410553"/>
              <a:gd name="connsiteY80" fmla="*/ 1952454 h 6858000"/>
              <a:gd name="connsiteX81" fmla="*/ 3942543 w 5410553"/>
              <a:gd name="connsiteY81" fmla="*/ 1953195 h 6858000"/>
              <a:gd name="connsiteX82" fmla="*/ 3948906 w 5410553"/>
              <a:gd name="connsiteY82" fmla="*/ 1953545 h 6858000"/>
              <a:gd name="connsiteX83" fmla="*/ 4228992 w 5410553"/>
              <a:gd name="connsiteY83" fmla="*/ 2011744 h 6858000"/>
              <a:gd name="connsiteX84" fmla="*/ 4235581 w 5410553"/>
              <a:gd name="connsiteY84" fmla="*/ 2014120 h 6858000"/>
              <a:gd name="connsiteX85" fmla="*/ 4236717 w 5410553"/>
              <a:gd name="connsiteY85" fmla="*/ 2014418 h 6858000"/>
              <a:gd name="connsiteX86" fmla="*/ 4248022 w 5410553"/>
              <a:gd name="connsiteY86" fmla="*/ 2018611 h 6858000"/>
              <a:gd name="connsiteX87" fmla="*/ 4362083 w 5410553"/>
              <a:gd name="connsiteY87" fmla="*/ 2059764 h 6858000"/>
              <a:gd name="connsiteX88" fmla="*/ 4373790 w 5410553"/>
              <a:gd name="connsiteY88" fmla="*/ 2065249 h 6858000"/>
              <a:gd name="connsiteX89" fmla="*/ 4378239 w 5410553"/>
              <a:gd name="connsiteY89" fmla="*/ 2066899 h 6858000"/>
              <a:gd name="connsiteX90" fmla="*/ 4402293 w 5410553"/>
              <a:gd name="connsiteY90" fmla="*/ 2078604 h 6858000"/>
              <a:gd name="connsiteX91" fmla="*/ 4489798 w 5410553"/>
              <a:gd name="connsiteY91" fmla="*/ 2119596 h 6858000"/>
              <a:gd name="connsiteX92" fmla="*/ 4506130 w 5410553"/>
              <a:gd name="connsiteY92" fmla="*/ 2129123 h 6858000"/>
              <a:gd name="connsiteX93" fmla="*/ 4513563 w 5410553"/>
              <a:gd name="connsiteY93" fmla="*/ 2132739 h 6858000"/>
              <a:gd name="connsiteX94" fmla="*/ 4539663 w 5410553"/>
              <a:gd name="connsiteY94" fmla="*/ 2148684 h 6858000"/>
              <a:gd name="connsiteX95" fmla="*/ 4611586 w 5410553"/>
              <a:gd name="connsiteY95" fmla="*/ 2190639 h 6858000"/>
              <a:gd name="connsiteX96" fmla="*/ 4631969 w 5410553"/>
              <a:gd name="connsiteY96" fmla="*/ 2205072 h 6858000"/>
              <a:gd name="connsiteX97" fmla="*/ 4642011 w 5410553"/>
              <a:gd name="connsiteY97" fmla="*/ 2211205 h 6858000"/>
              <a:gd name="connsiteX98" fmla="*/ 4666865 w 5410553"/>
              <a:gd name="connsiteY98" fmla="*/ 2229781 h 6858000"/>
              <a:gd name="connsiteX99" fmla="*/ 4726888 w 5410553"/>
              <a:gd name="connsiteY99" fmla="*/ 2272285 h 6858000"/>
              <a:gd name="connsiteX100" fmla="*/ 4750674 w 5410553"/>
              <a:gd name="connsiteY100" fmla="*/ 2292420 h 6858000"/>
              <a:gd name="connsiteX101" fmla="*/ 4762912 w 5410553"/>
              <a:gd name="connsiteY101" fmla="*/ 2301568 h 6858000"/>
              <a:gd name="connsiteX102" fmla="*/ 4785201 w 5410553"/>
              <a:gd name="connsiteY102" fmla="*/ 2321651 h 6858000"/>
              <a:gd name="connsiteX103" fmla="*/ 4835155 w 5410553"/>
              <a:gd name="connsiteY103" fmla="*/ 2363938 h 6858000"/>
              <a:gd name="connsiteX104" fmla="*/ 4861613 w 5410553"/>
              <a:gd name="connsiteY104" fmla="*/ 2390499 h 6858000"/>
              <a:gd name="connsiteX105" fmla="*/ 4875593 w 5410553"/>
              <a:gd name="connsiteY105" fmla="*/ 2403094 h 6858000"/>
              <a:gd name="connsiteX106" fmla="*/ 4894769 w 5410553"/>
              <a:gd name="connsiteY106" fmla="*/ 2423782 h 6858000"/>
              <a:gd name="connsiteX107" fmla="*/ 4935824 w 5410553"/>
              <a:gd name="connsiteY107" fmla="*/ 2464992 h 6858000"/>
              <a:gd name="connsiteX108" fmla="*/ 4964163 w 5410553"/>
              <a:gd name="connsiteY108" fmla="*/ 2498639 h 6858000"/>
              <a:gd name="connsiteX109" fmla="*/ 4979380 w 5410553"/>
              <a:gd name="connsiteY109" fmla="*/ 2515055 h 6858000"/>
              <a:gd name="connsiteX110" fmla="*/ 4995273 w 5410553"/>
              <a:gd name="connsiteY110" fmla="*/ 2535578 h 6858000"/>
              <a:gd name="connsiteX111" fmla="*/ 5028344 w 5410553"/>
              <a:gd name="connsiteY111" fmla="*/ 2574846 h 6858000"/>
              <a:gd name="connsiteX112" fmla="*/ 5057698 w 5410553"/>
              <a:gd name="connsiteY112" fmla="*/ 2616189 h 6858000"/>
              <a:gd name="connsiteX113" fmla="*/ 5073596 w 5410553"/>
              <a:gd name="connsiteY113" fmla="*/ 2636717 h 6858000"/>
              <a:gd name="connsiteX114" fmla="*/ 5086244 w 5410553"/>
              <a:gd name="connsiteY114" fmla="*/ 2656395 h 6858000"/>
              <a:gd name="connsiteX115" fmla="*/ 5112164 w 5410553"/>
              <a:gd name="connsiteY115" fmla="*/ 2692902 h 6858000"/>
              <a:gd name="connsiteX116" fmla="*/ 5141608 w 5410553"/>
              <a:gd name="connsiteY116" fmla="*/ 2742519 h 6858000"/>
              <a:gd name="connsiteX117" fmla="*/ 5157568 w 5410553"/>
              <a:gd name="connsiteY117" fmla="*/ 2767348 h 6858000"/>
              <a:gd name="connsiteX118" fmla="*/ 5167158 w 5410553"/>
              <a:gd name="connsiteY118" fmla="*/ 2785577 h 6858000"/>
              <a:gd name="connsiteX119" fmla="*/ 5186724 w 5410553"/>
              <a:gd name="connsiteY119" fmla="*/ 2818550 h 6858000"/>
              <a:gd name="connsiteX120" fmla="*/ 5215275 w 5410553"/>
              <a:gd name="connsiteY120" fmla="*/ 2877044 h 6858000"/>
              <a:gd name="connsiteX121" fmla="*/ 5230624 w 5410553"/>
              <a:gd name="connsiteY121" fmla="*/ 2906220 h 6858000"/>
              <a:gd name="connsiteX122" fmla="*/ 5237439 w 5410553"/>
              <a:gd name="connsiteY122" fmla="*/ 2922452 h 6858000"/>
              <a:gd name="connsiteX123" fmla="*/ 5251470 w 5410553"/>
              <a:gd name="connsiteY123" fmla="*/ 2951192 h 6858000"/>
              <a:gd name="connsiteX124" fmla="*/ 5278100 w 5410553"/>
              <a:gd name="connsiteY124" fmla="*/ 3019278 h 6858000"/>
              <a:gd name="connsiteX125" fmla="*/ 5292092 w 5410553"/>
              <a:gd name="connsiteY125" fmla="*/ 3052600 h 6858000"/>
              <a:gd name="connsiteX126" fmla="*/ 5296504 w 5410553"/>
              <a:gd name="connsiteY126" fmla="*/ 3066337 h 6858000"/>
              <a:gd name="connsiteX127" fmla="*/ 5305849 w 5410553"/>
              <a:gd name="connsiteY127" fmla="*/ 3090227 h 6858000"/>
              <a:gd name="connsiteX128" fmla="*/ 5329471 w 5410553"/>
              <a:gd name="connsiteY128" fmla="*/ 3168956 h 6858000"/>
              <a:gd name="connsiteX129" fmla="*/ 5341293 w 5410553"/>
              <a:gd name="connsiteY129" fmla="*/ 3205756 h 6858000"/>
              <a:gd name="connsiteX130" fmla="*/ 5343751 w 5410553"/>
              <a:gd name="connsiteY130" fmla="*/ 3216552 h 6858000"/>
              <a:gd name="connsiteX131" fmla="*/ 5349304 w 5410553"/>
              <a:gd name="connsiteY131" fmla="*/ 3235051 h 6858000"/>
              <a:gd name="connsiteX132" fmla="*/ 5368795 w 5410553"/>
              <a:gd name="connsiteY132" fmla="*/ 3326492 h 6858000"/>
              <a:gd name="connsiteX133" fmla="*/ 5377557 w 5410553"/>
              <a:gd name="connsiteY133" fmla="*/ 3364959 h 6858000"/>
              <a:gd name="connsiteX134" fmla="*/ 5378582 w 5410553"/>
              <a:gd name="connsiteY134" fmla="*/ 3372411 h 6858000"/>
              <a:gd name="connsiteX135" fmla="*/ 5381281 w 5410553"/>
              <a:gd name="connsiteY135" fmla="*/ 3385062 h 6858000"/>
              <a:gd name="connsiteX136" fmla="*/ 5395472 w 5410553"/>
              <a:gd name="connsiteY136" fmla="*/ 3495066 h 6858000"/>
              <a:gd name="connsiteX137" fmla="*/ 5400210 w 5410553"/>
              <a:gd name="connsiteY137" fmla="*/ 3529474 h 6858000"/>
              <a:gd name="connsiteX138" fmla="*/ 5400377 w 5410553"/>
              <a:gd name="connsiteY138" fmla="*/ 3533097 h 6858000"/>
              <a:gd name="connsiteX139" fmla="*/ 5401224 w 5410553"/>
              <a:gd name="connsiteY139" fmla="*/ 3539659 h 6858000"/>
              <a:gd name="connsiteX140" fmla="*/ 5404554 w 5410553"/>
              <a:gd name="connsiteY140" fmla="*/ 3615954 h 6858000"/>
              <a:gd name="connsiteX141" fmla="*/ 5408611 w 5410553"/>
              <a:gd name="connsiteY141" fmla="*/ 3615954 h 6858000"/>
              <a:gd name="connsiteX142" fmla="*/ 5408611 w 5410553"/>
              <a:gd name="connsiteY142" fmla="*/ 3686294 h 6858000"/>
              <a:gd name="connsiteX143" fmla="*/ 5408611 w 5410553"/>
              <a:gd name="connsiteY143" fmla="*/ 3708935 h 6858000"/>
              <a:gd name="connsiteX144" fmla="*/ 5408611 w 5410553"/>
              <a:gd name="connsiteY144" fmla="*/ 3709464 h 6858000"/>
              <a:gd name="connsiteX145" fmla="*/ 5410552 w 5410553"/>
              <a:gd name="connsiteY145" fmla="*/ 3709464 h 6858000"/>
              <a:gd name="connsiteX146" fmla="*/ 5410552 w 5410553"/>
              <a:gd name="connsiteY146" fmla="*/ 4047423 h 6858000"/>
              <a:gd name="connsiteX147" fmla="*/ 5410552 w 5410553"/>
              <a:gd name="connsiteY147" fmla="*/ 4755011 h 6858000"/>
              <a:gd name="connsiteX148" fmla="*/ 5410552 w 5410553"/>
              <a:gd name="connsiteY148" fmla="*/ 5092970 h 6858000"/>
              <a:gd name="connsiteX149" fmla="*/ 5410552 w 5410553"/>
              <a:gd name="connsiteY149" fmla="*/ 5186482 h 6858000"/>
              <a:gd name="connsiteX150" fmla="*/ 5408629 w 5410553"/>
              <a:gd name="connsiteY150" fmla="*/ 5186482 h 6858000"/>
              <a:gd name="connsiteX151" fmla="*/ 5408629 w 5410553"/>
              <a:gd name="connsiteY151" fmla="*/ 6857999 h 6858000"/>
              <a:gd name="connsiteX152" fmla="*/ 4867572 w 5410553"/>
              <a:gd name="connsiteY152" fmla="*/ 6857999 h 6858000"/>
              <a:gd name="connsiteX153" fmla="*/ 3794895 w 5410553"/>
              <a:gd name="connsiteY153" fmla="*/ 6857999 h 6858000"/>
              <a:gd name="connsiteX154" fmla="*/ 3783656 w 5410553"/>
              <a:gd name="connsiteY154" fmla="*/ 6857999 h 6858000"/>
              <a:gd name="connsiteX155" fmla="*/ 3782698 w 5410553"/>
              <a:gd name="connsiteY155" fmla="*/ 6857999 h 6858000"/>
              <a:gd name="connsiteX156" fmla="*/ 3782682 w 5410553"/>
              <a:gd name="connsiteY156" fmla="*/ 6858000 h 6858000"/>
              <a:gd name="connsiteX157" fmla="*/ 3782667 w 5410553"/>
              <a:gd name="connsiteY157" fmla="*/ 6857999 h 6858000"/>
              <a:gd name="connsiteX158" fmla="*/ 3706296 w 5410553"/>
              <a:gd name="connsiteY158" fmla="*/ 6857999 h 6858000"/>
              <a:gd name="connsiteX159" fmla="*/ 3253837 w 5410553"/>
              <a:gd name="connsiteY159" fmla="*/ 6857999 h 6858000"/>
              <a:gd name="connsiteX160" fmla="*/ 3242599 w 5410553"/>
              <a:gd name="connsiteY160" fmla="*/ 6857999 h 6858000"/>
              <a:gd name="connsiteX161" fmla="*/ 3241641 w 5410553"/>
              <a:gd name="connsiteY161" fmla="*/ 6857999 h 6858000"/>
              <a:gd name="connsiteX162" fmla="*/ 3241626 w 5410553"/>
              <a:gd name="connsiteY162" fmla="*/ 6858000 h 6858000"/>
              <a:gd name="connsiteX163" fmla="*/ 3241609 w 5410553"/>
              <a:gd name="connsiteY163" fmla="*/ 6857999 h 6858000"/>
              <a:gd name="connsiteX164" fmla="*/ 3165240 w 5410553"/>
              <a:gd name="connsiteY164" fmla="*/ 6857999 h 6858000"/>
              <a:gd name="connsiteX165" fmla="*/ 2169922 w 5410553"/>
              <a:gd name="connsiteY165" fmla="*/ 6857999 h 6858000"/>
              <a:gd name="connsiteX166" fmla="*/ 2168963 w 5410553"/>
              <a:gd name="connsiteY166" fmla="*/ 6857999 h 6858000"/>
              <a:gd name="connsiteX167" fmla="*/ 2168947 w 5410553"/>
              <a:gd name="connsiteY167" fmla="*/ 6858000 h 6858000"/>
              <a:gd name="connsiteX168" fmla="*/ 2168931 w 5410553"/>
              <a:gd name="connsiteY168" fmla="*/ 6857999 h 6858000"/>
              <a:gd name="connsiteX169" fmla="*/ 2092561 w 5410553"/>
              <a:gd name="connsiteY169" fmla="*/ 6857999 h 6858000"/>
              <a:gd name="connsiteX170" fmla="*/ 1628865 w 5410553"/>
              <a:gd name="connsiteY170" fmla="*/ 6857999 h 6858000"/>
              <a:gd name="connsiteX171" fmla="*/ 1627906 w 5410553"/>
              <a:gd name="connsiteY171" fmla="*/ 6857999 h 6858000"/>
              <a:gd name="connsiteX172" fmla="*/ 1627892 w 5410553"/>
              <a:gd name="connsiteY172" fmla="*/ 6858000 h 6858000"/>
              <a:gd name="connsiteX173" fmla="*/ 1627875 w 5410553"/>
              <a:gd name="connsiteY173" fmla="*/ 6857999 h 6858000"/>
              <a:gd name="connsiteX174" fmla="*/ 1551506 w 5410553"/>
              <a:gd name="connsiteY174" fmla="*/ 6857999 h 6858000"/>
              <a:gd name="connsiteX175" fmla="*/ 1551506 w 5410553"/>
              <a:gd name="connsiteY175" fmla="*/ 6854025 h 6858000"/>
              <a:gd name="connsiteX176" fmla="*/ 1472786 w 5410553"/>
              <a:gd name="connsiteY176" fmla="*/ 6849979 h 6858000"/>
              <a:gd name="connsiteX177" fmla="*/ 1468010 w 5410553"/>
              <a:gd name="connsiteY177" fmla="*/ 6849239 h 6858000"/>
              <a:gd name="connsiteX178" fmla="*/ 1461647 w 5410553"/>
              <a:gd name="connsiteY178" fmla="*/ 6848892 h 6858000"/>
              <a:gd name="connsiteX179" fmla="*/ 1181563 w 5410553"/>
              <a:gd name="connsiteY179" fmla="*/ 6790692 h 6858000"/>
              <a:gd name="connsiteX180" fmla="*/ 1174972 w 5410553"/>
              <a:gd name="connsiteY180" fmla="*/ 6788314 h 6858000"/>
              <a:gd name="connsiteX181" fmla="*/ 1173836 w 5410553"/>
              <a:gd name="connsiteY181" fmla="*/ 6788017 h 6858000"/>
              <a:gd name="connsiteX182" fmla="*/ 1162533 w 5410553"/>
              <a:gd name="connsiteY182" fmla="*/ 6783825 h 6858000"/>
              <a:gd name="connsiteX183" fmla="*/ 1048471 w 5410553"/>
              <a:gd name="connsiteY183" fmla="*/ 6742670 h 6858000"/>
              <a:gd name="connsiteX184" fmla="*/ 1036764 w 5410553"/>
              <a:gd name="connsiteY184" fmla="*/ 6737186 h 6858000"/>
              <a:gd name="connsiteX185" fmla="*/ 1032314 w 5410553"/>
              <a:gd name="connsiteY185" fmla="*/ 6735535 h 6858000"/>
              <a:gd name="connsiteX186" fmla="*/ 1008260 w 5410553"/>
              <a:gd name="connsiteY186" fmla="*/ 6723832 h 6858000"/>
              <a:gd name="connsiteX187" fmla="*/ 920755 w 5410553"/>
              <a:gd name="connsiteY187" fmla="*/ 6682839 h 6858000"/>
              <a:gd name="connsiteX188" fmla="*/ 904423 w 5410553"/>
              <a:gd name="connsiteY188" fmla="*/ 6673313 h 6858000"/>
              <a:gd name="connsiteX189" fmla="*/ 896991 w 5410553"/>
              <a:gd name="connsiteY189" fmla="*/ 6669695 h 6858000"/>
              <a:gd name="connsiteX190" fmla="*/ 870891 w 5410553"/>
              <a:gd name="connsiteY190" fmla="*/ 6653750 h 6858000"/>
              <a:gd name="connsiteX191" fmla="*/ 798968 w 5410553"/>
              <a:gd name="connsiteY191" fmla="*/ 6611797 h 6858000"/>
              <a:gd name="connsiteX192" fmla="*/ 778585 w 5410553"/>
              <a:gd name="connsiteY192" fmla="*/ 6597363 h 6858000"/>
              <a:gd name="connsiteX193" fmla="*/ 768542 w 5410553"/>
              <a:gd name="connsiteY193" fmla="*/ 6591229 h 6858000"/>
              <a:gd name="connsiteX194" fmla="*/ 743688 w 5410553"/>
              <a:gd name="connsiteY194" fmla="*/ 6572653 h 6858000"/>
              <a:gd name="connsiteX195" fmla="*/ 683666 w 5410553"/>
              <a:gd name="connsiteY195" fmla="*/ 6530149 h 6858000"/>
              <a:gd name="connsiteX196" fmla="*/ 659881 w 5410553"/>
              <a:gd name="connsiteY196" fmla="*/ 6510014 h 6858000"/>
              <a:gd name="connsiteX197" fmla="*/ 647641 w 5410553"/>
              <a:gd name="connsiteY197" fmla="*/ 6500867 h 6858000"/>
              <a:gd name="connsiteX198" fmla="*/ 625351 w 5410553"/>
              <a:gd name="connsiteY198" fmla="*/ 6480784 h 6858000"/>
              <a:gd name="connsiteX199" fmla="*/ 575400 w 5410553"/>
              <a:gd name="connsiteY199" fmla="*/ 6438495 h 6858000"/>
              <a:gd name="connsiteX200" fmla="*/ 548941 w 5410553"/>
              <a:gd name="connsiteY200" fmla="*/ 6411937 h 6858000"/>
              <a:gd name="connsiteX201" fmla="*/ 534961 w 5410553"/>
              <a:gd name="connsiteY201" fmla="*/ 6399339 h 6858000"/>
              <a:gd name="connsiteX202" fmla="*/ 515783 w 5410553"/>
              <a:gd name="connsiteY202" fmla="*/ 6378653 h 6858000"/>
              <a:gd name="connsiteX203" fmla="*/ 474729 w 5410553"/>
              <a:gd name="connsiteY203" fmla="*/ 6337442 h 6858000"/>
              <a:gd name="connsiteX204" fmla="*/ 446391 w 5410553"/>
              <a:gd name="connsiteY204" fmla="*/ 6303796 h 6858000"/>
              <a:gd name="connsiteX205" fmla="*/ 431175 w 5410553"/>
              <a:gd name="connsiteY205" fmla="*/ 6287380 h 6858000"/>
              <a:gd name="connsiteX206" fmla="*/ 415281 w 5410553"/>
              <a:gd name="connsiteY206" fmla="*/ 6266857 h 6858000"/>
              <a:gd name="connsiteX207" fmla="*/ 382208 w 5410553"/>
              <a:gd name="connsiteY207" fmla="*/ 6227587 h 6858000"/>
              <a:gd name="connsiteX208" fmla="*/ 352856 w 5410553"/>
              <a:gd name="connsiteY208" fmla="*/ 6186244 h 6858000"/>
              <a:gd name="connsiteX209" fmla="*/ 336959 w 5410553"/>
              <a:gd name="connsiteY209" fmla="*/ 6165720 h 6858000"/>
              <a:gd name="connsiteX210" fmla="*/ 324308 w 5410553"/>
              <a:gd name="connsiteY210" fmla="*/ 6146039 h 6858000"/>
              <a:gd name="connsiteX211" fmla="*/ 298389 w 5410553"/>
              <a:gd name="connsiteY211" fmla="*/ 6109534 h 6858000"/>
              <a:gd name="connsiteX212" fmla="*/ 268946 w 5410553"/>
              <a:gd name="connsiteY212" fmla="*/ 6059914 h 6858000"/>
              <a:gd name="connsiteX213" fmla="*/ 252985 w 5410553"/>
              <a:gd name="connsiteY213" fmla="*/ 6035086 h 6858000"/>
              <a:gd name="connsiteX214" fmla="*/ 243395 w 5410553"/>
              <a:gd name="connsiteY214" fmla="*/ 6016857 h 6858000"/>
              <a:gd name="connsiteX215" fmla="*/ 223831 w 5410553"/>
              <a:gd name="connsiteY215" fmla="*/ 5983884 h 6858000"/>
              <a:gd name="connsiteX216" fmla="*/ 195278 w 5410553"/>
              <a:gd name="connsiteY216" fmla="*/ 5925391 h 6858000"/>
              <a:gd name="connsiteX217" fmla="*/ 179929 w 5410553"/>
              <a:gd name="connsiteY217" fmla="*/ 5896214 h 6858000"/>
              <a:gd name="connsiteX218" fmla="*/ 173113 w 5410553"/>
              <a:gd name="connsiteY218" fmla="*/ 5879983 h 6858000"/>
              <a:gd name="connsiteX219" fmla="*/ 159084 w 5410553"/>
              <a:gd name="connsiteY219" fmla="*/ 5851242 h 6858000"/>
              <a:gd name="connsiteX220" fmla="*/ 132456 w 5410553"/>
              <a:gd name="connsiteY220" fmla="*/ 5783156 h 6858000"/>
              <a:gd name="connsiteX221" fmla="*/ 118462 w 5410553"/>
              <a:gd name="connsiteY221" fmla="*/ 5749834 h 6858000"/>
              <a:gd name="connsiteX222" fmla="*/ 114051 w 5410553"/>
              <a:gd name="connsiteY222" fmla="*/ 5736099 h 6858000"/>
              <a:gd name="connsiteX223" fmla="*/ 104705 w 5410553"/>
              <a:gd name="connsiteY223" fmla="*/ 5712207 h 6858000"/>
              <a:gd name="connsiteX224" fmla="*/ 81084 w 5410553"/>
              <a:gd name="connsiteY224" fmla="*/ 5633479 h 6858000"/>
              <a:gd name="connsiteX225" fmla="*/ 69261 w 5410553"/>
              <a:gd name="connsiteY225" fmla="*/ 5596679 h 6858000"/>
              <a:gd name="connsiteX226" fmla="*/ 66802 w 5410553"/>
              <a:gd name="connsiteY226" fmla="*/ 5585881 h 6858000"/>
              <a:gd name="connsiteX227" fmla="*/ 61250 w 5410553"/>
              <a:gd name="connsiteY227" fmla="*/ 5567382 h 6858000"/>
              <a:gd name="connsiteX228" fmla="*/ 41759 w 5410553"/>
              <a:gd name="connsiteY228" fmla="*/ 5475943 h 6858000"/>
              <a:gd name="connsiteX229" fmla="*/ 32996 w 5410553"/>
              <a:gd name="connsiteY229" fmla="*/ 5437474 h 6858000"/>
              <a:gd name="connsiteX230" fmla="*/ 31970 w 5410553"/>
              <a:gd name="connsiteY230" fmla="*/ 5430024 h 6858000"/>
              <a:gd name="connsiteX231" fmla="*/ 29274 w 5410553"/>
              <a:gd name="connsiteY231" fmla="*/ 5417371 h 6858000"/>
              <a:gd name="connsiteX232" fmla="*/ 15083 w 5410553"/>
              <a:gd name="connsiteY232" fmla="*/ 5307370 h 6858000"/>
              <a:gd name="connsiteX233" fmla="*/ 10345 w 5410553"/>
              <a:gd name="connsiteY233" fmla="*/ 5272959 h 6858000"/>
              <a:gd name="connsiteX234" fmla="*/ 10177 w 5410553"/>
              <a:gd name="connsiteY234" fmla="*/ 5269337 h 6858000"/>
              <a:gd name="connsiteX235" fmla="*/ 9329 w 5410553"/>
              <a:gd name="connsiteY235" fmla="*/ 5262776 h 6858000"/>
              <a:gd name="connsiteX236" fmla="*/ 6002 w 5410553"/>
              <a:gd name="connsiteY236" fmla="*/ 5186482 h 6858000"/>
              <a:gd name="connsiteX237" fmla="*/ 1944 w 5410553"/>
              <a:gd name="connsiteY237" fmla="*/ 5186482 h 6858000"/>
              <a:gd name="connsiteX238" fmla="*/ 1944 w 5410553"/>
              <a:gd name="connsiteY238" fmla="*/ 5116140 h 6858000"/>
              <a:gd name="connsiteX239" fmla="*/ 1944 w 5410553"/>
              <a:gd name="connsiteY239" fmla="*/ 5093498 h 6858000"/>
              <a:gd name="connsiteX240" fmla="*/ 1944 w 5410553"/>
              <a:gd name="connsiteY240" fmla="*/ 5092970 h 6858000"/>
              <a:gd name="connsiteX241" fmla="*/ 0 w 5410553"/>
              <a:gd name="connsiteY241" fmla="*/ 5092970 h 6858000"/>
              <a:gd name="connsiteX242" fmla="*/ 0 w 5410553"/>
              <a:gd name="connsiteY242" fmla="*/ 4755011 h 6858000"/>
              <a:gd name="connsiteX243" fmla="*/ 0 w 5410553"/>
              <a:gd name="connsiteY243" fmla="*/ 4047423 h 6858000"/>
              <a:gd name="connsiteX244" fmla="*/ 0 w 5410553"/>
              <a:gd name="connsiteY244" fmla="*/ 3709464 h 6858000"/>
              <a:gd name="connsiteX245" fmla="*/ 0 w 5410553"/>
              <a:gd name="connsiteY245" fmla="*/ 3615954 h 6858000"/>
              <a:gd name="connsiteX246" fmla="*/ 1925 w 5410553"/>
              <a:gd name="connsiteY246" fmla="*/ 3615954 h 6858000"/>
              <a:gd name="connsiteX247" fmla="*/ 1925 w 5410553"/>
              <a:gd name="connsiteY247" fmla="*/ 3603350 h 6858000"/>
              <a:gd name="connsiteX248" fmla="*/ 0 w 5410553"/>
              <a:gd name="connsiteY248" fmla="*/ 3603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5410553" h="6858000">
                <a:moveTo>
                  <a:pt x="0" y="0"/>
                </a:moveTo>
                <a:lnTo>
                  <a:pt x="1627873" y="0"/>
                </a:lnTo>
                <a:lnTo>
                  <a:pt x="2168929" y="0"/>
                </a:lnTo>
                <a:lnTo>
                  <a:pt x="3241609" y="0"/>
                </a:lnTo>
                <a:lnTo>
                  <a:pt x="3782664" y="0"/>
                </a:lnTo>
                <a:lnTo>
                  <a:pt x="3825750" y="0"/>
                </a:lnTo>
                <a:lnTo>
                  <a:pt x="3825750" y="1"/>
                </a:lnTo>
                <a:lnTo>
                  <a:pt x="3859050" y="1"/>
                </a:lnTo>
                <a:lnTo>
                  <a:pt x="3859050" y="3976"/>
                </a:lnTo>
                <a:lnTo>
                  <a:pt x="3937767" y="8022"/>
                </a:lnTo>
                <a:lnTo>
                  <a:pt x="3942543" y="8764"/>
                </a:lnTo>
                <a:lnTo>
                  <a:pt x="3948907" y="9111"/>
                </a:lnTo>
                <a:cubicBezTo>
                  <a:pt x="4044989" y="19700"/>
                  <a:pt x="4138597" y="39368"/>
                  <a:pt x="4228992" y="67312"/>
                </a:cubicBezTo>
                <a:lnTo>
                  <a:pt x="4235582" y="69688"/>
                </a:lnTo>
                <a:lnTo>
                  <a:pt x="4236717" y="69985"/>
                </a:lnTo>
                <a:lnTo>
                  <a:pt x="4248022" y="74178"/>
                </a:lnTo>
                <a:lnTo>
                  <a:pt x="4362084" y="115332"/>
                </a:lnTo>
                <a:lnTo>
                  <a:pt x="4373791" y="120816"/>
                </a:lnTo>
                <a:lnTo>
                  <a:pt x="4378240" y="122467"/>
                </a:lnTo>
                <a:lnTo>
                  <a:pt x="4402294" y="134171"/>
                </a:lnTo>
                <a:lnTo>
                  <a:pt x="4489799" y="175163"/>
                </a:lnTo>
                <a:lnTo>
                  <a:pt x="4506131" y="184690"/>
                </a:lnTo>
                <a:lnTo>
                  <a:pt x="4513564" y="188306"/>
                </a:lnTo>
                <a:lnTo>
                  <a:pt x="4539665" y="204251"/>
                </a:lnTo>
                <a:lnTo>
                  <a:pt x="4611586" y="246206"/>
                </a:lnTo>
                <a:lnTo>
                  <a:pt x="4631969" y="260639"/>
                </a:lnTo>
                <a:lnTo>
                  <a:pt x="4642014" y="266773"/>
                </a:lnTo>
                <a:lnTo>
                  <a:pt x="4666865" y="285348"/>
                </a:lnTo>
                <a:lnTo>
                  <a:pt x="4726890" y="327853"/>
                </a:lnTo>
                <a:lnTo>
                  <a:pt x="4750674" y="347987"/>
                </a:lnTo>
                <a:lnTo>
                  <a:pt x="4762915" y="357135"/>
                </a:lnTo>
                <a:lnTo>
                  <a:pt x="4785202" y="377217"/>
                </a:lnTo>
                <a:lnTo>
                  <a:pt x="4835155" y="419505"/>
                </a:lnTo>
                <a:lnTo>
                  <a:pt x="4861614" y="446067"/>
                </a:lnTo>
                <a:lnTo>
                  <a:pt x="4875593" y="458661"/>
                </a:lnTo>
                <a:lnTo>
                  <a:pt x="4894771" y="479349"/>
                </a:lnTo>
                <a:lnTo>
                  <a:pt x="4935827" y="520560"/>
                </a:lnTo>
                <a:lnTo>
                  <a:pt x="4964164" y="554208"/>
                </a:lnTo>
                <a:lnTo>
                  <a:pt x="4979380" y="570622"/>
                </a:lnTo>
                <a:lnTo>
                  <a:pt x="4995273" y="591145"/>
                </a:lnTo>
                <a:lnTo>
                  <a:pt x="5028346" y="630415"/>
                </a:lnTo>
                <a:lnTo>
                  <a:pt x="5057701" y="671758"/>
                </a:lnTo>
                <a:lnTo>
                  <a:pt x="5073596" y="692284"/>
                </a:lnTo>
                <a:lnTo>
                  <a:pt x="5086246" y="711964"/>
                </a:lnTo>
                <a:lnTo>
                  <a:pt x="5112165" y="748469"/>
                </a:lnTo>
                <a:lnTo>
                  <a:pt x="5141608" y="798086"/>
                </a:lnTo>
                <a:lnTo>
                  <a:pt x="5157568" y="822915"/>
                </a:lnTo>
                <a:lnTo>
                  <a:pt x="5167158" y="841145"/>
                </a:lnTo>
                <a:lnTo>
                  <a:pt x="5186726" y="874117"/>
                </a:lnTo>
                <a:lnTo>
                  <a:pt x="5215275" y="932612"/>
                </a:lnTo>
                <a:lnTo>
                  <a:pt x="5230626" y="961788"/>
                </a:lnTo>
                <a:lnTo>
                  <a:pt x="5237440" y="978019"/>
                </a:lnTo>
                <a:lnTo>
                  <a:pt x="5251470" y="1006759"/>
                </a:lnTo>
                <a:lnTo>
                  <a:pt x="5278100" y="1074845"/>
                </a:lnTo>
                <a:lnTo>
                  <a:pt x="5292092" y="1108170"/>
                </a:lnTo>
                <a:lnTo>
                  <a:pt x="5296506" y="1121904"/>
                </a:lnTo>
                <a:lnTo>
                  <a:pt x="5305849" y="1145796"/>
                </a:lnTo>
                <a:lnTo>
                  <a:pt x="5329473" y="1224524"/>
                </a:lnTo>
                <a:lnTo>
                  <a:pt x="5341296" y="1261324"/>
                </a:lnTo>
                <a:lnTo>
                  <a:pt x="5343755" y="1272119"/>
                </a:lnTo>
                <a:lnTo>
                  <a:pt x="5349304" y="1290618"/>
                </a:lnTo>
                <a:lnTo>
                  <a:pt x="5368796" y="1382061"/>
                </a:lnTo>
                <a:lnTo>
                  <a:pt x="5377559" y="1420528"/>
                </a:lnTo>
                <a:lnTo>
                  <a:pt x="5378584" y="1427980"/>
                </a:lnTo>
                <a:lnTo>
                  <a:pt x="5381281" y="1440629"/>
                </a:lnTo>
                <a:lnTo>
                  <a:pt x="5395472" y="1550634"/>
                </a:lnTo>
                <a:lnTo>
                  <a:pt x="5400211" y="1585042"/>
                </a:lnTo>
                <a:lnTo>
                  <a:pt x="5400379" y="1588666"/>
                </a:lnTo>
                <a:lnTo>
                  <a:pt x="5401224" y="1595226"/>
                </a:lnTo>
                <a:lnTo>
                  <a:pt x="5404555" y="1671522"/>
                </a:lnTo>
                <a:lnTo>
                  <a:pt x="5408611" y="1671522"/>
                </a:lnTo>
                <a:lnTo>
                  <a:pt x="5408611" y="1741862"/>
                </a:lnTo>
                <a:lnTo>
                  <a:pt x="5408611" y="1764504"/>
                </a:lnTo>
                <a:lnTo>
                  <a:pt x="5408611" y="1765033"/>
                </a:lnTo>
                <a:lnTo>
                  <a:pt x="5410553" y="1765033"/>
                </a:lnTo>
                <a:lnTo>
                  <a:pt x="5410553" y="1944433"/>
                </a:lnTo>
                <a:lnTo>
                  <a:pt x="3825750" y="1944433"/>
                </a:lnTo>
                <a:lnTo>
                  <a:pt x="3825750" y="1944434"/>
                </a:lnTo>
                <a:lnTo>
                  <a:pt x="3859049" y="1944434"/>
                </a:lnTo>
                <a:lnTo>
                  <a:pt x="3859049" y="1948409"/>
                </a:lnTo>
                <a:lnTo>
                  <a:pt x="3937767" y="1952454"/>
                </a:lnTo>
                <a:lnTo>
                  <a:pt x="3942543" y="1953195"/>
                </a:lnTo>
                <a:lnTo>
                  <a:pt x="3948906" y="1953545"/>
                </a:lnTo>
                <a:cubicBezTo>
                  <a:pt x="4044987" y="1964132"/>
                  <a:pt x="4138597" y="1983799"/>
                  <a:pt x="4228992" y="2011744"/>
                </a:cubicBezTo>
                <a:lnTo>
                  <a:pt x="4235581" y="2014120"/>
                </a:lnTo>
                <a:lnTo>
                  <a:pt x="4236717" y="2014418"/>
                </a:lnTo>
                <a:lnTo>
                  <a:pt x="4248022" y="2018611"/>
                </a:lnTo>
                <a:lnTo>
                  <a:pt x="4362083" y="2059764"/>
                </a:lnTo>
                <a:lnTo>
                  <a:pt x="4373790" y="2065249"/>
                </a:lnTo>
                <a:lnTo>
                  <a:pt x="4378239" y="2066899"/>
                </a:lnTo>
                <a:lnTo>
                  <a:pt x="4402293" y="2078604"/>
                </a:lnTo>
                <a:lnTo>
                  <a:pt x="4489798" y="2119596"/>
                </a:lnTo>
                <a:lnTo>
                  <a:pt x="4506130" y="2129123"/>
                </a:lnTo>
                <a:lnTo>
                  <a:pt x="4513563" y="2132739"/>
                </a:lnTo>
                <a:lnTo>
                  <a:pt x="4539663" y="2148684"/>
                </a:lnTo>
                <a:lnTo>
                  <a:pt x="4611586" y="2190639"/>
                </a:lnTo>
                <a:lnTo>
                  <a:pt x="4631969" y="2205072"/>
                </a:lnTo>
                <a:lnTo>
                  <a:pt x="4642011" y="2211205"/>
                </a:lnTo>
                <a:lnTo>
                  <a:pt x="4666865" y="2229781"/>
                </a:lnTo>
                <a:lnTo>
                  <a:pt x="4726888" y="2272285"/>
                </a:lnTo>
                <a:lnTo>
                  <a:pt x="4750674" y="2292420"/>
                </a:lnTo>
                <a:lnTo>
                  <a:pt x="4762912" y="2301568"/>
                </a:lnTo>
                <a:lnTo>
                  <a:pt x="4785201" y="2321651"/>
                </a:lnTo>
                <a:lnTo>
                  <a:pt x="4835155" y="2363938"/>
                </a:lnTo>
                <a:lnTo>
                  <a:pt x="4861613" y="2390499"/>
                </a:lnTo>
                <a:lnTo>
                  <a:pt x="4875593" y="2403094"/>
                </a:lnTo>
                <a:lnTo>
                  <a:pt x="4894769" y="2423782"/>
                </a:lnTo>
                <a:lnTo>
                  <a:pt x="4935824" y="2464992"/>
                </a:lnTo>
                <a:lnTo>
                  <a:pt x="4964163" y="2498639"/>
                </a:lnTo>
                <a:lnTo>
                  <a:pt x="4979380" y="2515055"/>
                </a:lnTo>
                <a:lnTo>
                  <a:pt x="4995273" y="2535578"/>
                </a:lnTo>
                <a:lnTo>
                  <a:pt x="5028344" y="2574846"/>
                </a:lnTo>
                <a:lnTo>
                  <a:pt x="5057698" y="2616189"/>
                </a:lnTo>
                <a:lnTo>
                  <a:pt x="5073596" y="2636717"/>
                </a:lnTo>
                <a:lnTo>
                  <a:pt x="5086244" y="2656395"/>
                </a:lnTo>
                <a:lnTo>
                  <a:pt x="5112164" y="2692902"/>
                </a:lnTo>
                <a:lnTo>
                  <a:pt x="5141608" y="2742519"/>
                </a:lnTo>
                <a:lnTo>
                  <a:pt x="5157568" y="2767348"/>
                </a:lnTo>
                <a:lnTo>
                  <a:pt x="5167158" y="2785577"/>
                </a:lnTo>
                <a:lnTo>
                  <a:pt x="5186724" y="2818550"/>
                </a:lnTo>
                <a:lnTo>
                  <a:pt x="5215275" y="2877044"/>
                </a:lnTo>
                <a:lnTo>
                  <a:pt x="5230624" y="2906220"/>
                </a:lnTo>
                <a:lnTo>
                  <a:pt x="5237439" y="2922452"/>
                </a:lnTo>
                <a:lnTo>
                  <a:pt x="5251470" y="2951192"/>
                </a:lnTo>
                <a:lnTo>
                  <a:pt x="5278100" y="3019278"/>
                </a:lnTo>
                <a:lnTo>
                  <a:pt x="5292092" y="3052600"/>
                </a:lnTo>
                <a:lnTo>
                  <a:pt x="5296504" y="3066337"/>
                </a:lnTo>
                <a:lnTo>
                  <a:pt x="5305849" y="3090227"/>
                </a:lnTo>
                <a:lnTo>
                  <a:pt x="5329471" y="3168956"/>
                </a:lnTo>
                <a:lnTo>
                  <a:pt x="5341293" y="3205756"/>
                </a:lnTo>
                <a:lnTo>
                  <a:pt x="5343751" y="3216552"/>
                </a:lnTo>
                <a:lnTo>
                  <a:pt x="5349304" y="3235051"/>
                </a:lnTo>
                <a:lnTo>
                  <a:pt x="5368795" y="3326492"/>
                </a:lnTo>
                <a:lnTo>
                  <a:pt x="5377557" y="3364959"/>
                </a:lnTo>
                <a:lnTo>
                  <a:pt x="5378582" y="3372411"/>
                </a:lnTo>
                <a:lnTo>
                  <a:pt x="5381281" y="3385062"/>
                </a:lnTo>
                <a:lnTo>
                  <a:pt x="5395472" y="3495066"/>
                </a:lnTo>
                <a:lnTo>
                  <a:pt x="5400210" y="3529474"/>
                </a:lnTo>
                <a:lnTo>
                  <a:pt x="5400377" y="3533097"/>
                </a:lnTo>
                <a:lnTo>
                  <a:pt x="5401224" y="3539659"/>
                </a:lnTo>
                <a:lnTo>
                  <a:pt x="5404554" y="3615954"/>
                </a:lnTo>
                <a:lnTo>
                  <a:pt x="5408611" y="3615954"/>
                </a:lnTo>
                <a:lnTo>
                  <a:pt x="5408611" y="3686294"/>
                </a:lnTo>
                <a:lnTo>
                  <a:pt x="5408611" y="3708935"/>
                </a:lnTo>
                <a:lnTo>
                  <a:pt x="5408611" y="3709464"/>
                </a:lnTo>
                <a:lnTo>
                  <a:pt x="5410552" y="3709464"/>
                </a:lnTo>
                <a:lnTo>
                  <a:pt x="5410552" y="4047423"/>
                </a:lnTo>
                <a:lnTo>
                  <a:pt x="5410552" y="4755011"/>
                </a:lnTo>
                <a:lnTo>
                  <a:pt x="5410552" y="5092970"/>
                </a:lnTo>
                <a:lnTo>
                  <a:pt x="5410552" y="5186482"/>
                </a:lnTo>
                <a:lnTo>
                  <a:pt x="5408629" y="5186482"/>
                </a:lnTo>
                <a:lnTo>
                  <a:pt x="5408629" y="6857999"/>
                </a:lnTo>
                <a:lnTo>
                  <a:pt x="4867572" y="6857999"/>
                </a:lnTo>
                <a:lnTo>
                  <a:pt x="3794895" y="6857999"/>
                </a:lnTo>
                <a:lnTo>
                  <a:pt x="3783656" y="6857999"/>
                </a:lnTo>
                <a:lnTo>
                  <a:pt x="3782698" y="6857999"/>
                </a:lnTo>
                <a:lnTo>
                  <a:pt x="3782682" y="6858000"/>
                </a:lnTo>
                <a:lnTo>
                  <a:pt x="3782667" y="6857999"/>
                </a:lnTo>
                <a:lnTo>
                  <a:pt x="3706296" y="6857999"/>
                </a:lnTo>
                <a:lnTo>
                  <a:pt x="3253837" y="6857999"/>
                </a:lnTo>
                <a:lnTo>
                  <a:pt x="3242599" y="6857999"/>
                </a:lnTo>
                <a:lnTo>
                  <a:pt x="3241641" y="6857999"/>
                </a:lnTo>
                <a:lnTo>
                  <a:pt x="3241626" y="6858000"/>
                </a:lnTo>
                <a:lnTo>
                  <a:pt x="3241609" y="6857999"/>
                </a:lnTo>
                <a:lnTo>
                  <a:pt x="3165240" y="6857999"/>
                </a:lnTo>
                <a:lnTo>
                  <a:pt x="2169922" y="6857999"/>
                </a:lnTo>
                <a:lnTo>
                  <a:pt x="2168963" y="6857999"/>
                </a:lnTo>
                <a:lnTo>
                  <a:pt x="2168947" y="6858000"/>
                </a:lnTo>
                <a:lnTo>
                  <a:pt x="2168931" y="6857999"/>
                </a:lnTo>
                <a:lnTo>
                  <a:pt x="2092561" y="6857999"/>
                </a:lnTo>
                <a:lnTo>
                  <a:pt x="1628865" y="6857999"/>
                </a:lnTo>
                <a:lnTo>
                  <a:pt x="1627906" y="6857999"/>
                </a:lnTo>
                <a:lnTo>
                  <a:pt x="1627892" y="6858000"/>
                </a:lnTo>
                <a:lnTo>
                  <a:pt x="1627875" y="6857999"/>
                </a:lnTo>
                <a:lnTo>
                  <a:pt x="1551506" y="6857999"/>
                </a:lnTo>
                <a:lnTo>
                  <a:pt x="1551506" y="6854025"/>
                </a:lnTo>
                <a:lnTo>
                  <a:pt x="1472786" y="6849979"/>
                </a:lnTo>
                <a:lnTo>
                  <a:pt x="1468010" y="6849239"/>
                </a:lnTo>
                <a:lnTo>
                  <a:pt x="1461647" y="6848892"/>
                </a:lnTo>
                <a:cubicBezTo>
                  <a:pt x="1365566" y="6838301"/>
                  <a:pt x="1271960" y="6818634"/>
                  <a:pt x="1181563" y="6790692"/>
                </a:cubicBezTo>
                <a:lnTo>
                  <a:pt x="1174972" y="6788314"/>
                </a:lnTo>
                <a:lnTo>
                  <a:pt x="1173836" y="6788017"/>
                </a:lnTo>
                <a:lnTo>
                  <a:pt x="1162533" y="6783825"/>
                </a:lnTo>
                <a:lnTo>
                  <a:pt x="1048471" y="6742670"/>
                </a:lnTo>
                <a:lnTo>
                  <a:pt x="1036764" y="6737186"/>
                </a:lnTo>
                <a:lnTo>
                  <a:pt x="1032314" y="6735535"/>
                </a:lnTo>
                <a:lnTo>
                  <a:pt x="1008260" y="6723832"/>
                </a:lnTo>
                <a:lnTo>
                  <a:pt x="920755" y="6682839"/>
                </a:lnTo>
                <a:lnTo>
                  <a:pt x="904423" y="6673313"/>
                </a:lnTo>
                <a:lnTo>
                  <a:pt x="896991" y="6669695"/>
                </a:lnTo>
                <a:lnTo>
                  <a:pt x="870891" y="6653750"/>
                </a:lnTo>
                <a:lnTo>
                  <a:pt x="798968" y="6611797"/>
                </a:lnTo>
                <a:lnTo>
                  <a:pt x="778585" y="6597363"/>
                </a:lnTo>
                <a:lnTo>
                  <a:pt x="768542" y="6591229"/>
                </a:lnTo>
                <a:lnTo>
                  <a:pt x="743688" y="6572653"/>
                </a:lnTo>
                <a:lnTo>
                  <a:pt x="683666" y="6530149"/>
                </a:lnTo>
                <a:lnTo>
                  <a:pt x="659881" y="6510014"/>
                </a:lnTo>
                <a:lnTo>
                  <a:pt x="647641" y="6500867"/>
                </a:lnTo>
                <a:lnTo>
                  <a:pt x="625351" y="6480784"/>
                </a:lnTo>
                <a:lnTo>
                  <a:pt x="575400" y="6438495"/>
                </a:lnTo>
                <a:lnTo>
                  <a:pt x="548941" y="6411937"/>
                </a:lnTo>
                <a:lnTo>
                  <a:pt x="534961" y="6399339"/>
                </a:lnTo>
                <a:lnTo>
                  <a:pt x="515783" y="6378653"/>
                </a:lnTo>
                <a:lnTo>
                  <a:pt x="474729" y="6337442"/>
                </a:lnTo>
                <a:lnTo>
                  <a:pt x="446391" y="6303796"/>
                </a:lnTo>
                <a:lnTo>
                  <a:pt x="431175" y="6287380"/>
                </a:lnTo>
                <a:lnTo>
                  <a:pt x="415281" y="6266857"/>
                </a:lnTo>
                <a:lnTo>
                  <a:pt x="382208" y="6227587"/>
                </a:lnTo>
                <a:lnTo>
                  <a:pt x="352856" y="6186244"/>
                </a:lnTo>
                <a:lnTo>
                  <a:pt x="336959" y="6165720"/>
                </a:lnTo>
                <a:lnTo>
                  <a:pt x="324308" y="6146039"/>
                </a:lnTo>
                <a:lnTo>
                  <a:pt x="298389" y="6109534"/>
                </a:lnTo>
                <a:lnTo>
                  <a:pt x="268946" y="6059914"/>
                </a:lnTo>
                <a:lnTo>
                  <a:pt x="252985" y="6035086"/>
                </a:lnTo>
                <a:lnTo>
                  <a:pt x="243395" y="6016857"/>
                </a:lnTo>
                <a:lnTo>
                  <a:pt x="223831" y="5983884"/>
                </a:lnTo>
                <a:lnTo>
                  <a:pt x="195278" y="5925391"/>
                </a:lnTo>
                <a:lnTo>
                  <a:pt x="179929" y="5896214"/>
                </a:lnTo>
                <a:lnTo>
                  <a:pt x="173113" y="5879983"/>
                </a:lnTo>
                <a:lnTo>
                  <a:pt x="159084" y="5851242"/>
                </a:lnTo>
                <a:lnTo>
                  <a:pt x="132456" y="5783156"/>
                </a:lnTo>
                <a:lnTo>
                  <a:pt x="118462" y="5749834"/>
                </a:lnTo>
                <a:lnTo>
                  <a:pt x="114051" y="5736099"/>
                </a:lnTo>
                <a:lnTo>
                  <a:pt x="104705" y="5712207"/>
                </a:lnTo>
                <a:lnTo>
                  <a:pt x="81084" y="5633479"/>
                </a:lnTo>
                <a:lnTo>
                  <a:pt x="69261" y="5596679"/>
                </a:lnTo>
                <a:lnTo>
                  <a:pt x="66802" y="5585881"/>
                </a:lnTo>
                <a:lnTo>
                  <a:pt x="61250" y="5567382"/>
                </a:lnTo>
                <a:lnTo>
                  <a:pt x="41759" y="5475943"/>
                </a:lnTo>
                <a:lnTo>
                  <a:pt x="32996" y="5437474"/>
                </a:lnTo>
                <a:lnTo>
                  <a:pt x="31970" y="5430024"/>
                </a:lnTo>
                <a:lnTo>
                  <a:pt x="29274" y="5417371"/>
                </a:lnTo>
                <a:lnTo>
                  <a:pt x="15083" y="5307370"/>
                </a:lnTo>
                <a:lnTo>
                  <a:pt x="10345" y="5272959"/>
                </a:lnTo>
                <a:lnTo>
                  <a:pt x="10177" y="5269337"/>
                </a:lnTo>
                <a:lnTo>
                  <a:pt x="9329" y="5262776"/>
                </a:lnTo>
                <a:lnTo>
                  <a:pt x="6002" y="5186482"/>
                </a:lnTo>
                <a:lnTo>
                  <a:pt x="1944" y="5186482"/>
                </a:lnTo>
                <a:lnTo>
                  <a:pt x="1944" y="5116140"/>
                </a:lnTo>
                <a:lnTo>
                  <a:pt x="1944" y="5093498"/>
                </a:lnTo>
                <a:lnTo>
                  <a:pt x="1944" y="5092970"/>
                </a:lnTo>
                <a:lnTo>
                  <a:pt x="0" y="5092970"/>
                </a:lnTo>
                <a:lnTo>
                  <a:pt x="0" y="4755011"/>
                </a:lnTo>
                <a:lnTo>
                  <a:pt x="0" y="4047423"/>
                </a:lnTo>
                <a:lnTo>
                  <a:pt x="0" y="3709464"/>
                </a:lnTo>
                <a:lnTo>
                  <a:pt x="0" y="3615954"/>
                </a:lnTo>
                <a:lnTo>
                  <a:pt x="1925" y="3615954"/>
                </a:lnTo>
                <a:lnTo>
                  <a:pt x="1925" y="3603350"/>
                </a:lnTo>
                <a:lnTo>
                  <a:pt x="0" y="360335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14369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9A901EF-4FE4-4A53-865E-60C6E33C45A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80266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4EF0C10-64E7-4AC4-8106-3BEAF12FB06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15086" y="659946"/>
            <a:ext cx="3035892" cy="3573476"/>
          </a:xfrm>
          <a:custGeom>
            <a:avLst/>
            <a:gdLst>
              <a:gd name="connsiteX0" fmla="*/ 1517955 w 3035892"/>
              <a:gd name="connsiteY0" fmla="*/ 0 h 3573476"/>
              <a:gd name="connsiteX1" fmla="*/ 1517970 w 3035892"/>
              <a:gd name="connsiteY1" fmla="*/ 1 h 3573476"/>
              <a:gd name="connsiteX2" fmla="*/ 1518863 w 3035892"/>
              <a:gd name="connsiteY2" fmla="*/ 1 h 3573476"/>
              <a:gd name="connsiteX3" fmla="*/ 3034099 w 3035892"/>
              <a:gd name="connsiteY3" fmla="*/ 1 h 3573476"/>
              <a:gd name="connsiteX4" fmla="*/ 3034099 w 3035892"/>
              <a:gd name="connsiteY4" fmla="*/ 1215642 h 3573476"/>
              <a:gd name="connsiteX5" fmla="*/ 3035892 w 3035892"/>
              <a:gd name="connsiteY5" fmla="*/ 1215642 h 3573476"/>
              <a:gd name="connsiteX6" fmla="*/ 3035892 w 3035892"/>
              <a:gd name="connsiteY6" fmla="*/ 1283649 h 3573476"/>
              <a:gd name="connsiteX7" fmla="*/ 3035892 w 3035892"/>
              <a:gd name="connsiteY7" fmla="*/ 1529436 h 3573476"/>
              <a:gd name="connsiteX8" fmla="*/ 3035892 w 3035892"/>
              <a:gd name="connsiteY8" fmla="*/ 2044041 h 3573476"/>
              <a:gd name="connsiteX9" fmla="*/ 3035892 w 3035892"/>
              <a:gd name="connsiteY9" fmla="*/ 2289827 h 3573476"/>
              <a:gd name="connsiteX10" fmla="*/ 3034081 w 3035892"/>
              <a:gd name="connsiteY10" fmla="*/ 2289827 h 3573476"/>
              <a:gd name="connsiteX11" fmla="*/ 3034081 w 3035892"/>
              <a:gd name="connsiteY11" fmla="*/ 2289827 h 3573476"/>
              <a:gd name="connsiteX12" fmla="*/ 3034081 w 3035892"/>
              <a:gd name="connsiteY12" fmla="*/ 2290211 h 3573476"/>
              <a:gd name="connsiteX13" fmla="*/ 3034081 w 3035892"/>
              <a:gd name="connsiteY13" fmla="*/ 2306678 h 3573476"/>
              <a:gd name="connsiteX14" fmla="*/ 3034081 w 3035892"/>
              <a:gd name="connsiteY14" fmla="*/ 2357834 h 3573476"/>
              <a:gd name="connsiteX15" fmla="*/ 3030297 w 3035892"/>
              <a:gd name="connsiteY15" fmla="*/ 2357834 h 3573476"/>
              <a:gd name="connsiteX16" fmla="*/ 3027194 w 3035892"/>
              <a:gd name="connsiteY16" fmla="*/ 2413321 h 3573476"/>
              <a:gd name="connsiteX17" fmla="*/ 3026404 w 3035892"/>
              <a:gd name="connsiteY17" fmla="*/ 2418092 h 3573476"/>
              <a:gd name="connsiteX18" fmla="*/ 3026247 w 3035892"/>
              <a:gd name="connsiteY18" fmla="*/ 2420727 h 3573476"/>
              <a:gd name="connsiteX19" fmla="*/ 3021829 w 3035892"/>
              <a:gd name="connsiteY19" fmla="*/ 2445752 h 3573476"/>
              <a:gd name="connsiteX20" fmla="*/ 3008596 w 3035892"/>
              <a:gd name="connsiteY20" fmla="*/ 2525754 h 3573476"/>
              <a:gd name="connsiteX21" fmla="*/ 3006082 w 3035892"/>
              <a:gd name="connsiteY21" fmla="*/ 2534955 h 3573476"/>
              <a:gd name="connsiteX22" fmla="*/ 3005125 w 3035892"/>
              <a:gd name="connsiteY22" fmla="*/ 2540374 h 3573476"/>
              <a:gd name="connsiteX23" fmla="*/ 2996954 w 3035892"/>
              <a:gd name="connsiteY23" fmla="*/ 2568350 h 3573476"/>
              <a:gd name="connsiteX24" fmla="*/ 2978779 w 3035892"/>
              <a:gd name="connsiteY24" fmla="*/ 2634852 h 3573476"/>
              <a:gd name="connsiteX25" fmla="*/ 2973603 w 3035892"/>
              <a:gd name="connsiteY25" fmla="*/ 2648306 h 3573476"/>
              <a:gd name="connsiteX26" fmla="*/ 2971310 w 3035892"/>
              <a:gd name="connsiteY26" fmla="*/ 2656157 h 3573476"/>
              <a:gd name="connsiteX27" fmla="*/ 2960286 w 3035892"/>
              <a:gd name="connsiteY27" fmla="*/ 2682921 h 3573476"/>
              <a:gd name="connsiteX28" fmla="*/ 2938258 w 3035892"/>
              <a:gd name="connsiteY28" fmla="*/ 2740178 h 3573476"/>
              <a:gd name="connsiteX29" fmla="*/ 2929546 w 3035892"/>
              <a:gd name="connsiteY29" fmla="*/ 2757553 h 3573476"/>
              <a:gd name="connsiteX30" fmla="*/ 2925431 w 3035892"/>
              <a:gd name="connsiteY30" fmla="*/ 2767542 h 3573476"/>
              <a:gd name="connsiteX31" fmla="*/ 2912383 w 3035892"/>
              <a:gd name="connsiteY31" fmla="*/ 2791777 h 3573476"/>
              <a:gd name="connsiteX32" fmla="*/ 2887552 w 3035892"/>
              <a:gd name="connsiteY32" fmla="*/ 2841293 h 3573476"/>
              <a:gd name="connsiteX33" fmla="*/ 2874470 w 3035892"/>
              <a:gd name="connsiteY33" fmla="*/ 2862196 h 3573476"/>
              <a:gd name="connsiteX34" fmla="*/ 2868115 w 3035892"/>
              <a:gd name="connsiteY34" fmla="*/ 2874000 h 3573476"/>
              <a:gd name="connsiteX35" fmla="*/ 2853802 w 3035892"/>
              <a:gd name="connsiteY35" fmla="*/ 2895219 h 3573476"/>
              <a:gd name="connsiteX36" fmla="*/ 2827179 w 3035892"/>
              <a:gd name="connsiteY36" fmla="*/ 2937760 h 3573476"/>
              <a:gd name="connsiteX37" fmla="*/ 2808935 w 3035892"/>
              <a:gd name="connsiteY37" fmla="*/ 2961740 h 3573476"/>
              <a:gd name="connsiteX38" fmla="*/ 2799992 w 3035892"/>
              <a:gd name="connsiteY38" fmla="*/ 2974997 h 3573476"/>
              <a:gd name="connsiteX39" fmla="*/ 2785109 w 3035892"/>
              <a:gd name="connsiteY39" fmla="*/ 2993054 h 3573476"/>
              <a:gd name="connsiteX40" fmla="*/ 2757655 w 3035892"/>
              <a:gd name="connsiteY40" fmla="*/ 3029140 h 3573476"/>
              <a:gd name="connsiteX41" fmla="*/ 2733486 w 3035892"/>
              <a:gd name="connsiteY41" fmla="*/ 3055689 h 3573476"/>
              <a:gd name="connsiteX42" fmla="*/ 2721690 w 3035892"/>
              <a:gd name="connsiteY42" fmla="*/ 3070002 h 3573476"/>
              <a:gd name="connsiteX43" fmla="*/ 2706867 w 3035892"/>
              <a:gd name="connsiteY43" fmla="*/ 3084930 h 3573476"/>
              <a:gd name="connsiteX44" fmla="*/ 2679496 w 3035892"/>
              <a:gd name="connsiteY44" fmla="*/ 3114997 h 3573476"/>
              <a:gd name="connsiteX45" fmla="*/ 2648656 w 3035892"/>
              <a:gd name="connsiteY45" fmla="*/ 3143557 h 3573476"/>
              <a:gd name="connsiteX46" fmla="*/ 2633836 w 3035892"/>
              <a:gd name="connsiteY46" fmla="*/ 3158482 h 3573476"/>
              <a:gd name="connsiteX47" fmla="*/ 2619647 w 3035892"/>
              <a:gd name="connsiteY47" fmla="*/ 3170420 h 3573476"/>
              <a:gd name="connsiteX48" fmla="*/ 2593223 w 3035892"/>
              <a:gd name="connsiteY48" fmla="*/ 3194890 h 3573476"/>
              <a:gd name="connsiteX49" fmla="*/ 2554942 w 3035892"/>
              <a:gd name="connsiteY49" fmla="*/ 3224862 h 3573476"/>
              <a:gd name="connsiteX50" fmla="*/ 2537060 w 3035892"/>
              <a:gd name="connsiteY50" fmla="*/ 3239907 h 3573476"/>
              <a:gd name="connsiteX51" fmla="*/ 2524023 w 3035892"/>
              <a:gd name="connsiteY51" fmla="*/ 3249067 h 3573476"/>
              <a:gd name="connsiteX52" fmla="*/ 2499351 w 3035892"/>
              <a:gd name="connsiteY52" fmla="*/ 3268384 h 3573476"/>
              <a:gd name="connsiteX53" fmla="*/ 2452772 w 3035892"/>
              <a:gd name="connsiteY53" fmla="*/ 3299138 h 3573476"/>
              <a:gd name="connsiteX54" fmla="*/ 2431989 w 3035892"/>
              <a:gd name="connsiteY54" fmla="*/ 3313744 h 3573476"/>
              <a:gd name="connsiteX55" fmla="*/ 2420575 w 3035892"/>
              <a:gd name="connsiteY55" fmla="*/ 3320397 h 3573476"/>
              <a:gd name="connsiteX56" fmla="*/ 2398398 w 3035892"/>
              <a:gd name="connsiteY56" fmla="*/ 3335040 h 3573476"/>
              <a:gd name="connsiteX57" fmla="*/ 2342427 w 3035892"/>
              <a:gd name="connsiteY57" fmla="*/ 3365951 h 3573476"/>
              <a:gd name="connsiteX58" fmla="*/ 2319252 w 3035892"/>
              <a:gd name="connsiteY58" fmla="*/ 3379461 h 3573476"/>
              <a:gd name="connsiteX59" fmla="*/ 2309888 w 3035892"/>
              <a:gd name="connsiteY59" fmla="*/ 3383922 h 3573476"/>
              <a:gd name="connsiteX60" fmla="*/ 2290881 w 3035892"/>
              <a:gd name="connsiteY60" fmla="*/ 3394420 h 3573476"/>
              <a:gd name="connsiteX61" fmla="*/ 2223815 w 3035892"/>
              <a:gd name="connsiteY61" fmla="*/ 3424932 h 3573476"/>
              <a:gd name="connsiteX62" fmla="*/ 2199478 w 3035892"/>
              <a:gd name="connsiteY62" fmla="*/ 3436528 h 3573476"/>
              <a:gd name="connsiteX63" fmla="*/ 2192547 w 3035892"/>
              <a:gd name="connsiteY63" fmla="*/ 3439158 h 3573476"/>
              <a:gd name="connsiteX64" fmla="*/ 2177319 w 3035892"/>
              <a:gd name="connsiteY64" fmla="*/ 3446086 h 3573476"/>
              <a:gd name="connsiteX65" fmla="*/ 2095723 w 3035892"/>
              <a:gd name="connsiteY65" fmla="*/ 3475899 h 3573476"/>
              <a:gd name="connsiteX66" fmla="*/ 2073293 w 3035892"/>
              <a:gd name="connsiteY66" fmla="*/ 3484410 h 3573476"/>
              <a:gd name="connsiteX67" fmla="*/ 2069144 w 3035892"/>
              <a:gd name="connsiteY67" fmla="*/ 3485611 h 3573476"/>
              <a:gd name="connsiteX68" fmla="*/ 2058227 w 3035892"/>
              <a:gd name="connsiteY68" fmla="*/ 3489600 h 3573476"/>
              <a:gd name="connsiteX69" fmla="*/ 1951868 w 3035892"/>
              <a:gd name="connsiteY69" fmla="*/ 3519529 h 3573476"/>
              <a:gd name="connsiteX70" fmla="*/ 1941328 w 3035892"/>
              <a:gd name="connsiteY70" fmla="*/ 3522579 h 3573476"/>
              <a:gd name="connsiteX71" fmla="*/ 1940269 w 3035892"/>
              <a:gd name="connsiteY71" fmla="*/ 3522794 h 3573476"/>
              <a:gd name="connsiteX72" fmla="*/ 1934124 w 3035892"/>
              <a:gd name="connsiteY72" fmla="*/ 3524523 h 3573476"/>
              <a:gd name="connsiteX73" fmla="*/ 1672953 w 3035892"/>
              <a:gd name="connsiteY73" fmla="*/ 3566851 h 3573476"/>
              <a:gd name="connsiteX74" fmla="*/ 1667021 w 3035892"/>
              <a:gd name="connsiteY74" fmla="*/ 3567104 h 3573476"/>
              <a:gd name="connsiteX75" fmla="*/ 1662567 w 3035892"/>
              <a:gd name="connsiteY75" fmla="*/ 3567643 h 3573476"/>
              <a:gd name="connsiteX76" fmla="*/ 1589164 w 3035892"/>
              <a:gd name="connsiteY76" fmla="*/ 3570585 h 3573476"/>
              <a:gd name="connsiteX77" fmla="*/ 1589164 w 3035892"/>
              <a:gd name="connsiteY77" fmla="*/ 3573476 h 3573476"/>
              <a:gd name="connsiteX78" fmla="*/ 1517952 w 3035892"/>
              <a:gd name="connsiteY78" fmla="*/ 3573476 h 3573476"/>
              <a:gd name="connsiteX79" fmla="*/ 1517937 w 3035892"/>
              <a:gd name="connsiteY79" fmla="*/ 3573476 h 3573476"/>
              <a:gd name="connsiteX80" fmla="*/ 1517922 w 3035892"/>
              <a:gd name="connsiteY80" fmla="*/ 3573476 h 3573476"/>
              <a:gd name="connsiteX81" fmla="*/ 1517029 w 3035892"/>
              <a:gd name="connsiteY81" fmla="*/ 3573476 h 3573476"/>
              <a:gd name="connsiteX82" fmla="*/ 1794 w 3035892"/>
              <a:gd name="connsiteY82" fmla="*/ 3573476 h 3573476"/>
              <a:gd name="connsiteX83" fmla="*/ 1794 w 3035892"/>
              <a:gd name="connsiteY83" fmla="*/ 2357835 h 3573476"/>
              <a:gd name="connsiteX84" fmla="*/ 0 w 3035892"/>
              <a:gd name="connsiteY84" fmla="*/ 2357835 h 3573476"/>
              <a:gd name="connsiteX85" fmla="*/ 0 w 3035892"/>
              <a:gd name="connsiteY85" fmla="*/ 2289827 h 3573476"/>
              <a:gd name="connsiteX86" fmla="*/ 0 w 3035892"/>
              <a:gd name="connsiteY86" fmla="*/ 2044041 h 3573476"/>
              <a:gd name="connsiteX87" fmla="*/ 0 w 3035892"/>
              <a:gd name="connsiteY87" fmla="*/ 1529436 h 3573476"/>
              <a:gd name="connsiteX88" fmla="*/ 0 w 3035892"/>
              <a:gd name="connsiteY88" fmla="*/ 1283650 h 3573476"/>
              <a:gd name="connsiteX89" fmla="*/ 1811 w 3035892"/>
              <a:gd name="connsiteY89" fmla="*/ 1283650 h 3573476"/>
              <a:gd name="connsiteX90" fmla="*/ 1811 w 3035892"/>
              <a:gd name="connsiteY90" fmla="*/ 1283649 h 3573476"/>
              <a:gd name="connsiteX91" fmla="*/ 1811 w 3035892"/>
              <a:gd name="connsiteY91" fmla="*/ 1283265 h 3573476"/>
              <a:gd name="connsiteX92" fmla="*/ 1811 w 3035892"/>
              <a:gd name="connsiteY92" fmla="*/ 1266798 h 3573476"/>
              <a:gd name="connsiteX93" fmla="*/ 1811 w 3035892"/>
              <a:gd name="connsiteY93" fmla="*/ 1215642 h 3573476"/>
              <a:gd name="connsiteX94" fmla="*/ 5595 w 3035892"/>
              <a:gd name="connsiteY94" fmla="*/ 1215642 h 3573476"/>
              <a:gd name="connsiteX95" fmla="*/ 8698 w 3035892"/>
              <a:gd name="connsiteY95" fmla="*/ 1160155 h 3573476"/>
              <a:gd name="connsiteX96" fmla="*/ 9488 w 3035892"/>
              <a:gd name="connsiteY96" fmla="*/ 1155383 h 3573476"/>
              <a:gd name="connsiteX97" fmla="*/ 9645 w 3035892"/>
              <a:gd name="connsiteY97" fmla="*/ 1152749 h 3573476"/>
              <a:gd name="connsiteX98" fmla="*/ 14063 w 3035892"/>
              <a:gd name="connsiteY98" fmla="*/ 1127724 h 3573476"/>
              <a:gd name="connsiteX99" fmla="*/ 27296 w 3035892"/>
              <a:gd name="connsiteY99" fmla="*/ 1047722 h 3573476"/>
              <a:gd name="connsiteX100" fmla="*/ 29811 w 3035892"/>
              <a:gd name="connsiteY100" fmla="*/ 1038521 h 3573476"/>
              <a:gd name="connsiteX101" fmla="*/ 30767 w 3035892"/>
              <a:gd name="connsiteY101" fmla="*/ 1033102 h 3573476"/>
              <a:gd name="connsiteX102" fmla="*/ 38938 w 3035892"/>
              <a:gd name="connsiteY102" fmla="*/ 1005126 h 3573476"/>
              <a:gd name="connsiteX103" fmla="*/ 57113 w 3035892"/>
              <a:gd name="connsiteY103" fmla="*/ 938624 h 3573476"/>
              <a:gd name="connsiteX104" fmla="*/ 62289 w 3035892"/>
              <a:gd name="connsiteY104" fmla="*/ 925170 h 3573476"/>
              <a:gd name="connsiteX105" fmla="*/ 64582 w 3035892"/>
              <a:gd name="connsiteY105" fmla="*/ 917319 h 3573476"/>
              <a:gd name="connsiteX106" fmla="*/ 75606 w 3035892"/>
              <a:gd name="connsiteY106" fmla="*/ 890555 h 3573476"/>
              <a:gd name="connsiteX107" fmla="*/ 97634 w 3035892"/>
              <a:gd name="connsiteY107" fmla="*/ 833298 h 3573476"/>
              <a:gd name="connsiteX108" fmla="*/ 106347 w 3035892"/>
              <a:gd name="connsiteY108" fmla="*/ 815923 h 3573476"/>
              <a:gd name="connsiteX109" fmla="*/ 110461 w 3035892"/>
              <a:gd name="connsiteY109" fmla="*/ 805934 h 3573476"/>
              <a:gd name="connsiteX110" fmla="*/ 123509 w 3035892"/>
              <a:gd name="connsiteY110" fmla="*/ 781699 h 3573476"/>
              <a:gd name="connsiteX111" fmla="*/ 148340 w 3035892"/>
              <a:gd name="connsiteY111" fmla="*/ 732182 h 3573476"/>
              <a:gd name="connsiteX112" fmla="*/ 161422 w 3035892"/>
              <a:gd name="connsiteY112" fmla="*/ 711281 h 3573476"/>
              <a:gd name="connsiteX113" fmla="*/ 167777 w 3035892"/>
              <a:gd name="connsiteY113" fmla="*/ 699476 h 3573476"/>
              <a:gd name="connsiteX114" fmla="*/ 182090 w 3035892"/>
              <a:gd name="connsiteY114" fmla="*/ 678257 h 3573476"/>
              <a:gd name="connsiteX115" fmla="*/ 208713 w 3035892"/>
              <a:gd name="connsiteY115" fmla="*/ 635717 h 3573476"/>
              <a:gd name="connsiteX116" fmla="*/ 226957 w 3035892"/>
              <a:gd name="connsiteY116" fmla="*/ 611737 h 3573476"/>
              <a:gd name="connsiteX117" fmla="*/ 235900 w 3035892"/>
              <a:gd name="connsiteY117" fmla="*/ 598479 h 3573476"/>
              <a:gd name="connsiteX118" fmla="*/ 250783 w 3035892"/>
              <a:gd name="connsiteY118" fmla="*/ 580422 h 3573476"/>
              <a:gd name="connsiteX119" fmla="*/ 278237 w 3035892"/>
              <a:gd name="connsiteY119" fmla="*/ 544336 h 3573476"/>
              <a:gd name="connsiteX120" fmla="*/ 302406 w 3035892"/>
              <a:gd name="connsiteY120" fmla="*/ 517787 h 3573476"/>
              <a:gd name="connsiteX121" fmla="*/ 314202 w 3035892"/>
              <a:gd name="connsiteY121" fmla="*/ 503474 h 3573476"/>
              <a:gd name="connsiteX122" fmla="*/ 329025 w 3035892"/>
              <a:gd name="connsiteY122" fmla="*/ 488547 h 3573476"/>
              <a:gd name="connsiteX123" fmla="*/ 356396 w 3035892"/>
              <a:gd name="connsiteY123" fmla="*/ 458480 h 3573476"/>
              <a:gd name="connsiteX124" fmla="*/ 387236 w 3035892"/>
              <a:gd name="connsiteY124" fmla="*/ 429920 h 3573476"/>
              <a:gd name="connsiteX125" fmla="*/ 402056 w 3035892"/>
              <a:gd name="connsiteY125" fmla="*/ 414994 h 3573476"/>
              <a:gd name="connsiteX126" fmla="*/ 416245 w 3035892"/>
              <a:gd name="connsiteY126" fmla="*/ 403056 h 3573476"/>
              <a:gd name="connsiteX127" fmla="*/ 442669 w 3035892"/>
              <a:gd name="connsiteY127" fmla="*/ 378585 h 3573476"/>
              <a:gd name="connsiteX128" fmla="*/ 480950 w 3035892"/>
              <a:gd name="connsiteY128" fmla="*/ 348615 h 3573476"/>
              <a:gd name="connsiteX129" fmla="*/ 498832 w 3035892"/>
              <a:gd name="connsiteY129" fmla="*/ 333570 h 3573476"/>
              <a:gd name="connsiteX130" fmla="*/ 511869 w 3035892"/>
              <a:gd name="connsiteY130" fmla="*/ 324408 h 3573476"/>
              <a:gd name="connsiteX131" fmla="*/ 536541 w 3035892"/>
              <a:gd name="connsiteY131" fmla="*/ 305092 h 3573476"/>
              <a:gd name="connsiteX132" fmla="*/ 583119 w 3035892"/>
              <a:gd name="connsiteY132" fmla="*/ 274338 h 3573476"/>
              <a:gd name="connsiteX133" fmla="*/ 603903 w 3035892"/>
              <a:gd name="connsiteY133" fmla="*/ 259732 h 3573476"/>
              <a:gd name="connsiteX134" fmla="*/ 615316 w 3035892"/>
              <a:gd name="connsiteY134" fmla="*/ 253079 h 3573476"/>
              <a:gd name="connsiteX135" fmla="*/ 637495 w 3035892"/>
              <a:gd name="connsiteY135" fmla="*/ 238436 h 3573476"/>
              <a:gd name="connsiteX136" fmla="*/ 693465 w 3035892"/>
              <a:gd name="connsiteY136" fmla="*/ 207524 h 3573476"/>
              <a:gd name="connsiteX137" fmla="*/ 716640 w 3035892"/>
              <a:gd name="connsiteY137" fmla="*/ 194015 h 3573476"/>
              <a:gd name="connsiteX138" fmla="*/ 726004 w 3035892"/>
              <a:gd name="connsiteY138" fmla="*/ 189554 h 3573476"/>
              <a:gd name="connsiteX139" fmla="*/ 745011 w 3035892"/>
              <a:gd name="connsiteY139" fmla="*/ 179057 h 3573476"/>
              <a:gd name="connsiteX140" fmla="*/ 812077 w 3035892"/>
              <a:gd name="connsiteY140" fmla="*/ 148545 h 3573476"/>
              <a:gd name="connsiteX141" fmla="*/ 836414 w 3035892"/>
              <a:gd name="connsiteY141" fmla="*/ 136949 h 3573476"/>
              <a:gd name="connsiteX142" fmla="*/ 843345 w 3035892"/>
              <a:gd name="connsiteY142" fmla="*/ 134319 h 3573476"/>
              <a:gd name="connsiteX143" fmla="*/ 858574 w 3035892"/>
              <a:gd name="connsiteY143" fmla="*/ 127390 h 3573476"/>
              <a:gd name="connsiteX144" fmla="*/ 940169 w 3035892"/>
              <a:gd name="connsiteY144" fmla="*/ 97577 h 3573476"/>
              <a:gd name="connsiteX145" fmla="*/ 962599 w 3035892"/>
              <a:gd name="connsiteY145" fmla="*/ 89065 h 3573476"/>
              <a:gd name="connsiteX146" fmla="*/ 966748 w 3035892"/>
              <a:gd name="connsiteY146" fmla="*/ 87866 h 3573476"/>
              <a:gd name="connsiteX147" fmla="*/ 977665 w 3035892"/>
              <a:gd name="connsiteY147" fmla="*/ 83877 h 3573476"/>
              <a:gd name="connsiteX148" fmla="*/ 1084024 w 3035892"/>
              <a:gd name="connsiteY148" fmla="*/ 53947 h 3573476"/>
              <a:gd name="connsiteX149" fmla="*/ 1094564 w 3035892"/>
              <a:gd name="connsiteY149" fmla="*/ 50897 h 3573476"/>
              <a:gd name="connsiteX150" fmla="*/ 1095623 w 3035892"/>
              <a:gd name="connsiteY150" fmla="*/ 50681 h 3573476"/>
              <a:gd name="connsiteX151" fmla="*/ 1101768 w 3035892"/>
              <a:gd name="connsiteY151" fmla="*/ 48953 h 3573476"/>
              <a:gd name="connsiteX152" fmla="*/ 1362938 w 3035892"/>
              <a:gd name="connsiteY152" fmla="*/ 6625 h 3573476"/>
              <a:gd name="connsiteX153" fmla="*/ 1368872 w 3035892"/>
              <a:gd name="connsiteY153" fmla="*/ 6373 h 3573476"/>
              <a:gd name="connsiteX154" fmla="*/ 1373325 w 3035892"/>
              <a:gd name="connsiteY154" fmla="*/ 5833 h 3573476"/>
              <a:gd name="connsiteX155" fmla="*/ 1446728 w 3035892"/>
              <a:gd name="connsiteY155" fmla="*/ 2891 h 3573476"/>
              <a:gd name="connsiteX156" fmla="*/ 1446728 w 3035892"/>
              <a:gd name="connsiteY156" fmla="*/ 1 h 3573476"/>
              <a:gd name="connsiteX157" fmla="*/ 1517940 w 3035892"/>
              <a:gd name="connsiteY157" fmla="*/ 1 h 357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3035892" h="3573476">
                <a:moveTo>
                  <a:pt x="1517955" y="0"/>
                </a:moveTo>
                <a:lnTo>
                  <a:pt x="1517970" y="1"/>
                </a:lnTo>
                <a:lnTo>
                  <a:pt x="1518863" y="1"/>
                </a:lnTo>
                <a:lnTo>
                  <a:pt x="3034099" y="1"/>
                </a:lnTo>
                <a:lnTo>
                  <a:pt x="3034099" y="1215642"/>
                </a:lnTo>
                <a:lnTo>
                  <a:pt x="3035892" y="1215642"/>
                </a:lnTo>
                <a:lnTo>
                  <a:pt x="3035892" y="1283649"/>
                </a:lnTo>
                <a:lnTo>
                  <a:pt x="3035892" y="1529436"/>
                </a:lnTo>
                <a:lnTo>
                  <a:pt x="3035892" y="2044041"/>
                </a:lnTo>
                <a:lnTo>
                  <a:pt x="3035892" y="2289827"/>
                </a:lnTo>
                <a:lnTo>
                  <a:pt x="3034081" y="2289827"/>
                </a:lnTo>
                <a:lnTo>
                  <a:pt x="3034081" y="2289827"/>
                </a:lnTo>
                <a:lnTo>
                  <a:pt x="3034081" y="2290211"/>
                </a:lnTo>
                <a:lnTo>
                  <a:pt x="3034081" y="2306678"/>
                </a:lnTo>
                <a:lnTo>
                  <a:pt x="3034081" y="2357834"/>
                </a:lnTo>
                <a:lnTo>
                  <a:pt x="3030297" y="2357834"/>
                </a:lnTo>
                <a:lnTo>
                  <a:pt x="3027194" y="2413321"/>
                </a:lnTo>
                <a:lnTo>
                  <a:pt x="3026404" y="2418092"/>
                </a:lnTo>
                <a:lnTo>
                  <a:pt x="3026247" y="2420727"/>
                </a:lnTo>
                <a:lnTo>
                  <a:pt x="3021829" y="2445752"/>
                </a:lnTo>
                <a:lnTo>
                  <a:pt x="3008596" y="2525754"/>
                </a:lnTo>
                <a:lnTo>
                  <a:pt x="3006082" y="2534955"/>
                </a:lnTo>
                <a:lnTo>
                  <a:pt x="3005125" y="2540374"/>
                </a:lnTo>
                <a:lnTo>
                  <a:pt x="2996954" y="2568350"/>
                </a:lnTo>
                <a:lnTo>
                  <a:pt x="2978779" y="2634852"/>
                </a:lnTo>
                <a:lnTo>
                  <a:pt x="2973603" y="2648306"/>
                </a:lnTo>
                <a:lnTo>
                  <a:pt x="2971310" y="2656157"/>
                </a:lnTo>
                <a:lnTo>
                  <a:pt x="2960286" y="2682921"/>
                </a:lnTo>
                <a:lnTo>
                  <a:pt x="2938258" y="2740178"/>
                </a:lnTo>
                <a:lnTo>
                  <a:pt x="2929546" y="2757553"/>
                </a:lnTo>
                <a:lnTo>
                  <a:pt x="2925431" y="2767542"/>
                </a:lnTo>
                <a:lnTo>
                  <a:pt x="2912383" y="2791777"/>
                </a:lnTo>
                <a:lnTo>
                  <a:pt x="2887552" y="2841293"/>
                </a:lnTo>
                <a:lnTo>
                  <a:pt x="2874470" y="2862196"/>
                </a:lnTo>
                <a:lnTo>
                  <a:pt x="2868115" y="2874000"/>
                </a:lnTo>
                <a:lnTo>
                  <a:pt x="2853802" y="2895219"/>
                </a:lnTo>
                <a:lnTo>
                  <a:pt x="2827179" y="2937760"/>
                </a:lnTo>
                <a:lnTo>
                  <a:pt x="2808935" y="2961740"/>
                </a:lnTo>
                <a:lnTo>
                  <a:pt x="2799992" y="2974997"/>
                </a:lnTo>
                <a:lnTo>
                  <a:pt x="2785109" y="2993054"/>
                </a:lnTo>
                <a:lnTo>
                  <a:pt x="2757655" y="3029140"/>
                </a:lnTo>
                <a:lnTo>
                  <a:pt x="2733486" y="3055689"/>
                </a:lnTo>
                <a:lnTo>
                  <a:pt x="2721690" y="3070002"/>
                </a:lnTo>
                <a:lnTo>
                  <a:pt x="2706867" y="3084930"/>
                </a:lnTo>
                <a:lnTo>
                  <a:pt x="2679496" y="3114997"/>
                </a:lnTo>
                <a:lnTo>
                  <a:pt x="2648656" y="3143557"/>
                </a:lnTo>
                <a:lnTo>
                  <a:pt x="2633836" y="3158482"/>
                </a:lnTo>
                <a:lnTo>
                  <a:pt x="2619647" y="3170420"/>
                </a:lnTo>
                <a:lnTo>
                  <a:pt x="2593223" y="3194890"/>
                </a:lnTo>
                <a:lnTo>
                  <a:pt x="2554942" y="3224862"/>
                </a:lnTo>
                <a:lnTo>
                  <a:pt x="2537060" y="3239907"/>
                </a:lnTo>
                <a:lnTo>
                  <a:pt x="2524023" y="3249067"/>
                </a:lnTo>
                <a:lnTo>
                  <a:pt x="2499351" y="3268384"/>
                </a:lnTo>
                <a:lnTo>
                  <a:pt x="2452772" y="3299138"/>
                </a:lnTo>
                <a:lnTo>
                  <a:pt x="2431989" y="3313744"/>
                </a:lnTo>
                <a:lnTo>
                  <a:pt x="2420575" y="3320397"/>
                </a:lnTo>
                <a:lnTo>
                  <a:pt x="2398398" y="3335040"/>
                </a:lnTo>
                <a:lnTo>
                  <a:pt x="2342427" y="3365951"/>
                </a:lnTo>
                <a:lnTo>
                  <a:pt x="2319252" y="3379461"/>
                </a:lnTo>
                <a:lnTo>
                  <a:pt x="2309888" y="3383922"/>
                </a:lnTo>
                <a:lnTo>
                  <a:pt x="2290881" y="3394420"/>
                </a:lnTo>
                <a:lnTo>
                  <a:pt x="2223815" y="3424932"/>
                </a:lnTo>
                <a:lnTo>
                  <a:pt x="2199478" y="3436528"/>
                </a:lnTo>
                <a:lnTo>
                  <a:pt x="2192547" y="3439158"/>
                </a:lnTo>
                <a:lnTo>
                  <a:pt x="2177319" y="3446086"/>
                </a:lnTo>
                <a:lnTo>
                  <a:pt x="2095723" y="3475899"/>
                </a:lnTo>
                <a:lnTo>
                  <a:pt x="2073293" y="3484410"/>
                </a:lnTo>
                <a:lnTo>
                  <a:pt x="2069144" y="3485611"/>
                </a:lnTo>
                <a:lnTo>
                  <a:pt x="2058227" y="3489600"/>
                </a:lnTo>
                <a:lnTo>
                  <a:pt x="1951868" y="3519529"/>
                </a:lnTo>
                <a:lnTo>
                  <a:pt x="1941328" y="3522579"/>
                </a:lnTo>
                <a:lnTo>
                  <a:pt x="1940269" y="3522794"/>
                </a:lnTo>
                <a:lnTo>
                  <a:pt x="1934124" y="3524523"/>
                </a:lnTo>
                <a:cubicBezTo>
                  <a:pt x="1849832" y="3544846"/>
                  <a:pt x="1762546" y="3559149"/>
                  <a:pt x="1672953" y="3566851"/>
                </a:cubicBezTo>
                <a:lnTo>
                  <a:pt x="1667021" y="3567104"/>
                </a:lnTo>
                <a:lnTo>
                  <a:pt x="1662567" y="3567643"/>
                </a:lnTo>
                <a:lnTo>
                  <a:pt x="1589164" y="3570585"/>
                </a:lnTo>
                <a:lnTo>
                  <a:pt x="1589164" y="3573476"/>
                </a:lnTo>
                <a:lnTo>
                  <a:pt x="1517952" y="3573476"/>
                </a:lnTo>
                <a:lnTo>
                  <a:pt x="1517937" y="3573476"/>
                </a:lnTo>
                <a:lnTo>
                  <a:pt x="1517922" y="3573476"/>
                </a:lnTo>
                <a:lnTo>
                  <a:pt x="1517029" y="3573476"/>
                </a:lnTo>
                <a:lnTo>
                  <a:pt x="1794" y="3573476"/>
                </a:lnTo>
                <a:lnTo>
                  <a:pt x="1794" y="2357835"/>
                </a:lnTo>
                <a:lnTo>
                  <a:pt x="0" y="2357835"/>
                </a:lnTo>
                <a:lnTo>
                  <a:pt x="0" y="2289827"/>
                </a:lnTo>
                <a:lnTo>
                  <a:pt x="0" y="2044041"/>
                </a:lnTo>
                <a:lnTo>
                  <a:pt x="0" y="1529436"/>
                </a:lnTo>
                <a:lnTo>
                  <a:pt x="0" y="1283650"/>
                </a:lnTo>
                <a:lnTo>
                  <a:pt x="1811" y="1283650"/>
                </a:lnTo>
                <a:lnTo>
                  <a:pt x="1811" y="1283649"/>
                </a:lnTo>
                <a:lnTo>
                  <a:pt x="1811" y="1283265"/>
                </a:lnTo>
                <a:lnTo>
                  <a:pt x="1811" y="1266798"/>
                </a:lnTo>
                <a:lnTo>
                  <a:pt x="1811" y="1215642"/>
                </a:lnTo>
                <a:lnTo>
                  <a:pt x="5595" y="1215642"/>
                </a:lnTo>
                <a:lnTo>
                  <a:pt x="8698" y="1160155"/>
                </a:lnTo>
                <a:lnTo>
                  <a:pt x="9488" y="1155383"/>
                </a:lnTo>
                <a:lnTo>
                  <a:pt x="9645" y="1152749"/>
                </a:lnTo>
                <a:lnTo>
                  <a:pt x="14063" y="1127724"/>
                </a:lnTo>
                <a:lnTo>
                  <a:pt x="27296" y="1047722"/>
                </a:lnTo>
                <a:lnTo>
                  <a:pt x="29811" y="1038521"/>
                </a:lnTo>
                <a:lnTo>
                  <a:pt x="30767" y="1033102"/>
                </a:lnTo>
                <a:lnTo>
                  <a:pt x="38938" y="1005126"/>
                </a:lnTo>
                <a:lnTo>
                  <a:pt x="57113" y="938624"/>
                </a:lnTo>
                <a:lnTo>
                  <a:pt x="62289" y="925170"/>
                </a:lnTo>
                <a:lnTo>
                  <a:pt x="64582" y="917319"/>
                </a:lnTo>
                <a:lnTo>
                  <a:pt x="75606" y="890555"/>
                </a:lnTo>
                <a:lnTo>
                  <a:pt x="97634" y="833298"/>
                </a:lnTo>
                <a:lnTo>
                  <a:pt x="106347" y="815923"/>
                </a:lnTo>
                <a:lnTo>
                  <a:pt x="110461" y="805934"/>
                </a:lnTo>
                <a:lnTo>
                  <a:pt x="123509" y="781699"/>
                </a:lnTo>
                <a:lnTo>
                  <a:pt x="148340" y="732182"/>
                </a:lnTo>
                <a:lnTo>
                  <a:pt x="161422" y="711281"/>
                </a:lnTo>
                <a:lnTo>
                  <a:pt x="167777" y="699476"/>
                </a:lnTo>
                <a:lnTo>
                  <a:pt x="182090" y="678257"/>
                </a:lnTo>
                <a:lnTo>
                  <a:pt x="208713" y="635717"/>
                </a:lnTo>
                <a:lnTo>
                  <a:pt x="226957" y="611737"/>
                </a:lnTo>
                <a:lnTo>
                  <a:pt x="235900" y="598479"/>
                </a:lnTo>
                <a:lnTo>
                  <a:pt x="250783" y="580422"/>
                </a:lnTo>
                <a:lnTo>
                  <a:pt x="278237" y="544336"/>
                </a:lnTo>
                <a:lnTo>
                  <a:pt x="302406" y="517787"/>
                </a:lnTo>
                <a:lnTo>
                  <a:pt x="314202" y="503474"/>
                </a:lnTo>
                <a:lnTo>
                  <a:pt x="329025" y="488547"/>
                </a:lnTo>
                <a:lnTo>
                  <a:pt x="356396" y="458480"/>
                </a:lnTo>
                <a:lnTo>
                  <a:pt x="387236" y="429920"/>
                </a:lnTo>
                <a:lnTo>
                  <a:pt x="402056" y="414994"/>
                </a:lnTo>
                <a:lnTo>
                  <a:pt x="416245" y="403056"/>
                </a:lnTo>
                <a:lnTo>
                  <a:pt x="442669" y="378585"/>
                </a:lnTo>
                <a:lnTo>
                  <a:pt x="480950" y="348615"/>
                </a:lnTo>
                <a:lnTo>
                  <a:pt x="498832" y="333570"/>
                </a:lnTo>
                <a:lnTo>
                  <a:pt x="511869" y="324408"/>
                </a:lnTo>
                <a:lnTo>
                  <a:pt x="536541" y="305092"/>
                </a:lnTo>
                <a:lnTo>
                  <a:pt x="583119" y="274338"/>
                </a:lnTo>
                <a:lnTo>
                  <a:pt x="603903" y="259732"/>
                </a:lnTo>
                <a:lnTo>
                  <a:pt x="615316" y="253079"/>
                </a:lnTo>
                <a:lnTo>
                  <a:pt x="637495" y="238436"/>
                </a:lnTo>
                <a:lnTo>
                  <a:pt x="693465" y="207524"/>
                </a:lnTo>
                <a:lnTo>
                  <a:pt x="716640" y="194015"/>
                </a:lnTo>
                <a:lnTo>
                  <a:pt x="726004" y="189554"/>
                </a:lnTo>
                <a:lnTo>
                  <a:pt x="745011" y="179057"/>
                </a:lnTo>
                <a:lnTo>
                  <a:pt x="812077" y="148545"/>
                </a:lnTo>
                <a:lnTo>
                  <a:pt x="836414" y="136949"/>
                </a:lnTo>
                <a:lnTo>
                  <a:pt x="843345" y="134319"/>
                </a:lnTo>
                <a:lnTo>
                  <a:pt x="858574" y="127390"/>
                </a:lnTo>
                <a:lnTo>
                  <a:pt x="940169" y="97577"/>
                </a:lnTo>
                <a:lnTo>
                  <a:pt x="962599" y="89065"/>
                </a:lnTo>
                <a:lnTo>
                  <a:pt x="966748" y="87866"/>
                </a:lnTo>
                <a:lnTo>
                  <a:pt x="977665" y="83877"/>
                </a:lnTo>
                <a:lnTo>
                  <a:pt x="1084024" y="53947"/>
                </a:lnTo>
                <a:lnTo>
                  <a:pt x="1094564" y="50897"/>
                </a:lnTo>
                <a:lnTo>
                  <a:pt x="1095623" y="50681"/>
                </a:lnTo>
                <a:lnTo>
                  <a:pt x="1101768" y="48953"/>
                </a:lnTo>
                <a:cubicBezTo>
                  <a:pt x="1186059" y="28631"/>
                  <a:pt x="1273346" y="14327"/>
                  <a:pt x="1362938" y="6625"/>
                </a:cubicBezTo>
                <a:lnTo>
                  <a:pt x="1368872" y="6373"/>
                </a:lnTo>
                <a:lnTo>
                  <a:pt x="1373325" y="5833"/>
                </a:lnTo>
                <a:lnTo>
                  <a:pt x="1446728" y="2891"/>
                </a:lnTo>
                <a:lnTo>
                  <a:pt x="1446728" y="1"/>
                </a:lnTo>
                <a:lnTo>
                  <a:pt x="1517940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BBF648B-8662-41BD-ABD9-3FC10ADCB0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2728" y="-1"/>
            <a:ext cx="3329446" cy="3963752"/>
          </a:xfrm>
          <a:custGeom>
            <a:avLst/>
            <a:gdLst>
              <a:gd name="connsiteX0" fmla="*/ 0 w 3329446"/>
              <a:gd name="connsiteY0" fmla="*/ 0 h 3963752"/>
              <a:gd name="connsiteX1" fmla="*/ 3323772 w 3329446"/>
              <a:gd name="connsiteY1" fmla="*/ 0 h 3963752"/>
              <a:gd name="connsiteX2" fmla="*/ 3323772 w 3329446"/>
              <a:gd name="connsiteY2" fmla="*/ 1835849 h 3963752"/>
              <a:gd name="connsiteX3" fmla="*/ 3329446 w 3329446"/>
              <a:gd name="connsiteY3" fmla="*/ 1835849 h 3963752"/>
              <a:gd name="connsiteX4" fmla="*/ 3329446 w 3329446"/>
              <a:gd name="connsiteY4" fmla="*/ 2289287 h 3963752"/>
              <a:gd name="connsiteX5" fmla="*/ 3329446 w 3329446"/>
              <a:gd name="connsiteY5" fmla="*/ 2558380 h 3963752"/>
              <a:gd name="connsiteX6" fmla="*/ 3327463 w 3329446"/>
              <a:gd name="connsiteY6" fmla="*/ 2558380 h 3963752"/>
              <a:gd name="connsiteX7" fmla="*/ 3327463 w 3329446"/>
              <a:gd name="connsiteY7" fmla="*/ 2558800 h 3963752"/>
              <a:gd name="connsiteX8" fmla="*/ 3327463 w 3329446"/>
              <a:gd name="connsiteY8" fmla="*/ 2576829 h 3963752"/>
              <a:gd name="connsiteX9" fmla="*/ 3327463 w 3329446"/>
              <a:gd name="connsiteY9" fmla="*/ 2632836 h 3963752"/>
              <a:gd name="connsiteX10" fmla="*/ 3323321 w 3329446"/>
              <a:gd name="connsiteY10" fmla="*/ 2632836 h 3963752"/>
              <a:gd name="connsiteX11" fmla="*/ 3319923 w 3329446"/>
              <a:gd name="connsiteY11" fmla="*/ 2693585 h 3963752"/>
              <a:gd name="connsiteX12" fmla="*/ 3319059 w 3329446"/>
              <a:gd name="connsiteY12" fmla="*/ 2698808 h 3963752"/>
              <a:gd name="connsiteX13" fmla="*/ 3318887 w 3329446"/>
              <a:gd name="connsiteY13" fmla="*/ 2701693 h 3963752"/>
              <a:gd name="connsiteX14" fmla="*/ 3314050 w 3329446"/>
              <a:gd name="connsiteY14" fmla="*/ 2729091 h 3963752"/>
              <a:gd name="connsiteX15" fmla="*/ 3299562 w 3329446"/>
              <a:gd name="connsiteY15" fmla="*/ 2816679 h 3963752"/>
              <a:gd name="connsiteX16" fmla="*/ 3296809 w 3329446"/>
              <a:gd name="connsiteY16" fmla="*/ 2826752 h 3963752"/>
              <a:gd name="connsiteX17" fmla="*/ 3295762 w 3329446"/>
              <a:gd name="connsiteY17" fmla="*/ 2832686 h 3963752"/>
              <a:gd name="connsiteX18" fmla="*/ 3286816 w 3329446"/>
              <a:gd name="connsiteY18" fmla="*/ 2863315 h 3963752"/>
              <a:gd name="connsiteX19" fmla="*/ 3266917 w 3329446"/>
              <a:gd name="connsiteY19" fmla="*/ 2936122 h 3963752"/>
              <a:gd name="connsiteX20" fmla="*/ 3261251 w 3329446"/>
              <a:gd name="connsiteY20" fmla="*/ 2950852 h 3963752"/>
              <a:gd name="connsiteX21" fmla="*/ 3258740 w 3329446"/>
              <a:gd name="connsiteY21" fmla="*/ 2959448 h 3963752"/>
              <a:gd name="connsiteX22" fmla="*/ 3246671 w 3329446"/>
              <a:gd name="connsiteY22" fmla="*/ 2988749 h 3963752"/>
              <a:gd name="connsiteX23" fmla="*/ 3222555 w 3329446"/>
              <a:gd name="connsiteY23" fmla="*/ 3051436 h 3963752"/>
              <a:gd name="connsiteX24" fmla="*/ 3213015 w 3329446"/>
              <a:gd name="connsiteY24" fmla="*/ 3070459 h 3963752"/>
              <a:gd name="connsiteX25" fmla="*/ 3208511 w 3329446"/>
              <a:gd name="connsiteY25" fmla="*/ 3081395 h 3963752"/>
              <a:gd name="connsiteX26" fmla="*/ 3194225 w 3329446"/>
              <a:gd name="connsiteY26" fmla="*/ 3107928 h 3963752"/>
              <a:gd name="connsiteX27" fmla="*/ 3167040 w 3329446"/>
              <a:gd name="connsiteY27" fmla="*/ 3162139 h 3963752"/>
              <a:gd name="connsiteX28" fmla="*/ 3152717 w 3329446"/>
              <a:gd name="connsiteY28" fmla="*/ 3185024 h 3963752"/>
              <a:gd name="connsiteX29" fmla="*/ 3145760 w 3329446"/>
              <a:gd name="connsiteY29" fmla="*/ 3197948 h 3963752"/>
              <a:gd name="connsiteX30" fmla="*/ 3130089 w 3329446"/>
              <a:gd name="connsiteY30" fmla="*/ 3221179 h 3963752"/>
              <a:gd name="connsiteX31" fmla="*/ 3100942 w 3329446"/>
              <a:gd name="connsiteY31" fmla="*/ 3267753 h 3963752"/>
              <a:gd name="connsiteX32" fmla="*/ 3080967 w 3329446"/>
              <a:gd name="connsiteY32" fmla="*/ 3294007 h 3963752"/>
              <a:gd name="connsiteX33" fmla="*/ 3071177 w 3329446"/>
              <a:gd name="connsiteY33" fmla="*/ 3308521 h 3963752"/>
              <a:gd name="connsiteX34" fmla="*/ 3054883 w 3329446"/>
              <a:gd name="connsiteY34" fmla="*/ 3328291 h 3963752"/>
              <a:gd name="connsiteX35" fmla="*/ 3024825 w 3329446"/>
              <a:gd name="connsiteY35" fmla="*/ 3367799 h 3963752"/>
              <a:gd name="connsiteX36" fmla="*/ 2998364 w 3329446"/>
              <a:gd name="connsiteY36" fmla="*/ 3396866 h 3963752"/>
              <a:gd name="connsiteX37" fmla="*/ 2985450 w 3329446"/>
              <a:gd name="connsiteY37" fmla="*/ 3412536 h 3963752"/>
              <a:gd name="connsiteX38" fmla="*/ 2969221 w 3329446"/>
              <a:gd name="connsiteY38" fmla="*/ 3428879 h 3963752"/>
              <a:gd name="connsiteX39" fmla="*/ 2939255 w 3329446"/>
              <a:gd name="connsiteY39" fmla="*/ 3461797 h 3963752"/>
              <a:gd name="connsiteX40" fmla="*/ 2905490 w 3329446"/>
              <a:gd name="connsiteY40" fmla="*/ 3493065 h 3963752"/>
              <a:gd name="connsiteX41" fmla="*/ 2889265 w 3329446"/>
              <a:gd name="connsiteY41" fmla="*/ 3509406 h 3963752"/>
              <a:gd name="connsiteX42" fmla="*/ 2873730 w 3329446"/>
              <a:gd name="connsiteY42" fmla="*/ 3522476 h 3963752"/>
              <a:gd name="connsiteX43" fmla="*/ 2844801 w 3329446"/>
              <a:gd name="connsiteY43" fmla="*/ 3549267 h 3963752"/>
              <a:gd name="connsiteX44" fmla="*/ 2802889 w 3329446"/>
              <a:gd name="connsiteY44" fmla="*/ 3582080 h 3963752"/>
              <a:gd name="connsiteX45" fmla="*/ 2783312 w 3329446"/>
              <a:gd name="connsiteY45" fmla="*/ 3598552 h 3963752"/>
              <a:gd name="connsiteX46" fmla="*/ 2769039 w 3329446"/>
              <a:gd name="connsiteY46" fmla="*/ 3608581 h 3963752"/>
              <a:gd name="connsiteX47" fmla="*/ 2742027 w 3329446"/>
              <a:gd name="connsiteY47" fmla="*/ 3629729 h 3963752"/>
              <a:gd name="connsiteX48" fmla="*/ 2691032 w 3329446"/>
              <a:gd name="connsiteY48" fmla="*/ 3663400 h 3963752"/>
              <a:gd name="connsiteX49" fmla="*/ 2668278 w 3329446"/>
              <a:gd name="connsiteY49" fmla="*/ 3679391 h 3963752"/>
              <a:gd name="connsiteX50" fmla="*/ 2655781 w 3329446"/>
              <a:gd name="connsiteY50" fmla="*/ 3686674 h 3963752"/>
              <a:gd name="connsiteX51" fmla="*/ 2631501 w 3329446"/>
              <a:gd name="connsiteY51" fmla="*/ 3702706 h 3963752"/>
              <a:gd name="connsiteX52" fmla="*/ 2570223 w 3329446"/>
              <a:gd name="connsiteY52" fmla="*/ 3736549 h 3963752"/>
              <a:gd name="connsiteX53" fmla="*/ 2544851 w 3329446"/>
              <a:gd name="connsiteY53" fmla="*/ 3751340 h 3963752"/>
              <a:gd name="connsiteX54" fmla="*/ 2534598 w 3329446"/>
              <a:gd name="connsiteY54" fmla="*/ 3756224 h 3963752"/>
              <a:gd name="connsiteX55" fmla="*/ 2513789 w 3329446"/>
              <a:gd name="connsiteY55" fmla="*/ 3767716 h 3963752"/>
              <a:gd name="connsiteX56" fmla="*/ 2440364 w 3329446"/>
              <a:gd name="connsiteY56" fmla="*/ 3801122 h 3963752"/>
              <a:gd name="connsiteX57" fmla="*/ 2413718 w 3329446"/>
              <a:gd name="connsiteY57" fmla="*/ 3813817 h 3963752"/>
              <a:gd name="connsiteX58" fmla="*/ 2406131 w 3329446"/>
              <a:gd name="connsiteY58" fmla="*/ 3816697 h 3963752"/>
              <a:gd name="connsiteX59" fmla="*/ 2389458 w 3329446"/>
              <a:gd name="connsiteY59" fmla="*/ 3824282 h 3963752"/>
              <a:gd name="connsiteX60" fmla="*/ 2300125 w 3329446"/>
              <a:gd name="connsiteY60" fmla="*/ 3856922 h 3963752"/>
              <a:gd name="connsiteX61" fmla="*/ 2275568 w 3329446"/>
              <a:gd name="connsiteY61" fmla="*/ 3866241 h 3963752"/>
              <a:gd name="connsiteX62" fmla="*/ 2271026 w 3329446"/>
              <a:gd name="connsiteY62" fmla="*/ 3867555 h 3963752"/>
              <a:gd name="connsiteX63" fmla="*/ 2259074 w 3329446"/>
              <a:gd name="connsiteY63" fmla="*/ 3871922 h 3963752"/>
              <a:gd name="connsiteX64" fmla="*/ 2142630 w 3329446"/>
              <a:gd name="connsiteY64" fmla="*/ 3904690 h 3963752"/>
              <a:gd name="connsiteX65" fmla="*/ 2131089 w 3329446"/>
              <a:gd name="connsiteY65" fmla="*/ 3908028 h 3963752"/>
              <a:gd name="connsiteX66" fmla="*/ 2129930 w 3329446"/>
              <a:gd name="connsiteY66" fmla="*/ 3908264 h 3963752"/>
              <a:gd name="connsiteX67" fmla="*/ 2123202 w 3329446"/>
              <a:gd name="connsiteY67" fmla="*/ 3910157 h 3963752"/>
              <a:gd name="connsiteX68" fmla="*/ 1837266 w 3329446"/>
              <a:gd name="connsiteY68" fmla="*/ 3956499 h 3963752"/>
              <a:gd name="connsiteX69" fmla="*/ 1830771 w 3329446"/>
              <a:gd name="connsiteY69" fmla="*/ 3956775 h 3963752"/>
              <a:gd name="connsiteX70" fmla="*/ 1825895 w 3329446"/>
              <a:gd name="connsiteY70" fmla="*/ 3957365 h 3963752"/>
              <a:gd name="connsiteX71" fmla="*/ 1745532 w 3329446"/>
              <a:gd name="connsiteY71" fmla="*/ 3960587 h 3963752"/>
              <a:gd name="connsiteX72" fmla="*/ 1745532 w 3329446"/>
              <a:gd name="connsiteY72" fmla="*/ 3963751 h 3963752"/>
              <a:gd name="connsiteX73" fmla="*/ 1667566 w 3329446"/>
              <a:gd name="connsiteY73" fmla="*/ 3963751 h 3963752"/>
              <a:gd name="connsiteX74" fmla="*/ 1667550 w 3329446"/>
              <a:gd name="connsiteY74" fmla="*/ 3963752 h 3963752"/>
              <a:gd name="connsiteX75" fmla="*/ 1667534 w 3329446"/>
              <a:gd name="connsiteY75" fmla="*/ 3963751 h 3963752"/>
              <a:gd name="connsiteX76" fmla="*/ 1666556 w 3329446"/>
              <a:gd name="connsiteY76" fmla="*/ 3963751 h 3963752"/>
              <a:gd name="connsiteX77" fmla="*/ 7638 w 3329446"/>
              <a:gd name="connsiteY77" fmla="*/ 3963751 h 3963752"/>
              <a:gd name="connsiteX78" fmla="*/ 7638 w 3329446"/>
              <a:gd name="connsiteY78" fmla="*/ 2632836 h 3963752"/>
              <a:gd name="connsiteX79" fmla="*/ 5674 w 3329446"/>
              <a:gd name="connsiteY79" fmla="*/ 2632836 h 3963752"/>
              <a:gd name="connsiteX80" fmla="*/ 5674 w 3329446"/>
              <a:gd name="connsiteY80" fmla="*/ 2558380 h 3963752"/>
              <a:gd name="connsiteX81" fmla="*/ 5674 w 3329446"/>
              <a:gd name="connsiteY81" fmla="*/ 2289287 h 3963752"/>
              <a:gd name="connsiteX82" fmla="*/ 5674 w 3329446"/>
              <a:gd name="connsiteY82" fmla="*/ 1861477 h 3963752"/>
              <a:gd name="connsiteX83" fmla="*/ 0 w 3329446"/>
              <a:gd name="connsiteY83" fmla="*/ 1861477 h 3963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3329446" h="3963752">
                <a:moveTo>
                  <a:pt x="0" y="0"/>
                </a:moveTo>
                <a:lnTo>
                  <a:pt x="3323772" y="0"/>
                </a:lnTo>
                <a:lnTo>
                  <a:pt x="3323772" y="1835849"/>
                </a:lnTo>
                <a:lnTo>
                  <a:pt x="3329446" y="1835849"/>
                </a:lnTo>
                <a:lnTo>
                  <a:pt x="3329446" y="2289287"/>
                </a:lnTo>
                <a:lnTo>
                  <a:pt x="3329446" y="2558380"/>
                </a:lnTo>
                <a:lnTo>
                  <a:pt x="3327463" y="2558380"/>
                </a:lnTo>
                <a:lnTo>
                  <a:pt x="3327463" y="2558800"/>
                </a:lnTo>
                <a:lnTo>
                  <a:pt x="3327463" y="2576829"/>
                </a:lnTo>
                <a:lnTo>
                  <a:pt x="3327463" y="2632836"/>
                </a:lnTo>
                <a:lnTo>
                  <a:pt x="3323321" y="2632836"/>
                </a:lnTo>
                <a:lnTo>
                  <a:pt x="3319923" y="2693585"/>
                </a:lnTo>
                <a:lnTo>
                  <a:pt x="3319059" y="2698808"/>
                </a:lnTo>
                <a:lnTo>
                  <a:pt x="3318887" y="2701693"/>
                </a:lnTo>
                <a:lnTo>
                  <a:pt x="3314050" y="2729091"/>
                </a:lnTo>
                <a:lnTo>
                  <a:pt x="3299562" y="2816679"/>
                </a:lnTo>
                <a:lnTo>
                  <a:pt x="3296809" y="2826752"/>
                </a:lnTo>
                <a:lnTo>
                  <a:pt x="3295762" y="2832686"/>
                </a:lnTo>
                <a:lnTo>
                  <a:pt x="3286816" y="2863315"/>
                </a:lnTo>
                <a:lnTo>
                  <a:pt x="3266917" y="2936122"/>
                </a:lnTo>
                <a:lnTo>
                  <a:pt x="3261251" y="2950852"/>
                </a:lnTo>
                <a:lnTo>
                  <a:pt x="3258740" y="2959448"/>
                </a:lnTo>
                <a:lnTo>
                  <a:pt x="3246671" y="2988749"/>
                </a:lnTo>
                <a:lnTo>
                  <a:pt x="3222555" y="3051436"/>
                </a:lnTo>
                <a:lnTo>
                  <a:pt x="3213015" y="3070459"/>
                </a:lnTo>
                <a:lnTo>
                  <a:pt x="3208511" y="3081395"/>
                </a:lnTo>
                <a:lnTo>
                  <a:pt x="3194225" y="3107928"/>
                </a:lnTo>
                <a:lnTo>
                  <a:pt x="3167040" y="3162139"/>
                </a:lnTo>
                <a:lnTo>
                  <a:pt x="3152717" y="3185024"/>
                </a:lnTo>
                <a:lnTo>
                  <a:pt x="3145760" y="3197948"/>
                </a:lnTo>
                <a:lnTo>
                  <a:pt x="3130089" y="3221179"/>
                </a:lnTo>
                <a:lnTo>
                  <a:pt x="3100942" y="3267753"/>
                </a:lnTo>
                <a:lnTo>
                  <a:pt x="3080967" y="3294007"/>
                </a:lnTo>
                <a:lnTo>
                  <a:pt x="3071177" y="3308521"/>
                </a:lnTo>
                <a:lnTo>
                  <a:pt x="3054883" y="3328291"/>
                </a:lnTo>
                <a:lnTo>
                  <a:pt x="3024825" y="3367799"/>
                </a:lnTo>
                <a:lnTo>
                  <a:pt x="2998364" y="3396866"/>
                </a:lnTo>
                <a:lnTo>
                  <a:pt x="2985450" y="3412536"/>
                </a:lnTo>
                <a:lnTo>
                  <a:pt x="2969221" y="3428879"/>
                </a:lnTo>
                <a:lnTo>
                  <a:pt x="2939255" y="3461797"/>
                </a:lnTo>
                <a:lnTo>
                  <a:pt x="2905490" y="3493065"/>
                </a:lnTo>
                <a:lnTo>
                  <a:pt x="2889265" y="3509406"/>
                </a:lnTo>
                <a:lnTo>
                  <a:pt x="2873730" y="3522476"/>
                </a:lnTo>
                <a:lnTo>
                  <a:pt x="2844801" y="3549267"/>
                </a:lnTo>
                <a:lnTo>
                  <a:pt x="2802889" y="3582080"/>
                </a:lnTo>
                <a:lnTo>
                  <a:pt x="2783312" y="3598552"/>
                </a:lnTo>
                <a:lnTo>
                  <a:pt x="2769039" y="3608581"/>
                </a:lnTo>
                <a:lnTo>
                  <a:pt x="2742027" y="3629729"/>
                </a:lnTo>
                <a:lnTo>
                  <a:pt x="2691032" y="3663400"/>
                </a:lnTo>
                <a:lnTo>
                  <a:pt x="2668278" y="3679391"/>
                </a:lnTo>
                <a:lnTo>
                  <a:pt x="2655781" y="3686674"/>
                </a:lnTo>
                <a:lnTo>
                  <a:pt x="2631501" y="3702706"/>
                </a:lnTo>
                <a:lnTo>
                  <a:pt x="2570223" y="3736549"/>
                </a:lnTo>
                <a:lnTo>
                  <a:pt x="2544851" y="3751340"/>
                </a:lnTo>
                <a:lnTo>
                  <a:pt x="2534598" y="3756224"/>
                </a:lnTo>
                <a:lnTo>
                  <a:pt x="2513789" y="3767716"/>
                </a:lnTo>
                <a:lnTo>
                  <a:pt x="2440364" y="3801122"/>
                </a:lnTo>
                <a:lnTo>
                  <a:pt x="2413718" y="3813817"/>
                </a:lnTo>
                <a:lnTo>
                  <a:pt x="2406131" y="3816697"/>
                </a:lnTo>
                <a:lnTo>
                  <a:pt x="2389458" y="3824282"/>
                </a:lnTo>
                <a:lnTo>
                  <a:pt x="2300125" y="3856922"/>
                </a:lnTo>
                <a:lnTo>
                  <a:pt x="2275568" y="3866241"/>
                </a:lnTo>
                <a:lnTo>
                  <a:pt x="2271026" y="3867555"/>
                </a:lnTo>
                <a:lnTo>
                  <a:pt x="2259074" y="3871922"/>
                </a:lnTo>
                <a:lnTo>
                  <a:pt x="2142630" y="3904690"/>
                </a:lnTo>
                <a:lnTo>
                  <a:pt x="2131089" y="3908028"/>
                </a:lnTo>
                <a:lnTo>
                  <a:pt x="2129930" y="3908264"/>
                </a:lnTo>
                <a:lnTo>
                  <a:pt x="2123202" y="3910157"/>
                </a:lnTo>
                <a:cubicBezTo>
                  <a:pt x="2030918" y="3932407"/>
                  <a:pt x="1935355" y="3948066"/>
                  <a:pt x="1837266" y="3956499"/>
                </a:cubicBezTo>
                <a:lnTo>
                  <a:pt x="1830771" y="3956775"/>
                </a:lnTo>
                <a:lnTo>
                  <a:pt x="1825895" y="3957365"/>
                </a:lnTo>
                <a:lnTo>
                  <a:pt x="1745532" y="3960587"/>
                </a:lnTo>
                <a:lnTo>
                  <a:pt x="1745532" y="3963751"/>
                </a:lnTo>
                <a:lnTo>
                  <a:pt x="1667566" y="3963751"/>
                </a:lnTo>
                <a:lnTo>
                  <a:pt x="1667550" y="3963752"/>
                </a:lnTo>
                <a:lnTo>
                  <a:pt x="1667534" y="3963751"/>
                </a:lnTo>
                <a:lnTo>
                  <a:pt x="1666556" y="3963751"/>
                </a:lnTo>
                <a:lnTo>
                  <a:pt x="7638" y="3963751"/>
                </a:lnTo>
                <a:lnTo>
                  <a:pt x="7638" y="2632836"/>
                </a:lnTo>
                <a:lnTo>
                  <a:pt x="5674" y="2632836"/>
                </a:lnTo>
                <a:lnTo>
                  <a:pt x="5674" y="2558380"/>
                </a:lnTo>
                <a:lnTo>
                  <a:pt x="5674" y="2289287"/>
                </a:lnTo>
                <a:lnTo>
                  <a:pt x="5674" y="1861477"/>
                </a:lnTo>
                <a:lnTo>
                  <a:pt x="0" y="186147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13727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428CA49-FBDD-41D9-BB48-8148C5F0D6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10485" y="1250622"/>
            <a:ext cx="3418030" cy="4878949"/>
          </a:xfrm>
          <a:custGeom>
            <a:avLst/>
            <a:gdLst>
              <a:gd name="connsiteX0" fmla="*/ 1191331 w 3418030"/>
              <a:gd name="connsiteY0" fmla="*/ 0 h 4878949"/>
              <a:gd name="connsiteX1" fmla="*/ 1294432 w 3418030"/>
              <a:gd name="connsiteY1" fmla="*/ 0 h 4878949"/>
              <a:gd name="connsiteX2" fmla="*/ 1457098 w 3418030"/>
              <a:gd name="connsiteY2" fmla="*/ 0 h 4878949"/>
              <a:gd name="connsiteX3" fmla="*/ 1564784 w 3418030"/>
              <a:gd name="connsiteY3" fmla="*/ 0 h 4878949"/>
              <a:gd name="connsiteX4" fmla="*/ 2013538 w 3418030"/>
              <a:gd name="connsiteY4" fmla="*/ 0 h 4878949"/>
              <a:gd name="connsiteX5" fmla="*/ 2038520 w 3418030"/>
              <a:gd name="connsiteY5" fmla="*/ 0 h 4878949"/>
              <a:gd name="connsiteX6" fmla="*/ 2130825 w 3418030"/>
              <a:gd name="connsiteY6" fmla="*/ 0 h 4878949"/>
              <a:gd name="connsiteX7" fmla="*/ 2156238 w 3418030"/>
              <a:gd name="connsiteY7" fmla="*/ 0 h 4878949"/>
              <a:gd name="connsiteX8" fmla="*/ 2221889 w 3418030"/>
              <a:gd name="connsiteY8" fmla="*/ 0 h 4878949"/>
              <a:gd name="connsiteX9" fmla="*/ 2277890 w 3418030"/>
              <a:gd name="connsiteY9" fmla="*/ 0 h 4878949"/>
              <a:gd name="connsiteX10" fmla="*/ 2342770 w 3418030"/>
              <a:gd name="connsiteY10" fmla="*/ 0 h 4878949"/>
              <a:gd name="connsiteX11" fmla="*/ 2399737 w 3418030"/>
              <a:gd name="connsiteY11" fmla="*/ 0 h 4878949"/>
              <a:gd name="connsiteX12" fmla="*/ 2399737 w 3418030"/>
              <a:gd name="connsiteY12" fmla="*/ 1224 h 4878949"/>
              <a:gd name="connsiteX13" fmla="*/ 3278911 w 3418030"/>
              <a:gd name="connsiteY13" fmla="*/ 1224 h 4878949"/>
              <a:gd name="connsiteX14" fmla="*/ 3418030 w 3418030"/>
              <a:gd name="connsiteY14" fmla="*/ 1224 h 4878949"/>
              <a:gd name="connsiteX15" fmla="*/ 3418030 w 3418030"/>
              <a:gd name="connsiteY15" fmla="*/ 70784 h 4878949"/>
              <a:gd name="connsiteX16" fmla="*/ 3418030 w 3418030"/>
              <a:gd name="connsiteY16" fmla="*/ 685938 h 4878949"/>
              <a:gd name="connsiteX17" fmla="*/ 3418030 w 3418030"/>
              <a:gd name="connsiteY17" fmla="*/ 732837 h 4878949"/>
              <a:gd name="connsiteX18" fmla="*/ 3418030 w 3418030"/>
              <a:gd name="connsiteY18" fmla="*/ 755498 h 4878949"/>
              <a:gd name="connsiteX19" fmla="*/ 3418030 w 3418030"/>
              <a:gd name="connsiteY19" fmla="*/ 802397 h 4878949"/>
              <a:gd name="connsiteX20" fmla="*/ 3418030 w 3418030"/>
              <a:gd name="connsiteY20" fmla="*/ 1036312 h 4878949"/>
              <a:gd name="connsiteX21" fmla="*/ 3418030 w 3418030"/>
              <a:gd name="connsiteY21" fmla="*/ 1036923 h 4878949"/>
              <a:gd name="connsiteX22" fmla="*/ 3418030 w 3418030"/>
              <a:gd name="connsiteY22" fmla="*/ 1036933 h 4878949"/>
              <a:gd name="connsiteX23" fmla="*/ 3418030 w 3418030"/>
              <a:gd name="connsiteY23" fmla="*/ 1036943 h 4878949"/>
              <a:gd name="connsiteX24" fmla="*/ 3418030 w 3418030"/>
              <a:gd name="connsiteY24" fmla="*/ 1085589 h 4878949"/>
              <a:gd name="connsiteX25" fmla="*/ 3418030 w 3418030"/>
              <a:gd name="connsiteY25" fmla="*/ 1105871 h 4878949"/>
              <a:gd name="connsiteX26" fmla="*/ 3418030 w 3418030"/>
              <a:gd name="connsiteY26" fmla="*/ 1106482 h 4878949"/>
              <a:gd name="connsiteX27" fmla="*/ 3418030 w 3418030"/>
              <a:gd name="connsiteY27" fmla="*/ 1106491 h 4878949"/>
              <a:gd name="connsiteX28" fmla="*/ 3418030 w 3418030"/>
              <a:gd name="connsiteY28" fmla="*/ 1106501 h 4878949"/>
              <a:gd name="connsiteX29" fmla="*/ 3418030 w 3418030"/>
              <a:gd name="connsiteY29" fmla="*/ 1155149 h 4878949"/>
              <a:gd name="connsiteX30" fmla="*/ 3418030 w 3418030"/>
              <a:gd name="connsiteY30" fmla="*/ 1417551 h 4878949"/>
              <a:gd name="connsiteX31" fmla="*/ 3418030 w 3418030"/>
              <a:gd name="connsiteY31" fmla="*/ 1487111 h 4878949"/>
              <a:gd name="connsiteX32" fmla="*/ 3418030 w 3418030"/>
              <a:gd name="connsiteY32" fmla="*/ 1721026 h 4878949"/>
              <a:gd name="connsiteX33" fmla="*/ 3418030 w 3418030"/>
              <a:gd name="connsiteY33" fmla="*/ 1721637 h 4878949"/>
              <a:gd name="connsiteX34" fmla="*/ 3418030 w 3418030"/>
              <a:gd name="connsiteY34" fmla="*/ 1721646 h 4878949"/>
              <a:gd name="connsiteX35" fmla="*/ 3418030 w 3418030"/>
              <a:gd name="connsiteY35" fmla="*/ 1721657 h 4878949"/>
              <a:gd name="connsiteX36" fmla="*/ 3418030 w 3418030"/>
              <a:gd name="connsiteY36" fmla="*/ 1767925 h 4878949"/>
              <a:gd name="connsiteX37" fmla="*/ 3418030 w 3418030"/>
              <a:gd name="connsiteY37" fmla="*/ 1768536 h 4878949"/>
              <a:gd name="connsiteX38" fmla="*/ 3418030 w 3418030"/>
              <a:gd name="connsiteY38" fmla="*/ 1768546 h 4878949"/>
              <a:gd name="connsiteX39" fmla="*/ 3418030 w 3418030"/>
              <a:gd name="connsiteY39" fmla="*/ 1768556 h 4878949"/>
              <a:gd name="connsiteX40" fmla="*/ 3418030 w 3418030"/>
              <a:gd name="connsiteY40" fmla="*/ 1770303 h 4878949"/>
              <a:gd name="connsiteX41" fmla="*/ 3418030 w 3418030"/>
              <a:gd name="connsiteY41" fmla="*/ 1790585 h 4878949"/>
              <a:gd name="connsiteX42" fmla="*/ 3418030 w 3418030"/>
              <a:gd name="connsiteY42" fmla="*/ 1791196 h 4878949"/>
              <a:gd name="connsiteX43" fmla="*/ 3418030 w 3418030"/>
              <a:gd name="connsiteY43" fmla="*/ 1791205 h 4878949"/>
              <a:gd name="connsiteX44" fmla="*/ 3418030 w 3418030"/>
              <a:gd name="connsiteY44" fmla="*/ 1791215 h 4878949"/>
              <a:gd name="connsiteX45" fmla="*/ 3418030 w 3418030"/>
              <a:gd name="connsiteY45" fmla="*/ 1817203 h 4878949"/>
              <a:gd name="connsiteX46" fmla="*/ 3418030 w 3418030"/>
              <a:gd name="connsiteY46" fmla="*/ 1837484 h 4878949"/>
              <a:gd name="connsiteX47" fmla="*/ 3418030 w 3418030"/>
              <a:gd name="connsiteY47" fmla="*/ 1838095 h 4878949"/>
              <a:gd name="connsiteX48" fmla="*/ 3418030 w 3418030"/>
              <a:gd name="connsiteY48" fmla="*/ 1838105 h 4878949"/>
              <a:gd name="connsiteX49" fmla="*/ 3418030 w 3418030"/>
              <a:gd name="connsiteY49" fmla="*/ 1838115 h 4878949"/>
              <a:gd name="connsiteX50" fmla="*/ 3418030 w 3418030"/>
              <a:gd name="connsiteY50" fmla="*/ 1839863 h 4878949"/>
              <a:gd name="connsiteX51" fmla="*/ 3418030 w 3418030"/>
              <a:gd name="connsiteY51" fmla="*/ 1886762 h 4878949"/>
              <a:gd name="connsiteX52" fmla="*/ 3418030 w 3418030"/>
              <a:gd name="connsiteY52" fmla="*/ 2452639 h 4878949"/>
              <a:gd name="connsiteX53" fmla="*/ 3418030 w 3418030"/>
              <a:gd name="connsiteY53" fmla="*/ 2453250 h 4878949"/>
              <a:gd name="connsiteX54" fmla="*/ 3418030 w 3418030"/>
              <a:gd name="connsiteY54" fmla="*/ 2453260 h 4878949"/>
              <a:gd name="connsiteX55" fmla="*/ 3418030 w 3418030"/>
              <a:gd name="connsiteY55" fmla="*/ 2453270 h 4878949"/>
              <a:gd name="connsiteX56" fmla="*/ 3418030 w 3418030"/>
              <a:gd name="connsiteY56" fmla="*/ 2501917 h 4878949"/>
              <a:gd name="connsiteX57" fmla="*/ 3418030 w 3418030"/>
              <a:gd name="connsiteY57" fmla="*/ 2522198 h 4878949"/>
              <a:gd name="connsiteX58" fmla="*/ 3418030 w 3418030"/>
              <a:gd name="connsiteY58" fmla="*/ 2522809 h 4878949"/>
              <a:gd name="connsiteX59" fmla="*/ 3418030 w 3418030"/>
              <a:gd name="connsiteY59" fmla="*/ 2522819 h 4878949"/>
              <a:gd name="connsiteX60" fmla="*/ 3418030 w 3418030"/>
              <a:gd name="connsiteY60" fmla="*/ 2522830 h 4878949"/>
              <a:gd name="connsiteX61" fmla="*/ 3418030 w 3418030"/>
              <a:gd name="connsiteY61" fmla="*/ 2571476 h 4878949"/>
              <a:gd name="connsiteX62" fmla="*/ 3415609 w 3418030"/>
              <a:gd name="connsiteY62" fmla="*/ 2571476 h 4878949"/>
              <a:gd name="connsiteX63" fmla="*/ 3413143 w 3418030"/>
              <a:gd name="connsiteY63" fmla="*/ 2621619 h 4878949"/>
              <a:gd name="connsiteX64" fmla="*/ 3412693 w 3418030"/>
              <a:gd name="connsiteY64" fmla="*/ 2624661 h 4878949"/>
              <a:gd name="connsiteX65" fmla="*/ 3412480 w 3418030"/>
              <a:gd name="connsiteY65" fmla="*/ 2628713 h 4878949"/>
              <a:gd name="connsiteX66" fmla="*/ 3377025 w 3418030"/>
              <a:gd name="connsiteY66" fmla="*/ 2807125 h 4878949"/>
              <a:gd name="connsiteX67" fmla="*/ 3375576 w 3418030"/>
              <a:gd name="connsiteY67" fmla="*/ 2811322 h 4878949"/>
              <a:gd name="connsiteX68" fmla="*/ 3375395 w 3418030"/>
              <a:gd name="connsiteY68" fmla="*/ 2812045 h 4878949"/>
              <a:gd name="connsiteX69" fmla="*/ 3372842 w 3418030"/>
              <a:gd name="connsiteY69" fmla="*/ 2819247 h 4878949"/>
              <a:gd name="connsiteX70" fmla="*/ 3347771 w 3418030"/>
              <a:gd name="connsiteY70" fmla="*/ 2891903 h 4878949"/>
              <a:gd name="connsiteX71" fmla="*/ 3344429 w 3418030"/>
              <a:gd name="connsiteY71" fmla="*/ 2899360 h 4878949"/>
              <a:gd name="connsiteX72" fmla="*/ 3343424 w 3418030"/>
              <a:gd name="connsiteY72" fmla="*/ 2902194 h 4878949"/>
              <a:gd name="connsiteX73" fmla="*/ 3336294 w 3418030"/>
              <a:gd name="connsiteY73" fmla="*/ 2917516 h 4878949"/>
              <a:gd name="connsiteX74" fmla="*/ 3311321 w 3418030"/>
              <a:gd name="connsiteY74" fmla="*/ 2973257 h 4878949"/>
              <a:gd name="connsiteX75" fmla="*/ 3305517 w 3418030"/>
              <a:gd name="connsiteY75" fmla="*/ 2983659 h 4878949"/>
              <a:gd name="connsiteX76" fmla="*/ 3303314 w 3418030"/>
              <a:gd name="connsiteY76" fmla="*/ 2988394 h 4878949"/>
              <a:gd name="connsiteX77" fmla="*/ 3293601 w 3418030"/>
              <a:gd name="connsiteY77" fmla="*/ 3005019 h 4878949"/>
              <a:gd name="connsiteX78" fmla="*/ 3268042 w 3418030"/>
              <a:gd name="connsiteY78" fmla="*/ 3050833 h 4878949"/>
              <a:gd name="connsiteX79" fmla="*/ 3259248 w 3418030"/>
              <a:gd name="connsiteY79" fmla="*/ 3063817 h 4878949"/>
              <a:gd name="connsiteX80" fmla="*/ 3255513 w 3418030"/>
              <a:gd name="connsiteY80" fmla="*/ 3070215 h 4878949"/>
              <a:gd name="connsiteX81" fmla="*/ 3244196 w 3418030"/>
              <a:gd name="connsiteY81" fmla="*/ 3086045 h 4878949"/>
              <a:gd name="connsiteX82" fmla="*/ 3218302 w 3418030"/>
              <a:gd name="connsiteY82" fmla="*/ 3124280 h 4878949"/>
              <a:gd name="connsiteX83" fmla="*/ 3206037 w 3418030"/>
              <a:gd name="connsiteY83" fmla="*/ 3139430 h 4878949"/>
              <a:gd name="connsiteX84" fmla="*/ 3200464 w 3418030"/>
              <a:gd name="connsiteY84" fmla="*/ 3147227 h 4878949"/>
              <a:gd name="connsiteX85" fmla="*/ 3188229 w 3418030"/>
              <a:gd name="connsiteY85" fmla="*/ 3161424 h 4878949"/>
              <a:gd name="connsiteX86" fmla="*/ 3162468 w 3418030"/>
              <a:gd name="connsiteY86" fmla="*/ 3193243 h 4878949"/>
              <a:gd name="connsiteX87" fmla="*/ 3146287 w 3418030"/>
              <a:gd name="connsiteY87" fmla="*/ 3210097 h 4878949"/>
              <a:gd name="connsiteX88" fmla="*/ 3138613 w 3418030"/>
              <a:gd name="connsiteY88" fmla="*/ 3219003 h 4878949"/>
              <a:gd name="connsiteX89" fmla="*/ 3126010 w 3418030"/>
              <a:gd name="connsiteY89" fmla="*/ 3231219 h 4878949"/>
              <a:gd name="connsiteX90" fmla="*/ 3100905 w 3418030"/>
              <a:gd name="connsiteY90" fmla="*/ 3257369 h 4878949"/>
              <a:gd name="connsiteX91" fmla="*/ 3080407 w 3418030"/>
              <a:gd name="connsiteY91" fmla="*/ 3275420 h 4878949"/>
              <a:gd name="connsiteX92" fmla="*/ 3070407 w 3418030"/>
              <a:gd name="connsiteY92" fmla="*/ 3285113 h 4878949"/>
              <a:gd name="connsiteX93" fmla="*/ 3057904 w 3418030"/>
              <a:gd name="connsiteY93" fmla="*/ 3295236 h 4878949"/>
              <a:gd name="connsiteX94" fmla="*/ 3033981 w 3418030"/>
              <a:gd name="connsiteY94" fmla="*/ 3316304 h 4878949"/>
              <a:gd name="connsiteX95" fmla="*/ 3008795 w 3418030"/>
              <a:gd name="connsiteY95" fmla="*/ 3335002 h 4878949"/>
              <a:gd name="connsiteX96" fmla="*/ 2996290 w 3418030"/>
              <a:gd name="connsiteY96" fmla="*/ 3345128 h 4878949"/>
              <a:gd name="connsiteX97" fmla="*/ 2984301 w 3418030"/>
              <a:gd name="connsiteY97" fmla="*/ 3353185 h 4878949"/>
              <a:gd name="connsiteX98" fmla="*/ 2962062 w 3418030"/>
              <a:gd name="connsiteY98" fmla="*/ 3369695 h 4878949"/>
              <a:gd name="connsiteX99" fmla="*/ 2931835 w 3418030"/>
              <a:gd name="connsiteY99" fmla="*/ 3388450 h 4878949"/>
              <a:gd name="connsiteX100" fmla="*/ 2916709 w 3418030"/>
              <a:gd name="connsiteY100" fmla="*/ 3398618 h 4878949"/>
              <a:gd name="connsiteX101" fmla="*/ 2905603 w 3418030"/>
              <a:gd name="connsiteY101" fmla="*/ 3404726 h 4878949"/>
              <a:gd name="connsiteX102" fmla="*/ 2885517 w 3418030"/>
              <a:gd name="connsiteY102" fmla="*/ 3417189 h 4878949"/>
              <a:gd name="connsiteX103" fmla="*/ 2849882 w 3418030"/>
              <a:gd name="connsiteY103" fmla="*/ 3435375 h 4878949"/>
              <a:gd name="connsiteX104" fmla="*/ 2832108 w 3418030"/>
              <a:gd name="connsiteY104" fmla="*/ 3445153 h 4878949"/>
              <a:gd name="connsiteX105" fmla="*/ 2822219 w 3418030"/>
              <a:gd name="connsiteY105" fmla="*/ 3449494 h 4878949"/>
              <a:gd name="connsiteX106" fmla="*/ 2804710 w 3418030"/>
              <a:gd name="connsiteY106" fmla="*/ 3458432 h 4878949"/>
              <a:gd name="connsiteX107" fmla="*/ 2763233 w 3418030"/>
              <a:gd name="connsiteY107" fmla="*/ 3475393 h 4878949"/>
              <a:gd name="connsiteX108" fmla="*/ 2742933 w 3418030"/>
              <a:gd name="connsiteY108" fmla="*/ 3484308 h 4878949"/>
              <a:gd name="connsiteX109" fmla="*/ 2734565 w 3418030"/>
              <a:gd name="connsiteY109" fmla="*/ 3487117 h 4878949"/>
              <a:gd name="connsiteX110" fmla="*/ 2720010 w 3418030"/>
              <a:gd name="connsiteY110" fmla="*/ 3493070 h 4878949"/>
              <a:gd name="connsiteX111" fmla="*/ 2672049 w 3418030"/>
              <a:gd name="connsiteY111" fmla="*/ 3508117 h 4878949"/>
              <a:gd name="connsiteX112" fmla="*/ 2649630 w 3418030"/>
              <a:gd name="connsiteY112" fmla="*/ 3515648 h 4878949"/>
              <a:gd name="connsiteX113" fmla="*/ 2643052 w 3418030"/>
              <a:gd name="connsiteY113" fmla="*/ 3517214 h 4878949"/>
              <a:gd name="connsiteX114" fmla="*/ 2631783 w 3418030"/>
              <a:gd name="connsiteY114" fmla="*/ 3520749 h 4878949"/>
              <a:gd name="connsiteX115" fmla="*/ 2576079 w 3418030"/>
              <a:gd name="connsiteY115" fmla="*/ 3533167 h 4878949"/>
              <a:gd name="connsiteX116" fmla="*/ 2552643 w 3418030"/>
              <a:gd name="connsiteY116" fmla="*/ 3538747 h 4878949"/>
              <a:gd name="connsiteX117" fmla="*/ 2548104 w 3418030"/>
              <a:gd name="connsiteY117" fmla="*/ 3539401 h 4878949"/>
              <a:gd name="connsiteX118" fmla="*/ 2540397 w 3418030"/>
              <a:gd name="connsiteY118" fmla="*/ 3541118 h 4878949"/>
              <a:gd name="connsiteX119" fmla="*/ 2473383 w 3418030"/>
              <a:gd name="connsiteY119" fmla="*/ 3550158 h 4878949"/>
              <a:gd name="connsiteX120" fmla="*/ 2452420 w 3418030"/>
              <a:gd name="connsiteY120" fmla="*/ 3553176 h 4878949"/>
              <a:gd name="connsiteX121" fmla="*/ 2450212 w 3418030"/>
              <a:gd name="connsiteY121" fmla="*/ 3553284 h 4878949"/>
              <a:gd name="connsiteX122" fmla="*/ 2446216 w 3418030"/>
              <a:gd name="connsiteY122" fmla="*/ 3553824 h 4878949"/>
              <a:gd name="connsiteX123" fmla="*/ 2399737 w 3418030"/>
              <a:gd name="connsiteY123" fmla="*/ 3555943 h 4878949"/>
              <a:gd name="connsiteX124" fmla="*/ 2399737 w 3418030"/>
              <a:gd name="connsiteY124" fmla="*/ 3558529 h 4878949"/>
              <a:gd name="connsiteX125" fmla="*/ 2366297 w 3418030"/>
              <a:gd name="connsiteY125" fmla="*/ 3558529 h 4878949"/>
              <a:gd name="connsiteX126" fmla="*/ 2350286 w 3418030"/>
              <a:gd name="connsiteY126" fmla="*/ 3560726 h 4878949"/>
              <a:gd name="connsiteX127" fmla="*/ 2329679 w 3418030"/>
              <a:gd name="connsiteY127" fmla="*/ 3563743 h 4878949"/>
              <a:gd name="connsiteX128" fmla="*/ 2327509 w 3418030"/>
              <a:gd name="connsiteY128" fmla="*/ 3563851 h 4878949"/>
              <a:gd name="connsiteX129" fmla="*/ 2323580 w 3418030"/>
              <a:gd name="connsiteY129" fmla="*/ 3564391 h 4878949"/>
              <a:gd name="connsiteX130" fmla="*/ 2277890 w 3418030"/>
              <a:gd name="connsiteY130" fmla="*/ 3566510 h 4878949"/>
              <a:gd name="connsiteX131" fmla="*/ 2277890 w 3418030"/>
              <a:gd name="connsiteY131" fmla="*/ 3569096 h 4878949"/>
              <a:gd name="connsiteX132" fmla="*/ 2235765 w 3418030"/>
              <a:gd name="connsiteY132" fmla="*/ 3569096 h 4878949"/>
              <a:gd name="connsiteX133" fmla="*/ 2222205 w 3418030"/>
              <a:gd name="connsiteY133" fmla="*/ 3569096 h 4878949"/>
              <a:gd name="connsiteX134" fmla="*/ 2221889 w 3418030"/>
              <a:gd name="connsiteY134" fmla="*/ 3569096 h 4878949"/>
              <a:gd name="connsiteX135" fmla="*/ 2221889 w 3418030"/>
              <a:gd name="connsiteY135" fmla="*/ 3570333 h 4878949"/>
              <a:gd name="connsiteX136" fmla="*/ 2038520 w 3418030"/>
              <a:gd name="connsiteY136" fmla="*/ 3570333 h 4878949"/>
              <a:gd name="connsiteX137" fmla="*/ 2013539 w 3418030"/>
              <a:gd name="connsiteY137" fmla="*/ 3570333 h 4878949"/>
              <a:gd name="connsiteX138" fmla="*/ 1650818 w 3418030"/>
              <a:gd name="connsiteY138" fmla="*/ 3570333 h 4878949"/>
              <a:gd name="connsiteX139" fmla="*/ 1650818 w 3418030"/>
              <a:gd name="connsiteY139" fmla="*/ 3570744 h 4878949"/>
              <a:gd name="connsiteX140" fmla="*/ 1652012 w 3418030"/>
              <a:gd name="connsiteY140" fmla="*/ 3570744 h 4878949"/>
              <a:gd name="connsiteX141" fmla="*/ 1652012 w 3418030"/>
              <a:gd name="connsiteY141" fmla="*/ 3571721 h 4878949"/>
              <a:gd name="connsiteX142" fmla="*/ 1671221 w 3418030"/>
              <a:gd name="connsiteY142" fmla="*/ 3572716 h 4878949"/>
              <a:gd name="connsiteX143" fmla="*/ 1672387 w 3418030"/>
              <a:gd name="connsiteY143" fmla="*/ 3572898 h 4878949"/>
              <a:gd name="connsiteX144" fmla="*/ 1673940 w 3418030"/>
              <a:gd name="connsiteY144" fmla="*/ 3572984 h 4878949"/>
              <a:gd name="connsiteX145" fmla="*/ 1742290 w 3418030"/>
              <a:gd name="connsiteY145" fmla="*/ 3587296 h 4878949"/>
              <a:gd name="connsiteX146" fmla="*/ 1743898 w 3418030"/>
              <a:gd name="connsiteY146" fmla="*/ 3587880 h 4878949"/>
              <a:gd name="connsiteX147" fmla="*/ 1744176 w 3418030"/>
              <a:gd name="connsiteY147" fmla="*/ 3587953 h 4878949"/>
              <a:gd name="connsiteX148" fmla="*/ 1746934 w 3418030"/>
              <a:gd name="connsiteY148" fmla="*/ 3588984 h 4878949"/>
              <a:gd name="connsiteX149" fmla="*/ 1774769 w 3418030"/>
              <a:gd name="connsiteY149" fmla="*/ 3599104 h 4878949"/>
              <a:gd name="connsiteX150" fmla="*/ 1777626 w 3418030"/>
              <a:gd name="connsiteY150" fmla="*/ 3600453 h 4878949"/>
              <a:gd name="connsiteX151" fmla="*/ 1778712 w 3418030"/>
              <a:gd name="connsiteY151" fmla="*/ 3600858 h 4878949"/>
              <a:gd name="connsiteX152" fmla="*/ 1784582 w 3418030"/>
              <a:gd name="connsiteY152" fmla="*/ 3603737 h 4878949"/>
              <a:gd name="connsiteX153" fmla="*/ 1805936 w 3418030"/>
              <a:gd name="connsiteY153" fmla="*/ 3613817 h 4878949"/>
              <a:gd name="connsiteX154" fmla="*/ 1809922 w 3418030"/>
              <a:gd name="connsiteY154" fmla="*/ 3616160 h 4878949"/>
              <a:gd name="connsiteX155" fmla="*/ 1811736 w 3418030"/>
              <a:gd name="connsiteY155" fmla="*/ 3617049 h 4878949"/>
              <a:gd name="connsiteX156" fmla="*/ 1818105 w 3418030"/>
              <a:gd name="connsiteY156" fmla="*/ 3620970 h 4878949"/>
              <a:gd name="connsiteX157" fmla="*/ 1835657 w 3418030"/>
              <a:gd name="connsiteY157" fmla="*/ 3631287 h 4878949"/>
              <a:gd name="connsiteX158" fmla="*/ 1840631 w 3418030"/>
              <a:gd name="connsiteY158" fmla="*/ 3634836 h 4878949"/>
              <a:gd name="connsiteX159" fmla="*/ 1843082 w 3418030"/>
              <a:gd name="connsiteY159" fmla="*/ 3636344 h 4878949"/>
              <a:gd name="connsiteX160" fmla="*/ 1849146 w 3418030"/>
              <a:gd name="connsiteY160" fmla="*/ 3640912 h 4878949"/>
              <a:gd name="connsiteX161" fmla="*/ 1863794 w 3418030"/>
              <a:gd name="connsiteY161" fmla="*/ 3651364 h 4878949"/>
              <a:gd name="connsiteX162" fmla="*/ 1869598 w 3418030"/>
              <a:gd name="connsiteY162" fmla="*/ 3656316 h 4878949"/>
              <a:gd name="connsiteX163" fmla="*/ 1872586 w 3418030"/>
              <a:gd name="connsiteY163" fmla="*/ 3658565 h 4878949"/>
              <a:gd name="connsiteX164" fmla="*/ 1878025 w 3418030"/>
              <a:gd name="connsiteY164" fmla="*/ 3663504 h 4878949"/>
              <a:gd name="connsiteX165" fmla="*/ 1890215 w 3418030"/>
              <a:gd name="connsiteY165" fmla="*/ 3673902 h 4878949"/>
              <a:gd name="connsiteX166" fmla="*/ 1896672 w 3418030"/>
              <a:gd name="connsiteY166" fmla="*/ 3680434 h 4878949"/>
              <a:gd name="connsiteX167" fmla="*/ 1900084 w 3418030"/>
              <a:gd name="connsiteY167" fmla="*/ 3683531 h 4878949"/>
              <a:gd name="connsiteX168" fmla="*/ 1904763 w 3418030"/>
              <a:gd name="connsiteY168" fmla="*/ 3688618 h 4878949"/>
              <a:gd name="connsiteX169" fmla="*/ 1914782 w 3418030"/>
              <a:gd name="connsiteY169" fmla="*/ 3698752 h 4878949"/>
              <a:gd name="connsiteX170" fmla="*/ 1921697 w 3418030"/>
              <a:gd name="connsiteY170" fmla="*/ 3707026 h 4878949"/>
              <a:gd name="connsiteX171" fmla="*/ 1925411 w 3418030"/>
              <a:gd name="connsiteY171" fmla="*/ 3711062 h 4878949"/>
              <a:gd name="connsiteX172" fmla="*/ 1929289 w 3418030"/>
              <a:gd name="connsiteY172" fmla="*/ 3716109 h 4878949"/>
              <a:gd name="connsiteX173" fmla="*/ 1937360 w 3418030"/>
              <a:gd name="connsiteY173" fmla="*/ 3725766 h 4878949"/>
              <a:gd name="connsiteX174" fmla="*/ 1944523 w 3418030"/>
              <a:gd name="connsiteY174" fmla="*/ 3735932 h 4878949"/>
              <a:gd name="connsiteX175" fmla="*/ 1948403 w 3418030"/>
              <a:gd name="connsiteY175" fmla="*/ 3740980 h 4878949"/>
              <a:gd name="connsiteX176" fmla="*/ 1951490 w 3418030"/>
              <a:gd name="connsiteY176" fmla="*/ 3745819 h 4878949"/>
              <a:gd name="connsiteX177" fmla="*/ 1957815 w 3418030"/>
              <a:gd name="connsiteY177" fmla="*/ 3754796 h 4878949"/>
              <a:gd name="connsiteX178" fmla="*/ 1965000 w 3418030"/>
              <a:gd name="connsiteY178" fmla="*/ 3766998 h 4878949"/>
              <a:gd name="connsiteX179" fmla="*/ 1968895 w 3418030"/>
              <a:gd name="connsiteY179" fmla="*/ 3773103 h 4878949"/>
              <a:gd name="connsiteX180" fmla="*/ 1971236 w 3418030"/>
              <a:gd name="connsiteY180" fmla="*/ 3777586 h 4878949"/>
              <a:gd name="connsiteX181" fmla="*/ 1976010 w 3418030"/>
              <a:gd name="connsiteY181" fmla="*/ 3785694 h 4878949"/>
              <a:gd name="connsiteX182" fmla="*/ 1982978 w 3418030"/>
              <a:gd name="connsiteY182" fmla="*/ 3800078 h 4878949"/>
              <a:gd name="connsiteX183" fmla="*/ 1986724 w 3418030"/>
              <a:gd name="connsiteY183" fmla="*/ 3807252 h 4878949"/>
              <a:gd name="connsiteX184" fmla="*/ 1988387 w 3418030"/>
              <a:gd name="connsiteY184" fmla="*/ 3811244 h 4878949"/>
              <a:gd name="connsiteX185" fmla="*/ 1991811 w 3418030"/>
              <a:gd name="connsiteY185" fmla="*/ 3818312 h 4878949"/>
              <a:gd name="connsiteX186" fmla="*/ 1998309 w 3418030"/>
              <a:gd name="connsiteY186" fmla="*/ 3835054 h 4878949"/>
              <a:gd name="connsiteX187" fmla="*/ 2001724 w 3418030"/>
              <a:gd name="connsiteY187" fmla="*/ 3843248 h 4878949"/>
              <a:gd name="connsiteX188" fmla="*/ 2002801 w 3418030"/>
              <a:gd name="connsiteY188" fmla="*/ 3846626 h 4878949"/>
              <a:gd name="connsiteX189" fmla="*/ 2005081 w 3418030"/>
              <a:gd name="connsiteY189" fmla="*/ 3852501 h 4878949"/>
              <a:gd name="connsiteX190" fmla="*/ 2010846 w 3418030"/>
              <a:gd name="connsiteY190" fmla="*/ 3871861 h 4878949"/>
              <a:gd name="connsiteX191" fmla="*/ 2013730 w 3418030"/>
              <a:gd name="connsiteY191" fmla="*/ 3880910 h 4878949"/>
              <a:gd name="connsiteX192" fmla="*/ 2014331 w 3418030"/>
              <a:gd name="connsiteY192" fmla="*/ 3883565 h 4878949"/>
              <a:gd name="connsiteX193" fmla="*/ 2015685 w 3418030"/>
              <a:gd name="connsiteY193" fmla="*/ 3888114 h 4878949"/>
              <a:gd name="connsiteX194" fmla="*/ 2020442 w 3418030"/>
              <a:gd name="connsiteY194" fmla="*/ 3910600 h 4878949"/>
              <a:gd name="connsiteX195" fmla="*/ 2020535 w 3418030"/>
              <a:gd name="connsiteY195" fmla="*/ 3911014 h 4878949"/>
              <a:gd name="connsiteX196" fmla="*/ 2021162 w 3418030"/>
              <a:gd name="connsiteY196" fmla="*/ 3911014 h 4878949"/>
              <a:gd name="connsiteX197" fmla="*/ 2023207 w 3418030"/>
              <a:gd name="connsiteY197" fmla="*/ 3922096 h 4878949"/>
              <a:gd name="connsiteX198" fmla="*/ 2023457 w 3418030"/>
              <a:gd name="connsiteY198" fmla="*/ 3924341 h 4878949"/>
              <a:gd name="connsiteX199" fmla="*/ 2024115 w 3418030"/>
              <a:gd name="connsiteY199" fmla="*/ 3928152 h 4878949"/>
              <a:gd name="connsiteX200" fmla="*/ 2027578 w 3418030"/>
              <a:gd name="connsiteY200" fmla="*/ 3961293 h 4878949"/>
              <a:gd name="connsiteX201" fmla="*/ 2028734 w 3418030"/>
              <a:gd name="connsiteY201" fmla="*/ 3971660 h 4878949"/>
              <a:gd name="connsiteX202" fmla="*/ 2028775 w 3418030"/>
              <a:gd name="connsiteY202" fmla="*/ 3972751 h 4878949"/>
              <a:gd name="connsiteX203" fmla="*/ 2028982 w 3418030"/>
              <a:gd name="connsiteY203" fmla="*/ 3974727 h 4878949"/>
              <a:gd name="connsiteX204" fmla="*/ 2029794 w 3418030"/>
              <a:gd name="connsiteY204" fmla="*/ 3997713 h 4878949"/>
              <a:gd name="connsiteX205" fmla="*/ 2030784 w 3418030"/>
              <a:gd name="connsiteY205" fmla="*/ 3997713 h 4878949"/>
              <a:gd name="connsiteX206" fmla="*/ 2030784 w 3418030"/>
              <a:gd name="connsiteY206" fmla="*/ 4018905 h 4878949"/>
              <a:gd name="connsiteX207" fmla="*/ 2030784 w 3418030"/>
              <a:gd name="connsiteY207" fmla="*/ 4025726 h 4878949"/>
              <a:gd name="connsiteX208" fmla="*/ 2030784 w 3418030"/>
              <a:gd name="connsiteY208" fmla="*/ 4025885 h 4878949"/>
              <a:gd name="connsiteX209" fmla="*/ 2030784 w 3418030"/>
              <a:gd name="connsiteY209" fmla="*/ 4025886 h 4878949"/>
              <a:gd name="connsiteX210" fmla="*/ 2031258 w 3418030"/>
              <a:gd name="connsiteY210" fmla="*/ 4025886 h 4878949"/>
              <a:gd name="connsiteX211" fmla="*/ 2031258 w 3418030"/>
              <a:gd name="connsiteY211" fmla="*/ 4065384 h 4878949"/>
              <a:gd name="connsiteX212" fmla="*/ 2031258 w 3418030"/>
              <a:gd name="connsiteY212" fmla="*/ 4127703 h 4878949"/>
              <a:gd name="connsiteX213" fmla="*/ 2031258 w 3418030"/>
              <a:gd name="connsiteY213" fmla="*/ 4168958 h 4878949"/>
              <a:gd name="connsiteX214" fmla="*/ 2031258 w 3418030"/>
              <a:gd name="connsiteY214" fmla="*/ 4340879 h 4878949"/>
              <a:gd name="connsiteX215" fmla="*/ 2031258 w 3418030"/>
              <a:gd name="connsiteY215" fmla="*/ 4350450 h 4878949"/>
              <a:gd name="connsiteX216" fmla="*/ 2031258 w 3418030"/>
              <a:gd name="connsiteY216" fmla="*/ 4385812 h 4878949"/>
              <a:gd name="connsiteX217" fmla="*/ 2031258 w 3418030"/>
              <a:gd name="connsiteY217" fmla="*/ 4395548 h 4878949"/>
              <a:gd name="connsiteX218" fmla="*/ 2031258 w 3418030"/>
              <a:gd name="connsiteY218" fmla="*/ 4420700 h 4878949"/>
              <a:gd name="connsiteX219" fmla="*/ 2031258 w 3418030"/>
              <a:gd name="connsiteY219" fmla="*/ 4442154 h 4878949"/>
              <a:gd name="connsiteX220" fmla="*/ 2031258 w 3418030"/>
              <a:gd name="connsiteY220" fmla="*/ 4467010 h 4878949"/>
              <a:gd name="connsiteX221" fmla="*/ 2031258 w 3418030"/>
              <a:gd name="connsiteY221" fmla="*/ 4488834 h 4878949"/>
              <a:gd name="connsiteX222" fmla="*/ 2030789 w 3418030"/>
              <a:gd name="connsiteY222" fmla="*/ 4488834 h 4878949"/>
              <a:gd name="connsiteX223" fmla="*/ 2030789 w 3418030"/>
              <a:gd name="connsiteY223" fmla="*/ 4825652 h 4878949"/>
              <a:gd name="connsiteX224" fmla="*/ 2030789 w 3418030"/>
              <a:gd name="connsiteY224" fmla="*/ 4878949 h 4878949"/>
              <a:gd name="connsiteX225" fmla="*/ 2004140 w 3418030"/>
              <a:gd name="connsiteY225" fmla="*/ 4878949 h 4878949"/>
              <a:gd name="connsiteX226" fmla="*/ 1768470 w 3418030"/>
              <a:gd name="connsiteY226" fmla="*/ 4878949 h 4878949"/>
              <a:gd name="connsiteX227" fmla="*/ 1750503 w 3418030"/>
              <a:gd name="connsiteY227" fmla="*/ 4878949 h 4878949"/>
              <a:gd name="connsiteX228" fmla="*/ 1741822 w 3418030"/>
              <a:gd name="connsiteY228" fmla="*/ 4878949 h 4878949"/>
              <a:gd name="connsiteX229" fmla="*/ 1723854 w 3418030"/>
              <a:gd name="connsiteY229" fmla="*/ 4878949 h 4878949"/>
              <a:gd name="connsiteX230" fmla="*/ 1634240 w 3418030"/>
              <a:gd name="connsiteY230" fmla="*/ 4878949 h 4878949"/>
              <a:gd name="connsiteX231" fmla="*/ 1634005 w 3418030"/>
              <a:gd name="connsiteY231" fmla="*/ 4878949 h 4878949"/>
              <a:gd name="connsiteX232" fmla="*/ 1634002 w 3418030"/>
              <a:gd name="connsiteY232" fmla="*/ 4878949 h 4878949"/>
              <a:gd name="connsiteX233" fmla="*/ 1633998 w 3418030"/>
              <a:gd name="connsiteY233" fmla="*/ 4878949 h 4878949"/>
              <a:gd name="connsiteX234" fmla="*/ 1615361 w 3418030"/>
              <a:gd name="connsiteY234" fmla="*/ 4878949 h 4878949"/>
              <a:gd name="connsiteX235" fmla="*/ 1607591 w 3418030"/>
              <a:gd name="connsiteY235" fmla="*/ 4878949 h 4878949"/>
              <a:gd name="connsiteX236" fmla="*/ 1607357 w 3418030"/>
              <a:gd name="connsiteY236" fmla="*/ 4878949 h 4878949"/>
              <a:gd name="connsiteX237" fmla="*/ 1607354 w 3418030"/>
              <a:gd name="connsiteY237" fmla="*/ 4878949 h 4878949"/>
              <a:gd name="connsiteX238" fmla="*/ 1607350 w 3418030"/>
              <a:gd name="connsiteY238" fmla="*/ 4878949 h 4878949"/>
              <a:gd name="connsiteX239" fmla="*/ 1588712 w 3418030"/>
              <a:gd name="connsiteY239" fmla="*/ 4878949 h 4878949"/>
              <a:gd name="connsiteX240" fmla="*/ 1488184 w 3418030"/>
              <a:gd name="connsiteY240" fmla="*/ 4878949 h 4878949"/>
              <a:gd name="connsiteX241" fmla="*/ 1461535 w 3418030"/>
              <a:gd name="connsiteY241" fmla="*/ 4878949 h 4878949"/>
              <a:gd name="connsiteX242" fmla="*/ 1371921 w 3418030"/>
              <a:gd name="connsiteY242" fmla="*/ 4878949 h 4878949"/>
              <a:gd name="connsiteX243" fmla="*/ 1371687 w 3418030"/>
              <a:gd name="connsiteY243" fmla="*/ 4878949 h 4878949"/>
              <a:gd name="connsiteX244" fmla="*/ 1371683 w 3418030"/>
              <a:gd name="connsiteY244" fmla="*/ 4878949 h 4878949"/>
              <a:gd name="connsiteX245" fmla="*/ 1371679 w 3418030"/>
              <a:gd name="connsiteY245" fmla="*/ 4878949 h 4878949"/>
              <a:gd name="connsiteX246" fmla="*/ 1367507 w 3418030"/>
              <a:gd name="connsiteY246" fmla="*/ 4878949 h 4878949"/>
              <a:gd name="connsiteX247" fmla="*/ 1353954 w 3418030"/>
              <a:gd name="connsiteY247" fmla="*/ 4878949 h 4878949"/>
              <a:gd name="connsiteX248" fmla="*/ 1353719 w 3418030"/>
              <a:gd name="connsiteY248" fmla="*/ 4878949 h 4878949"/>
              <a:gd name="connsiteX249" fmla="*/ 1353716 w 3418030"/>
              <a:gd name="connsiteY249" fmla="*/ 4878949 h 4878949"/>
              <a:gd name="connsiteX250" fmla="*/ 1353712 w 3418030"/>
              <a:gd name="connsiteY250" fmla="*/ 4878949 h 4878949"/>
              <a:gd name="connsiteX251" fmla="*/ 1353043 w 3418030"/>
              <a:gd name="connsiteY251" fmla="*/ 4878949 h 4878949"/>
              <a:gd name="connsiteX252" fmla="*/ 1345272 w 3418030"/>
              <a:gd name="connsiteY252" fmla="*/ 4878949 h 4878949"/>
              <a:gd name="connsiteX253" fmla="*/ 1345038 w 3418030"/>
              <a:gd name="connsiteY253" fmla="*/ 4878949 h 4878949"/>
              <a:gd name="connsiteX254" fmla="*/ 1345035 w 3418030"/>
              <a:gd name="connsiteY254" fmla="*/ 4878949 h 4878949"/>
              <a:gd name="connsiteX255" fmla="*/ 1345031 w 3418030"/>
              <a:gd name="connsiteY255" fmla="*/ 4878949 h 4878949"/>
              <a:gd name="connsiteX256" fmla="*/ 1340858 w 3418030"/>
              <a:gd name="connsiteY256" fmla="*/ 4878949 h 4878949"/>
              <a:gd name="connsiteX257" fmla="*/ 1335075 w 3418030"/>
              <a:gd name="connsiteY257" fmla="*/ 4878949 h 4878949"/>
              <a:gd name="connsiteX258" fmla="*/ 1327305 w 3418030"/>
              <a:gd name="connsiteY258" fmla="*/ 4878949 h 4878949"/>
              <a:gd name="connsiteX259" fmla="*/ 1327071 w 3418030"/>
              <a:gd name="connsiteY259" fmla="*/ 4878949 h 4878949"/>
              <a:gd name="connsiteX260" fmla="*/ 1327067 w 3418030"/>
              <a:gd name="connsiteY260" fmla="*/ 4878949 h 4878949"/>
              <a:gd name="connsiteX261" fmla="*/ 1327063 w 3418030"/>
              <a:gd name="connsiteY261" fmla="*/ 4878949 h 4878949"/>
              <a:gd name="connsiteX262" fmla="*/ 1326394 w 3418030"/>
              <a:gd name="connsiteY262" fmla="*/ 4878949 h 4878949"/>
              <a:gd name="connsiteX263" fmla="*/ 1308426 w 3418030"/>
              <a:gd name="connsiteY263" fmla="*/ 4878949 h 4878949"/>
              <a:gd name="connsiteX264" fmla="*/ 1105188 w 3418030"/>
              <a:gd name="connsiteY264" fmla="*/ 4878949 h 4878949"/>
              <a:gd name="connsiteX265" fmla="*/ 1091635 w 3418030"/>
              <a:gd name="connsiteY265" fmla="*/ 4878949 h 4878949"/>
              <a:gd name="connsiteX266" fmla="*/ 1091401 w 3418030"/>
              <a:gd name="connsiteY266" fmla="*/ 4878949 h 4878949"/>
              <a:gd name="connsiteX267" fmla="*/ 1091397 w 3418030"/>
              <a:gd name="connsiteY267" fmla="*/ 4878949 h 4878949"/>
              <a:gd name="connsiteX268" fmla="*/ 1091393 w 3418030"/>
              <a:gd name="connsiteY268" fmla="*/ 4878949 h 4878949"/>
              <a:gd name="connsiteX269" fmla="*/ 1087221 w 3418030"/>
              <a:gd name="connsiteY269" fmla="*/ 4878949 h 4878949"/>
              <a:gd name="connsiteX270" fmla="*/ 1078540 w 3418030"/>
              <a:gd name="connsiteY270" fmla="*/ 4878949 h 4878949"/>
              <a:gd name="connsiteX271" fmla="*/ 1072756 w 3418030"/>
              <a:gd name="connsiteY271" fmla="*/ 4878949 h 4878949"/>
              <a:gd name="connsiteX272" fmla="*/ 1064986 w 3418030"/>
              <a:gd name="connsiteY272" fmla="*/ 4878949 h 4878949"/>
              <a:gd name="connsiteX273" fmla="*/ 1064752 w 3418030"/>
              <a:gd name="connsiteY273" fmla="*/ 4878949 h 4878949"/>
              <a:gd name="connsiteX274" fmla="*/ 1064748 w 3418030"/>
              <a:gd name="connsiteY274" fmla="*/ 4878949 h 4878949"/>
              <a:gd name="connsiteX275" fmla="*/ 1064745 w 3418030"/>
              <a:gd name="connsiteY275" fmla="*/ 4878949 h 4878949"/>
              <a:gd name="connsiteX276" fmla="*/ 1060572 w 3418030"/>
              <a:gd name="connsiteY276" fmla="*/ 4878949 h 4878949"/>
              <a:gd name="connsiteX277" fmla="*/ 1046108 w 3418030"/>
              <a:gd name="connsiteY277" fmla="*/ 4878949 h 4878949"/>
              <a:gd name="connsiteX278" fmla="*/ 970958 w 3418030"/>
              <a:gd name="connsiteY278" fmla="*/ 4878949 h 4878949"/>
              <a:gd name="connsiteX279" fmla="*/ 970723 w 3418030"/>
              <a:gd name="connsiteY279" fmla="*/ 4878949 h 4878949"/>
              <a:gd name="connsiteX280" fmla="*/ 970720 w 3418030"/>
              <a:gd name="connsiteY280" fmla="*/ 4878949 h 4878949"/>
              <a:gd name="connsiteX281" fmla="*/ 970716 w 3418030"/>
              <a:gd name="connsiteY281" fmla="*/ 4878949 h 4878949"/>
              <a:gd name="connsiteX282" fmla="*/ 952079 w 3418030"/>
              <a:gd name="connsiteY282" fmla="*/ 4878949 h 4878949"/>
              <a:gd name="connsiteX283" fmla="*/ 944309 w 3418030"/>
              <a:gd name="connsiteY283" fmla="*/ 4878949 h 4878949"/>
              <a:gd name="connsiteX284" fmla="*/ 944075 w 3418030"/>
              <a:gd name="connsiteY284" fmla="*/ 4878949 h 4878949"/>
              <a:gd name="connsiteX285" fmla="*/ 944072 w 3418030"/>
              <a:gd name="connsiteY285" fmla="*/ 4878949 h 4878949"/>
              <a:gd name="connsiteX286" fmla="*/ 944068 w 3418030"/>
              <a:gd name="connsiteY286" fmla="*/ 4878949 h 4878949"/>
              <a:gd name="connsiteX287" fmla="*/ 925430 w 3418030"/>
              <a:gd name="connsiteY287" fmla="*/ 4878949 h 4878949"/>
              <a:gd name="connsiteX288" fmla="*/ 824902 w 3418030"/>
              <a:gd name="connsiteY288" fmla="*/ 4878949 h 4878949"/>
              <a:gd name="connsiteX289" fmla="*/ 798253 w 3418030"/>
              <a:gd name="connsiteY289" fmla="*/ 4878949 h 4878949"/>
              <a:gd name="connsiteX290" fmla="*/ 708639 w 3418030"/>
              <a:gd name="connsiteY290" fmla="*/ 4878949 h 4878949"/>
              <a:gd name="connsiteX291" fmla="*/ 708405 w 3418030"/>
              <a:gd name="connsiteY291" fmla="*/ 4878949 h 4878949"/>
              <a:gd name="connsiteX292" fmla="*/ 708401 w 3418030"/>
              <a:gd name="connsiteY292" fmla="*/ 4878949 h 4878949"/>
              <a:gd name="connsiteX293" fmla="*/ 708397 w 3418030"/>
              <a:gd name="connsiteY293" fmla="*/ 4878949 h 4878949"/>
              <a:gd name="connsiteX294" fmla="*/ 690672 w 3418030"/>
              <a:gd name="connsiteY294" fmla="*/ 4878949 h 4878949"/>
              <a:gd name="connsiteX295" fmla="*/ 690437 w 3418030"/>
              <a:gd name="connsiteY295" fmla="*/ 4878949 h 4878949"/>
              <a:gd name="connsiteX296" fmla="*/ 690434 w 3418030"/>
              <a:gd name="connsiteY296" fmla="*/ 4878949 h 4878949"/>
              <a:gd name="connsiteX297" fmla="*/ 690430 w 3418030"/>
              <a:gd name="connsiteY297" fmla="*/ 4878949 h 4878949"/>
              <a:gd name="connsiteX298" fmla="*/ 689761 w 3418030"/>
              <a:gd name="connsiteY298" fmla="*/ 4878949 h 4878949"/>
              <a:gd name="connsiteX299" fmla="*/ 681990 w 3418030"/>
              <a:gd name="connsiteY299" fmla="*/ 4878949 h 4878949"/>
              <a:gd name="connsiteX300" fmla="*/ 681756 w 3418030"/>
              <a:gd name="connsiteY300" fmla="*/ 4878949 h 4878949"/>
              <a:gd name="connsiteX301" fmla="*/ 681753 w 3418030"/>
              <a:gd name="connsiteY301" fmla="*/ 4878949 h 4878949"/>
              <a:gd name="connsiteX302" fmla="*/ 681749 w 3418030"/>
              <a:gd name="connsiteY302" fmla="*/ 4878949 h 4878949"/>
              <a:gd name="connsiteX303" fmla="*/ 671793 w 3418030"/>
              <a:gd name="connsiteY303" fmla="*/ 4878949 h 4878949"/>
              <a:gd name="connsiteX304" fmla="*/ 664023 w 3418030"/>
              <a:gd name="connsiteY304" fmla="*/ 4878949 h 4878949"/>
              <a:gd name="connsiteX305" fmla="*/ 663789 w 3418030"/>
              <a:gd name="connsiteY305" fmla="*/ 4878949 h 4878949"/>
              <a:gd name="connsiteX306" fmla="*/ 663785 w 3418030"/>
              <a:gd name="connsiteY306" fmla="*/ 4878949 h 4878949"/>
              <a:gd name="connsiteX307" fmla="*/ 663781 w 3418030"/>
              <a:gd name="connsiteY307" fmla="*/ 4878949 h 4878949"/>
              <a:gd name="connsiteX308" fmla="*/ 663112 w 3418030"/>
              <a:gd name="connsiteY308" fmla="*/ 4878949 h 4878949"/>
              <a:gd name="connsiteX309" fmla="*/ 645144 w 3418030"/>
              <a:gd name="connsiteY309" fmla="*/ 4878949 h 4878949"/>
              <a:gd name="connsiteX310" fmla="*/ 428353 w 3418030"/>
              <a:gd name="connsiteY310" fmla="*/ 4878949 h 4878949"/>
              <a:gd name="connsiteX311" fmla="*/ 428119 w 3418030"/>
              <a:gd name="connsiteY311" fmla="*/ 4878949 h 4878949"/>
              <a:gd name="connsiteX312" fmla="*/ 428115 w 3418030"/>
              <a:gd name="connsiteY312" fmla="*/ 4878949 h 4878949"/>
              <a:gd name="connsiteX313" fmla="*/ 428111 w 3418030"/>
              <a:gd name="connsiteY313" fmla="*/ 4878949 h 4878949"/>
              <a:gd name="connsiteX314" fmla="*/ 409474 w 3418030"/>
              <a:gd name="connsiteY314" fmla="*/ 4878949 h 4878949"/>
              <a:gd name="connsiteX315" fmla="*/ 401704 w 3418030"/>
              <a:gd name="connsiteY315" fmla="*/ 4878949 h 4878949"/>
              <a:gd name="connsiteX316" fmla="*/ 401470 w 3418030"/>
              <a:gd name="connsiteY316" fmla="*/ 4878949 h 4878949"/>
              <a:gd name="connsiteX317" fmla="*/ 401466 w 3418030"/>
              <a:gd name="connsiteY317" fmla="*/ 4878949 h 4878949"/>
              <a:gd name="connsiteX318" fmla="*/ 401462 w 3418030"/>
              <a:gd name="connsiteY318" fmla="*/ 4878949 h 4878949"/>
              <a:gd name="connsiteX319" fmla="*/ 382826 w 3418030"/>
              <a:gd name="connsiteY319" fmla="*/ 4878949 h 4878949"/>
              <a:gd name="connsiteX320" fmla="*/ 382826 w 3418030"/>
              <a:gd name="connsiteY320" fmla="*/ 4878022 h 4878949"/>
              <a:gd name="connsiteX321" fmla="*/ 363616 w 3418030"/>
              <a:gd name="connsiteY321" fmla="*/ 4877077 h 4878949"/>
              <a:gd name="connsiteX322" fmla="*/ 362450 w 3418030"/>
              <a:gd name="connsiteY322" fmla="*/ 4876905 h 4878949"/>
              <a:gd name="connsiteX323" fmla="*/ 360898 w 3418030"/>
              <a:gd name="connsiteY323" fmla="*/ 4876823 h 4878949"/>
              <a:gd name="connsiteX324" fmla="*/ 292547 w 3418030"/>
              <a:gd name="connsiteY324" fmla="*/ 4863240 h 4878949"/>
              <a:gd name="connsiteX325" fmla="*/ 290939 w 3418030"/>
              <a:gd name="connsiteY325" fmla="*/ 4862685 h 4878949"/>
              <a:gd name="connsiteX326" fmla="*/ 290662 w 3418030"/>
              <a:gd name="connsiteY326" fmla="*/ 4862616 h 4878949"/>
              <a:gd name="connsiteX327" fmla="*/ 287903 w 3418030"/>
              <a:gd name="connsiteY327" fmla="*/ 4861637 h 4878949"/>
              <a:gd name="connsiteX328" fmla="*/ 260068 w 3418030"/>
              <a:gd name="connsiteY328" fmla="*/ 4852032 h 4878949"/>
              <a:gd name="connsiteX329" fmla="*/ 257211 w 3418030"/>
              <a:gd name="connsiteY329" fmla="*/ 4850752 h 4878949"/>
              <a:gd name="connsiteX330" fmla="*/ 256125 w 3418030"/>
              <a:gd name="connsiteY330" fmla="*/ 4850367 h 4878949"/>
              <a:gd name="connsiteX331" fmla="*/ 250255 w 3418030"/>
              <a:gd name="connsiteY331" fmla="*/ 4847636 h 4878949"/>
              <a:gd name="connsiteX332" fmla="*/ 228901 w 3418030"/>
              <a:gd name="connsiteY332" fmla="*/ 4838068 h 4878949"/>
              <a:gd name="connsiteX333" fmla="*/ 224915 w 3418030"/>
              <a:gd name="connsiteY333" fmla="*/ 4835845 h 4878949"/>
              <a:gd name="connsiteX334" fmla="*/ 223101 w 3418030"/>
              <a:gd name="connsiteY334" fmla="*/ 4835001 h 4878949"/>
              <a:gd name="connsiteX335" fmla="*/ 216732 w 3418030"/>
              <a:gd name="connsiteY335" fmla="*/ 4831280 h 4878949"/>
              <a:gd name="connsiteX336" fmla="*/ 199181 w 3418030"/>
              <a:gd name="connsiteY336" fmla="*/ 4821488 h 4878949"/>
              <a:gd name="connsiteX337" fmla="*/ 194206 w 3418030"/>
              <a:gd name="connsiteY337" fmla="*/ 4818119 h 4878949"/>
              <a:gd name="connsiteX338" fmla="*/ 191756 w 3418030"/>
              <a:gd name="connsiteY338" fmla="*/ 4816688 h 4878949"/>
              <a:gd name="connsiteX339" fmla="*/ 185691 w 3418030"/>
              <a:gd name="connsiteY339" fmla="*/ 4812352 h 4878949"/>
              <a:gd name="connsiteX340" fmla="*/ 171043 w 3418030"/>
              <a:gd name="connsiteY340" fmla="*/ 4802432 h 4878949"/>
              <a:gd name="connsiteX341" fmla="*/ 165239 w 3418030"/>
              <a:gd name="connsiteY341" fmla="*/ 4797733 h 4878949"/>
              <a:gd name="connsiteX342" fmla="*/ 162251 w 3418030"/>
              <a:gd name="connsiteY342" fmla="*/ 4795598 h 4878949"/>
              <a:gd name="connsiteX343" fmla="*/ 156813 w 3418030"/>
              <a:gd name="connsiteY343" fmla="*/ 4790911 h 4878949"/>
              <a:gd name="connsiteX344" fmla="*/ 144622 w 3418030"/>
              <a:gd name="connsiteY344" fmla="*/ 4781042 h 4878949"/>
              <a:gd name="connsiteX345" fmla="*/ 138166 w 3418030"/>
              <a:gd name="connsiteY345" fmla="*/ 4774843 h 4878949"/>
              <a:gd name="connsiteX346" fmla="*/ 134753 w 3418030"/>
              <a:gd name="connsiteY346" fmla="*/ 4771903 h 4878949"/>
              <a:gd name="connsiteX347" fmla="*/ 130074 w 3418030"/>
              <a:gd name="connsiteY347" fmla="*/ 4767074 h 4878949"/>
              <a:gd name="connsiteX348" fmla="*/ 120055 w 3418030"/>
              <a:gd name="connsiteY348" fmla="*/ 4757456 h 4878949"/>
              <a:gd name="connsiteX349" fmla="*/ 113141 w 3418030"/>
              <a:gd name="connsiteY349" fmla="*/ 4749604 h 4878949"/>
              <a:gd name="connsiteX350" fmla="*/ 109426 w 3418030"/>
              <a:gd name="connsiteY350" fmla="*/ 4745772 h 4878949"/>
              <a:gd name="connsiteX351" fmla="*/ 105549 w 3418030"/>
              <a:gd name="connsiteY351" fmla="*/ 4740983 h 4878949"/>
              <a:gd name="connsiteX352" fmla="*/ 97477 w 3418030"/>
              <a:gd name="connsiteY352" fmla="*/ 4731817 h 4878949"/>
              <a:gd name="connsiteX353" fmla="*/ 90315 w 3418030"/>
              <a:gd name="connsiteY353" fmla="*/ 4722168 h 4878949"/>
              <a:gd name="connsiteX354" fmla="*/ 86434 w 3418030"/>
              <a:gd name="connsiteY354" fmla="*/ 4717378 h 4878949"/>
              <a:gd name="connsiteX355" fmla="*/ 83347 w 3418030"/>
              <a:gd name="connsiteY355" fmla="*/ 4712785 h 4878949"/>
              <a:gd name="connsiteX356" fmla="*/ 77022 w 3418030"/>
              <a:gd name="connsiteY356" fmla="*/ 4704265 h 4878949"/>
              <a:gd name="connsiteX357" fmla="*/ 69837 w 3418030"/>
              <a:gd name="connsiteY357" fmla="*/ 4692685 h 4878949"/>
              <a:gd name="connsiteX358" fmla="*/ 65942 w 3418030"/>
              <a:gd name="connsiteY358" fmla="*/ 4686890 h 4878949"/>
              <a:gd name="connsiteX359" fmla="*/ 63602 w 3418030"/>
              <a:gd name="connsiteY359" fmla="*/ 4682635 h 4878949"/>
              <a:gd name="connsiteX360" fmla="*/ 58828 w 3418030"/>
              <a:gd name="connsiteY360" fmla="*/ 4674940 h 4878949"/>
              <a:gd name="connsiteX361" fmla="*/ 51860 w 3418030"/>
              <a:gd name="connsiteY361" fmla="*/ 4661288 h 4878949"/>
              <a:gd name="connsiteX362" fmla="*/ 48115 w 3418030"/>
              <a:gd name="connsiteY362" fmla="*/ 4654479 h 4878949"/>
              <a:gd name="connsiteX363" fmla="*/ 46451 w 3418030"/>
              <a:gd name="connsiteY363" fmla="*/ 4650690 h 4878949"/>
              <a:gd name="connsiteX364" fmla="*/ 43027 w 3418030"/>
              <a:gd name="connsiteY364" fmla="*/ 4643982 h 4878949"/>
              <a:gd name="connsiteX365" fmla="*/ 36529 w 3418030"/>
              <a:gd name="connsiteY365" fmla="*/ 4628092 h 4878949"/>
              <a:gd name="connsiteX366" fmla="*/ 33115 w 3418030"/>
              <a:gd name="connsiteY366" fmla="*/ 4620315 h 4878949"/>
              <a:gd name="connsiteX367" fmla="*/ 32037 w 3418030"/>
              <a:gd name="connsiteY367" fmla="*/ 4617109 h 4878949"/>
              <a:gd name="connsiteX368" fmla="*/ 29757 w 3418030"/>
              <a:gd name="connsiteY368" fmla="*/ 4611533 h 4878949"/>
              <a:gd name="connsiteX369" fmla="*/ 23992 w 3418030"/>
              <a:gd name="connsiteY369" fmla="*/ 4593159 h 4878949"/>
              <a:gd name="connsiteX370" fmla="*/ 21107 w 3418030"/>
              <a:gd name="connsiteY370" fmla="*/ 4584570 h 4878949"/>
              <a:gd name="connsiteX371" fmla="*/ 20507 w 3418030"/>
              <a:gd name="connsiteY371" fmla="*/ 4582050 h 4878949"/>
              <a:gd name="connsiteX372" fmla="*/ 19153 w 3418030"/>
              <a:gd name="connsiteY372" fmla="*/ 4577733 h 4878949"/>
              <a:gd name="connsiteX373" fmla="*/ 14395 w 3418030"/>
              <a:gd name="connsiteY373" fmla="*/ 4556392 h 4878949"/>
              <a:gd name="connsiteX374" fmla="*/ 12258 w 3418030"/>
              <a:gd name="connsiteY374" fmla="*/ 4547414 h 4878949"/>
              <a:gd name="connsiteX375" fmla="*/ 12008 w 3418030"/>
              <a:gd name="connsiteY375" fmla="*/ 4545675 h 4878949"/>
              <a:gd name="connsiteX376" fmla="*/ 11349 w 3418030"/>
              <a:gd name="connsiteY376" fmla="*/ 4542722 h 4878949"/>
              <a:gd name="connsiteX377" fmla="*/ 7886 w 3418030"/>
              <a:gd name="connsiteY377" fmla="*/ 4517048 h 4878949"/>
              <a:gd name="connsiteX378" fmla="*/ 6730 w 3418030"/>
              <a:gd name="connsiteY378" fmla="*/ 4509017 h 4878949"/>
              <a:gd name="connsiteX379" fmla="*/ 6688 w 3418030"/>
              <a:gd name="connsiteY379" fmla="*/ 4508172 h 4878949"/>
              <a:gd name="connsiteX380" fmla="*/ 6482 w 3418030"/>
              <a:gd name="connsiteY380" fmla="*/ 4506641 h 4878949"/>
              <a:gd name="connsiteX381" fmla="*/ 5671 w 3418030"/>
              <a:gd name="connsiteY381" fmla="*/ 4488834 h 4878949"/>
              <a:gd name="connsiteX382" fmla="*/ 4679 w 3418030"/>
              <a:gd name="connsiteY382" fmla="*/ 4488834 h 4878949"/>
              <a:gd name="connsiteX383" fmla="*/ 4679 w 3418030"/>
              <a:gd name="connsiteY383" fmla="*/ 4476023 h 4878949"/>
              <a:gd name="connsiteX384" fmla="*/ 3837 w 3418030"/>
              <a:gd name="connsiteY384" fmla="*/ 4469889 h 4878949"/>
              <a:gd name="connsiteX385" fmla="*/ 2681 w 3418030"/>
              <a:gd name="connsiteY385" fmla="*/ 4461995 h 4878949"/>
              <a:gd name="connsiteX386" fmla="*/ 2640 w 3418030"/>
              <a:gd name="connsiteY386" fmla="*/ 4461163 h 4878949"/>
              <a:gd name="connsiteX387" fmla="*/ 2433 w 3418030"/>
              <a:gd name="connsiteY387" fmla="*/ 4459658 h 4878949"/>
              <a:gd name="connsiteX388" fmla="*/ 1621 w 3418030"/>
              <a:gd name="connsiteY388" fmla="*/ 4442154 h 4878949"/>
              <a:gd name="connsiteX389" fmla="*/ 631 w 3418030"/>
              <a:gd name="connsiteY389" fmla="*/ 4442154 h 4878949"/>
              <a:gd name="connsiteX390" fmla="*/ 631 w 3418030"/>
              <a:gd name="connsiteY390" fmla="*/ 4426015 h 4878949"/>
              <a:gd name="connsiteX391" fmla="*/ 631 w 3418030"/>
              <a:gd name="connsiteY391" fmla="*/ 4420821 h 4878949"/>
              <a:gd name="connsiteX392" fmla="*/ 631 w 3418030"/>
              <a:gd name="connsiteY392" fmla="*/ 4420700 h 4878949"/>
              <a:gd name="connsiteX393" fmla="*/ 157 w 3418030"/>
              <a:gd name="connsiteY393" fmla="*/ 4420700 h 4878949"/>
              <a:gd name="connsiteX394" fmla="*/ 157 w 3418030"/>
              <a:gd name="connsiteY394" fmla="*/ 4350450 h 4878949"/>
              <a:gd name="connsiteX395" fmla="*/ 157 w 3418030"/>
              <a:gd name="connsiteY395" fmla="*/ 4340879 h 4878949"/>
              <a:gd name="connsiteX396" fmla="*/ 157 w 3418030"/>
              <a:gd name="connsiteY396" fmla="*/ 4127703 h 4878949"/>
              <a:gd name="connsiteX397" fmla="*/ 157 w 3418030"/>
              <a:gd name="connsiteY397" fmla="*/ 4025885 h 4878949"/>
              <a:gd name="connsiteX398" fmla="*/ 157 w 3418030"/>
              <a:gd name="connsiteY398" fmla="*/ 3997713 h 4878949"/>
              <a:gd name="connsiteX399" fmla="*/ 626 w 3418030"/>
              <a:gd name="connsiteY399" fmla="*/ 3997713 h 4878949"/>
              <a:gd name="connsiteX400" fmla="*/ 626 w 3418030"/>
              <a:gd name="connsiteY400" fmla="*/ 3911014 h 4878949"/>
              <a:gd name="connsiteX401" fmla="*/ 0 w 3418030"/>
              <a:gd name="connsiteY401" fmla="*/ 3911014 h 4878949"/>
              <a:gd name="connsiteX402" fmla="*/ 0 w 3418030"/>
              <a:gd name="connsiteY402" fmla="*/ 3908592 h 4878949"/>
              <a:gd name="connsiteX403" fmla="*/ 0 w 3418030"/>
              <a:gd name="connsiteY403" fmla="*/ 3570744 h 4878949"/>
              <a:gd name="connsiteX404" fmla="*/ 0 w 3418030"/>
              <a:gd name="connsiteY404" fmla="*/ 2076617 h 4878949"/>
              <a:gd name="connsiteX405" fmla="*/ 3302 w 3418030"/>
              <a:gd name="connsiteY405" fmla="*/ 2076617 h 4878949"/>
              <a:gd name="connsiteX406" fmla="*/ 3302 w 3418030"/>
              <a:gd name="connsiteY406" fmla="*/ 2074287 h 4878949"/>
              <a:gd name="connsiteX407" fmla="*/ 3302 w 3418030"/>
              <a:gd name="connsiteY407" fmla="*/ 1850939 h 4878949"/>
              <a:gd name="connsiteX408" fmla="*/ 3302 w 3418030"/>
              <a:gd name="connsiteY408" fmla="*/ 1850328 h 4878949"/>
              <a:gd name="connsiteX409" fmla="*/ 3301 w 3418030"/>
              <a:gd name="connsiteY409" fmla="*/ 1850319 h 4878949"/>
              <a:gd name="connsiteX410" fmla="*/ 3302 w 3418030"/>
              <a:gd name="connsiteY410" fmla="*/ 1850309 h 4878949"/>
              <a:gd name="connsiteX411" fmla="*/ 3302 w 3418030"/>
              <a:gd name="connsiteY411" fmla="*/ 1804040 h 4878949"/>
              <a:gd name="connsiteX412" fmla="*/ 3302 w 3418030"/>
              <a:gd name="connsiteY412" fmla="*/ 1803429 h 4878949"/>
              <a:gd name="connsiteX413" fmla="*/ 3301 w 3418030"/>
              <a:gd name="connsiteY413" fmla="*/ 1803419 h 4878949"/>
              <a:gd name="connsiteX414" fmla="*/ 3302 w 3418030"/>
              <a:gd name="connsiteY414" fmla="*/ 1803409 h 4878949"/>
              <a:gd name="connsiteX415" fmla="*/ 3302 w 3418030"/>
              <a:gd name="connsiteY415" fmla="*/ 1801662 h 4878949"/>
              <a:gd name="connsiteX416" fmla="*/ 3302 w 3418030"/>
              <a:gd name="connsiteY416" fmla="*/ 1770814 h 4878949"/>
              <a:gd name="connsiteX417" fmla="*/ 3302 w 3418030"/>
              <a:gd name="connsiteY417" fmla="*/ 1770203 h 4878949"/>
              <a:gd name="connsiteX418" fmla="*/ 3301 w 3418030"/>
              <a:gd name="connsiteY418" fmla="*/ 1770192 h 4878949"/>
              <a:gd name="connsiteX419" fmla="*/ 3302 w 3418030"/>
              <a:gd name="connsiteY419" fmla="*/ 1770183 h 4878949"/>
              <a:gd name="connsiteX420" fmla="*/ 3302 w 3418030"/>
              <a:gd name="connsiteY420" fmla="*/ 1754762 h 4878949"/>
              <a:gd name="connsiteX421" fmla="*/ 3302 w 3418030"/>
              <a:gd name="connsiteY421" fmla="*/ 1723914 h 4878949"/>
              <a:gd name="connsiteX422" fmla="*/ 3302 w 3418030"/>
              <a:gd name="connsiteY422" fmla="*/ 1723304 h 4878949"/>
              <a:gd name="connsiteX423" fmla="*/ 3301 w 3418030"/>
              <a:gd name="connsiteY423" fmla="*/ 1723293 h 4878949"/>
              <a:gd name="connsiteX424" fmla="*/ 3302 w 3418030"/>
              <a:gd name="connsiteY424" fmla="*/ 1723284 h 4878949"/>
              <a:gd name="connsiteX425" fmla="*/ 3302 w 3418030"/>
              <a:gd name="connsiteY425" fmla="*/ 1721537 h 4878949"/>
              <a:gd name="connsiteX426" fmla="*/ 3302 w 3418030"/>
              <a:gd name="connsiteY426" fmla="*/ 1674636 h 4878949"/>
              <a:gd name="connsiteX427" fmla="*/ 3302 w 3418030"/>
              <a:gd name="connsiteY427" fmla="*/ 1119326 h 4878949"/>
              <a:gd name="connsiteX428" fmla="*/ 3302 w 3418030"/>
              <a:gd name="connsiteY428" fmla="*/ 1118715 h 4878949"/>
              <a:gd name="connsiteX429" fmla="*/ 3301 w 3418030"/>
              <a:gd name="connsiteY429" fmla="*/ 1118705 h 4878949"/>
              <a:gd name="connsiteX430" fmla="*/ 3302 w 3418030"/>
              <a:gd name="connsiteY430" fmla="*/ 1118695 h 4878949"/>
              <a:gd name="connsiteX431" fmla="*/ 3302 w 3418030"/>
              <a:gd name="connsiteY431" fmla="*/ 1070048 h 4878949"/>
              <a:gd name="connsiteX432" fmla="*/ 3302 w 3418030"/>
              <a:gd name="connsiteY432" fmla="*/ 1039200 h 4878949"/>
              <a:gd name="connsiteX433" fmla="*/ 3302 w 3418030"/>
              <a:gd name="connsiteY433" fmla="*/ 1038590 h 4878949"/>
              <a:gd name="connsiteX434" fmla="*/ 3301 w 3418030"/>
              <a:gd name="connsiteY434" fmla="*/ 1038579 h 4878949"/>
              <a:gd name="connsiteX435" fmla="*/ 3302 w 3418030"/>
              <a:gd name="connsiteY435" fmla="*/ 1038570 h 4878949"/>
              <a:gd name="connsiteX436" fmla="*/ 3302 w 3418030"/>
              <a:gd name="connsiteY436" fmla="*/ 989923 h 4878949"/>
              <a:gd name="connsiteX437" fmla="*/ 5852 w 3418030"/>
              <a:gd name="connsiteY437" fmla="*/ 989923 h 4878949"/>
              <a:gd name="connsiteX438" fmla="*/ 8449 w 3418030"/>
              <a:gd name="connsiteY438" fmla="*/ 939781 h 4878949"/>
              <a:gd name="connsiteX439" fmla="*/ 8925 w 3418030"/>
              <a:gd name="connsiteY439" fmla="*/ 936738 h 4878949"/>
              <a:gd name="connsiteX440" fmla="*/ 9149 w 3418030"/>
              <a:gd name="connsiteY440" fmla="*/ 932684 h 4878949"/>
              <a:gd name="connsiteX441" fmla="*/ 46507 w 3418030"/>
              <a:gd name="connsiteY441" fmla="*/ 754274 h 4878949"/>
              <a:gd name="connsiteX442" fmla="*/ 48032 w 3418030"/>
              <a:gd name="connsiteY442" fmla="*/ 750077 h 4878949"/>
              <a:gd name="connsiteX443" fmla="*/ 48222 w 3418030"/>
              <a:gd name="connsiteY443" fmla="*/ 749353 h 4878949"/>
              <a:gd name="connsiteX444" fmla="*/ 50914 w 3418030"/>
              <a:gd name="connsiteY444" fmla="*/ 742152 h 4878949"/>
              <a:gd name="connsiteX445" fmla="*/ 77329 w 3418030"/>
              <a:gd name="connsiteY445" fmla="*/ 669497 h 4878949"/>
              <a:gd name="connsiteX446" fmla="*/ 80849 w 3418030"/>
              <a:gd name="connsiteY446" fmla="*/ 662039 h 4878949"/>
              <a:gd name="connsiteX447" fmla="*/ 81908 w 3418030"/>
              <a:gd name="connsiteY447" fmla="*/ 659204 h 4878949"/>
              <a:gd name="connsiteX448" fmla="*/ 89422 w 3418030"/>
              <a:gd name="connsiteY448" fmla="*/ 643883 h 4878949"/>
              <a:gd name="connsiteX449" fmla="*/ 115734 w 3418030"/>
              <a:gd name="connsiteY449" fmla="*/ 588143 h 4878949"/>
              <a:gd name="connsiteX450" fmla="*/ 121848 w 3418030"/>
              <a:gd name="connsiteY450" fmla="*/ 577740 h 4878949"/>
              <a:gd name="connsiteX451" fmla="*/ 124169 w 3418030"/>
              <a:gd name="connsiteY451" fmla="*/ 573005 h 4878949"/>
              <a:gd name="connsiteX452" fmla="*/ 134403 w 3418030"/>
              <a:gd name="connsiteY452" fmla="*/ 556381 h 4878949"/>
              <a:gd name="connsiteX453" fmla="*/ 161333 w 3418030"/>
              <a:gd name="connsiteY453" fmla="*/ 510566 h 4878949"/>
              <a:gd name="connsiteX454" fmla="*/ 170598 w 3418030"/>
              <a:gd name="connsiteY454" fmla="*/ 497582 h 4878949"/>
              <a:gd name="connsiteX455" fmla="*/ 174534 w 3418030"/>
              <a:gd name="connsiteY455" fmla="*/ 491185 h 4878949"/>
              <a:gd name="connsiteX456" fmla="*/ 186458 w 3418030"/>
              <a:gd name="connsiteY456" fmla="*/ 475354 h 4878949"/>
              <a:gd name="connsiteX457" fmla="*/ 213741 w 3418030"/>
              <a:gd name="connsiteY457" fmla="*/ 437120 h 4878949"/>
              <a:gd name="connsiteX458" fmla="*/ 226666 w 3418030"/>
              <a:gd name="connsiteY458" fmla="*/ 421970 h 4878949"/>
              <a:gd name="connsiteX459" fmla="*/ 232537 w 3418030"/>
              <a:gd name="connsiteY459" fmla="*/ 414172 h 4878949"/>
              <a:gd name="connsiteX460" fmla="*/ 245428 w 3418030"/>
              <a:gd name="connsiteY460" fmla="*/ 399975 h 4878949"/>
              <a:gd name="connsiteX461" fmla="*/ 272569 w 3418030"/>
              <a:gd name="connsiteY461" fmla="*/ 368155 h 4878949"/>
              <a:gd name="connsiteX462" fmla="*/ 289619 w 3418030"/>
              <a:gd name="connsiteY462" fmla="*/ 351302 h 4878949"/>
              <a:gd name="connsiteX463" fmla="*/ 297703 w 3418030"/>
              <a:gd name="connsiteY463" fmla="*/ 342396 h 4878949"/>
              <a:gd name="connsiteX464" fmla="*/ 310983 w 3418030"/>
              <a:gd name="connsiteY464" fmla="*/ 330181 h 4878949"/>
              <a:gd name="connsiteX465" fmla="*/ 337434 w 3418030"/>
              <a:gd name="connsiteY465" fmla="*/ 304029 h 4878949"/>
              <a:gd name="connsiteX466" fmla="*/ 359031 w 3418030"/>
              <a:gd name="connsiteY466" fmla="*/ 285980 h 4878949"/>
              <a:gd name="connsiteX467" fmla="*/ 369567 w 3418030"/>
              <a:gd name="connsiteY467" fmla="*/ 276286 h 4878949"/>
              <a:gd name="connsiteX468" fmla="*/ 382740 w 3418030"/>
              <a:gd name="connsiteY468" fmla="*/ 266163 h 4878949"/>
              <a:gd name="connsiteX469" fmla="*/ 407948 w 3418030"/>
              <a:gd name="connsiteY469" fmla="*/ 245095 h 4878949"/>
              <a:gd name="connsiteX470" fmla="*/ 434483 w 3418030"/>
              <a:gd name="connsiteY470" fmla="*/ 226398 h 4878949"/>
              <a:gd name="connsiteX471" fmla="*/ 447659 w 3418030"/>
              <a:gd name="connsiteY471" fmla="*/ 216272 h 4878949"/>
              <a:gd name="connsiteX472" fmla="*/ 460291 w 3418030"/>
              <a:gd name="connsiteY472" fmla="*/ 208214 h 4878949"/>
              <a:gd name="connsiteX473" fmla="*/ 483722 w 3418030"/>
              <a:gd name="connsiteY473" fmla="*/ 191703 h 4878949"/>
              <a:gd name="connsiteX474" fmla="*/ 515572 w 3418030"/>
              <a:gd name="connsiteY474" fmla="*/ 172948 h 4878949"/>
              <a:gd name="connsiteX475" fmla="*/ 531508 w 3418030"/>
              <a:gd name="connsiteY475" fmla="*/ 162782 h 4878949"/>
              <a:gd name="connsiteX476" fmla="*/ 543209 w 3418030"/>
              <a:gd name="connsiteY476" fmla="*/ 156673 h 4878949"/>
              <a:gd name="connsiteX477" fmla="*/ 564373 w 3418030"/>
              <a:gd name="connsiteY477" fmla="*/ 144210 h 4878949"/>
              <a:gd name="connsiteX478" fmla="*/ 601919 w 3418030"/>
              <a:gd name="connsiteY478" fmla="*/ 126023 h 4878949"/>
              <a:gd name="connsiteX479" fmla="*/ 620646 w 3418030"/>
              <a:gd name="connsiteY479" fmla="*/ 116246 h 4878949"/>
              <a:gd name="connsiteX480" fmla="*/ 631065 w 3418030"/>
              <a:gd name="connsiteY480" fmla="*/ 111905 h 4878949"/>
              <a:gd name="connsiteX481" fmla="*/ 649513 w 3418030"/>
              <a:gd name="connsiteY481" fmla="*/ 102967 h 4878949"/>
              <a:gd name="connsiteX482" fmla="*/ 693215 w 3418030"/>
              <a:gd name="connsiteY482" fmla="*/ 86005 h 4878949"/>
              <a:gd name="connsiteX483" fmla="*/ 714604 w 3418030"/>
              <a:gd name="connsiteY483" fmla="*/ 77091 h 4878949"/>
              <a:gd name="connsiteX484" fmla="*/ 723421 w 3418030"/>
              <a:gd name="connsiteY484" fmla="*/ 74281 h 4878949"/>
              <a:gd name="connsiteX485" fmla="*/ 738755 w 3418030"/>
              <a:gd name="connsiteY485" fmla="*/ 68329 h 4878949"/>
              <a:gd name="connsiteX486" fmla="*/ 789290 w 3418030"/>
              <a:gd name="connsiteY486" fmla="*/ 53281 h 4878949"/>
              <a:gd name="connsiteX487" fmla="*/ 812911 w 3418030"/>
              <a:gd name="connsiteY487" fmla="*/ 45751 h 4878949"/>
              <a:gd name="connsiteX488" fmla="*/ 819840 w 3418030"/>
              <a:gd name="connsiteY488" fmla="*/ 44184 h 4878949"/>
              <a:gd name="connsiteX489" fmla="*/ 831714 w 3418030"/>
              <a:gd name="connsiteY489" fmla="*/ 40649 h 4878949"/>
              <a:gd name="connsiteX490" fmla="*/ 890408 w 3418030"/>
              <a:gd name="connsiteY490" fmla="*/ 28233 h 4878949"/>
              <a:gd name="connsiteX491" fmla="*/ 891488 w 3418030"/>
              <a:gd name="connsiteY491" fmla="*/ 27989 h 4878949"/>
              <a:gd name="connsiteX492" fmla="*/ 891488 w 3418030"/>
              <a:gd name="connsiteY492" fmla="*/ 26353 h 4878949"/>
              <a:gd name="connsiteX493" fmla="*/ 920414 w 3418030"/>
              <a:gd name="connsiteY493" fmla="*/ 21016 h 4878949"/>
              <a:gd name="connsiteX494" fmla="*/ 926275 w 3418030"/>
              <a:gd name="connsiteY494" fmla="*/ 20363 h 4878949"/>
              <a:gd name="connsiteX495" fmla="*/ 936223 w 3418030"/>
              <a:gd name="connsiteY495" fmla="*/ 18645 h 4878949"/>
              <a:gd name="connsiteX496" fmla="*/ 1022729 w 3418030"/>
              <a:gd name="connsiteY496" fmla="*/ 9605 h 4878949"/>
              <a:gd name="connsiteX497" fmla="*/ 1049789 w 3418030"/>
              <a:gd name="connsiteY497" fmla="*/ 6588 h 4878949"/>
              <a:gd name="connsiteX498" fmla="*/ 1052637 w 3418030"/>
              <a:gd name="connsiteY498" fmla="*/ 6482 h 4878949"/>
              <a:gd name="connsiteX499" fmla="*/ 1057795 w 3418030"/>
              <a:gd name="connsiteY499" fmla="*/ 5941 h 4878949"/>
              <a:gd name="connsiteX500" fmla="*/ 1117794 w 3418030"/>
              <a:gd name="connsiteY500" fmla="*/ 3821 h 4878949"/>
              <a:gd name="connsiteX501" fmla="*/ 1117794 w 3418030"/>
              <a:gd name="connsiteY501" fmla="*/ 1237 h 4878949"/>
              <a:gd name="connsiteX502" fmla="*/ 1173109 w 3418030"/>
              <a:gd name="connsiteY502" fmla="*/ 1237 h 4878949"/>
              <a:gd name="connsiteX503" fmla="*/ 1190915 w 3418030"/>
              <a:gd name="connsiteY503" fmla="*/ 1237 h 4878949"/>
              <a:gd name="connsiteX504" fmla="*/ 1191329 w 3418030"/>
              <a:gd name="connsiteY504" fmla="*/ 1237 h 4878949"/>
              <a:gd name="connsiteX505" fmla="*/ 1191331 w 3418030"/>
              <a:gd name="connsiteY505" fmla="*/ 1237 h 487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</a:cxnLst>
            <a:rect l="l" t="t" r="r" b="b"/>
            <a:pathLst>
              <a:path w="3418030" h="4878949">
                <a:moveTo>
                  <a:pt x="1191331" y="0"/>
                </a:moveTo>
                <a:lnTo>
                  <a:pt x="1294432" y="0"/>
                </a:lnTo>
                <a:lnTo>
                  <a:pt x="1457098" y="0"/>
                </a:lnTo>
                <a:lnTo>
                  <a:pt x="1564784" y="0"/>
                </a:lnTo>
                <a:lnTo>
                  <a:pt x="2013538" y="0"/>
                </a:lnTo>
                <a:lnTo>
                  <a:pt x="2038520" y="0"/>
                </a:lnTo>
                <a:lnTo>
                  <a:pt x="2130825" y="0"/>
                </a:lnTo>
                <a:lnTo>
                  <a:pt x="2156238" y="0"/>
                </a:lnTo>
                <a:lnTo>
                  <a:pt x="2221889" y="0"/>
                </a:lnTo>
                <a:lnTo>
                  <a:pt x="2277890" y="0"/>
                </a:lnTo>
                <a:lnTo>
                  <a:pt x="2342770" y="0"/>
                </a:lnTo>
                <a:lnTo>
                  <a:pt x="2399737" y="0"/>
                </a:lnTo>
                <a:lnTo>
                  <a:pt x="2399737" y="1224"/>
                </a:lnTo>
                <a:lnTo>
                  <a:pt x="3278911" y="1224"/>
                </a:lnTo>
                <a:lnTo>
                  <a:pt x="3418030" y="1224"/>
                </a:lnTo>
                <a:lnTo>
                  <a:pt x="3418030" y="70784"/>
                </a:lnTo>
                <a:lnTo>
                  <a:pt x="3418030" y="685938"/>
                </a:lnTo>
                <a:lnTo>
                  <a:pt x="3418030" y="732837"/>
                </a:lnTo>
                <a:lnTo>
                  <a:pt x="3418030" y="755498"/>
                </a:lnTo>
                <a:lnTo>
                  <a:pt x="3418030" y="802397"/>
                </a:lnTo>
                <a:lnTo>
                  <a:pt x="3418030" y="1036312"/>
                </a:lnTo>
                <a:lnTo>
                  <a:pt x="3418030" y="1036923"/>
                </a:lnTo>
                <a:lnTo>
                  <a:pt x="3418030" y="1036933"/>
                </a:lnTo>
                <a:lnTo>
                  <a:pt x="3418030" y="1036943"/>
                </a:lnTo>
                <a:lnTo>
                  <a:pt x="3418030" y="1085589"/>
                </a:lnTo>
                <a:lnTo>
                  <a:pt x="3418030" y="1105871"/>
                </a:lnTo>
                <a:lnTo>
                  <a:pt x="3418030" y="1106482"/>
                </a:lnTo>
                <a:lnTo>
                  <a:pt x="3418030" y="1106491"/>
                </a:lnTo>
                <a:lnTo>
                  <a:pt x="3418030" y="1106501"/>
                </a:lnTo>
                <a:lnTo>
                  <a:pt x="3418030" y="1155149"/>
                </a:lnTo>
                <a:lnTo>
                  <a:pt x="3418030" y="1417551"/>
                </a:lnTo>
                <a:lnTo>
                  <a:pt x="3418030" y="1487111"/>
                </a:lnTo>
                <a:lnTo>
                  <a:pt x="3418030" y="1721026"/>
                </a:lnTo>
                <a:lnTo>
                  <a:pt x="3418030" y="1721637"/>
                </a:lnTo>
                <a:lnTo>
                  <a:pt x="3418030" y="1721646"/>
                </a:lnTo>
                <a:lnTo>
                  <a:pt x="3418030" y="1721657"/>
                </a:lnTo>
                <a:lnTo>
                  <a:pt x="3418030" y="1767925"/>
                </a:lnTo>
                <a:lnTo>
                  <a:pt x="3418030" y="1768536"/>
                </a:lnTo>
                <a:lnTo>
                  <a:pt x="3418030" y="1768546"/>
                </a:lnTo>
                <a:lnTo>
                  <a:pt x="3418030" y="1768556"/>
                </a:lnTo>
                <a:lnTo>
                  <a:pt x="3418030" y="1770303"/>
                </a:lnTo>
                <a:lnTo>
                  <a:pt x="3418030" y="1790585"/>
                </a:lnTo>
                <a:lnTo>
                  <a:pt x="3418030" y="1791196"/>
                </a:lnTo>
                <a:lnTo>
                  <a:pt x="3418030" y="1791205"/>
                </a:lnTo>
                <a:lnTo>
                  <a:pt x="3418030" y="1791215"/>
                </a:lnTo>
                <a:lnTo>
                  <a:pt x="3418030" y="1817203"/>
                </a:lnTo>
                <a:lnTo>
                  <a:pt x="3418030" y="1837484"/>
                </a:lnTo>
                <a:lnTo>
                  <a:pt x="3418030" y="1838095"/>
                </a:lnTo>
                <a:lnTo>
                  <a:pt x="3418030" y="1838105"/>
                </a:lnTo>
                <a:lnTo>
                  <a:pt x="3418030" y="1838115"/>
                </a:lnTo>
                <a:lnTo>
                  <a:pt x="3418030" y="1839863"/>
                </a:lnTo>
                <a:lnTo>
                  <a:pt x="3418030" y="1886762"/>
                </a:lnTo>
                <a:lnTo>
                  <a:pt x="3418030" y="2452639"/>
                </a:lnTo>
                <a:lnTo>
                  <a:pt x="3418030" y="2453250"/>
                </a:lnTo>
                <a:lnTo>
                  <a:pt x="3418030" y="2453260"/>
                </a:lnTo>
                <a:lnTo>
                  <a:pt x="3418030" y="2453270"/>
                </a:lnTo>
                <a:lnTo>
                  <a:pt x="3418030" y="2501917"/>
                </a:lnTo>
                <a:lnTo>
                  <a:pt x="3418030" y="2522198"/>
                </a:lnTo>
                <a:lnTo>
                  <a:pt x="3418030" y="2522809"/>
                </a:lnTo>
                <a:lnTo>
                  <a:pt x="3418030" y="2522819"/>
                </a:lnTo>
                <a:lnTo>
                  <a:pt x="3418030" y="2522830"/>
                </a:lnTo>
                <a:lnTo>
                  <a:pt x="3418030" y="2571476"/>
                </a:lnTo>
                <a:lnTo>
                  <a:pt x="3415609" y="2571476"/>
                </a:lnTo>
                <a:lnTo>
                  <a:pt x="3413143" y="2621619"/>
                </a:lnTo>
                <a:lnTo>
                  <a:pt x="3412693" y="2624661"/>
                </a:lnTo>
                <a:lnTo>
                  <a:pt x="3412480" y="2628713"/>
                </a:lnTo>
                <a:cubicBezTo>
                  <a:pt x="3406029" y="2689917"/>
                  <a:pt x="3394048" y="2749544"/>
                  <a:pt x="3377025" y="2807125"/>
                </a:cubicBezTo>
                <a:lnTo>
                  <a:pt x="3375576" y="2811322"/>
                </a:lnTo>
                <a:lnTo>
                  <a:pt x="3375395" y="2812045"/>
                </a:lnTo>
                <a:lnTo>
                  <a:pt x="3372842" y="2819247"/>
                </a:lnTo>
                <a:lnTo>
                  <a:pt x="3347771" y="2891903"/>
                </a:lnTo>
                <a:lnTo>
                  <a:pt x="3344429" y="2899360"/>
                </a:lnTo>
                <a:lnTo>
                  <a:pt x="3343424" y="2902194"/>
                </a:lnTo>
                <a:lnTo>
                  <a:pt x="3336294" y="2917516"/>
                </a:lnTo>
                <a:lnTo>
                  <a:pt x="3311321" y="2973257"/>
                </a:lnTo>
                <a:lnTo>
                  <a:pt x="3305517" y="2983659"/>
                </a:lnTo>
                <a:lnTo>
                  <a:pt x="3303314" y="2988394"/>
                </a:lnTo>
                <a:lnTo>
                  <a:pt x="3293601" y="3005019"/>
                </a:lnTo>
                <a:lnTo>
                  <a:pt x="3268042" y="3050833"/>
                </a:lnTo>
                <a:lnTo>
                  <a:pt x="3259248" y="3063817"/>
                </a:lnTo>
                <a:lnTo>
                  <a:pt x="3255513" y="3070215"/>
                </a:lnTo>
                <a:lnTo>
                  <a:pt x="3244196" y="3086045"/>
                </a:lnTo>
                <a:lnTo>
                  <a:pt x="3218302" y="3124280"/>
                </a:lnTo>
                <a:lnTo>
                  <a:pt x="3206037" y="3139430"/>
                </a:lnTo>
                <a:lnTo>
                  <a:pt x="3200464" y="3147227"/>
                </a:lnTo>
                <a:lnTo>
                  <a:pt x="3188229" y="3161424"/>
                </a:lnTo>
                <a:lnTo>
                  <a:pt x="3162468" y="3193243"/>
                </a:lnTo>
                <a:lnTo>
                  <a:pt x="3146287" y="3210097"/>
                </a:lnTo>
                <a:lnTo>
                  <a:pt x="3138613" y="3219003"/>
                </a:lnTo>
                <a:lnTo>
                  <a:pt x="3126010" y="3231219"/>
                </a:lnTo>
                <a:lnTo>
                  <a:pt x="3100905" y="3257369"/>
                </a:lnTo>
                <a:lnTo>
                  <a:pt x="3080407" y="3275420"/>
                </a:lnTo>
                <a:lnTo>
                  <a:pt x="3070407" y="3285113"/>
                </a:lnTo>
                <a:lnTo>
                  <a:pt x="3057904" y="3295236"/>
                </a:lnTo>
                <a:lnTo>
                  <a:pt x="3033981" y="3316304"/>
                </a:lnTo>
                <a:lnTo>
                  <a:pt x="3008795" y="3335002"/>
                </a:lnTo>
                <a:lnTo>
                  <a:pt x="2996290" y="3345128"/>
                </a:lnTo>
                <a:lnTo>
                  <a:pt x="2984301" y="3353185"/>
                </a:lnTo>
                <a:lnTo>
                  <a:pt x="2962062" y="3369695"/>
                </a:lnTo>
                <a:lnTo>
                  <a:pt x="2931835" y="3388450"/>
                </a:lnTo>
                <a:lnTo>
                  <a:pt x="2916709" y="3398618"/>
                </a:lnTo>
                <a:lnTo>
                  <a:pt x="2905603" y="3404726"/>
                </a:lnTo>
                <a:lnTo>
                  <a:pt x="2885517" y="3417189"/>
                </a:lnTo>
                <a:lnTo>
                  <a:pt x="2849882" y="3435375"/>
                </a:lnTo>
                <a:lnTo>
                  <a:pt x="2832108" y="3445153"/>
                </a:lnTo>
                <a:lnTo>
                  <a:pt x="2822219" y="3449494"/>
                </a:lnTo>
                <a:lnTo>
                  <a:pt x="2804710" y="3458432"/>
                </a:lnTo>
                <a:lnTo>
                  <a:pt x="2763233" y="3475393"/>
                </a:lnTo>
                <a:lnTo>
                  <a:pt x="2742933" y="3484308"/>
                </a:lnTo>
                <a:lnTo>
                  <a:pt x="2734565" y="3487117"/>
                </a:lnTo>
                <a:lnTo>
                  <a:pt x="2720010" y="3493070"/>
                </a:lnTo>
                <a:lnTo>
                  <a:pt x="2672049" y="3508117"/>
                </a:lnTo>
                <a:lnTo>
                  <a:pt x="2649630" y="3515648"/>
                </a:lnTo>
                <a:lnTo>
                  <a:pt x="2643052" y="3517214"/>
                </a:lnTo>
                <a:lnTo>
                  <a:pt x="2631783" y="3520749"/>
                </a:lnTo>
                <a:lnTo>
                  <a:pt x="2576079" y="3533167"/>
                </a:lnTo>
                <a:lnTo>
                  <a:pt x="2552643" y="3538747"/>
                </a:lnTo>
                <a:lnTo>
                  <a:pt x="2548104" y="3539401"/>
                </a:lnTo>
                <a:lnTo>
                  <a:pt x="2540397" y="3541118"/>
                </a:lnTo>
                <a:lnTo>
                  <a:pt x="2473383" y="3550158"/>
                </a:lnTo>
                <a:lnTo>
                  <a:pt x="2452420" y="3553176"/>
                </a:lnTo>
                <a:lnTo>
                  <a:pt x="2450212" y="3553284"/>
                </a:lnTo>
                <a:lnTo>
                  <a:pt x="2446216" y="3553824"/>
                </a:lnTo>
                <a:lnTo>
                  <a:pt x="2399737" y="3555943"/>
                </a:lnTo>
                <a:lnTo>
                  <a:pt x="2399737" y="3558529"/>
                </a:lnTo>
                <a:lnTo>
                  <a:pt x="2366297" y="3558529"/>
                </a:lnTo>
                <a:lnTo>
                  <a:pt x="2350286" y="3560726"/>
                </a:lnTo>
                <a:lnTo>
                  <a:pt x="2329679" y="3563743"/>
                </a:lnTo>
                <a:lnTo>
                  <a:pt x="2327509" y="3563851"/>
                </a:lnTo>
                <a:lnTo>
                  <a:pt x="2323580" y="3564391"/>
                </a:lnTo>
                <a:lnTo>
                  <a:pt x="2277890" y="3566510"/>
                </a:lnTo>
                <a:lnTo>
                  <a:pt x="2277890" y="3569096"/>
                </a:lnTo>
                <a:lnTo>
                  <a:pt x="2235765" y="3569096"/>
                </a:lnTo>
                <a:lnTo>
                  <a:pt x="2222205" y="3569096"/>
                </a:lnTo>
                <a:lnTo>
                  <a:pt x="2221889" y="3569096"/>
                </a:lnTo>
                <a:lnTo>
                  <a:pt x="2221889" y="3570333"/>
                </a:lnTo>
                <a:lnTo>
                  <a:pt x="2038520" y="3570333"/>
                </a:lnTo>
                <a:lnTo>
                  <a:pt x="2013539" y="3570333"/>
                </a:lnTo>
                <a:lnTo>
                  <a:pt x="1650818" y="3570333"/>
                </a:lnTo>
                <a:lnTo>
                  <a:pt x="1650818" y="3570744"/>
                </a:lnTo>
                <a:lnTo>
                  <a:pt x="1652012" y="3570744"/>
                </a:lnTo>
                <a:lnTo>
                  <a:pt x="1652012" y="3571721"/>
                </a:lnTo>
                <a:lnTo>
                  <a:pt x="1671221" y="3572716"/>
                </a:lnTo>
                <a:lnTo>
                  <a:pt x="1672387" y="3572898"/>
                </a:lnTo>
                <a:lnTo>
                  <a:pt x="1673940" y="3572984"/>
                </a:lnTo>
                <a:cubicBezTo>
                  <a:pt x="1697387" y="3575588"/>
                  <a:pt x="1720231" y="3580424"/>
                  <a:pt x="1742290" y="3587296"/>
                </a:cubicBezTo>
                <a:lnTo>
                  <a:pt x="1743898" y="3587880"/>
                </a:lnTo>
                <a:lnTo>
                  <a:pt x="1744176" y="3587953"/>
                </a:lnTo>
                <a:lnTo>
                  <a:pt x="1746934" y="3588984"/>
                </a:lnTo>
                <a:lnTo>
                  <a:pt x="1774769" y="3599104"/>
                </a:lnTo>
                <a:lnTo>
                  <a:pt x="1777626" y="3600453"/>
                </a:lnTo>
                <a:lnTo>
                  <a:pt x="1778712" y="3600858"/>
                </a:lnTo>
                <a:lnTo>
                  <a:pt x="1784582" y="3603737"/>
                </a:lnTo>
                <a:lnTo>
                  <a:pt x="1805936" y="3613817"/>
                </a:lnTo>
                <a:lnTo>
                  <a:pt x="1809922" y="3616160"/>
                </a:lnTo>
                <a:lnTo>
                  <a:pt x="1811736" y="3617049"/>
                </a:lnTo>
                <a:lnTo>
                  <a:pt x="1818105" y="3620970"/>
                </a:lnTo>
                <a:lnTo>
                  <a:pt x="1835657" y="3631287"/>
                </a:lnTo>
                <a:lnTo>
                  <a:pt x="1840631" y="3634836"/>
                </a:lnTo>
                <a:lnTo>
                  <a:pt x="1843082" y="3636344"/>
                </a:lnTo>
                <a:lnTo>
                  <a:pt x="1849146" y="3640912"/>
                </a:lnTo>
                <a:lnTo>
                  <a:pt x="1863794" y="3651364"/>
                </a:lnTo>
                <a:lnTo>
                  <a:pt x="1869598" y="3656316"/>
                </a:lnTo>
                <a:lnTo>
                  <a:pt x="1872586" y="3658565"/>
                </a:lnTo>
                <a:lnTo>
                  <a:pt x="1878025" y="3663504"/>
                </a:lnTo>
                <a:lnTo>
                  <a:pt x="1890215" y="3673902"/>
                </a:lnTo>
                <a:lnTo>
                  <a:pt x="1896672" y="3680434"/>
                </a:lnTo>
                <a:lnTo>
                  <a:pt x="1900084" y="3683531"/>
                </a:lnTo>
                <a:lnTo>
                  <a:pt x="1904763" y="3688618"/>
                </a:lnTo>
                <a:lnTo>
                  <a:pt x="1914782" y="3698752"/>
                </a:lnTo>
                <a:lnTo>
                  <a:pt x="1921697" y="3707026"/>
                </a:lnTo>
                <a:lnTo>
                  <a:pt x="1925411" y="3711062"/>
                </a:lnTo>
                <a:lnTo>
                  <a:pt x="1929289" y="3716109"/>
                </a:lnTo>
                <a:lnTo>
                  <a:pt x="1937360" y="3725766"/>
                </a:lnTo>
                <a:lnTo>
                  <a:pt x="1944523" y="3735932"/>
                </a:lnTo>
                <a:lnTo>
                  <a:pt x="1948403" y="3740980"/>
                </a:lnTo>
                <a:lnTo>
                  <a:pt x="1951490" y="3745819"/>
                </a:lnTo>
                <a:lnTo>
                  <a:pt x="1957815" y="3754796"/>
                </a:lnTo>
                <a:lnTo>
                  <a:pt x="1965000" y="3766998"/>
                </a:lnTo>
                <a:lnTo>
                  <a:pt x="1968895" y="3773103"/>
                </a:lnTo>
                <a:lnTo>
                  <a:pt x="1971236" y="3777586"/>
                </a:lnTo>
                <a:lnTo>
                  <a:pt x="1976010" y="3785694"/>
                </a:lnTo>
                <a:lnTo>
                  <a:pt x="1982978" y="3800078"/>
                </a:lnTo>
                <a:lnTo>
                  <a:pt x="1986724" y="3807252"/>
                </a:lnTo>
                <a:lnTo>
                  <a:pt x="1988387" y="3811244"/>
                </a:lnTo>
                <a:lnTo>
                  <a:pt x="1991811" y="3818312"/>
                </a:lnTo>
                <a:lnTo>
                  <a:pt x="1998309" y="3835054"/>
                </a:lnTo>
                <a:lnTo>
                  <a:pt x="2001724" y="3843248"/>
                </a:lnTo>
                <a:lnTo>
                  <a:pt x="2002801" y="3846626"/>
                </a:lnTo>
                <a:lnTo>
                  <a:pt x="2005081" y="3852501"/>
                </a:lnTo>
                <a:lnTo>
                  <a:pt x="2010846" y="3871861"/>
                </a:lnTo>
                <a:lnTo>
                  <a:pt x="2013730" y="3880910"/>
                </a:lnTo>
                <a:lnTo>
                  <a:pt x="2014331" y="3883565"/>
                </a:lnTo>
                <a:lnTo>
                  <a:pt x="2015685" y="3888114"/>
                </a:lnTo>
                <a:lnTo>
                  <a:pt x="2020442" y="3910600"/>
                </a:lnTo>
                <a:lnTo>
                  <a:pt x="2020535" y="3911014"/>
                </a:lnTo>
                <a:lnTo>
                  <a:pt x="2021162" y="3911014"/>
                </a:lnTo>
                <a:lnTo>
                  <a:pt x="2023207" y="3922096"/>
                </a:lnTo>
                <a:lnTo>
                  <a:pt x="2023457" y="3924341"/>
                </a:lnTo>
                <a:lnTo>
                  <a:pt x="2024115" y="3928152"/>
                </a:lnTo>
                <a:lnTo>
                  <a:pt x="2027578" y="3961293"/>
                </a:lnTo>
                <a:lnTo>
                  <a:pt x="2028734" y="3971660"/>
                </a:lnTo>
                <a:lnTo>
                  <a:pt x="2028775" y="3972751"/>
                </a:lnTo>
                <a:lnTo>
                  <a:pt x="2028982" y="3974727"/>
                </a:lnTo>
                <a:lnTo>
                  <a:pt x="2029794" y="3997713"/>
                </a:lnTo>
                <a:lnTo>
                  <a:pt x="2030784" y="3997713"/>
                </a:lnTo>
                <a:lnTo>
                  <a:pt x="2030784" y="4018905"/>
                </a:lnTo>
                <a:lnTo>
                  <a:pt x="2030784" y="4025726"/>
                </a:lnTo>
                <a:lnTo>
                  <a:pt x="2030784" y="4025885"/>
                </a:lnTo>
                <a:lnTo>
                  <a:pt x="2030784" y="4025886"/>
                </a:lnTo>
                <a:lnTo>
                  <a:pt x="2031258" y="4025886"/>
                </a:lnTo>
                <a:lnTo>
                  <a:pt x="2031258" y="4065384"/>
                </a:lnTo>
                <a:lnTo>
                  <a:pt x="2031258" y="4127703"/>
                </a:lnTo>
                <a:lnTo>
                  <a:pt x="2031258" y="4168958"/>
                </a:lnTo>
                <a:lnTo>
                  <a:pt x="2031258" y="4340879"/>
                </a:lnTo>
                <a:lnTo>
                  <a:pt x="2031258" y="4350450"/>
                </a:lnTo>
                <a:lnTo>
                  <a:pt x="2031258" y="4385812"/>
                </a:lnTo>
                <a:lnTo>
                  <a:pt x="2031258" y="4395548"/>
                </a:lnTo>
                <a:lnTo>
                  <a:pt x="2031258" y="4420700"/>
                </a:lnTo>
                <a:lnTo>
                  <a:pt x="2031258" y="4442154"/>
                </a:lnTo>
                <a:lnTo>
                  <a:pt x="2031258" y="4467010"/>
                </a:lnTo>
                <a:lnTo>
                  <a:pt x="2031258" y="4488834"/>
                </a:lnTo>
                <a:lnTo>
                  <a:pt x="2030789" y="4488834"/>
                </a:lnTo>
                <a:lnTo>
                  <a:pt x="2030789" y="4825652"/>
                </a:lnTo>
                <a:lnTo>
                  <a:pt x="2030789" y="4878949"/>
                </a:lnTo>
                <a:lnTo>
                  <a:pt x="2004140" y="4878949"/>
                </a:lnTo>
                <a:lnTo>
                  <a:pt x="1768470" y="4878949"/>
                </a:lnTo>
                <a:lnTo>
                  <a:pt x="1750503" y="4878949"/>
                </a:lnTo>
                <a:lnTo>
                  <a:pt x="1741822" y="4878949"/>
                </a:lnTo>
                <a:lnTo>
                  <a:pt x="1723854" y="4878949"/>
                </a:lnTo>
                <a:lnTo>
                  <a:pt x="1634240" y="4878949"/>
                </a:lnTo>
                <a:lnTo>
                  <a:pt x="1634005" y="4878949"/>
                </a:lnTo>
                <a:lnTo>
                  <a:pt x="1634002" y="4878949"/>
                </a:lnTo>
                <a:lnTo>
                  <a:pt x="1633998" y="4878949"/>
                </a:lnTo>
                <a:lnTo>
                  <a:pt x="1615361" y="4878949"/>
                </a:lnTo>
                <a:lnTo>
                  <a:pt x="1607591" y="4878949"/>
                </a:lnTo>
                <a:lnTo>
                  <a:pt x="1607357" y="4878949"/>
                </a:lnTo>
                <a:lnTo>
                  <a:pt x="1607354" y="4878949"/>
                </a:lnTo>
                <a:lnTo>
                  <a:pt x="1607350" y="4878949"/>
                </a:lnTo>
                <a:lnTo>
                  <a:pt x="1588712" y="4878949"/>
                </a:lnTo>
                <a:lnTo>
                  <a:pt x="1488184" y="4878949"/>
                </a:lnTo>
                <a:lnTo>
                  <a:pt x="1461535" y="4878949"/>
                </a:lnTo>
                <a:lnTo>
                  <a:pt x="1371921" y="4878949"/>
                </a:lnTo>
                <a:lnTo>
                  <a:pt x="1371687" y="4878949"/>
                </a:lnTo>
                <a:lnTo>
                  <a:pt x="1371683" y="4878949"/>
                </a:lnTo>
                <a:lnTo>
                  <a:pt x="1371679" y="4878949"/>
                </a:lnTo>
                <a:lnTo>
                  <a:pt x="1367507" y="4878949"/>
                </a:lnTo>
                <a:lnTo>
                  <a:pt x="1353954" y="4878949"/>
                </a:lnTo>
                <a:lnTo>
                  <a:pt x="1353719" y="4878949"/>
                </a:lnTo>
                <a:lnTo>
                  <a:pt x="1353716" y="4878949"/>
                </a:lnTo>
                <a:lnTo>
                  <a:pt x="1353712" y="4878949"/>
                </a:lnTo>
                <a:lnTo>
                  <a:pt x="1353043" y="4878949"/>
                </a:lnTo>
                <a:lnTo>
                  <a:pt x="1345272" y="4878949"/>
                </a:lnTo>
                <a:lnTo>
                  <a:pt x="1345038" y="4878949"/>
                </a:lnTo>
                <a:lnTo>
                  <a:pt x="1345035" y="4878949"/>
                </a:lnTo>
                <a:lnTo>
                  <a:pt x="1345031" y="4878949"/>
                </a:lnTo>
                <a:lnTo>
                  <a:pt x="1340858" y="4878949"/>
                </a:lnTo>
                <a:lnTo>
                  <a:pt x="1335075" y="4878949"/>
                </a:lnTo>
                <a:lnTo>
                  <a:pt x="1327305" y="4878949"/>
                </a:lnTo>
                <a:lnTo>
                  <a:pt x="1327071" y="4878949"/>
                </a:lnTo>
                <a:lnTo>
                  <a:pt x="1327067" y="4878949"/>
                </a:lnTo>
                <a:lnTo>
                  <a:pt x="1327063" y="4878949"/>
                </a:lnTo>
                <a:lnTo>
                  <a:pt x="1326394" y="4878949"/>
                </a:lnTo>
                <a:lnTo>
                  <a:pt x="1308426" y="4878949"/>
                </a:lnTo>
                <a:lnTo>
                  <a:pt x="1105188" y="4878949"/>
                </a:lnTo>
                <a:lnTo>
                  <a:pt x="1091635" y="4878949"/>
                </a:lnTo>
                <a:lnTo>
                  <a:pt x="1091401" y="4878949"/>
                </a:lnTo>
                <a:lnTo>
                  <a:pt x="1091397" y="4878949"/>
                </a:lnTo>
                <a:lnTo>
                  <a:pt x="1091393" y="4878949"/>
                </a:lnTo>
                <a:lnTo>
                  <a:pt x="1087221" y="4878949"/>
                </a:lnTo>
                <a:lnTo>
                  <a:pt x="1078540" y="4878949"/>
                </a:lnTo>
                <a:lnTo>
                  <a:pt x="1072756" y="4878949"/>
                </a:lnTo>
                <a:lnTo>
                  <a:pt x="1064986" y="4878949"/>
                </a:lnTo>
                <a:lnTo>
                  <a:pt x="1064752" y="4878949"/>
                </a:lnTo>
                <a:lnTo>
                  <a:pt x="1064748" y="4878949"/>
                </a:lnTo>
                <a:lnTo>
                  <a:pt x="1064745" y="4878949"/>
                </a:lnTo>
                <a:lnTo>
                  <a:pt x="1060572" y="4878949"/>
                </a:lnTo>
                <a:lnTo>
                  <a:pt x="1046108" y="4878949"/>
                </a:lnTo>
                <a:lnTo>
                  <a:pt x="970958" y="4878949"/>
                </a:lnTo>
                <a:lnTo>
                  <a:pt x="970723" y="4878949"/>
                </a:lnTo>
                <a:lnTo>
                  <a:pt x="970720" y="4878949"/>
                </a:lnTo>
                <a:lnTo>
                  <a:pt x="970716" y="4878949"/>
                </a:lnTo>
                <a:lnTo>
                  <a:pt x="952079" y="4878949"/>
                </a:lnTo>
                <a:lnTo>
                  <a:pt x="944309" y="4878949"/>
                </a:lnTo>
                <a:lnTo>
                  <a:pt x="944075" y="4878949"/>
                </a:lnTo>
                <a:lnTo>
                  <a:pt x="944072" y="4878949"/>
                </a:lnTo>
                <a:lnTo>
                  <a:pt x="944068" y="4878949"/>
                </a:lnTo>
                <a:lnTo>
                  <a:pt x="925430" y="4878949"/>
                </a:lnTo>
                <a:lnTo>
                  <a:pt x="824902" y="4878949"/>
                </a:lnTo>
                <a:lnTo>
                  <a:pt x="798253" y="4878949"/>
                </a:lnTo>
                <a:lnTo>
                  <a:pt x="708639" y="4878949"/>
                </a:lnTo>
                <a:lnTo>
                  <a:pt x="708405" y="4878949"/>
                </a:lnTo>
                <a:lnTo>
                  <a:pt x="708401" y="4878949"/>
                </a:lnTo>
                <a:lnTo>
                  <a:pt x="708397" y="4878949"/>
                </a:lnTo>
                <a:lnTo>
                  <a:pt x="690672" y="4878949"/>
                </a:lnTo>
                <a:lnTo>
                  <a:pt x="690437" y="4878949"/>
                </a:lnTo>
                <a:lnTo>
                  <a:pt x="690434" y="4878949"/>
                </a:lnTo>
                <a:lnTo>
                  <a:pt x="690430" y="4878949"/>
                </a:lnTo>
                <a:lnTo>
                  <a:pt x="689761" y="4878949"/>
                </a:lnTo>
                <a:lnTo>
                  <a:pt x="681990" y="4878949"/>
                </a:lnTo>
                <a:lnTo>
                  <a:pt x="681756" y="4878949"/>
                </a:lnTo>
                <a:lnTo>
                  <a:pt x="681753" y="4878949"/>
                </a:lnTo>
                <a:lnTo>
                  <a:pt x="681749" y="4878949"/>
                </a:lnTo>
                <a:lnTo>
                  <a:pt x="671793" y="4878949"/>
                </a:lnTo>
                <a:lnTo>
                  <a:pt x="664023" y="4878949"/>
                </a:lnTo>
                <a:lnTo>
                  <a:pt x="663789" y="4878949"/>
                </a:lnTo>
                <a:lnTo>
                  <a:pt x="663785" y="4878949"/>
                </a:lnTo>
                <a:lnTo>
                  <a:pt x="663781" y="4878949"/>
                </a:lnTo>
                <a:lnTo>
                  <a:pt x="663112" y="4878949"/>
                </a:lnTo>
                <a:lnTo>
                  <a:pt x="645144" y="4878949"/>
                </a:lnTo>
                <a:lnTo>
                  <a:pt x="428353" y="4878949"/>
                </a:lnTo>
                <a:lnTo>
                  <a:pt x="428119" y="4878949"/>
                </a:lnTo>
                <a:lnTo>
                  <a:pt x="428115" y="4878949"/>
                </a:lnTo>
                <a:lnTo>
                  <a:pt x="428111" y="4878949"/>
                </a:lnTo>
                <a:lnTo>
                  <a:pt x="409474" y="4878949"/>
                </a:lnTo>
                <a:lnTo>
                  <a:pt x="401704" y="4878949"/>
                </a:lnTo>
                <a:lnTo>
                  <a:pt x="401470" y="4878949"/>
                </a:lnTo>
                <a:lnTo>
                  <a:pt x="401466" y="4878949"/>
                </a:lnTo>
                <a:lnTo>
                  <a:pt x="401462" y="4878949"/>
                </a:lnTo>
                <a:lnTo>
                  <a:pt x="382826" y="4878949"/>
                </a:lnTo>
                <a:lnTo>
                  <a:pt x="382826" y="4878022"/>
                </a:lnTo>
                <a:lnTo>
                  <a:pt x="363616" y="4877077"/>
                </a:lnTo>
                <a:lnTo>
                  <a:pt x="362450" y="4876905"/>
                </a:lnTo>
                <a:lnTo>
                  <a:pt x="360898" y="4876823"/>
                </a:lnTo>
                <a:cubicBezTo>
                  <a:pt x="337450" y="4874352"/>
                  <a:pt x="314607" y="4869762"/>
                  <a:pt x="292547" y="4863240"/>
                </a:cubicBezTo>
                <a:lnTo>
                  <a:pt x="290939" y="4862685"/>
                </a:lnTo>
                <a:lnTo>
                  <a:pt x="290662" y="4862616"/>
                </a:lnTo>
                <a:lnTo>
                  <a:pt x="287903" y="4861637"/>
                </a:lnTo>
                <a:lnTo>
                  <a:pt x="260068" y="4852032"/>
                </a:lnTo>
                <a:lnTo>
                  <a:pt x="257211" y="4850752"/>
                </a:lnTo>
                <a:lnTo>
                  <a:pt x="256125" y="4850367"/>
                </a:lnTo>
                <a:lnTo>
                  <a:pt x="250255" y="4847636"/>
                </a:lnTo>
                <a:lnTo>
                  <a:pt x="228901" y="4838068"/>
                </a:lnTo>
                <a:lnTo>
                  <a:pt x="224915" y="4835845"/>
                </a:lnTo>
                <a:lnTo>
                  <a:pt x="223101" y="4835001"/>
                </a:lnTo>
                <a:lnTo>
                  <a:pt x="216732" y="4831280"/>
                </a:lnTo>
                <a:lnTo>
                  <a:pt x="199181" y="4821488"/>
                </a:lnTo>
                <a:lnTo>
                  <a:pt x="194206" y="4818119"/>
                </a:lnTo>
                <a:lnTo>
                  <a:pt x="191756" y="4816688"/>
                </a:lnTo>
                <a:lnTo>
                  <a:pt x="185691" y="4812352"/>
                </a:lnTo>
                <a:lnTo>
                  <a:pt x="171043" y="4802432"/>
                </a:lnTo>
                <a:lnTo>
                  <a:pt x="165239" y="4797733"/>
                </a:lnTo>
                <a:lnTo>
                  <a:pt x="162251" y="4795598"/>
                </a:lnTo>
                <a:lnTo>
                  <a:pt x="156813" y="4790911"/>
                </a:lnTo>
                <a:lnTo>
                  <a:pt x="144622" y="4781042"/>
                </a:lnTo>
                <a:lnTo>
                  <a:pt x="138166" y="4774843"/>
                </a:lnTo>
                <a:lnTo>
                  <a:pt x="134753" y="4771903"/>
                </a:lnTo>
                <a:lnTo>
                  <a:pt x="130074" y="4767074"/>
                </a:lnTo>
                <a:lnTo>
                  <a:pt x="120055" y="4757456"/>
                </a:lnTo>
                <a:lnTo>
                  <a:pt x="113141" y="4749604"/>
                </a:lnTo>
                <a:lnTo>
                  <a:pt x="109426" y="4745772"/>
                </a:lnTo>
                <a:lnTo>
                  <a:pt x="105549" y="4740983"/>
                </a:lnTo>
                <a:lnTo>
                  <a:pt x="97477" y="4731817"/>
                </a:lnTo>
                <a:lnTo>
                  <a:pt x="90315" y="4722168"/>
                </a:lnTo>
                <a:lnTo>
                  <a:pt x="86434" y="4717378"/>
                </a:lnTo>
                <a:lnTo>
                  <a:pt x="83347" y="4712785"/>
                </a:lnTo>
                <a:lnTo>
                  <a:pt x="77022" y="4704265"/>
                </a:lnTo>
                <a:lnTo>
                  <a:pt x="69837" y="4692685"/>
                </a:lnTo>
                <a:lnTo>
                  <a:pt x="65942" y="4686890"/>
                </a:lnTo>
                <a:lnTo>
                  <a:pt x="63602" y="4682635"/>
                </a:lnTo>
                <a:lnTo>
                  <a:pt x="58828" y="4674940"/>
                </a:lnTo>
                <a:lnTo>
                  <a:pt x="51860" y="4661288"/>
                </a:lnTo>
                <a:lnTo>
                  <a:pt x="48115" y="4654479"/>
                </a:lnTo>
                <a:lnTo>
                  <a:pt x="46451" y="4650690"/>
                </a:lnTo>
                <a:lnTo>
                  <a:pt x="43027" y="4643982"/>
                </a:lnTo>
                <a:lnTo>
                  <a:pt x="36529" y="4628092"/>
                </a:lnTo>
                <a:lnTo>
                  <a:pt x="33115" y="4620315"/>
                </a:lnTo>
                <a:lnTo>
                  <a:pt x="32037" y="4617109"/>
                </a:lnTo>
                <a:lnTo>
                  <a:pt x="29757" y="4611533"/>
                </a:lnTo>
                <a:lnTo>
                  <a:pt x="23992" y="4593159"/>
                </a:lnTo>
                <a:lnTo>
                  <a:pt x="21107" y="4584570"/>
                </a:lnTo>
                <a:lnTo>
                  <a:pt x="20507" y="4582050"/>
                </a:lnTo>
                <a:lnTo>
                  <a:pt x="19153" y="4577733"/>
                </a:lnTo>
                <a:lnTo>
                  <a:pt x="14395" y="4556392"/>
                </a:lnTo>
                <a:lnTo>
                  <a:pt x="12258" y="4547414"/>
                </a:lnTo>
                <a:lnTo>
                  <a:pt x="12008" y="4545675"/>
                </a:lnTo>
                <a:lnTo>
                  <a:pt x="11349" y="4542722"/>
                </a:lnTo>
                <a:lnTo>
                  <a:pt x="7886" y="4517048"/>
                </a:lnTo>
                <a:lnTo>
                  <a:pt x="6730" y="4509017"/>
                </a:lnTo>
                <a:lnTo>
                  <a:pt x="6688" y="4508172"/>
                </a:lnTo>
                <a:lnTo>
                  <a:pt x="6482" y="4506641"/>
                </a:lnTo>
                <a:lnTo>
                  <a:pt x="5671" y="4488834"/>
                </a:lnTo>
                <a:lnTo>
                  <a:pt x="4679" y="4488834"/>
                </a:lnTo>
                <a:lnTo>
                  <a:pt x="4679" y="4476023"/>
                </a:lnTo>
                <a:lnTo>
                  <a:pt x="3837" y="4469889"/>
                </a:lnTo>
                <a:lnTo>
                  <a:pt x="2681" y="4461995"/>
                </a:lnTo>
                <a:lnTo>
                  <a:pt x="2640" y="4461163"/>
                </a:lnTo>
                <a:lnTo>
                  <a:pt x="2433" y="4459658"/>
                </a:lnTo>
                <a:lnTo>
                  <a:pt x="1621" y="4442154"/>
                </a:lnTo>
                <a:lnTo>
                  <a:pt x="631" y="4442154"/>
                </a:lnTo>
                <a:lnTo>
                  <a:pt x="631" y="4426015"/>
                </a:lnTo>
                <a:lnTo>
                  <a:pt x="631" y="4420821"/>
                </a:lnTo>
                <a:lnTo>
                  <a:pt x="631" y="4420700"/>
                </a:lnTo>
                <a:lnTo>
                  <a:pt x="157" y="4420700"/>
                </a:lnTo>
                <a:lnTo>
                  <a:pt x="157" y="4350450"/>
                </a:lnTo>
                <a:lnTo>
                  <a:pt x="157" y="4340879"/>
                </a:lnTo>
                <a:lnTo>
                  <a:pt x="157" y="4127703"/>
                </a:lnTo>
                <a:lnTo>
                  <a:pt x="157" y="4025885"/>
                </a:lnTo>
                <a:lnTo>
                  <a:pt x="157" y="3997713"/>
                </a:lnTo>
                <a:lnTo>
                  <a:pt x="626" y="3997713"/>
                </a:lnTo>
                <a:lnTo>
                  <a:pt x="626" y="3911014"/>
                </a:lnTo>
                <a:lnTo>
                  <a:pt x="0" y="3911014"/>
                </a:lnTo>
                <a:lnTo>
                  <a:pt x="0" y="3908592"/>
                </a:lnTo>
                <a:lnTo>
                  <a:pt x="0" y="3570744"/>
                </a:lnTo>
                <a:lnTo>
                  <a:pt x="0" y="2076617"/>
                </a:lnTo>
                <a:lnTo>
                  <a:pt x="3302" y="2076617"/>
                </a:lnTo>
                <a:lnTo>
                  <a:pt x="3302" y="2074287"/>
                </a:lnTo>
                <a:lnTo>
                  <a:pt x="3302" y="1850939"/>
                </a:lnTo>
                <a:lnTo>
                  <a:pt x="3302" y="1850328"/>
                </a:lnTo>
                <a:lnTo>
                  <a:pt x="3301" y="1850319"/>
                </a:lnTo>
                <a:lnTo>
                  <a:pt x="3302" y="1850309"/>
                </a:lnTo>
                <a:lnTo>
                  <a:pt x="3302" y="1804040"/>
                </a:lnTo>
                <a:lnTo>
                  <a:pt x="3302" y="1803429"/>
                </a:lnTo>
                <a:lnTo>
                  <a:pt x="3301" y="1803419"/>
                </a:lnTo>
                <a:lnTo>
                  <a:pt x="3302" y="1803409"/>
                </a:lnTo>
                <a:lnTo>
                  <a:pt x="3302" y="1801662"/>
                </a:lnTo>
                <a:lnTo>
                  <a:pt x="3302" y="1770814"/>
                </a:lnTo>
                <a:lnTo>
                  <a:pt x="3302" y="1770203"/>
                </a:lnTo>
                <a:lnTo>
                  <a:pt x="3301" y="1770192"/>
                </a:lnTo>
                <a:lnTo>
                  <a:pt x="3302" y="1770183"/>
                </a:lnTo>
                <a:lnTo>
                  <a:pt x="3302" y="1754762"/>
                </a:lnTo>
                <a:lnTo>
                  <a:pt x="3302" y="1723914"/>
                </a:lnTo>
                <a:lnTo>
                  <a:pt x="3302" y="1723304"/>
                </a:lnTo>
                <a:lnTo>
                  <a:pt x="3301" y="1723293"/>
                </a:lnTo>
                <a:lnTo>
                  <a:pt x="3302" y="1723284"/>
                </a:lnTo>
                <a:lnTo>
                  <a:pt x="3302" y="1721537"/>
                </a:lnTo>
                <a:lnTo>
                  <a:pt x="3302" y="1674636"/>
                </a:lnTo>
                <a:lnTo>
                  <a:pt x="3302" y="1119326"/>
                </a:lnTo>
                <a:lnTo>
                  <a:pt x="3302" y="1118715"/>
                </a:lnTo>
                <a:lnTo>
                  <a:pt x="3301" y="1118705"/>
                </a:lnTo>
                <a:lnTo>
                  <a:pt x="3302" y="1118695"/>
                </a:lnTo>
                <a:lnTo>
                  <a:pt x="3302" y="1070048"/>
                </a:lnTo>
                <a:lnTo>
                  <a:pt x="3302" y="1039200"/>
                </a:lnTo>
                <a:lnTo>
                  <a:pt x="3302" y="1038590"/>
                </a:lnTo>
                <a:lnTo>
                  <a:pt x="3301" y="1038579"/>
                </a:lnTo>
                <a:lnTo>
                  <a:pt x="3302" y="1038570"/>
                </a:lnTo>
                <a:lnTo>
                  <a:pt x="3302" y="989923"/>
                </a:lnTo>
                <a:lnTo>
                  <a:pt x="5852" y="989923"/>
                </a:lnTo>
                <a:lnTo>
                  <a:pt x="8449" y="939781"/>
                </a:lnTo>
                <a:lnTo>
                  <a:pt x="8925" y="936738"/>
                </a:lnTo>
                <a:lnTo>
                  <a:pt x="9149" y="932684"/>
                </a:lnTo>
                <a:cubicBezTo>
                  <a:pt x="15946" y="871482"/>
                  <a:pt x="28569" y="811856"/>
                  <a:pt x="46507" y="754274"/>
                </a:cubicBezTo>
                <a:lnTo>
                  <a:pt x="48032" y="750077"/>
                </a:lnTo>
                <a:lnTo>
                  <a:pt x="48222" y="749353"/>
                </a:lnTo>
                <a:lnTo>
                  <a:pt x="50914" y="742152"/>
                </a:lnTo>
                <a:lnTo>
                  <a:pt x="77329" y="669497"/>
                </a:lnTo>
                <a:lnTo>
                  <a:pt x="80849" y="662039"/>
                </a:lnTo>
                <a:lnTo>
                  <a:pt x="81908" y="659204"/>
                </a:lnTo>
                <a:lnTo>
                  <a:pt x="89422" y="643883"/>
                </a:lnTo>
                <a:lnTo>
                  <a:pt x="115734" y="588143"/>
                </a:lnTo>
                <a:lnTo>
                  <a:pt x="121848" y="577740"/>
                </a:lnTo>
                <a:lnTo>
                  <a:pt x="124169" y="573005"/>
                </a:lnTo>
                <a:lnTo>
                  <a:pt x="134403" y="556381"/>
                </a:lnTo>
                <a:lnTo>
                  <a:pt x="161333" y="510566"/>
                </a:lnTo>
                <a:lnTo>
                  <a:pt x="170598" y="497582"/>
                </a:lnTo>
                <a:lnTo>
                  <a:pt x="174534" y="491185"/>
                </a:lnTo>
                <a:lnTo>
                  <a:pt x="186458" y="475354"/>
                </a:lnTo>
                <a:lnTo>
                  <a:pt x="213741" y="437120"/>
                </a:lnTo>
                <a:lnTo>
                  <a:pt x="226666" y="421970"/>
                </a:lnTo>
                <a:lnTo>
                  <a:pt x="232537" y="414172"/>
                </a:lnTo>
                <a:lnTo>
                  <a:pt x="245428" y="399975"/>
                </a:lnTo>
                <a:lnTo>
                  <a:pt x="272569" y="368155"/>
                </a:lnTo>
                <a:lnTo>
                  <a:pt x="289619" y="351302"/>
                </a:lnTo>
                <a:lnTo>
                  <a:pt x="297703" y="342396"/>
                </a:lnTo>
                <a:lnTo>
                  <a:pt x="310983" y="330181"/>
                </a:lnTo>
                <a:lnTo>
                  <a:pt x="337434" y="304029"/>
                </a:lnTo>
                <a:lnTo>
                  <a:pt x="359031" y="285980"/>
                </a:lnTo>
                <a:lnTo>
                  <a:pt x="369567" y="276286"/>
                </a:lnTo>
                <a:lnTo>
                  <a:pt x="382740" y="266163"/>
                </a:lnTo>
                <a:lnTo>
                  <a:pt x="407948" y="245095"/>
                </a:lnTo>
                <a:lnTo>
                  <a:pt x="434483" y="226398"/>
                </a:lnTo>
                <a:lnTo>
                  <a:pt x="447659" y="216272"/>
                </a:lnTo>
                <a:lnTo>
                  <a:pt x="460291" y="208214"/>
                </a:lnTo>
                <a:lnTo>
                  <a:pt x="483722" y="191703"/>
                </a:lnTo>
                <a:lnTo>
                  <a:pt x="515572" y="172948"/>
                </a:lnTo>
                <a:lnTo>
                  <a:pt x="531508" y="162782"/>
                </a:lnTo>
                <a:lnTo>
                  <a:pt x="543209" y="156673"/>
                </a:lnTo>
                <a:lnTo>
                  <a:pt x="564373" y="144210"/>
                </a:lnTo>
                <a:lnTo>
                  <a:pt x="601919" y="126023"/>
                </a:lnTo>
                <a:lnTo>
                  <a:pt x="620646" y="116246"/>
                </a:lnTo>
                <a:lnTo>
                  <a:pt x="631065" y="111905"/>
                </a:lnTo>
                <a:lnTo>
                  <a:pt x="649513" y="102967"/>
                </a:lnTo>
                <a:lnTo>
                  <a:pt x="693215" y="86005"/>
                </a:lnTo>
                <a:lnTo>
                  <a:pt x="714604" y="77091"/>
                </a:lnTo>
                <a:lnTo>
                  <a:pt x="723421" y="74281"/>
                </a:lnTo>
                <a:lnTo>
                  <a:pt x="738755" y="68329"/>
                </a:lnTo>
                <a:lnTo>
                  <a:pt x="789290" y="53281"/>
                </a:lnTo>
                <a:lnTo>
                  <a:pt x="812911" y="45751"/>
                </a:lnTo>
                <a:lnTo>
                  <a:pt x="819840" y="44184"/>
                </a:lnTo>
                <a:lnTo>
                  <a:pt x="831714" y="40649"/>
                </a:lnTo>
                <a:lnTo>
                  <a:pt x="890408" y="28233"/>
                </a:lnTo>
                <a:lnTo>
                  <a:pt x="891488" y="27989"/>
                </a:lnTo>
                <a:lnTo>
                  <a:pt x="891488" y="26353"/>
                </a:lnTo>
                <a:lnTo>
                  <a:pt x="920414" y="21016"/>
                </a:lnTo>
                <a:lnTo>
                  <a:pt x="926275" y="20363"/>
                </a:lnTo>
                <a:lnTo>
                  <a:pt x="936223" y="18645"/>
                </a:lnTo>
                <a:lnTo>
                  <a:pt x="1022729" y="9605"/>
                </a:lnTo>
                <a:lnTo>
                  <a:pt x="1049789" y="6588"/>
                </a:lnTo>
                <a:lnTo>
                  <a:pt x="1052637" y="6482"/>
                </a:lnTo>
                <a:lnTo>
                  <a:pt x="1057795" y="5941"/>
                </a:lnTo>
                <a:lnTo>
                  <a:pt x="1117794" y="3821"/>
                </a:lnTo>
                <a:lnTo>
                  <a:pt x="1117794" y="1237"/>
                </a:lnTo>
                <a:lnTo>
                  <a:pt x="1173109" y="1237"/>
                </a:lnTo>
                <a:lnTo>
                  <a:pt x="1190915" y="1237"/>
                </a:lnTo>
                <a:lnTo>
                  <a:pt x="1191329" y="1237"/>
                </a:lnTo>
                <a:lnTo>
                  <a:pt x="1191331" y="12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56989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545480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753B3EF-D4B7-4A79-9D8C-1B88C55A45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715251" y="1104900"/>
            <a:ext cx="2181225" cy="4564380"/>
          </a:xfrm>
          <a:custGeom>
            <a:avLst/>
            <a:gdLst>
              <a:gd name="connsiteX0" fmla="*/ 194587 w 2181225"/>
              <a:gd name="connsiteY0" fmla="*/ 0 h 4564380"/>
              <a:gd name="connsiteX1" fmla="*/ 1986638 w 2181225"/>
              <a:gd name="connsiteY1" fmla="*/ 0 h 4564380"/>
              <a:gd name="connsiteX2" fmla="*/ 2181225 w 2181225"/>
              <a:gd name="connsiteY2" fmla="*/ 194587 h 4564380"/>
              <a:gd name="connsiteX3" fmla="*/ 2181225 w 2181225"/>
              <a:gd name="connsiteY3" fmla="*/ 4369793 h 4564380"/>
              <a:gd name="connsiteX4" fmla="*/ 1986638 w 2181225"/>
              <a:gd name="connsiteY4" fmla="*/ 4564380 h 4564380"/>
              <a:gd name="connsiteX5" fmla="*/ 194587 w 2181225"/>
              <a:gd name="connsiteY5" fmla="*/ 4564380 h 4564380"/>
              <a:gd name="connsiteX6" fmla="*/ 0 w 2181225"/>
              <a:gd name="connsiteY6" fmla="*/ 4369793 h 4564380"/>
              <a:gd name="connsiteX7" fmla="*/ 0 w 2181225"/>
              <a:gd name="connsiteY7" fmla="*/ 194587 h 4564380"/>
              <a:gd name="connsiteX8" fmla="*/ 194587 w 2181225"/>
              <a:gd name="connsiteY8" fmla="*/ 0 h 456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81225" h="4564380">
                <a:moveTo>
                  <a:pt x="194587" y="0"/>
                </a:moveTo>
                <a:lnTo>
                  <a:pt x="1986638" y="0"/>
                </a:lnTo>
                <a:cubicBezTo>
                  <a:pt x="2094105" y="0"/>
                  <a:pt x="2181225" y="87120"/>
                  <a:pt x="2181225" y="194587"/>
                </a:cubicBezTo>
                <a:lnTo>
                  <a:pt x="2181225" y="4369793"/>
                </a:lnTo>
                <a:cubicBezTo>
                  <a:pt x="2181225" y="4477260"/>
                  <a:pt x="2094105" y="4564380"/>
                  <a:pt x="1986638" y="4564380"/>
                </a:cubicBezTo>
                <a:lnTo>
                  <a:pt x="194587" y="4564380"/>
                </a:lnTo>
                <a:cubicBezTo>
                  <a:pt x="87120" y="4564380"/>
                  <a:pt x="0" y="4477260"/>
                  <a:pt x="0" y="4369793"/>
                </a:cubicBezTo>
                <a:lnTo>
                  <a:pt x="0" y="194587"/>
                </a:lnTo>
                <a:cubicBezTo>
                  <a:pt x="0" y="87120"/>
                  <a:pt x="87120" y="0"/>
                  <a:pt x="19458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046037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BA3D676-62DA-4803-8CB5-DF82E15887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4299520"/>
            <a:ext cx="12191999" cy="2570073"/>
          </a:xfrm>
          <a:custGeom>
            <a:avLst/>
            <a:gdLst>
              <a:gd name="connsiteX0" fmla="*/ 1126324 w 12191999"/>
              <a:gd name="connsiteY0" fmla="*/ 0 h 2570073"/>
              <a:gd name="connsiteX1" fmla="*/ 2454730 w 12191999"/>
              <a:gd name="connsiteY1" fmla="*/ 0 h 2570073"/>
              <a:gd name="connsiteX2" fmla="*/ 3481005 w 12191999"/>
              <a:gd name="connsiteY2" fmla="*/ 0 h 2570073"/>
              <a:gd name="connsiteX3" fmla="*/ 3540677 w 12191999"/>
              <a:gd name="connsiteY3" fmla="*/ 0 h 2570073"/>
              <a:gd name="connsiteX4" fmla="*/ 4809411 w 12191999"/>
              <a:gd name="connsiteY4" fmla="*/ 0 h 2570073"/>
              <a:gd name="connsiteX5" fmla="*/ 4869085 w 12191999"/>
              <a:gd name="connsiteY5" fmla="*/ 0 h 2570073"/>
              <a:gd name="connsiteX6" fmla="*/ 4869085 w 12191999"/>
              <a:gd name="connsiteY6" fmla="*/ 1332 h 2570073"/>
              <a:gd name="connsiteX7" fmla="*/ 5935733 w 12191999"/>
              <a:gd name="connsiteY7" fmla="*/ 1332 h 2570073"/>
              <a:gd name="connsiteX8" fmla="*/ 5935733 w 12191999"/>
              <a:gd name="connsiteY8" fmla="*/ 316755 h 2570073"/>
              <a:gd name="connsiteX9" fmla="*/ 5935733 w 12191999"/>
              <a:gd name="connsiteY9" fmla="*/ 1082676 h 2570073"/>
              <a:gd name="connsiteX10" fmla="*/ 5935736 w 12191999"/>
              <a:gd name="connsiteY10" fmla="*/ 1082676 h 2570073"/>
              <a:gd name="connsiteX11" fmla="*/ 5935736 w 12191999"/>
              <a:gd name="connsiteY11" fmla="*/ 1074434 h 2570073"/>
              <a:gd name="connsiteX12" fmla="*/ 5938273 w 12191999"/>
              <a:gd name="connsiteY12" fmla="*/ 1074434 h 2570073"/>
              <a:gd name="connsiteX13" fmla="*/ 5940855 w 12191999"/>
              <a:gd name="connsiteY13" fmla="*/ 1019920 h 2570073"/>
              <a:gd name="connsiteX14" fmla="*/ 5941326 w 12191999"/>
              <a:gd name="connsiteY14" fmla="*/ 1016613 h 2570073"/>
              <a:gd name="connsiteX15" fmla="*/ 5941548 w 12191999"/>
              <a:gd name="connsiteY15" fmla="*/ 1012207 h 2570073"/>
              <a:gd name="connsiteX16" fmla="*/ 5978689 w 12191999"/>
              <a:gd name="connsiteY16" fmla="*/ 818244 h 2570073"/>
              <a:gd name="connsiteX17" fmla="*/ 5980205 w 12191999"/>
              <a:gd name="connsiteY17" fmla="*/ 813682 h 2570073"/>
              <a:gd name="connsiteX18" fmla="*/ 5980394 w 12191999"/>
              <a:gd name="connsiteY18" fmla="*/ 812894 h 2570073"/>
              <a:gd name="connsiteX19" fmla="*/ 5983069 w 12191999"/>
              <a:gd name="connsiteY19" fmla="*/ 805066 h 2570073"/>
              <a:gd name="connsiteX20" fmla="*/ 6009331 w 12191999"/>
              <a:gd name="connsiteY20" fmla="*/ 726078 h 2570073"/>
              <a:gd name="connsiteX21" fmla="*/ 6012832 w 12191999"/>
              <a:gd name="connsiteY21" fmla="*/ 717971 h 2570073"/>
              <a:gd name="connsiteX22" fmla="*/ 6013885 w 12191999"/>
              <a:gd name="connsiteY22" fmla="*/ 714889 h 2570073"/>
              <a:gd name="connsiteX23" fmla="*/ 6021353 w 12191999"/>
              <a:gd name="connsiteY23" fmla="*/ 698231 h 2570073"/>
              <a:gd name="connsiteX24" fmla="*/ 6047512 w 12191999"/>
              <a:gd name="connsiteY24" fmla="*/ 637633 h 2570073"/>
              <a:gd name="connsiteX25" fmla="*/ 6053591 w 12191999"/>
              <a:gd name="connsiteY25" fmla="*/ 626323 h 2570073"/>
              <a:gd name="connsiteX26" fmla="*/ 6055899 w 12191999"/>
              <a:gd name="connsiteY26" fmla="*/ 621176 h 2570073"/>
              <a:gd name="connsiteX27" fmla="*/ 6066075 w 12191999"/>
              <a:gd name="connsiteY27" fmla="*/ 603101 h 2570073"/>
              <a:gd name="connsiteX28" fmla="*/ 6092846 w 12191999"/>
              <a:gd name="connsiteY28" fmla="*/ 553294 h 2570073"/>
              <a:gd name="connsiteX29" fmla="*/ 6102058 w 12191999"/>
              <a:gd name="connsiteY29" fmla="*/ 539178 h 2570073"/>
              <a:gd name="connsiteX30" fmla="*/ 6105971 w 12191999"/>
              <a:gd name="connsiteY30" fmla="*/ 532224 h 2570073"/>
              <a:gd name="connsiteX31" fmla="*/ 6117825 w 12191999"/>
              <a:gd name="connsiteY31" fmla="*/ 515013 h 2570073"/>
              <a:gd name="connsiteX32" fmla="*/ 6144948 w 12191999"/>
              <a:gd name="connsiteY32" fmla="*/ 473445 h 2570073"/>
              <a:gd name="connsiteX33" fmla="*/ 6157796 w 12191999"/>
              <a:gd name="connsiteY33" fmla="*/ 456974 h 2570073"/>
              <a:gd name="connsiteX34" fmla="*/ 6163633 w 12191999"/>
              <a:gd name="connsiteY34" fmla="*/ 448498 h 2570073"/>
              <a:gd name="connsiteX35" fmla="*/ 6176451 w 12191999"/>
              <a:gd name="connsiteY35" fmla="*/ 433062 h 2570073"/>
              <a:gd name="connsiteX36" fmla="*/ 6203435 w 12191999"/>
              <a:gd name="connsiteY36" fmla="*/ 398470 h 2570073"/>
              <a:gd name="connsiteX37" fmla="*/ 6220383 w 12191999"/>
              <a:gd name="connsiteY37" fmla="*/ 380147 h 2570073"/>
              <a:gd name="connsiteX38" fmla="*/ 6228423 w 12191999"/>
              <a:gd name="connsiteY38" fmla="*/ 370466 h 2570073"/>
              <a:gd name="connsiteX39" fmla="*/ 6241622 w 12191999"/>
              <a:gd name="connsiteY39" fmla="*/ 357186 h 2570073"/>
              <a:gd name="connsiteX40" fmla="*/ 6267921 w 12191999"/>
              <a:gd name="connsiteY40" fmla="*/ 328755 h 2570073"/>
              <a:gd name="connsiteX41" fmla="*/ 6289392 w 12191999"/>
              <a:gd name="connsiteY41" fmla="*/ 309131 h 2570073"/>
              <a:gd name="connsiteX42" fmla="*/ 6299866 w 12191999"/>
              <a:gd name="connsiteY42" fmla="*/ 298593 h 2570073"/>
              <a:gd name="connsiteX43" fmla="*/ 6312962 w 12191999"/>
              <a:gd name="connsiteY43" fmla="*/ 287587 h 2570073"/>
              <a:gd name="connsiteX44" fmla="*/ 6338022 w 12191999"/>
              <a:gd name="connsiteY44" fmla="*/ 264683 h 2570073"/>
              <a:gd name="connsiteX45" fmla="*/ 6364404 w 12191999"/>
              <a:gd name="connsiteY45" fmla="*/ 244356 h 2570073"/>
              <a:gd name="connsiteX46" fmla="*/ 6377503 w 12191999"/>
              <a:gd name="connsiteY46" fmla="*/ 233348 h 2570073"/>
              <a:gd name="connsiteX47" fmla="*/ 6390061 w 12191999"/>
              <a:gd name="connsiteY47" fmla="*/ 224587 h 2570073"/>
              <a:gd name="connsiteX48" fmla="*/ 6413357 w 12191999"/>
              <a:gd name="connsiteY48" fmla="*/ 206638 h 2570073"/>
              <a:gd name="connsiteX49" fmla="*/ 6445019 w 12191999"/>
              <a:gd name="connsiteY49" fmla="*/ 186248 h 2570073"/>
              <a:gd name="connsiteX50" fmla="*/ 6460863 w 12191999"/>
              <a:gd name="connsiteY50" fmla="*/ 175195 h 2570073"/>
              <a:gd name="connsiteX51" fmla="*/ 6472496 w 12191999"/>
              <a:gd name="connsiteY51" fmla="*/ 168554 h 2570073"/>
              <a:gd name="connsiteX52" fmla="*/ 6493537 w 12191999"/>
              <a:gd name="connsiteY52" fmla="*/ 155005 h 2570073"/>
              <a:gd name="connsiteX53" fmla="*/ 6530864 w 12191999"/>
              <a:gd name="connsiteY53" fmla="*/ 135232 h 2570073"/>
              <a:gd name="connsiteX54" fmla="*/ 6549482 w 12191999"/>
              <a:gd name="connsiteY54" fmla="*/ 124603 h 2570073"/>
              <a:gd name="connsiteX55" fmla="*/ 6559839 w 12191999"/>
              <a:gd name="connsiteY55" fmla="*/ 119882 h 2570073"/>
              <a:gd name="connsiteX56" fmla="*/ 6578180 w 12191999"/>
              <a:gd name="connsiteY56" fmla="*/ 110167 h 2570073"/>
              <a:gd name="connsiteX57" fmla="*/ 6621627 w 12191999"/>
              <a:gd name="connsiteY57" fmla="*/ 91726 h 2570073"/>
              <a:gd name="connsiteX58" fmla="*/ 6642892 w 12191999"/>
              <a:gd name="connsiteY58" fmla="*/ 82036 h 2570073"/>
              <a:gd name="connsiteX59" fmla="*/ 6651657 w 12191999"/>
              <a:gd name="connsiteY59" fmla="*/ 78980 h 2570073"/>
              <a:gd name="connsiteX60" fmla="*/ 6666902 w 12191999"/>
              <a:gd name="connsiteY60" fmla="*/ 72509 h 2570073"/>
              <a:gd name="connsiteX61" fmla="*/ 6717142 w 12191999"/>
              <a:gd name="connsiteY61" fmla="*/ 56150 h 2570073"/>
              <a:gd name="connsiteX62" fmla="*/ 6740626 w 12191999"/>
              <a:gd name="connsiteY62" fmla="*/ 47963 h 2570073"/>
              <a:gd name="connsiteX63" fmla="*/ 6747514 w 12191999"/>
              <a:gd name="connsiteY63" fmla="*/ 46260 h 2570073"/>
              <a:gd name="connsiteX64" fmla="*/ 6759319 w 12191999"/>
              <a:gd name="connsiteY64" fmla="*/ 42416 h 2570073"/>
              <a:gd name="connsiteX65" fmla="*/ 6817670 w 12191999"/>
              <a:gd name="connsiteY65" fmla="*/ 28918 h 2570073"/>
              <a:gd name="connsiteX66" fmla="*/ 6842218 w 12191999"/>
              <a:gd name="connsiteY66" fmla="*/ 22850 h 2570073"/>
              <a:gd name="connsiteX67" fmla="*/ 6846973 w 12191999"/>
              <a:gd name="connsiteY67" fmla="*/ 22139 h 2570073"/>
              <a:gd name="connsiteX68" fmla="*/ 6855046 w 12191999"/>
              <a:gd name="connsiteY68" fmla="*/ 20272 h 2570073"/>
              <a:gd name="connsiteX69" fmla="*/ 6925243 w 12191999"/>
              <a:gd name="connsiteY69" fmla="*/ 10445 h 2570073"/>
              <a:gd name="connsiteX70" fmla="*/ 6947201 w 12191999"/>
              <a:gd name="connsiteY70" fmla="*/ 7163 h 2570073"/>
              <a:gd name="connsiteX71" fmla="*/ 6949512 w 12191999"/>
              <a:gd name="connsiteY71" fmla="*/ 7047 h 2570073"/>
              <a:gd name="connsiteX72" fmla="*/ 6953699 w 12191999"/>
              <a:gd name="connsiteY72" fmla="*/ 6460 h 2570073"/>
              <a:gd name="connsiteX73" fmla="*/ 7002386 w 12191999"/>
              <a:gd name="connsiteY73" fmla="*/ 4155 h 2570073"/>
              <a:gd name="connsiteX74" fmla="*/ 7002386 w 12191999"/>
              <a:gd name="connsiteY74" fmla="*/ 1346 h 2570073"/>
              <a:gd name="connsiteX75" fmla="*/ 7047272 w 12191999"/>
              <a:gd name="connsiteY75" fmla="*/ 1346 h 2570073"/>
              <a:gd name="connsiteX76" fmla="*/ 7061721 w 12191999"/>
              <a:gd name="connsiteY76" fmla="*/ 1346 h 2570073"/>
              <a:gd name="connsiteX77" fmla="*/ 7062058 w 12191999"/>
              <a:gd name="connsiteY77" fmla="*/ 1346 h 2570073"/>
              <a:gd name="connsiteX78" fmla="*/ 7062058 w 12191999"/>
              <a:gd name="connsiteY78" fmla="*/ 0 h 2570073"/>
              <a:gd name="connsiteX79" fmla="*/ 9416738 w 12191999"/>
              <a:gd name="connsiteY79" fmla="*/ 0 h 2570073"/>
              <a:gd name="connsiteX80" fmla="*/ 9476411 w 12191999"/>
              <a:gd name="connsiteY80" fmla="*/ 0 h 2570073"/>
              <a:gd name="connsiteX81" fmla="*/ 9476411 w 12191999"/>
              <a:gd name="connsiteY81" fmla="*/ 1332 h 2570073"/>
              <a:gd name="connsiteX82" fmla="*/ 9621926 w 12191999"/>
              <a:gd name="connsiteY82" fmla="*/ 1332 h 2570073"/>
              <a:gd name="connsiteX83" fmla="*/ 9621926 w 12191999"/>
              <a:gd name="connsiteY83" fmla="*/ 1232695 h 2570073"/>
              <a:gd name="connsiteX84" fmla="*/ 9621927 w 12191999"/>
              <a:gd name="connsiteY84" fmla="*/ 1232695 h 2570073"/>
              <a:gd name="connsiteX85" fmla="*/ 9621927 w 12191999"/>
              <a:gd name="connsiteY85" fmla="*/ 1224666 h 2570073"/>
              <a:gd name="connsiteX86" fmla="*/ 9624974 w 12191999"/>
              <a:gd name="connsiteY86" fmla="*/ 1224666 h 2570073"/>
              <a:gd name="connsiteX87" fmla="*/ 9628560 w 12191999"/>
              <a:gd name="connsiteY87" fmla="*/ 1153649 h 2570073"/>
              <a:gd name="connsiteX88" fmla="*/ 10906963 w 12191999"/>
              <a:gd name="connsiteY88" fmla="*/ 0 h 2570073"/>
              <a:gd name="connsiteX89" fmla="*/ 12191999 w 12191999"/>
              <a:gd name="connsiteY89" fmla="*/ 1285037 h 2570073"/>
              <a:gd name="connsiteX90" fmla="*/ 11038350 w 12191999"/>
              <a:gd name="connsiteY90" fmla="*/ 2563438 h 2570073"/>
              <a:gd name="connsiteX91" fmla="*/ 10924212 w 12191999"/>
              <a:gd name="connsiteY91" fmla="*/ 2569202 h 2570073"/>
              <a:gd name="connsiteX92" fmla="*/ 10924212 w 12191999"/>
              <a:gd name="connsiteY92" fmla="*/ 2570073 h 2570073"/>
              <a:gd name="connsiteX93" fmla="*/ 10906963 w 12191999"/>
              <a:gd name="connsiteY93" fmla="*/ 2570073 h 2570073"/>
              <a:gd name="connsiteX94" fmla="*/ 10572749 w 12191999"/>
              <a:gd name="connsiteY94" fmla="*/ 2570073 h 2570073"/>
              <a:gd name="connsiteX95" fmla="*/ 9621927 w 12191999"/>
              <a:gd name="connsiteY95" fmla="*/ 2570073 h 2570073"/>
              <a:gd name="connsiteX96" fmla="*/ 9416738 w 12191999"/>
              <a:gd name="connsiteY96" fmla="*/ 2570073 h 2570073"/>
              <a:gd name="connsiteX97" fmla="*/ 7062058 w 12191999"/>
              <a:gd name="connsiteY97" fmla="*/ 2570073 h 2570073"/>
              <a:gd name="connsiteX98" fmla="*/ 7002386 w 12191999"/>
              <a:gd name="connsiteY98" fmla="*/ 2570073 h 2570073"/>
              <a:gd name="connsiteX99" fmla="*/ 6572250 w 12191999"/>
              <a:gd name="connsiteY99" fmla="*/ 2570073 h 2570073"/>
              <a:gd name="connsiteX100" fmla="*/ 6572250 w 12191999"/>
              <a:gd name="connsiteY100" fmla="*/ 2568741 h 2570073"/>
              <a:gd name="connsiteX101" fmla="*/ 5935736 w 12191999"/>
              <a:gd name="connsiteY101" fmla="*/ 2568741 h 2570073"/>
              <a:gd name="connsiteX102" fmla="*/ 5935736 w 12191999"/>
              <a:gd name="connsiteY102" fmla="*/ 2253318 h 2570073"/>
              <a:gd name="connsiteX103" fmla="*/ 5935736 w 12191999"/>
              <a:gd name="connsiteY103" fmla="*/ 1487489 h 2570073"/>
              <a:gd name="connsiteX104" fmla="*/ 5935733 w 12191999"/>
              <a:gd name="connsiteY104" fmla="*/ 1487489 h 2570073"/>
              <a:gd name="connsiteX105" fmla="*/ 5935733 w 12191999"/>
              <a:gd name="connsiteY105" fmla="*/ 1495639 h 2570073"/>
              <a:gd name="connsiteX106" fmla="*/ 5933197 w 12191999"/>
              <a:gd name="connsiteY106" fmla="*/ 1495639 h 2570073"/>
              <a:gd name="connsiteX107" fmla="*/ 5930617 w 12191999"/>
              <a:gd name="connsiteY107" fmla="*/ 1550153 h 2570073"/>
              <a:gd name="connsiteX108" fmla="*/ 5930144 w 12191999"/>
              <a:gd name="connsiteY108" fmla="*/ 1553460 h 2570073"/>
              <a:gd name="connsiteX109" fmla="*/ 5929922 w 12191999"/>
              <a:gd name="connsiteY109" fmla="*/ 1557867 h 2570073"/>
              <a:gd name="connsiteX110" fmla="*/ 5892783 w 12191999"/>
              <a:gd name="connsiteY110" fmla="*/ 1751829 h 2570073"/>
              <a:gd name="connsiteX111" fmla="*/ 5891264 w 12191999"/>
              <a:gd name="connsiteY111" fmla="*/ 1756392 h 2570073"/>
              <a:gd name="connsiteX112" fmla="*/ 5891075 w 12191999"/>
              <a:gd name="connsiteY112" fmla="*/ 1757179 h 2570073"/>
              <a:gd name="connsiteX113" fmla="*/ 5888401 w 12191999"/>
              <a:gd name="connsiteY113" fmla="*/ 1765008 h 2570073"/>
              <a:gd name="connsiteX114" fmla="*/ 5862138 w 12191999"/>
              <a:gd name="connsiteY114" fmla="*/ 1843996 h 2570073"/>
              <a:gd name="connsiteX115" fmla="*/ 5858638 w 12191999"/>
              <a:gd name="connsiteY115" fmla="*/ 1852103 h 2570073"/>
              <a:gd name="connsiteX116" fmla="*/ 5857585 w 12191999"/>
              <a:gd name="connsiteY116" fmla="*/ 1855185 h 2570073"/>
              <a:gd name="connsiteX117" fmla="*/ 5850118 w 12191999"/>
              <a:gd name="connsiteY117" fmla="*/ 1871843 h 2570073"/>
              <a:gd name="connsiteX118" fmla="*/ 5823958 w 12191999"/>
              <a:gd name="connsiteY118" fmla="*/ 1932441 h 2570073"/>
              <a:gd name="connsiteX119" fmla="*/ 5817879 w 12191999"/>
              <a:gd name="connsiteY119" fmla="*/ 1943751 h 2570073"/>
              <a:gd name="connsiteX120" fmla="*/ 5815571 w 12191999"/>
              <a:gd name="connsiteY120" fmla="*/ 1948897 h 2570073"/>
              <a:gd name="connsiteX121" fmla="*/ 5805397 w 12191999"/>
              <a:gd name="connsiteY121" fmla="*/ 1966972 h 2570073"/>
              <a:gd name="connsiteX122" fmla="*/ 5778624 w 12191999"/>
              <a:gd name="connsiteY122" fmla="*/ 2016780 h 2570073"/>
              <a:gd name="connsiteX123" fmla="*/ 5769414 w 12191999"/>
              <a:gd name="connsiteY123" fmla="*/ 2030895 h 2570073"/>
              <a:gd name="connsiteX124" fmla="*/ 5765499 w 12191999"/>
              <a:gd name="connsiteY124" fmla="*/ 2037850 h 2570073"/>
              <a:gd name="connsiteX125" fmla="*/ 5753645 w 12191999"/>
              <a:gd name="connsiteY125" fmla="*/ 2055061 h 2570073"/>
              <a:gd name="connsiteX126" fmla="*/ 5726522 w 12191999"/>
              <a:gd name="connsiteY126" fmla="*/ 2096629 h 2570073"/>
              <a:gd name="connsiteX127" fmla="*/ 5713674 w 12191999"/>
              <a:gd name="connsiteY127" fmla="*/ 2113099 h 2570073"/>
              <a:gd name="connsiteX128" fmla="*/ 5707835 w 12191999"/>
              <a:gd name="connsiteY128" fmla="*/ 2121576 h 2570073"/>
              <a:gd name="connsiteX129" fmla="*/ 5695021 w 12191999"/>
              <a:gd name="connsiteY129" fmla="*/ 2137011 h 2570073"/>
              <a:gd name="connsiteX130" fmla="*/ 5668037 w 12191999"/>
              <a:gd name="connsiteY130" fmla="*/ 2171603 h 2570073"/>
              <a:gd name="connsiteX131" fmla="*/ 5651087 w 12191999"/>
              <a:gd name="connsiteY131" fmla="*/ 2189926 h 2570073"/>
              <a:gd name="connsiteX132" fmla="*/ 5643049 w 12191999"/>
              <a:gd name="connsiteY132" fmla="*/ 2199608 h 2570073"/>
              <a:gd name="connsiteX133" fmla="*/ 5629848 w 12191999"/>
              <a:gd name="connsiteY133" fmla="*/ 2212888 h 2570073"/>
              <a:gd name="connsiteX134" fmla="*/ 5603549 w 12191999"/>
              <a:gd name="connsiteY134" fmla="*/ 2241318 h 2570073"/>
              <a:gd name="connsiteX135" fmla="*/ 5582080 w 12191999"/>
              <a:gd name="connsiteY135" fmla="*/ 2260943 h 2570073"/>
              <a:gd name="connsiteX136" fmla="*/ 5571603 w 12191999"/>
              <a:gd name="connsiteY136" fmla="*/ 2271480 h 2570073"/>
              <a:gd name="connsiteX137" fmla="*/ 5558507 w 12191999"/>
              <a:gd name="connsiteY137" fmla="*/ 2282487 h 2570073"/>
              <a:gd name="connsiteX138" fmla="*/ 5533446 w 12191999"/>
              <a:gd name="connsiteY138" fmla="*/ 2305391 h 2570073"/>
              <a:gd name="connsiteX139" fmla="*/ 5507067 w 12191999"/>
              <a:gd name="connsiteY139" fmla="*/ 2325718 h 2570073"/>
              <a:gd name="connsiteX140" fmla="*/ 5493967 w 12191999"/>
              <a:gd name="connsiteY140" fmla="*/ 2336726 h 2570073"/>
              <a:gd name="connsiteX141" fmla="*/ 5481408 w 12191999"/>
              <a:gd name="connsiteY141" fmla="*/ 2345487 h 2570073"/>
              <a:gd name="connsiteX142" fmla="*/ 5458115 w 12191999"/>
              <a:gd name="connsiteY142" fmla="*/ 2363435 h 2570073"/>
              <a:gd name="connsiteX143" fmla="*/ 5426451 w 12191999"/>
              <a:gd name="connsiteY143" fmla="*/ 2383826 h 2570073"/>
              <a:gd name="connsiteX144" fmla="*/ 5410606 w 12191999"/>
              <a:gd name="connsiteY144" fmla="*/ 2394879 h 2570073"/>
              <a:gd name="connsiteX145" fmla="*/ 5398974 w 12191999"/>
              <a:gd name="connsiteY145" fmla="*/ 2401520 h 2570073"/>
              <a:gd name="connsiteX146" fmla="*/ 5377932 w 12191999"/>
              <a:gd name="connsiteY146" fmla="*/ 2415069 h 2570073"/>
              <a:gd name="connsiteX147" fmla="*/ 5340606 w 12191999"/>
              <a:gd name="connsiteY147" fmla="*/ 2434842 h 2570073"/>
              <a:gd name="connsiteX148" fmla="*/ 5321988 w 12191999"/>
              <a:gd name="connsiteY148" fmla="*/ 2445471 h 2570073"/>
              <a:gd name="connsiteX149" fmla="*/ 5311630 w 12191999"/>
              <a:gd name="connsiteY149" fmla="*/ 2450191 h 2570073"/>
              <a:gd name="connsiteX150" fmla="*/ 5293290 w 12191999"/>
              <a:gd name="connsiteY150" fmla="*/ 2459906 h 2570073"/>
              <a:gd name="connsiteX151" fmla="*/ 5249844 w 12191999"/>
              <a:gd name="connsiteY151" fmla="*/ 2478347 h 2570073"/>
              <a:gd name="connsiteX152" fmla="*/ 5228578 w 12191999"/>
              <a:gd name="connsiteY152" fmla="*/ 2488037 h 2570073"/>
              <a:gd name="connsiteX153" fmla="*/ 5219811 w 12191999"/>
              <a:gd name="connsiteY153" fmla="*/ 2491093 h 2570073"/>
              <a:gd name="connsiteX154" fmla="*/ 5204566 w 12191999"/>
              <a:gd name="connsiteY154" fmla="*/ 2497564 h 2570073"/>
              <a:gd name="connsiteX155" fmla="*/ 5154327 w 12191999"/>
              <a:gd name="connsiteY155" fmla="*/ 2513923 h 2570073"/>
              <a:gd name="connsiteX156" fmla="*/ 5130844 w 12191999"/>
              <a:gd name="connsiteY156" fmla="*/ 2522110 h 2570073"/>
              <a:gd name="connsiteX157" fmla="*/ 5123955 w 12191999"/>
              <a:gd name="connsiteY157" fmla="*/ 2523813 h 2570073"/>
              <a:gd name="connsiteX158" fmla="*/ 5112150 w 12191999"/>
              <a:gd name="connsiteY158" fmla="*/ 2527657 h 2570073"/>
              <a:gd name="connsiteX159" fmla="*/ 5053798 w 12191999"/>
              <a:gd name="connsiteY159" fmla="*/ 2541156 h 2570073"/>
              <a:gd name="connsiteX160" fmla="*/ 5029252 w 12191999"/>
              <a:gd name="connsiteY160" fmla="*/ 2547223 h 2570073"/>
              <a:gd name="connsiteX161" fmla="*/ 5024497 w 12191999"/>
              <a:gd name="connsiteY161" fmla="*/ 2547934 h 2570073"/>
              <a:gd name="connsiteX162" fmla="*/ 5016423 w 12191999"/>
              <a:gd name="connsiteY162" fmla="*/ 2549802 h 2570073"/>
              <a:gd name="connsiteX163" fmla="*/ 4946226 w 12191999"/>
              <a:gd name="connsiteY163" fmla="*/ 2559629 h 2570073"/>
              <a:gd name="connsiteX164" fmla="*/ 4924267 w 12191999"/>
              <a:gd name="connsiteY164" fmla="*/ 2562910 h 2570073"/>
              <a:gd name="connsiteX165" fmla="*/ 4921958 w 12191999"/>
              <a:gd name="connsiteY165" fmla="*/ 2563027 h 2570073"/>
              <a:gd name="connsiteX166" fmla="*/ 4917769 w 12191999"/>
              <a:gd name="connsiteY166" fmla="*/ 2563613 h 2570073"/>
              <a:gd name="connsiteX167" fmla="*/ 4869085 w 12191999"/>
              <a:gd name="connsiteY167" fmla="*/ 2565918 h 2570073"/>
              <a:gd name="connsiteX168" fmla="*/ 4869085 w 12191999"/>
              <a:gd name="connsiteY168" fmla="*/ 2568728 h 2570073"/>
              <a:gd name="connsiteX169" fmla="*/ 4824196 w 12191999"/>
              <a:gd name="connsiteY169" fmla="*/ 2568728 h 2570073"/>
              <a:gd name="connsiteX170" fmla="*/ 4809749 w 12191999"/>
              <a:gd name="connsiteY170" fmla="*/ 2568728 h 2570073"/>
              <a:gd name="connsiteX171" fmla="*/ 4809411 w 12191999"/>
              <a:gd name="connsiteY171" fmla="*/ 2568728 h 2570073"/>
              <a:gd name="connsiteX172" fmla="*/ 4809411 w 12191999"/>
              <a:gd name="connsiteY172" fmla="*/ 2570073 h 2570073"/>
              <a:gd name="connsiteX173" fmla="*/ 3481005 w 12191999"/>
              <a:gd name="connsiteY173" fmla="*/ 2570073 h 2570073"/>
              <a:gd name="connsiteX174" fmla="*/ 2454730 w 12191999"/>
              <a:gd name="connsiteY174" fmla="*/ 2570073 h 2570073"/>
              <a:gd name="connsiteX175" fmla="*/ 2395058 w 12191999"/>
              <a:gd name="connsiteY175" fmla="*/ 2570073 h 2570073"/>
              <a:gd name="connsiteX176" fmla="*/ 1126324 w 12191999"/>
              <a:gd name="connsiteY176" fmla="*/ 2570073 h 2570073"/>
              <a:gd name="connsiteX177" fmla="*/ 1066652 w 12191999"/>
              <a:gd name="connsiteY177" fmla="*/ 2570073 h 2570073"/>
              <a:gd name="connsiteX178" fmla="*/ 1066652 w 12191999"/>
              <a:gd name="connsiteY178" fmla="*/ 2568741 h 2570073"/>
              <a:gd name="connsiteX179" fmla="*/ 1 w 12191999"/>
              <a:gd name="connsiteY179" fmla="*/ 2568741 h 2570073"/>
              <a:gd name="connsiteX180" fmla="*/ 1 w 12191999"/>
              <a:gd name="connsiteY180" fmla="*/ 2253318 h 2570073"/>
              <a:gd name="connsiteX181" fmla="*/ 1 w 12191999"/>
              <a:gd name="connsiteY181" fmla="*/ 1443429 h 2570073"/>
              <a:gd name="connsiteX182" fmla="*/ 1 w 12191999"/>
              <a:gd name="connsiteY182" fmla="*/ 1442766 h 2570073"/>
              <a:gd name="connsiteX183" fmla="*/ 0 w 12191999"/>
              <a:gd name="connsiteY183" fmla="*/ 1442755 h 2570073"/>
              <a:gd name="connsiteX184" fmla="*/ 1 w 12191999"/>
              <a:gd name="connsiteY184" fmla="*/ 1442744 h 2570073"/>
              <a:gd name="connsiteX185" fmla="*/ 1 w 12191999"/>
              <a:gd name="connsiteY185" fmla="*/ 1389857 h 2570073"/>
              <a:gd name="connsiteX186" fmla="*/ 1 w 12191999"/>
              <a:gd name="connsiteY186" fmla="*/ 1128007 h 2570073"/>
              <a:gd name="connsiteX187" fmla="*/ 1 w 12191999"/>
              <a:gd name="connsiteY187" fmla="*/ 1127343 h 2570073"/>
              <a:gd name="connsiteX188" fmla="*/ 0 w 12191999"/>
              <a:gd name="connsiteY188" fmla="*/ 1127332 h 2570073"/>
              <a:gd name="connsiteX189" fmla="*/ 1 w 12191999"/>
              <a:gd name="connsiteY189" fmla="*/ 1127322 h 2570073"/>
              <a:gd name="connsiteX190" fmla="*/ 1 w 12191999"/>
              <a:gd name="connsiteY190" fmla="*/ 1074434 h 2570073"/>
              <a:gd name="connsiteX191" fmla="*/ 2538 w 12191999"/>
              <a:gd name="connsiteY191" fmla="*/ 1074434 h 2570073"/>
              <a:gd name="connsiteX192" fmla="*/ 5119 w 12191999"/>
              <a:gd name="connsiteY192" fmla="*/ 1019920 h 2570073"/>
              <a:gd name="connsiteX193" fmla="*/ 5592 w 12191999"/>
              <a:gd name="connsiteY193" fmla="*/ 1016613 h 2570073"/>
              <a:gd name="connsiteX194" fmla="*/ 5814 w 12191999"/>
              <a:gd name="connsiteY194" fmla="*/ 1012207 h 2570073"/>
              <a:gd name="connsiteX195" fmla="*/ 42953 w 12191999"/>
              <a:gd name="connsiteY195" fmla="*/ 818244 h 2570073"/>
              <a:gd name="connsiteX196" fmla="*/ 44470 w 12191999"/>
              <a:gd name="connsiteY196" fmla="*/ 813682 h 2570073"/>
              <a:gd name="connsiteX197" fmla="*/ 44660 w 12191999"/>
              <a:gd name="connsiteY197" fmla="*/ 812894 h 2570073"/>
              <a:gd name="connsiteX198" fmla="*/ 47335 w 12191999"/>
              <a:gd name="connsiteY198" fmla="*/ 805066 h 2570073"/>
              <a:gd name="connsiteX199" fmla="*/ 73597 w 12191999"/>
              <a:gd name="connsiteY199" fmla="*/ 726078 h 2570073"/>
              <a:gd name="connsiteX200" fmla="*/ 77097 w 12191999"/>
              <a:gd name="connsiteY200" fmla="*/ 717971 h 2570073"/>
              <a:gd name="connsiteX201" fmla="*/ 78150 w 12191999"/>
              <a:gd name="connsiteY201" fmla="*/ 714889 h 2570073"/>
              <a:gd name="connsiteX202" fmla="*/ 85619 w 12191999"/>
              <a:gd name="connsiteY202" fmla="*/ 698231 h 2570073"/>
              <a:gd name="connsiteX203" fmla="*/ 111778 w 12191999"/>
              <a:gd name="connsiteY203" fmla="*/ 637633 h 2570073"/>
              <a:gd name="connsiteX204" fmla="*/ 117857 w 12191999"/>
              <a:gd name="connsiteY204" fmla="*/ 626323 h 2570073"/>
              <a:gd name="connsiteX205" fmla="*/ 120165 w 12191999"/>
              <a:gd name="connsiteY205" fmla="*/ 621176 h 2570073"/>
              <a:gd name="connsiteX206" fmla="*/ 130339 w 12191999"/>
              <a:gd name="connsiteY206" fmla="*/ 603101 h 2570073"/>
              <a:gd name="connsiteX207" fmla="*/ 157112 w 12191999"/>
              <a:gd name="connsiteY207" fmla="*/ 553294 h 2570073"/>
              <a:gd name="connsiteX208" fmla="*/ 166322 w 12191999"/>
              <a:gd name="connsiteY208" fmla="*/ 539178 h 2570073"/>
              <a:gd name="connsiteX209" fmla="*/ 170237 w 12191999"/>
              <a:gd name="connsiteY209" fmla="*/ 532224 h 2570073"/>
              <a:gd name="connsiteX210" fmla="*/ 182090 w 12191999"/>
              <a:gd name="connsiteY210" fmla="*/ 515013 h 2570073"/>
              <a:gd name="connsiteX211" fmla="*/ 209214 w 12191999"/>
              <a:gd name="connsiteY211" fmla="*/ 473445 h 2570073"/>
              <a:gd name="connsiteX212" fmla="*/ 222062 w 12191999"/>
              <a:gd name="connsiteY212" fmla="*/ 456974 h 2570073"/>
              <a:gd name="connsiteX213" fmla="*/ 227900 w 12191999"/>
              <a:gd name="connsiteY213" fmla="*/ 448498 h 2570073"/>
              <a:gd name="connsiteX214" fmla="*/ 240715 w 12191999"/>
              <a:gd name="connsiteY214" fmla="*/ 433062 h 2570073"/>
              <a:gd name="connsiteX215" fmla="*/ 267700 w 12191999"/>
              <a:gd name="connsiteY215" fmla="*/ 398470 h 2570073"/>
              <a:gd name="connsiteX216" fmla="*/ 284649 w 12191999"/>
              <a:gd name="connsiteY216" fmla="*/ 380147 h 2570073"/>
              <a:gd name="connsiteX217" fmla="*/ 292687 w 12191999"/>
              <a:gd name="connsiteY217" fmla="*/ 370466 h 2570073"/>
              <a:gd name="connsiteX218" fmla="*/ 305888 w 12191999"/>
              <a:gd name="connsiteY218" fmla="*/ 357186 h 2570073"/>
              <a:gd name="connsiteX219" fmla="*/ 332186 w 12191999"/>
              <a:gd name="connsiteY219" fmla="*/ 328755 h 2570073"/>
              <a:gd name="connsiteX220" fmla="*/ 353657 w 12191999"/>
              <a:gd name="connsiteY220" fmla="*/ 309131 h 2570073"/>
              <a:gd name="connsiteX221" fmla="*/ 364133 w 12191999"/>
              <a:gd name="connsiteY221" fmla="*/ 298593 h 2570073"/>
              <a:gd name="connsiteX222" fmla="*/ 377228 w 12191999"/>
              <a:gd name="connsiteY222" fmla="*/ 287587 h 2570073"/>
              <a:gd name="connsiteX223" fmla="*/ 402288 w 12191999"/>
              <a:gd name="connsiteY223" fmla="*/ 264683 h 2570073"/>
              <a:gd name="connsiteX224" fmla="*/ 428670 w 12191999"/>
              <a:gd name="connsiteY224" fmla="*/ 244356 h 2570073"/>
              <a:gd name="connsiteX225" fmla="*/ 441769 w 12191999"/>
              <a:gd name="connsiteY225" fmla="*/ 233348 h 2570073"/>
              <a:gd name="connsiteX226" fmla="*/ 454327 w 12191999"/>
              <a:gd name="connsiteY226" fmla="*/ 224587 h 2570073"/>
              <a:gd name="connsiteX227" fmla="*/ 477622 w 12191999"/>
              <a:gd name="connsiteY227" fmla="*/ 206638 h 2570073"/>
              <a:gd name="connsiteX228" fmla="*/ 509285 w 12191999"/>
              <a:gd name="connsiteY228" fmla="*/ 186248 h 2570073"/>
              <a:gd name="connsiteX229" fmla="*/ 525129 w 12191999"/>
              <a:gd name="connsiteY229" fmla="*/ 175195 h 2570073"/>
              <a:gd name="connsiteX230" fmla="*/ 536762 w 12191999"/>
              <a:gd name="connsiteY230" fmla="*/ 168554 h 2570073"/>
              <a:gd name="connsiteX231" fmla="*/ 557803 w 12191999"/>
              <a:gd name="connsiteY231" fmla="*/ 155005 h 2570073"/>
              <a:gd name="connsiteX232" fmla="*/ 595129 w 12191999"/>
              <a:gd name="connsiteY232" fmla="*/ 135232 h 2570073"/>
              <a:gd name="connsiteX233" fmla="*/ 613748 w 12191999"/>
              <a:gd name="connsiteY233" fmla="*/ 124603 h 2570073"/>
              <a:gd name="connsiteX234" fmla="*/ 624106 w 12191999"/>
              <a:gd name="connsiteY234" fmla="*/ 119882 h 2570073"/>
              <a:gd name="connsiteX235" fmla="*/ 642446 w 12191999"/>
              <a:gd name="connsiteY235" fmla="*/ 110167 h 2570073"/>
              <a:gd name="connsiteX236" fmla="*/ 685893 w 12191999"/>
              <a:gd name="connsiteY236" fmla="*/ 91726 h 2570073"/>
              <a:gd name="connsiteX237" fmla="*/ 707157 w 12191999"/>
              <a:gd name="connsiteY237" fmla="*/ 82036 h 2570073"/>
              <a:gd name="connsiteX238" fmla="*/ 715923 w 12191999"/>
              <a:gd name="connsiteY238" fmla="*/ 78980 h 2570073"/>
              <a:gd name="connsiteX239" fmla="*/ 731168 w 12191999"/>
              <a:gd name="connsiteY239" fmla="*/ 72509 h 2570073"/>
              <a:gd name="connsiteX240" fmla="*/ 781408 w 12191999"/>
              <a:gd name="connsiteY240" fmla="*/ 56150 h 2570073"/>
              <a:gd name="connsiteX241" fmla="*/ 804892 w 12191999"/>
              <a:gd name="connsiteY241" fmla="*/ 47963 h 2570073"/>
              <a:gd name="connsiteX242" fmla="*/ 811780 w 12191999"/>
              <a:gd name="connsiteY242" fmla="*/ 46260 h 2570073"/>
              <a:gd name="connsiteX243" fmla="*/ 823585 w 12191999"/>
              <a:gd name="connsiteY243" fmla="*/ 42416 h 2570073"/>
              <a:gd name="connsiteX244" fmla="*/ 881937 w 12191999"/>
              <a:gd name="connsiteY244" fmla="*/ 28918 h 2570073"/>
              <a:gd name="connsiteX245" fmla="*/ 906484 w 12191999"/>
              <a:gd name="connsiteY245" fmla="*/ 22850 h 2570073"/>
              <a:gd name="connsiteX246" fmla="*/ 911239 w 12191999"/>
              <a:gd name="connsiteY246" fmla="*/ 22139 h 2570073"/>
              <a:gd name="connsiteX247" fmla="*/ 919312 w 12191999"/>
              <a:gd name="connsiteY247" fmla="*/ 20272 h 2570073"/>
              <a:gd name="connsiteX248" fmla="*/ 989509 w 12191999"/>
              <a:gd name="connsiteY248" fmla="*/ 10445 h 2570073"/>
              <a:gd name="connsiteX249" fmla="*/ 1011467 w 12191999"/>
              <a:gd name="connsiteY249" fmla="*/ 7163 h 2570073"/>
              <a:gd name="connsiteX250" fmla="*/ 1013779 w 12191999"/>
              <a:gd name="connsiteY250" fmla="*/ 7047 h 2570073"/>
              <a:gd name="connsiteX251" fmla="*/ 1017965 w 12191999"/>
              <a:gd name="connsiteY251" fmla="*/ 6460 h 2570073"/>
              <a:gd name="connsiteX252" fmla="*/ 1066652 w 12191999"/>
              <a:gd name="connsiteY252" fmla="*/ 4155 h 2570073"/>
              <a:gd name="connsiteX253" fmla="*/ 1066652 w 12191999"/>
              <a:gd name="connsiteY253" fmla="*/ 1346 h 2570073"/>
              <a:gd name="connsiteX254" fmla="*/ 1111538 w 12191999"/>
              <a:gd name="connsiteY254" fmla="*/ 1346 h 2570073"/>
              <a:gd name="connsiteX255" fmla="*/ 1125987 w 12191999"/>
              <a:gd name="connsiteY255" fmla="*/ 1346 h 2570073"/>
              <a:gd name="connsiteX256" fmla="*/ 1126324 w 12191999"/>
              <a:gd name="connsiteY256" fmla="*/ 1346 h 2570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</a:cxnLst>
            <a:rect l="l" t="t" r="r" b="b"/>
            <a:pathLst>
              <a:path w="12191999" h="2570073">
                <a:moveTo>
                  <a:pt x="1126324" y="0"/>
                </a:moveTo>
                <a:lnTo>
                  <a:pt x="2454730" y="0"/>
                </a:lnTo>
                <a:lnTo>
                  <a:pt x="3481005" y="0"/>
                </a:lnTo>
                <a:lnTo>
                  <a:pt x="3540677" y="0"/>
                </a:lnTo>
                <a:lnTo>
                  <a:pt x="4809411" y="0"/>
                </a:lnTo>
                <a:lnTo>
                  <a:pt x="4869085" y="0"/>
                </a:lnTo>
                <a:lnTo>
                  <a:pt x="4869085" y="1332"/>
                </a:lnTo>
                <a:lnTo>
                  <a:pt x="5935733" y="1332"/>
                </a:lnTo>
                <a:lnTo>
                  <a:pt x="5935733" y="316755"/>
                </a:lnTo>
                <a:lnTo>
                  <a:pt x="5935733" y="1082676"/>
                </a:lnTo>
                <a:lnTo>
                  <a:pt x="5935736" y="1082676"/>
                </a:lnTo>
                <a:lnTo>
                  <a:pt x="5935736" y="1074434"/>
                </a:lnTo>
                <a:lnTo>
                  <a:pt x="5938273" y="1074434"/>
                </a:lnTo>
                <a:lnTo>
                  <a:pt x="5940855" y="1019920"/>
                </a:lnTo>
                <a:lnTo>
                  <a:pt x="5941326" y="1016613"/>
                </a:lnTo>
                <a:lnTo>
                  <a:pt x="5941548" y="1012207"/>
                </a:lnTo>
                <a:cubicBezTo>
                  <a:pt x="5948307" y="945669"/>
                  <a:pt x="5960857" y="880845"/>
                  <a:pt x="5978689" y="818244"/>
                </a:cubicBezTo>
                <a:lnTo>
                  <a:pt x="5980205" y="813682"/>
                </a:lnTo>
                <a:lnTo>
                  <a:pt x="5980394" y="812894"/>
                </a:lnTo>
                <a:lnTo>
                  <a:pt x="5983069" y="805066"/>
                </a:lnTo>
                <a:lnTo>
                  <a:pt x="6009331" y="726078"/>
                </a:lnTo>
                <a:lnTo>
                  <a:pt x="6012832" y="717971"/>
                </a:lnTo>
                <a:lnTo>
                  <a:pt x="6013885" y="714889"/>
                </a:lnTo>
                <a:lnTo>
                  <a:pt x="6021353" y="698231"/>
                </a:lnTo>
                <a:lnTo>
                  <a:pt x="6047512" y="637633"/>
                </a:lnTo>
                <a:lnTo>
                  <a:pt x="6053591" y="626323"/>
                </a:lnTo>
                <a:lnTo>
                  <a:pt x="6055899" y="621176"/>
                </a:lnTo>
                <a:lnTo>
                  <a:pt x="6066075" y="603101"/>
                </a:lnTo>
                <a:lnTo>
                  <a:pt x="6092846" y="553294"/>
                </a:lnTo>
                <a:lnTo>
                  <a:pt x="6102058" y="539178"/>
                </a:lnTo>
                <a:lnTo>
                  <a:pt x="6105971" y="532224"/>
                </a:lnTo>
                <a:lnTo>
                  <a:pt x="6117825" y="515013"/>
                </a:lnTo>
                <a:lnTo>
                  <a:pt x="6144948" y="473445"/>
                </a:lnTo>
                <a:lnTo>
                  <a:pt x="6157796" y="456974"/>
                </a:lnTo>
                <a:lnTo>
                  <a:pt x="6163633" y="448498"/>
                </a:lnTo>
                <a:lnTo>
                  <a:pt x="6176451" y="433062"/>
                </a:lnTo>
                <a:lnTo>
                  <a:pt x="6203435" y="398470"/>
                </a:lnTo>
                <a:lnTo>
                  <a:pt x="6220383" y="380147"/>
                </a:lnTo>
                <a:lnTo>
                  <a:pt x="6228423" y="370466"/>
                </a:lnTo>
                <a:lnTo>
                  <a:pt x="6241622" y="357186"/>
                </a:lnTo>
                <a:lnTo>
                  <a:pt x="6267921" y="328755"/>
                </a:lnTo>
                <a:lnTo>
                  <a:pt x="6289392" y="309131"/>
                </a:lnTo>
                <a:lnTo>
                  <a:pt x="6299866" y="298593"/>
                </a:lnTo>
                <a:lnTo>
                  <a:pt x="6312962" y="287587"/>
                </a:lnTo>
                <a:lnTo>
                  <a:pt x="6338022" y="264683"/>
                </a:lnTo>
                <a:lnTo>
                  <a:pt x="6364404" y="244356"/>
                </a:lnTo>
                <a:lnTo>
                  <a:pt x="6377503" y="233348"/>
                </a:lnTo>
                <a:lnTo>
                  <a:pt x="6390061" y="224587"/>
                </a:lnTo>
                <a:lnTo>
                  <a:pt x="6413357" y="206638"/>
                </a:lnTo>
                <a:lnTo>
                  <a:pt x="6445019" y="186248"/>
                </a:lnTo>
                <a:lnTo>
                  <a:pt x="6460863" y="175195"/>
                </a:lnTo>
                <a:lnTo>
                  <a:pt x="6472496" y="168554"/>
                </a:lnTo>
                <a:lnTo>
                  <a:pt x="6493537" y="155005"/>
                </a:lnTo>
                <a:lnTo>
                  <a:pt x="6530864" y="135232"/>
                </a:lnTo>
                <a:lnTo>
                  <a:pt x="6549482" y="124603"/>
                </a:lnTo>
                <a:lnTo>
                  <a:pt x="6559839" y="119882"/>
                </a:lnTo>
                <a:lnTo>
                  <a:pt x="6578180" y="110167"/>
                </a:lnTo>
                <a:lnTo>
                  <a:pt x="6621627" y="91726"/>
                </a:lnTo>
                <a:lnTo>
                  <a:pt x="6642892" y="82036"/>
                </a:lnTo>
                <a:lnTo>
                  <a:pt x="6651657" y="78980"/>
                </a:lnTo>
                <a:lnTo>
                  <a:pt x="6666902" y="72509"/>
                </a:lnTo>
                <a:lnTo>
                  <a:pt x="6717142" y="56150"/>
                </a:lnTo>
                <a:lnTo>
                  <a:pt x="6740626" y="47963"/>
                </a:lnTo>
                <a:lnTo>
                  <a:pt x="6747514" y="46260"/>
                </a:lnTo>
                <a:lnTo>
                  <a:pt x="6759319" y="42416"/>
                </a:lnTo>
                <a:lnTo>
                  <a:pt x="6817670" y="28918"/>
                </a:lnTo>
                <a:lnTo>
                  <a:pt x="6842218" y="22850"/>
                </a:lnTo>
                <a:lnTo>
                  <a:pt x="6846973" y="22139"/>
                </a:lnTo>
                <a:lnTo>
                  <a:pt x="6855046" y="20272"/>
                </a:lnTo>
                <a:lnTo>
                  <a:pt x="6925243" y="10445"/>
                </a:lnTo>
                <a:lnTo>
                  <a:pt x="6947201" y="7163"/>
                </a:lnTo>
                <a:lnTo>
                  <a:pt x="6949512" y="7047"/>
                </a:lnTo>
                <a:lnTo>
                  <a:pt x="6953699" y="6460"/>
                </a:lnTo>
                <a:lnTo>
                  <a:pt x="7002386" y="4155"/>
                </a:lnTo>
                <a:lnTo>
                  <a:pt x="7002386" y="1346"/>
                </a:lnTo>
                <a:lnTo>
                  <a:pt x="7047272" y="1346"/>
                </a:lnTo>
                <a:lnTo>
                  <a:pt x="7061721" y="1346"/>
                </a:lnTo>
                <a:lnTo>
                  <a:pt x="7062058" y="1346"/>
                </a:lnTo>
                <a:lnTo>
                  <a:pt x="7062058" y="0"/>
                </a:lnTo>
                <a:lnTo>
                  <a:pt x="9416738" y="0"/>
                </a:lnTo>
                <a:lnTo>
                  <a:pt x="9476411" y="0"/>
                </a:lnTo>
                <a:lnTo>
                  <a:pt x="9476411" y="1332"/>
                </a:lnTo>
                <a:lnTo>
                  <a:pt x="9621926" y="1332"/>
                </a:lnTo>
                <a:lnTo>
                  <a:pt x="9621926" y="1232695"/>
                </a:lnTo>
                <a:lnTo>
                  <a:pt x="9621927" y="1232695"/>
                </a:lnTo>
                <a:lnTo>
                  <a:pt x="9621927" y="1224666"/>
                </a:lnTo>
                <a:lnTo>
                  <a:pt x="9624974" y="1224666"/>
                </a:lnTo>
                <a:lnTo>
                  <a:pt x="9628560" y="1153649"/>
                </a:lnTo>
                <a:cubicBezTo>
                  <a:pt x="9694367" y="505662"/>
                  <a:pt x="10241613" y="0"/>
                  <a:pt x="10906963" y="0"/>
                </a:cubicBezTo>
                <a:cubicBezTo>
                  <a:pt x="11616669" y="0"/>
                  <a:pt x="12191999" y="575331"/>
                  <a:pt x="12191999" y="1285037"/>
                </a:cubicBezTo>
                <a:cubicBezTo>
                  <a:pt x="12191999" y="1950386"/>
                  <a:pt x="11686337" y="2497632"/>
                  <a:pt x="11038350" y="2563438"/>
                </a:cubicBezTo>
                <a:lnTo>
                  <a:pt x="10924212" y="2569202"/>
                </a:lnTo>
                <a:lnTo>
                  <a:pt x="10924212" y="2570073"/>
                </a:lnTo>
                <a:lnTo>
                  <a:pt x="10906963" y="2570073"/>
                </a:lnTo>
                <a:lnTo>
                  <a:pt x="10572749" y="2570073"/>
                </a:lnTo>
                <a:lnTo>
                  <a:pt x="9621927" y="2570073"/>
                </a:lnTo>
                <a:lnTo>
                  <a:pt x="9416738" y="2570073"/>
                </a:lnTo>
                <a:lnTo>
                  <a:pt x="7062058" y="2570073"/>
                </a:lnTo>
                <a:lnTo>
                  <a:pt x="7002386" y="2570073"/>
                </a:lnTo>
                <a:lnTo>
                  <a:pt x="6572250" y="2570073"/>
                </a:lnTo>
                <a:lnTo>
                  <a:pt x="6572250" y="2568741"/>
                </a:lnTo>
                <a:lnTo>
                  <a:pt x="5935736" y="2568741"/>
                </a:lnTo>
                <a:lnTo>
                  <a:pt x="5935736" y="2253318"/>
                </a:lnTo>
                <a:lnTo>
                  <a:pt x="5935736" y="1487489"/>
                </a:lnTo>
                <a:lnTo>
                  <a:pt x="5935733" y="1487489"/>
                </a:lnTo>
                <a:lnTo>
                  <a:pt x="5935733" y="1495639"/>
                </a:lnTo>
                <a:lnTo>
                  <a:pt x="5933197" y="1495639"/>
                </a:lnTo>
                <a:lnTo>
                  <a:pt x="5930617" y="1550153"/>
                </a:lnTo>
                <a:lnTo>
                  <a:pt x="5930144" y="1553460"/>
                </a:lnTo>
                <a:lnTo>
                  <a:pt x="5929922" y="1557867"/>
                </a:lnTo>
                <a:cubicBezTo>
                  <a:pt x="5923165" y="1624404"/>
                  <a:pt x="5910612" y="1689229"/>
                  <a:pt x="5892783" y="1751829"/>
                </a:cubicBezTo>
                <a:lnTo>
                  <a:pt x="5891264" y="1756392"/>
                </a:lnTo>
                <a:lnTo>
                  <a:pt x="5891075" y="1757179"/>
                </a:lnTo>
                <a:lnTo>
                  <a:pt x="5888401" y="1765008"/>
                </a:lnTo>
                <a:lnTo>
                  <a:pt x="5862138" y="1843996"/>
                </a:lnTo>
                <a:lnTo>
                  <a:pt x="5858638" y="1852103"/>
                </a:lnTo>
                <a:lnTo>
                  <a:pt x="5857585" y="1855185"/>
                </a:lnTo>
                <a:lnTo>
                  <a:pt x="5850118" y="1871843"/>
                </a:lnTo>
                <a:lnTo>
                  <a:pt x="5823958" y="1932441"/>
                </a:lnTo>
                <a:lnTo>
                  <a:pt x="5817879" y="1943751"/>
                </a:lnTo>
                <a:lnTo>
                  <a:pt x="5815571" y="1948897"/>
                </a:lnTo>
                <a:lnTo>
                  <a:pt x="5805397" y="1966972"/>
                </a:lnTo>
                <a:lnTo>
                  <a:pt x="5778624" y="2016780"/>
                </a:lnTo>
                <a:lnTo>
                  <a:pt x="5769414" y="2030895"/>
                </a:lnTo>
                <a:lnTo>
                  <a:pt x="5765499" y="2037850"/>
                </a:lnTo>
                <a:lnTo>
                  <a:pt x="5753645" y="2055061"/>
                </a:lnTo>
                <a:lnTo>
                  <a:pt x="5726522" y="2096629"/>
                </a:lnTo>
                <a:lnTo>
                  <a:pt x="5713674" y="2113099"/>
                </a:lnTo>
                <a:lnTo>
                  <a:pt x="5707835" y="2121576"/>
                </a:lnTo>
                <a:lnTo>
                  <a:pt x="5695021" y="2137011"/>
                </a:lnTo>
                <a:lnTo>
                  <a:pt x="5668037" y="2171603"/>
                </a:lnTo>
                <a:lnTo>
                  <a:pt x="5651087" y="2189926"/>
                </a:lnTo>
                <a:lnTo>
                  <a:pt x="5643049" y="2199608"/>
                </a:lnTo>
                <a:lnTo>
                  <a:pt x="5629848" y="2212888"/>
                </a:lnTo>
                <a:lnTo>
                  <a:pt x="5603549" y="2241318"/>
                </a:lnTo>
                <a:lnTo>
                  <a:pt x="5582080" y="2260943"/>
                </a:lnTo>
                <a:lnTo>
                  <a:pt x="5571603" y="2271480"/>
                </a:lnTo>
                <a:lnTo>
                  <a:pt x="5558507" y="2282487"/>
                </a:lnTo>
                <a:lnTo>
                  <a:pt x="5533446" y="2305391"/>
                </a:lnTo>
                <a:lnTo>
                  <a:pt x="5507067" y="2325718"/>
                </a:lnTo>
                <a:lnTo>
                  <a:pt x="5493967" y="2336726"/>
                </a:lnTo>
                <a:lnTo>
                  <a:pt x="5481408" y="2345487"/>
                </a:lnTo>
                <a:lnTo>
                  <a:pt x="5458115" y="2363435"/>
                </a:lnTo>
                <a:lnTo>
                  <a:pt x="5426451" y="2383826"/>
                </a:lnTo>
                <a:lnTo>
                  <a:pt x="5410606" y="2394879"/>
                </a:lnTo>
                <a:lnTo>
                  <a:pt x="5398974" y="2401520"/>
                </a:lnTo>
                <a:lnTo>
                  <a:pt x="5377932" y="2415069"/>
                </a:lnTo>
                <a:lnTo>
                  <a:pt x="5340606" y="2434842"/>
                </a:lnTo>
                <a:lnTo>
                  <a:pt x="5321988" y="2445471"/>
                </a:lnTo>
                <a:lnTo>
                  <a:pt x="5311630" y="2450191"/>
                </a:lnTo>
                <a:lnTo>
                  <a:pt x="5293290" y="2459906"/>
                </a:lnTo>
                <a:lnTo>
                  <a:pt x="5249844" y="2478347"/>
                </a:lnTo>
                <a:lnTo>
                  <a:pt x="5228578" y="2488037"/>
                </a:lnTo>
                <a:lnTo>
                  <a:pt x="5219811" y="2491093"/>
                </a:lnTo>
                <a:lnTo>
                  <a:pt x="5204566" y="2497564"/>
                </a:lnTo>
                <a:lnTo>
                  <a:pt x="5154327" y="2513923"/>
                </a:lnTo>
                <a:lnTo>
                  <a:pt x="5130844" y="2522110"/>
                </a:lnTo>
                <a:lnTo>
                  <a:pt x="5123955" y="2523813"/>
                </a:lnTo>
                <a:lnTo>
                  <a:pt x="5112150" y="2527657"/>
                </a:lnTo>
                <a:lnTo>
                  <a:pt x="5053798" y="2541156"/>
                </a:lnTo>
                <a:lnTo>
                  <a:pt x="5029252" y="2547223"/>
                </a:lnTo>
                <a:lnTo>
                  <a:pt x="5024497" y="2547934"/>
                </a:lnTo>
                <a:lnTo>
                  <a:pt x="5016423" y="2549802"/>
                </a:lnTo>
                <a:lnTo>
                  <a:pt x="4946226" y="2559629"/>
                </a:lnTo>
                <a:lnTo>
                  <a:pt x="4924267" y="2562910"/>
                </a:lnTo>
                <a:lnTo>
                  <a:pt x="4921958" y="2563027"/>
                </a:lnTo>
                <a:lnTo>
                  <a:pt x="4917769" y="2563613"/>
                </a:lnTo>
                <a:lnTo>
                  <a:pt x="4869085" y="2565918"/>
                </a:lnTo>
                <a:lnTo>
                  <a:pt x="4869085" y="2568728"/>
                </a:lnTo>
                <a:lnTo>
                  <a:pt x="4824196" y="2568728"/>
                </a:lnTo>
                <a:lnTo>
                  <a:pt x="4809749" y="2568728"/>
                </a:lnTo>
                <a:lnTo>
                  <a:pt x="4809411" y="2568728"/>
                </a:lnTo>
                <a:lnTo>
                  <a:pt x="4809411" y="2570073"/>
                </a:lnTo>
                <a:lnTo>
                  <a:pt x="3481005" y="2570073"/>
                </a:lnTo>
                <a:lnTo>
                  <a:pt x="2454730" y="2570073"/>
                </a:lnTo>
                <a:lnTo>
                  <a:pt x="2395058" y="2570073"/>
                </a:lnTo>
                <a:lnTo>
                  <a:pt x="1126324" y="2570073"/>
                </a:lnTo>
                <a:lnTo>
                  <a:pt x="1066652" y="2570073"/>
                </a:lnTo>
                <a:lnTo>
                  <a:pt x="1066652" y="2568741"/>
                </a:lnTo>
                <a:lnTo>
                  <a:pt x="1" y="2568741"/>
                </a:lnTo>
                <a:lnTo>
                  <a:pt x="1" y="2253318"/>
                </a:lnTo>
                <a:lnTo>
                  <a:pt x="1" y="1443429"/>
                </a:lnTo>
                <a:lnTo>
                  <a:pt x="1" y="1442766"/>
                </a:lnTo>
                <a:lnTo>
                  <a:pt x="0" y="1442755"/>
                </a:lnTo>
                <a:lnTo>
                  <a:pt x="1" y="1442744"/>
                </a:lnTo>
                <a:lnTo>
                  <a:pt x="1" y="1389857"/>
                </a:lnTo>
                <a:lnTo>
                  <a:pt x="1" y="1128007"/>
                </a:lnTo>
                <a:lnTo>
                  <a:pt x="1" y="1127343"/>
                </a:lnTo>
                <a:lnTo>
                  <a:pt x="0" y="1127332"/>
                </a:lnTo>
                <a:lnTo>
                  <a:pt x="1" y="1127322"/>
                </a:lnTo>
                <a:lnTo>
                  <a:pt x="1" y="1074434"/>
                </a:lnTo>
                <a:lnTo>
                  <a:pt x="2538" y="1074434"/>
                </a:lnTo>
                <a:lnTo>
                  <a:pt x="5119" y="1019920"/>
                </a:lnTo>
                <a:lnTo>
                  <a:pt x="5592" y="1016613"/>
                </a:lnTo>
                <a:lnTo>
                  <a:pt x="5814" y="1012207"/>
                </a:lnTo>
                <a:cubicBezTo>
                  <a:pt x="12572" y="945669"/>
                  <a:pt x="25122" y="880845"/>
                  <a:pt x="42953" y="818244"/>
                </a:cubicBezTo>
                <a:lnTo>
                  <a:pt x="44470" y="813682"/>
                </a:lnTo>
                <a:lnTo>
                  <a:pt x="44660" y="812894"/>
                </a:lnTo>
                <a:lnTo>
                  <a:pt x="47335" y="805066"/>
                </a:lnTo>
                <a:lnTo>
                  <a:pt x="73597" y="726078"/>
                </a:lnTo>
                <a:lnTo>
                  <a:pt x="77097" y="717971"/>
                </a:lnTo>
                <a:lnTo>
                  <a:pt x="78150" y="714889"/>
                </a:lnTo>
                <a:lnTo>
                  <a:pt x="85619" y="698231"/>
                </a:lnTo>
                <a:lnTo>
                  <a:pt x="111778" y="637633"/>
                </a:lnTo>
                <a:lnTo>
                  <a:pt x="117857" y="626323"/>
                </a:lnTo>
                <a:lnTo>
                  <a:pt x="120165" y="621176"/>
                </a:lnTo>
                <a:lnTo>
                  <a:pt x="130339" y="603101"/>
                </a:lnTo>
                <a:lnTo>
                  <a:pt x="157112" y="553294"/>
                </a:lnTo>
                <a:lnTo>
                  <a:pt x="166322" y="539178"/>
                </a:lnTo>
                <a:lnTo>
                  <a:pt x="170237" y="532224"/>
                </a:lnTo>
                <a:lnTo>
                  <a:pt x="182090" y="515013"/>
                </a:lnTo>
                <a:lnTo>
                  <a:pt x="209214" y="473445"/>
                </a:lnTo>
                <a:lnTo>
                  <a:pt x="222062" y="456974"/>
                </a:lnTo>
                <a:lnTo>
                  <a:pt x="227900" y="448498"/>
                </a:lnTo>
                <a:lnTo>
                  <a:pt x="240715" y="433062"/>
                </a:lnTo>
                <a:lnTo>
                  <a:pt x="267700" y="398470"/>
                </a:lnTo>
                <a:lnTo>
                  <a:pt x="284649" y="380147"/>
                </a:lnTo>
                <a:lnTo>
                  <a:pt x="292687" y="370466"/>
                </a:lnTo>
                <a:lnTo>
                  <a:pt x="305888" y="357186"/>
                </a:lnTo>
                <a:lnTo>
                  <a:pt x="332186" y="328755"/>
                </a:lnTo>
                <a:lnTo>
                  <a:pt x="353657" y="309131"/>
                </a:lnTo>
                <a:lnTo>
                  <a:pt x="364133" y="298593"/>
                </a:lnTo>
                <a:lnTo>
                  <a:pt x="377228" y="287587"/>
                </a:lnTo>
                <a:lnTo>
                  <a:pt x="402288" y="264683"/>
                </a:lnTo>
                <a:lnTo>
                  <a:pt x="428670" y="244356"/>
                </a:lnTo>
                <a:lnTo>
                  <a:pt x="441769" y="233348"/>
                </a:lnTo>
                <a:lnTo>
                  <a:pt x="454327" y="224587"/>
                </a:lnTo>
                <a:lnTo>
                  <a:pt x="477622" y="206638"/>
                </a:lnTo>
                <a:lnTo>
                  <a:pt x="509285" y="186248"/>
                </a:lnTo>
                <a:lnTo>
                  <a:pt x="525129" y="175195"/>
                </a:lnTo>
                <a:lnTo>
                  <a:pt x="536762" y="168554"/>
                </a:lnTo>
                <a:lnTo>
                  <a:pt x="557803" y="155005"/>
                </a:lnTo>
                <a:lnTo>
                  <a:pt x="595129" y="135232"/>
                </a:lnTo>
                <a:lnTo>
                  <a:pt x="613748" y="124603"/>
                </a:lnTo>
                <a:lnTo>
                  <a:pt x="624106" y="119882"/>
                </a:lnTo>
                <a:lnTo>
                  <a:pt x="642446" y="110167"/>
                </a:lnTo>
                <a:lnTo>
                  <a:pt x="685893" y="91726"/>
                </a:lnTo>
                <a:lnTo>
                  <a:pt x="707157" y="82036"/>
                </a:lnTo>
                <a:lnTo>
                  <a:pt x="715923" y="78980"/>
                </a:lnTo>
                <a:lnTo>
                  <a:pt x="731168" y="72509"/>
                </a:lnTo>
                <a:lnTo>
                  <a:pt x="781408" y="56150"/>
                </a:lnTo>
                <a:lnTo>
                  <a:pt x="804892" y="47963"/>
                </a:lnTo>
                <a:lnTo>
                  <a:pt x="811780" y="46260"/>
                </a:lnTo>
                <a:lnTo>
                  <a:pt x="823585" y="42416"/>
                </a:lnTo>
                <a:lnTo>
                  <a:pt x="881937" y="28918"/>
                </a:lnTo>
                <a:lnTo>
                  <a:pt x="906484" y="22850"/>
                </a:lnTo>
                <a:lnTo>
                  <a:pt x="911239" y="22139"/>
                </a:lnTo>
                <a:lnTo>
                  <a:pt x="919312" y="20272"/>
                </a:lnTo>
                <a:lnTo>
                  <a:pt x="989509" y="10445"/>
                </a:lnTo>
                <a:lnTo>
                  <a:pt x="1011467" y="7163"/>
                </a:lnTo>
                <a:lnTo>
                  <a:pt x="1013779" y="7047"/>
                </a:lnTo>
                <a:lnTo>
                  <a:pt x="1017965" y="6460"/>
                </a:lnTo>
                <a:lnTo>
                  <a:pt x="1066652" y="4155"/>
                </a:lnTo>
                <a:lnTo>
                  <a:pt x="1066652" y="1346"/>
                </a:lnTo>
                <a:lnTo>
                  <a:pt x="1111538" y="1346"/>
                </a:lnTo>
                <a:lnTo>
                  <a:pt x="1125987" y="1346"/>
                </a:lnTo>
                <a:lnTo>
                  <a:pt x="1126324" y="134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8048031-9346-4EA8-B0BB-6AEC838796E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38739" y="1831975"/>
            <a:ext cx="2014092" cy="4290612"/>
          </a:xfrm>
          <a:custGeom>
            <a:avLst/>
            <a:gdLst>
              <a:gd name="connsiteX0" fmla="*/ 249969 w 2014092"/>
              <a:gd name="connsiteY0" fmla="*/ 0 h 4290612"/>
              <a:gd name="connsiteX1" fmla="*/ 1764123 w 2014092"/>
              <a:gd name="connsiteY1" fmla="*/ 0 h 4290612"/>
              <a:gd name="connsiteX2" fmla="*/ 2014092 w 2014092"/>
              <a:gd name="connsiteY2" fmla="*/ 249969 h 4290612"/>
              <a:gd name="connsiteX3" fmla="*/ 2014092 w 2014092"/>
              <a:gd name="connsiteY3" fmla="*/ 4040643 h 4290612"/>
              <a:gd name="connsiteX4" fmla="*/ 1764123 w 2014092"/>
              <a:gd name="connsiteY4" fmla="*/ 4290612 h 4290612"/>
              <a:gd name="connsiteX5" fmla="*/ 249969 w 2014092"/>
              <a:gd name="connsiteY5" fmla="*/ 4290612 h 4290612"/>
              <a:gd name="connsiteX6" fmla="*/ 0 w 2014092"/>
              <a:gd name="connsiteY6" fmla="*/ 4040643 h 4290612"/>
              <a:gd name="connsiteX7" fmla="*/ 0 w 2014092"/>
              <a:gd name="connsiteY7" fmla="*/ 249969 h 4290612"/>
              <a:gd name="connsiteX8" fmla="*/ 249969 w 2014092"/>
              <a:gd name="connsiteY8" fmla="*/ 0 h 4290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4092" h="4290612">
                <a:moveTo>
                  <a:pt x="249969" y="0"/>
                </a:moveTo>
                <a:lnTo>
                  <a:pt x="1764123" y="0"/>
                </a:lnTo>
                <a:cubicBezTo>
                  <a:pt x="1902177" y="0"/>
                  <a:pt x="2014092" y="111915"/>
                  <a:pt x="2014092" y="249969"/>
                </a:cubicBezTo>
                <a:lnTo>
                  <a:pt x="2014092" y="4040643"/>
                </a:lnTo>
                <a:cubicBezTo>
                  <a:pt x="2014092" y="4178697"/>
                  <a:pt x="1902177" y="4290612"/>
                  <a:pt x="1764123" y="4290612"/>
                </a:cubicBezTo>
                <a:lnTo>
                  <a:pt x="249969" y="4290612"/>
                </a:lnTo>
                <a:cubicBezTo>
                  <a:pt x="111915" y="4290612"/>
                  <a:pt x="0" y="4178697"/>
                  <a:pt x="0" y="4040643"/>
                </a:cubicBezTo>
                <a:lnTo>
                  <a:pt x="0" y="249969"/>
                </a:lnTo>
                <a:cubicBezTo>
                  <a:pt x="0" y="111915"/>
                  <a:pt x="111915" y="0"/>
                  <a:pt x="24996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4822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FB4A-B1C2-134C-BD06-EC4DF921D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A020E3-0C95-8146-8C53-AD951A09A4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F6684-1A3B-5442-AE47-D8B182343C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6F2A46-631D-0C4D-B4EB-B3A9F1C2302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FFB4D8C-2F5B-AA42-A596-966DF2E0128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5DEA8492-083D-E441-93E5-E85D88E0141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5CC8759-3FFF-F34C-9AC5-F04182A0C084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97294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D4529F-0E75-46EC-990D-BB8F30B0F6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85028" y="1473975"/>
            <a:ext cx="4206345" cy="3113438"/>
          </a:xfrm>
          <a:custGeom>
            <a:avLst/>
            <a:gdLst>
              <a:gd name="connsiteX0" fmla="*/ 4184082 w 4206345"/>
              <a:gd name="connsiteY0" fmla="*/ 32 h 3113438"/>
              <a:gd name="connsiteX1" fmla="*/ 4194531 w 4206345"/>
              <a:gd name="connsiteY1" fmla="*/ 7640 h 3113438"/>
              <a:gd name="connsiteX2" fmla="*/ 4196160 w 4206345"/>
              <a:gd name="connsiteY2" fmla="*/ 32415 h 3113438"/>
              <a:gd name="connsiteX3" fmla="*/ 4194083 w 4206345"/>
              <a:gd name="connsiteY3" fmla="*/ 139544 h 3113438"/>
              <a:gd name="connsiteX4" fmla="*/ 4195412 w 4206345"/>
              <a:gd name="connsiteY4" fmla="*/ 500244 h 3113438"/>
              <a:gd name="connsiteX5" fmla="*/ 4196383 w 4206345"/>
              <a:gd name="connsiteY5" fmla="*/ 830282 h 3113438"/>
              <a:gd name="connsiteX6" fmla="*/ 4198700 w 4206345"/>
              <a:gd name="connsiteY6" fmla="*/ 1256440 h 3113438"/>
              <a:gd name="connsiteX7" fmla="*/ 4199834 w 4206345"/>
              <a:gd name="connsiteY7" fmla="*/ 1588956 h 3113438"/>
              <a:gd name="connsiteX8" fmla="*/ 4201553 w 4206345"/>
              <a:gd name="connsiteY8" fmla="*/ 2006030 h 3113438"/>
              <a:gd name="connsiteX9" fmla="*/ 4202688 w 4206345"/>
              <a:gd name="connsiteY9" fmla="*/ 2338544 h 3113438"/>
              <a:gd name="connsiteX10" fmla="*/ 4204732 w 4206345"/>
              <a:gd name="connsiteY10" fmla="*/ 2823610 h 3113438"/>
              <a:gd name="connsiteX11" fmla="*/ 4205390 w 4206345"/>
              <a:gd name="connsiteY11" fmla="*/ 3073216 h 3113438"/>
              <a:gd name="connsiteX12" fmla="*/ 4206345 w 4206345"/>
              <a:gd name="connsiteY12" fmla="*/ 3112964 h 3113438"/>
              <a:gd name="connsiteX13" fmla="*/ 4177344 w 4206345"/>
              <a:gd name="connsiteY13" fmla="*/ 3113212 h 3113438"/>
              <a:gd name="connsiteX14" fmla="*/ 3761930 w 4206345"/>
              <a:gd name="connsiteY14" fmla="*/ 3112324 h 3113438"/>
              <a:gd name="connsiteX15" fmla="*/ 3302549 w 4206345"/>
              <a:gd name="connsiteY15" fmla="*/ 3111008 h 3113438"/>
              <a:gd name="connsiteX16" fmla="*/ 2936882 w 4206345"/>
              <a:gd name="connsiteY16" fmla="*/ 3110164 h 3113438"/>
              <a:gd name="connsiteX17" fmla="*/ 2573692 w 4206345"/>
              <a:gd name="connsiteY17" fmla="*/ 3109160 h 3113438"/>
              <a:gd name="connsiteX18" fmla="*/ 2257825 w 4206345"/>
              <a:gd name="connsiteY18" fmla="*/ 3109192 h 3113438"/>
              <a:gd name="connsiteX19" fmla="*/ 1941850 w 4206345"/>
              <a:gd name="connsiteY19" fmla="*/ 3107572 h 3113438"/>
              <a:gd name="connsiteX20" fmla="*/ 1674078 w 4206345"/>
              <a:gd name="connsiteY20" fmla="*/ 3107758 h 3113438"/>
              <a:gd name="connsiteX21" fmla="*/ 1358104 w 4206345"/>
              <a:gd name="connsiteY21" fmla="*/ 3106138 h 3113438"/>
              <a:gd name="connsiteX22" fmla="*/ 1090332 w 4206345"/>
              <a:gd name="connsiteY22" fmla="*/ 3106324 h 3113438"/>
              <a:gd name="connsiteX23" fmla="*/ 824103 w 4206345"/>
              <a:gd name="connsiteY23" fmla="*/ 3104752 h 3113438"/>
              <a:gd name="connsiteX24" fmla="*/ 606078 w 4206345"/>
              <a:gd name="connsiteY24" fmla="*/ 3104984 h 3113438"/>
              <a:gd name="connsiteX25" fmla="*/ 338198 w 4206345"/>
              <a:gd name="connsiteY25" fmla="*/ 3103520 h 3113438"/>
              <a:gd name="connsiteX26" fmla="*/ 120172 w 4206345"/>
              <a:gd name="connsiteY26" fmla="*/ 3103754 h 3113438"/>
              <a:gd name="connsiteX27" fmla="*/ 869 w 4206345"/>
              <a:gd name="connsiteY27" fmla="*/ 3104962 h 3113438"/>
              <a:gd name="connsiteX28" fmla="*/ 0 w 4206345"/>
              <a:gd name="connsiteY28" fmla="*/ 3091748 h 3113438"/>
              <a:gd name="connsiteX29" fmla="*/ 8104 w 4206345"/>
              <a:gd name="connsiteY29" fmla="*/ 3013252 h 3113438"/>
              <a:gd name="connsiteX30" fmla="*/ 36449 w 4206345"/>
              <a:gd name="connsiteY30" fmla="*/ 2637330 h 3113438"/>
              <a:gd name="connsiteX31" fmla="*/ 61296 w 4206345"/>
              <a:gd name="connsiteY31" fmla="*/ 2296472 h 3113438"/>
              <a:gd name="connsiteX32" fmla="*/ 87978 w 4206345"/>
              <a:gd name="connsiteY32" fmla="*/ 1933100 h 3113438"/>
              <a:gd name="connsiteX33" fmla="*/ 112423 w 4206345"/>
              <a:gd name="connsiteY33" fmla="*/ 1611344 h 3113438"/>
              <a:gd name="connsiteX34" fmla="*/ 137878 w 4206345"/>
              <a:gd name="connsiteY34" fmla="*/ 1267128 h 3113438"/>
              <a:gd name="connsiteX35" fmla="*/ 158259 w 4206345"/>
              <a:gd name="connsiteY35" fmla="*/ 997064 h 3113438"/>
              <a:gd name="connsiteX36" fmla="*/ 168516 w 4206345"/>
              <a:gd name="connsiteY36" fmla="*/ 850414 h 3113438"/>
              <a:gd name="connsiteX37" fmla="*/ 171275 w 4206345"/>
              <a:gd name="connsiteY37" fmla="*/ 841938 h 3113438"/>
              <a:gd name="connsiteX38" fmla="*/ 406788 w 4206345"/>
              <a:gd name="connsiteY38" fmla="*/ 792452 h 3113438"/>
              <a:gd name="connsiteX39" fmla="*/ 648851 w 4206345"/>
              <a:gd name="connsiteY39" fmla="*/ 741700 h 3113438"/>
              <a:gd name="connsiteX40" fmla="*/ 915461 w 4206345"/>
              <a:gd name="connsiteY40" fmla="*/ 686020 h 3113438"/>
              <a:gd name="connsiteX41" fmla="*/ 1180421 w 4206345"/>
              <a:gd name="connsiteY41" fmla="*/ 630450 h 3113438"/>
              <a:gd name="connsiteX42" fmla="*/ 1445380 w 4206345"/>
              <a:gd name="connsiteY42" fmla="*/ 574878 h 3113438"/>
              <a:gd name="connsiteX43" fmla="*/ 1734886 w 4206345"/>
              <a:gd name="connsiteY43" fmla="*/ 514374 h 3113438"/>
              <a:gd name="connsiteX44" fmla="*/ 2046463 w 4206345"/>
              <a:gd name="connsiteY44" fmla="*/ 449102 h 3113438"/>
              <a:gd name="connsiteX45" fmla="*/ 2380992 w 4206345"/>
              <a:gd name="connsiteY45" fmla="*/ 379834 h 3113438"/>
              <a:gd name="connsiteX46" fmla="*/ 2716237 w 4206345"/>
              <a:gd name="connsiteY46" fmla="*/ 308860 h 3113438"/>
              <a:gd name="connsiteX47" fmla="*/ 3097329 w 4206345"/>
              <a:gd name="connsiteY47" fmla="*/ 229065 h 3113438"/>
              <a:gd name="connsiteX48" fmla="*/ 3502144 w 4206345"/>
              <a:gd name="connsiteY48" fmla="*/ 144392 h 3113438"/>
              <a:gd name="connsiteX49" fmla="*/ 3953575 w 4206345"/>
              <a:gd name="connsiteY49" fmla="*/ 50021 h 3113438"/>
              <a:gd name="connsiteX50" fmla="*/ 4171916 w 4206345"/>
              <a:gd name="connsiteY50" fmla="*/ 4149 h 3113438"/>
              <a:gd name="connsiteX51" fmla="*/ 4184082 w 4206345"/>
              <a:gd name="connsiteY51" fmla="*/ 32 h 3113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4206345" h="3113438">
                <a:moveTo>
                  <a:pt x="4184082" y="32"/>
                </a:moveTo>
                <a:cubicBezTo>
                  <a:pt x="4189089" y="533"/>
                  <a:pt x="4195530" y="-2379"/>
                  <a:pt x="4194531" y="7640"/>
                </a:cubicBezTo>
                <a:cubicBezTo>
                  <a:pt x="4193422" y="16006"/>
                  <a:pt x="4195617" y="24156"/>
                  <a:pt x="4196160" y="32415"/>
                </a:cubicBezTo>
                <a:cubicBezTo>
                  <a:pt x="4195192" y="68142"/>
                  <a:pt x="4194224" y="103870"/>
                  <a:pt x="4194083" y="139544"/>
                </a:cubicBezTo>
                <a:cubicBezTo>
                  <a:pt x="4193700" y="259832"/>
                  <a:pt x="4194969" y="380012"/>
                  <a:pt x="4195412" y="500244"/>
                </a:cubicBezTo>
                <a:cubicBezTo>
                  <a:pt x="4196029" y="610514"/>
                  <a:pt x="4196592" y="719958"/>
                  <a:pt x="4196383" y="830282"/>
                </a:cubicBezTo>
                <a:cubicBezTo>
                  <a:pt x="4197413" y="972040"/>
                  <a:pt x="4197671" y="1114682"/>
                  <a:pt x="4198700" y="1256440"/>
                </a:cubicBezTo>
                <a:cubicBezTo>
                  <a:pt x="4198546" y="1367592"/>
                  <a:pt x="4199217" y="1478688"/>
                  <a:pt x="4199834" y="1588956"/>
                </a:cubicBezTo>
                <a:cubicBezTo>
                  <a:pt x="4200700" y="1728238"/>
                  <a:pt x="4200742" y="1867576"/>
                  <a:pt x="4201553" y="2006030"/>
                </a:cubicBezTo>
                <a:cubicBezTo>
                  <a:pt x="4202225" y="2117126"/>
                  <a:pt x="4202896" y="2228222"/>
                  <a:pt x="4202688" y="2338544"/>
                </a:cubicBezTo>
                <a:cubicBezTo>
                  <a:pt x="4203369" y="2500232"/>
                  <a:pt x="4204050" y="2661922"/>
                  <a:pt x="4204732" y="2823610"/>
                </a:cubicBezTo>
                <a:cubicBezTo>
                  <a:pt x="4205262" y="2907344"/>
                  <a:pt x="4205739" y="2990252"/>
                  <a:pt x="4205390" y="3073216"/>
                </a:cubicBezTo>
                <a:cubicBezTo>
                  <a:pt x="4206258" y="3086428"/>
                  <a:pt x="4206247" y="3098872"/>
                  <a:pt x="4206345" y="3112964"/>
                </a:cubicBezTo>
                <a:cubicBezTo>
                  <a:pt x="4195613" y="3113670"/>
                  <a:pt x="4186478" y="3113440"/>
                  <a:pt x="4177344" y="3113212"/>
                </a:cubicBezTo>
                <a:cubicBezTo>
                  <a:pt x="4038891" y="3113192"/>
                  <a:pt x="3900438" y="3113170"/>
                  <a:pt x="3761930" y="3112324"/>
                </a:cubicBezTo>
                <a:cubicBezTo>
                  <a:pt x="3609390" y="3112398"/>
                  <a:pt x="3455970" y="3111704"/>
                  <a:pt x="3302549" y="3111008"/>
                </a:cubicBezTo>
                <a:cubicBezTo>
                  <a:pt x="3180660" y="3110726"/>
                  <a:pt x="3058826" y="3111272"/>
                  <a:pt x="2936882" y="3110164"/>
                </a:cubicBezTo>
                <a:cubicBezTo>
                  <a:pt x="2815819" y="3109832"/>
                  <a:pt x="2694755" y="3109496"/>
                  <a:pt x="2573692" y="3109160"/>
                </a:cubicBezTo>
                <a:cubicBezTo>
                  <a:pt x="2468366" y="3108620"/>
                  <a:pt x="2363096" y="3108906"/>
                  <a:pt x="2257825" y="3109192"/>
                </a:cubicBezTo>
                <a:cubicBezTo>
                  <a:pt x="2152500" y="3108652"/>
                  <a:pt x="2047175" y="3108112"/>
                  <a:pt x="1941850" y="3107572"/>
                </a:cubicBezTo>
                <a:cubicBezTo>
                  <a:pt x="1852317" y="3107652"/>
                  <a:pt x="1762786" y="3107732"/>
                  <a:pt x="1674078" y="3107758"/>
                </a:cubicBezTo>
                <a:cubicBezTo>
                  <a:pt x="1568753" y="3107216"/>
                  <a:pt x="1463428" y="3106678"/>
                  <a:pt x="1358104" y="3106138"/>
                </a:cubicBezTo>
                <a:cubicBezTo>
                  <a:pt x="1268571" y="3106218"/>
                  <a:pt x="1179864" y="3106244"/>
                  <a:pt x="1090332" y="3106324"/>
                </a:cubicBezTo>
                <a:cubicBezTo>
                  <a:pt x="1001571" y="3105524"/>
                  <a:pt x="912809" y="3104724"/>
                  <a:pt x="824103" y="3104752"/>
                </a:cubicBezTo>
                <a:cubicBezTo>
                  <a:pt x="751134" y="3104572"/>
                  <a:pt x="679046" y="3105164"/>
                  <a:pt x="606078" y="3104984"/>
                </a:cubicBezTo>
                <a:cubicBezTo>
                  <a:pt x="516491" y="3104240"/>
                  <a:pt x="427730" y="3103440"/>
                  <a:pt x="338198" y="3103520"/>
                </a:cubicBezTo>
                <a:cubicBezTo>
                  <a:pt x="265229" y="3103340"/>
                  <a:pt x="193087" y="3103108"/>
                  <a:pt x="120172" y="3103754"/>
                </a:cubicBezTo>
                <a:cubicBezTo>
                  <a:pt x="80387" y="3103880"/>
                  <a:pt x="40655" y="3104836"/>
                  <a:pt x="869" y="3104962"/>
                </a:cubicBezTo>
                <a:cubicBezTo>
                  <a:pt x="597" y="3100832"/>
                  <a:pt x="272" y="3095878"/>
                  <a:pt x="0" y="3091748"/>
                </a:cubicBezTo>
                <a:cubicBezTo>
                  <a:pt x="3270" y="3065822"/>
                  <a:pt x="5660" y="3039124"/>
                  <a:pt x="8104" y="3013252"/>
                </a:cubicBezTo>
                <a:cubicBezTo>
                  <a:pt x="17296" y="2888238"/>
                  <a:pt x="27312" y="2763170"/>
                  <a:pt x="36449" y="2637330"/>
                </a:cubicBezTo>
                <a:cubicBezTo>
                  <a:pt x="44749" y="2523984"/>
                  <a:pt x="53050" y="2410640"/>
                  <a:pt x="61296" y="2296472"/>
                </a:cubicBezTo>
                <a:cubicBezTo>
                  <a:pt x="69933" y="2175640"/>
                  <a:pt x="79341" y="2053930"/>
                  <a:pt x="87978" y="1933100"/>
                </a:cubicBezTo>
                <a:cubicBezTo>
                  <a:pt x="96659" y="1825536"/>
                  <a:pt x="104568" y="1718852"/>
                  <a:pt x="112423" y="1611344"/>
                </a:cubicBezTo>
                <a:cubicBezTo>
                  <a:pt x="120669" y="1497174"/>
                  <a:pt x="129687" y="1382124"/>
                  <a:pt x="137878" y="1267128"/>
                </a:cubicBezTo>
                <a:cubicBezTo>
                  <a:pt x="145222" y="1177072"/>
                  <a:pt x="151741" y="1087068"/>
                  <a:pt x="158259" y="997064"/>
                </a:cubicBezTo>
                <a:cubicBezTo>
                  <a:pt x="161715" y="948730"/>
                  <a:pt x="165115" y="899572"/>
                  <a:pt x="168516" y="850414"/>
                </a:cubicBezTo>
                <a:cubicBezTo>
                  <a:pt x="169178" y="847882"/>
                  <a:pt x="169841" y="845352"/>
                  <a:pt x="171275" y="841938"/>
                </a:cubicBezTo>
                <a:cubicBezTo>
                  <a:pt x="249816" y="825994"/>
                  <a:pt x="328302" y="809222"/>
                  <a:pt x="406788" y="792452"/>
                </a:cubicBezTo>
                <a:cubicBezTo>
                  <a:pt x="486925" y="775570"/>
                  <a:pt x="567889" y="758636"/>
                  <a:pt x="648851" y="741700"/>
                </a:cubicBezTo>
                <a:cubicBezTo>
                  <a:pt x="738015" y="723398"/>
                  <a:pt x="826353" y="705150"/>
                  <a:pt x="915461" y="686020"/>
                </a:cubicBezTo>
                <a:cubicBezTo>
                  <a:pt x="1003799" y="667772"/>
                  <a:pt x="1092137" y="649524"/>
                  <a:pt x="1180421" y="630450"/>
                </a:cubicBezTo>
                <a:cubicBezTo>
                  <a:pt x="1268758" y="612200"/>
                  <a:pt x="1357096" y="593952"/>
                  <a:pt x="1445380" y="574878"/>
                </a:cubicBezTo>
                <a:cubicBezTo>
                  <a:pt x="1541918" y="555260"/>
                  <a:pt x="1638403" y="534816"/>
                  <a:pt x="1734886" y="514374"/>
                </a:cubicBezTo>
                <a:cubicBezTo>
                  <a:pt x="1838746" y="492618"/>
                  <a:pt x="1942605" y="470860"/>
                  <a:pt x="2046463" y="449102"/>
                </a:cubicBezTo>
                <a:cubicBezTo>
                  <a:pt x="2157698" y="426032"/>
                  <a:pt x="2269758" y="402906"/>
                  <a:pt x="2380992" y="379834"/>
                </a:cubicBezTo>
                <a:cubicBezTo>
                  <a:pt x="2492997" y="355882"/>
                  <a:pt x="2604231" y="332812"/>
                  <a:pt x="2716237" y="308860"/>
                </a:cubicBezTo>
                <a:cubicBezTo>
                  <a:pt x="2842992" y="282280"/>
                  <a:pt x="2970574" y="255644"/>
                  <a:pt x="3097329" y="229065"/>
                </a:cubicBezTo>
                <a:cubicBezTo>
                  <a:pt x="3232285" y="201117"/>
                  <a:pt x="3367242" y="173167"/>
                  <a:pt x="3502144" y="144392"/>
                </a:cubicBezTo>
                <a:cubicBezTo>
                  <a:pt x="3652621" y="112935"/>
                  <a:pt x="3803098" y="81479"/>
                  <a:pt x="3953575" y="50021"/>
                </a:cubicBezTo>
                <a:cubicBezTo>
                  <a:pt x="4026392" y="35281"/>
                  <a:pt x="4099154" y="19715"/>
                  <a:pt x="4171916" y="4149"/>
                </a:cubicBezTo>
                <a:cubicBezTo>
                  <a:pt x="4176044" y="3878"/>
                  <a:pt x="4180063" y="1955"/>
                  <a:pt x="4184082" y="32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78891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50A6A2E-1603-406A-8350-942C41BEC7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0435" y="2009671"/>
            <a:ext cx="4854545" cy="2775690"/>
          </a:xfrm>
          <a:custGeom>
            <a:avLst/>
            <a:gdLst>
              <a:gd name="connsiteX0" fmla="*/ 0 w 4854545"/>
              <a:gd name="connsiteY0" fmla="*/ 0 h 2775690"/>
              <a:gd name="connsiteX1" fmla="*/ 4854545 w 4854545"/>
              <a:gd name="connsiteY1" fmla="*/ 0 h 2775690"/>
              <a:gd name="connsiteX2" fmla="*/ 4854545 w 4854545"/>
              <a:gd name="connsiteY2" fmla="*/ 2775690 h 2775690"/>
              <a:gd name="connsiteX3" fmla="*/ 0 w 4854545"/>
              <a:gd name="connsiteY3" fmla="*/ 2775690 h 277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45" h="2775690">
                <a:moveTo>
                  <a:pt x="0" y="0"/>
                </a:moveTo>
                <a:lnTo>
                  <a:pt x="4854545" y="0"/>
                </a:lnTo>
                <a:lnTo>
                  <a:pt x="4854545" y="2775690"/>
                </a:lnTo>
                <a:lnTo>
                  <a:pt x="0" y="277569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29517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E8F7024-C752-480A-AFDB-A95221CACBD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86583" y="1"/>
            <a:ext cx="5166485" cy="6855583"/>
          </a:xfrm>
          <a:custGeom>
            <a:avLst/>
            <a:gdLst>
              <a:gd name="connsiteX0" fmla="*/ 1086626 w 5166485"/>
              <a:gd name="connsiteY0" fmla="*/ 3265888 h 6855583"/>
              <a:gd name="connsiteX1" fmla="*/ 1086635 w 5166485"/>
              <a:gd name="connsiteY1" fmla="*/ 3265890 h 6855583"/>
              <a:gd name="connsiteX2" fmla="*/ 1087274 w 5166485"/>
              <a:gd name="connsiteY2" fmla="*/ 3265890 h 6855583"/>
              <a:gd name="connsiteX3" fmla="*/ 1119550 w 5166485"/>
              <a:gd name="connsiteY3" fmla="*/ 3265890 h 6855583"/>
              <a:gd name="connsiteX4" fmla="*/ 1170447 w 5166485"/>
              <a:gd name="connsiteY4" fmla="*/ 3265890 h 6855583"/>
              <a:gd name="connsiteX5" fmla="*/ 1170458 w 5166485"/>
              <a:gd name="connsiteY5" fmla="*/ 3265888 h 6855583"/>
              <a:gd name="connsiteX6" fmla="*/ 1170468 w 5166485"/>
              <a:gd name="connsiteY6" fmla="*/ 3265890 h 6855583"/>
              <a:gd name="connsiteX7" fmla="*/ 1171107 w 5166485"/>
              <a:gd name="connsiteY7" fmla="*/ 3265890 h 6855583"/>
              <a:gd name="connsiteX8" fmla="*/ 1752107 w 5166485"/>
              <a:gd name="connsiteY8" fmla="*/ 3265890 h 6855583"/>
              <a:gd name="connsiteX9" fmla="*/ 1801177 w 5166485"/>
              <a:gd name="connsiteY9" fmla="*/ 3265890 h 6855583"/>
              <a:gd name="connsiteX10" fmla="*/ 1803005 w 5166485"/>
              <a:gd name="connsiteY10" fmla="*/ 3265890 h 6855583"/>
              <a:gd name="connsiteX11" fmla="*/ 1803015 w 5166485"/>
              <a:gd name="connsiteY11" fmla="*/ 3265888 h 6855583"/>
              <a:gd name="connsiteX12" fmla="*/ 1803026 w 5166485"/>
              <a:gd name="connsiteY12" fmla="*/ 3265890 h 6855583"/>
              <a:gd name="connsiteX13" fmla="*/ 1803664 w 5166485"/>
              <a:gd name="connsiteY13" fmla="*/ 3265890 h 6855583"/>
              <a:gd name="connsiteX14" fmla="*/ 1835940 w 5166485"/>
              <a:gd name="connsiteY14" fmla="*/ 3265890 h 6855583"/>
              <a:gd name="connsiteX15" fmla="*/ 1852074 w 5166485"/>
              <a:gd name="connsiteY15" fmla="*/ 3265890 h 6855583"/>
              <a:gd name="connsiteX16" fmla="*/ 1852084 w 5166485"/>
              <a:gd name="connsiteY16" fmla="*/ 3265888 h 6855583"/>
              <a:gd name="connsiteX17" fmla="*/ 1852095 w 5166485"/>
              <a:gd name="connsiteY17" fmla="*/ 3265890 h 6855583"/>
              <a:gd name="connsiteX18" fmla="*/ 1852734 w 5166485"/>
              <a:gd name="connsiteY18" fmla="*/ 3265890 h 6855583"/>
              <a:gd name="connsiteX19" fmla="*/ 1885010 w 5166485"/>
              <a:gd name="connsiteY19" fmla="*/ 3265890 h 6855583"/>
              <a:gd name="connsiteX20" fmla="*/ 1886837 w 5166485"/>
              <a:gd name="connsiteY20" fmla="*/ 3265890 h 6855583"/>
              <a:gd name="connsiteX21" fmla="*/ 1886846 w 5166485"/>
              <a:gd name="connsiteY21" fmla="*/ 3265888 h 6855583"/>
              <a:gd name="connsiteX22" fmla="*/ 1886857 w 5166485"/>
              <a:gd name="connsiteY22" fmla="*/ 3265890 h 6855583"/>
              <a:gd name="connsiteX23" fmla="*/ 1887496 w 5166485"/>
              <a:gd name="connsiteY23" fmla="*/ 3265890 h 6855583"/>
              <a:gd name="connsiteX24" fmla="*/ 1935905 w 5166485"/>
              <a:gd name="connsiteY24" fmla="*/ 3265890 h 6855583"/>
              <a:gd name="connsiteX25" fmla="*/ 1935916 w 5166485"/>
              <a:gd name="connsiteY25" fmla="*/ 3265888 h 6855583"/>
              <a:gd name="connsiteX26" fmla="*/ 1935926 w 5166485"/>
              <a:gd name="connsiteY26" fmla="*/ 3265890 h 6855583"/>
              <a:gd name="connsiteX27" fmla="*/ 1936565 w 5166485"/>
              <a:gd name="connsiteY27" fmla="*/ 3265890 h 6855583"/>
              <a:gd name="connsiteX28" fmla="*/ 2170246 w 5166485"/>
              <a:gd name="connsiteY28" fmla="*/ 3265890 h 6855583"/>
              <a:gd name="connsiteX29" fmla="*/ 2254079 w 5166485"/>
              <a:gd name="connsiteY29" fmla="*/ 3265890 h 6855583"/>
              <a:gd name="connsiteX30" fmla="*/ 2517566 w 5166485"/>
              <a:gd name="connsiteY30" fmla="*/ 3265890 h 6855583"/>
              <a:gd name="connsiteX31" fmla="*/ 2568463 w 5166485"/>
              <a:gd name="connsiteY31" fmla="*/ 3265890 h 6855583"/>
              <a:gd name="connsiteX32" fmla="*/ 2568473 w 5166485"/>
              <a:gd name="connsiteY32" fmla="*/ 3265888 h 6855583"/>
              <a:gd name="connsiteX33" fmla="*/ 2568484 w 5166485"/>
              <a:gd name="connsiteY33" fmla="*/ 3265890 h 6855583"/>
              <a:gd name="connsiteX34" fmla="*/ 2569123 w 5166485"/>
              <a:gd name="connsiteY34" fmla="*/ 3265890 h 6855583"/>
              <a:gd name="connsiteX35" fmla="*/ 2601399 w 5166485"/>
              <a:gd name="connsiteY35" fmla="*/ 3265890 h 6855583"/>
              <a:gd name="connsiteX36" fmla="*/ 2652295 w 5166485"/>
              <a:gd name="connsiteY36" fmla="*/ 3265890 h 6855583"/>
              <a:gd name="connsiteX37" fmla="*/ 2652306 w 5166485"/>
              <a:gd name="connsiteY37" fmla="*/ 3265888 h 6855583"/>
              <a:gd name="connsiteX38" fmla="*/ 2652315 w 5166485"/>
              <a:gd name="connsiteY38" fmla="*/ 3265890 h 6855583"/>
              <a:gd name="connsiteX39" fmla="*/ 2652954 w 5166485"/>
              <a:gd name="connsiteY39" fmla="*/ 3265890 h 6855583"/>
              <a:gd name="connsiteX40" fmla="*/ 2886635 w 5166485"/>
              <a:gd name="connsiteY40" fmla="*/ 3265890 h 6855583"/>
              <a:gd name="connsiteX41" fmla="*/ 2935705 w 5166485"/>
              <a:gd name="connsiteY41" fmla="*/ 3265890 h 6855583"/>
              <a:gd name="connsiteX42" fmla="*/ 2970468 w 5166485"/>
              <a:gd name="connsiteY42" fmla="*/ 3265890 h 6855583"/>
              <a:gd name="connsiteX43" fmla="*/ 3019538 w 5166485"/>
              <a:gd name="connsiteY43" fmla="*/ 3265890 h 6855583"/>
              <a:gd name="connsiteX44" fmla="*/ 3652094 w 5166485"/>
              <a:gd name="connsiteY44" fmla="*/ 3265890 h 6855583"/>
              <a:gd name="connsiteX45" fmla="*/ 3735927 w 5166485"/>
              <a:gd name="connsiteY45" fmla="*/ 3265890 h 6855583"/>
              <a:gd name="connsiteX46" fmla="*/ 3735927 w 5166485"/>
              <a:gd name="connsiteY46" fmla="*/ 4199586 h 6855583"/>
              <a:gd name="connsiteX47" fmla="*/ 3734217 w 5166485"/>
              <a:gd name="connsiteY47" fmla="*/ 4199586 h 6855583"/>
              <a:gd name="connsiteX48" fmla="*/ 3734217 w 5166485"/>
              <a:gd name="connsiteY48" fmla="*/ 4437486 h 6855583"/>
              <a:gd name="connsiteX49" fmla="*/ 3735499 w 5166485"/>
              <a:gd name="connsiteY49" fmla="*/ 4437486 h 6855583"/>
              <a:gd name="connsiteX50" fmla="*/ 3735499 w 5166485"/>
              <a:gd name="connsiteY50" fmla="*/ 4514790 h 6855583"/>
              <a:gd name="connsiteX51" fmla="*/ 3735499 w 5166485"/>
              <a:gd name="connsiteY51" fmla="*/ 4794177 h 6855583"/>
              <a:gd name="connsiteX52" fmla="*/ 3735500 w 5166485"/>
              <a:gd name="connsiteY52" fmla="*/ 5379128 h 6855583"/>
              <a:gd name="connsiteX53" fmla="*/ 3735500 w 5166485"/>
              <a:gd name="connsiteY53" fmla="*/ 5405390 h 6855583"/>
              <a:gd name="connsiteX54" fmla="*/ 3735500 w 5166485"/>
              <a:gd name="connsiteY54" fmla="*/ 5598154 h 6855583"/>
              <a:gd name="connsiteX55" fmla="*/ 3734205 w 5166485"/>
              <a:gd name="connsiteY55" fmla="*/ 5598154 h 6855583"/>
              <a:gd name="connsiteX56" fmla="*/ 3734205 w 5166485"/>
              <a:gd name="connsiteY56" fmla="*/ 5598486 h 6855583"/>
              <a:gd name="connsiteX57" fmla="*/ 3734205 w 5166485"/>
              <a:gd name="connsiteY57" fmla="*/ 5612740 h 6855583"/>
              <a:gd name="connsiteX58" fmla="*/ 3734205 w 5166485"/>
              <a:gd name="connsiteY58" fmla="*/ 5657025 h 6855583"/>
              <a:gd name="connsiteX59" fmla="*/ 3731500 w 5166485"/>
              <a:gd name="connsiteY59" fmla="*/ 5657025 h 6855583"/>
              <a:gd name="connsiteX60" fmla="*/ 3729283 w 5166485"/>
              <a:gd name="connsiteY60" fmla="*/ 5705056 h 6855583"/>
              <a:gd name="connsiteX61" fmla="*/ 3728718 w 5166485"/>
              <a:gd name="connsiteY61" fmla="*/ 5709186 h 6855583"/>
              <a:gd name="connsiteX62" fmla="*/ 3728606 w 5166485"/>
              <a:gd name="connsiteY62" fmla="*/ 5711467 h 6855583"/>
              <a:gd name="connsiteX63" fmla="*/ 3725448 w 5166485"/>
              <a:gd name="connsiteY63" fmla="*/ 5733130 h 6855583"/>
              <a:gd name="connsiteX64" fmla="*/ 3723149 w 5166485"/>
              <a:gd name="connsiteY64" fmla="*/ 5749961 h 6855583"/>
              <a:gd name="connsiteX65" fmla="*/ 3723149 w 5166485"/>
              <a:gd name="connsiteY65" fmla="*/ 5785114 h 6855583"/>
              <a:gd name="connsiteX66" fmla="*/ 3720444 w 5166485"/>
              <a:gd name="connsiteY66" fmla="*/ 5785114 h 6855583"/>
              <a:gd name="connsiteX67" fmla="*/ 3718226 w 5166485"/>
              <a:gd name="connsiteY67" fmla="*/ 5833975 h 6855583"/>
              <a:gd name="connsiteX68" fmla="*/ 3717662 w 5166485"/>
              <a:gd name="connsiteY68" fmla="*/ 5838176 h 6855583"/>
              <a:gd name="connsiteX69" fmla="*/ 3717549 w 5166485"/>
              <a:gd name="connsiteY69" fmla="*/ 5840496 h 6855583"/>
              <a:gd name="connsiteX70" fmla="*/ 3714391 w 5166485"/>
              <a:gd name="connsiteY70" fmla="*/ 5862534 h 6855583"/>
              <a:gd name="connsiteX71" fmla="*/ 3704933 w 5166485"/>
              <a:gd name="connsiteY71" fmla="*/ 5932981 h 6855583"/>
              <a:gd name="connsiteX72" fmla="*/ 3703137 w 5166485"/>
              <a:gd name="connsiteY72" fmla="*/ 5941083 h 6855583"/>
              <a:gd name="connsiteX73" fmla="*/ 3702452 w 5166485"/>
              <a:gd name="connsiteY73" fmla="*/ 5945855 h 6855583"/>
              <a:gd name="connsiteX74" fmla="*/ 3696614 w 5166485"/>
              <a:gd name="connsiteY74" fmla="*/ 5970492 h 6855583"/>
              <a:gd name="connsiteX75" fmla="*/ 3683622 w 5166485"/>
              <a:gd name="connsiteY75" fmla="*/ 6029051 h 6855583"/>
              <a:gd name="connsiteX76" fmla="*/ 3679923 w 5166485"/>
              <a:gd name="connsiteY76" fmla="*/ 6040897 h 6855583"/>
              <a:gd name="connsiteX77" fmla="*/ 3678285 w 5166485"/>
              <a:gd name="connsiteY77" fmla="*/ 6047812 h 6855583"/>
              <a:gd name="connsiteX78" fmla="*/ 3670406 w 5166485"/>
              <a:gd name="connsiteY78" fmla="*/ 6071379 h 6855583"/>
              <a:gd name="connsiteX79" fmla="*/ 3654662 w 5166485"/>
              <a:gd name="connsiteY79" fmla="*/ 6121798 h 6855583"/>
              <a:gd name="connsiteX80" fmla="*/ 3648434 w 5166485"/>
              <a:gd name="connsiteY80" fmla="*/ 6137099 h 6855583"/>
              <a:gd name="connsiteX81" fmla="*/ 3645495 w 5166485"/>
              <a:gd name="connsiteY81" fmla="*/ 6145895 h 6855583"/>
              <a:gd name="connsiteX82" fmla="*/ 3636168 w 5166485"/>
              <a:gd name="connsiteY82" fmla="*/ 6167235 h 6855583"/>
              <a:gd name="connsiteX83" fmla="*/ 3618421 w 5166485"/>
              <a:gd name="connsiteY83" fmla="*/ 6210838 h 6855583"/>
              <a:gd name="connsiteX84" fmla="*/ 3609070 w 5166485"/>
              <a:gd name="connsiteY84" fmla="*/ 6229244 h 6855583"/>
              <a:gd name="connsiteX85" fmla="*/ 3604529 w 5166485"/>
              <a:gd name="connsiteY85" fmla="*/ 6239639 h 6855583"/>
              <a:gd name="connsiteX86" fmla="*/ 3594298 w 5166485"/>
              <a:gd name="connsiteY86" fmla="*/ 6258324 h 6855583"/>
              <a:gd name="connsiteX87" fmla="*/ 3575270 w 5166485"/>
              <a:gd name="connsiteY87" fmla="*/ 6295785 h 6855583"/>
              <a:gd name="connsiteX88" fmla="*/ 3562231 w 5166485"/>
              <a:gd name="connsiteY88" fmla="*/ 6316901 h 6855583"/>
              <a:gd name="connsiteX89" fmla="*/ 3555841 w 5166485"/>
              <a:gd name="connsiteY89" fmla="*/ 6328575 h 6855583"/>
              <a:gd name="connsiteX90" fmla="*/ 3545203 w 5166485"/>
              <a:gd name="connsiteY90" fmla="*/ 6344476 h 6855583"/>
              <a:gd name="connsiteX91" fmla="*/ 3525580 w 5166485"/>
              <a:gd name="connsiteY91" fmla="*/ 6376252 h 6855583"/>
              <a:gd name="connsiteX92" fmla="*/ 3508306 w 5166485"/>
              <a:gd name="connsiteY92" fmla="*/ 6399630 h 6855583"/>
              <a:gd name="connsiteX93" fmla="*/ 3499876 w 5166485"/>
              <a:gd name="connsiteY93" fmla="*/ 6412234 h 6855583"/>
              <a:gd name="connsiteX94" fmla="*/ 3489281 w 5166485"/>
              <a:gd name="connsiteY94" fmla="*/ 6425379 h 6855583"/>
              <a:gd name="connsiteX95" fmla="*/ 3469720 w 5166485"/>
              <a:gd name="connsiteY95" fmla="*/ 6451856 h 6855583"/>
              <a:gd name="connsiteX96" fmla="*/ 3447676 w 5166485"/>
              <a:gd name="connsiteY96" fmla="*/ 6477005 h 6855583"/>
              <a:gd name="connsiteX97" fmla="*/ 3437085 w 5166485"/>
              <a:gd name="connsiteY97" fmla="*/ 6490148 h 6855583"/>
              <a:gd name="connsiteX98" fmla="*/ 3426944 w 5166485"/>
              <a:gd name="connsiteY98" fmla="*/ 6500661 h 6855583"/>
              <a:gd name="connsiteX99" fmla="*/ 3408058 w 5166485"/>
              <a:gd name="connsiteY99" fmla="*/ 6522209 h 6855583"/>
              <a:gd name="connsiteX100" fmla="*/ 3380698 w 5166485"/>
              <a:gd name="connsiteY100" fmla="*/ 6548600 h 6855583"/>
              <a:gd name="connsiteX101" fmla="*/ 3367917 w 5166485"/>
              <a:gd name="connsiteY101" fmla="*/ 6561848 h 6855583"/>
              <a:gd name="connsiteX102" fmla="*/ 3358599 w 5166485"/>
              <a:gd name="connsiteY102" fmla="*/ 6569916 h 6855583"/>
              <a:gd name="connsiteX103" fmla="*/ 3340966 w 5166485"/>
              <a:gd name="connsiteY103" fmla="*/ 6586926 h 6855583"/>
              <a:gd name="connsiteX104" fmla="*/ 3307673 w 5166485"/>
              <a:gd name="connsiteY104" fmla="*/ 6614008 h 6855583"/>
              <a:gd name="connsiteX105" fmla="*/ 3292820 w 5166485"/>
              <a:gd name="connsiteY105" fmla="*/ 6626869 h 6855583"/>
              <a:gd name="connsiteX106" fmla="*/ 3284662 w 5166485"/>
              <a:gd name="connsiteY106" fmla="*/ 6632728 h 6855583"/>
              <a:gd name="connsiteX107" fmla="*/ 3268811 w 5166485"/>
              <a:gd name="connsiteY107" fmla="*/ 6645621 h 6855583"/>
              <a:gd name="connsiteX108" fmla="*/ 3228808 w 5166485"/>
              <a:gd name="connsiteY108" fmla="*/ 6672841 h 6855583"/>
              <a:gd name="connsiteX109" fmla="*/ 3212245 w 5166485"/>
              <a:gd name="connsiteY109" fmla="*/ 6684739 h 6855583"/>
              <a:gd name="connsiteX110" fmla="*/ 3205551 w 5166485"/>
              <a:gd name="connsiteY110" fmla="*/ 6688665 h 6855583"/>
              <a:gd name="connsiteX111" fmla="*/ 3191968 w 5166485"/>
              <a:gd name="connsiteY111" fmla="*/ 6697909 h 6855583"/>
              <a:gd name="connsiteX112" fmla="*/ 3144033 w 5166485"/>
              <a:gd name="connsiteY112" fmla="*/ 6724779 h 6855583"/>
              <a:gd name="connsiteX113" fmla="*/ 3126640 w 5166485"/>
              <a:gd name="connsiteY113" fmla="*/ 6734990 h 6855583"/>
              <a:gd name="connsiteX114" fmla="*/ 3121686 w 5166485"/>
              <a:gd name="connsiteY114" fmla="*/ 6737306 h 6855583"/>
              <a:gd name="connsiteX115" fmla="*/ 3110802 w 5166485"/>
              <a:gd name="connsiteY115" fmla="*/ 6743407 h 6855583"/>
              <a:gd name="connsiteX116" fmla="*/ 3052483 w 5166485"/>
              <a:gd name="connsiteY116" fmla="*/ 6769660 h 6855583"/>
              <a:gd name="connsiteX117" fmla="*/ 3036452 w 5166485"/>
              <a:gd name="connsiteY117" fmla="*/ 6777154 h 6855583"/>
              <a:gd name="connsiteX118" fmla="*/ 3033487 w 5166485"/>
              <a:gd name="connsiteY118" fmla="*/ 6778211 h 6855583"/>
              <a:gd name="connsiteX119" fmla="*/ 3025684 w 5166485"/>
              <a:gd name="connsiteY119" fmla="*/ 6781724 h 6855583"/>
              <a:gd name="connsiteX120" fmla="*/ 2949668 w 5166485"/>
              <a:gd name="connsiteY120" fmla="*/ 6808079 h 6855583"/>
              <a:gd name="connsiteX121" fmla="*/ 2942133 w 5166485"/>
              <a:gd name="connsiteY121" fmla="*/ 6810763 h 6855583"/>
              <a:gd name="connsiteX122" fmla="*/ 2941376 w 5166485"/>
              <a:gd name="connsiteY122" fmla="*/ 6810955 h 6855583"/>
              <a:gd name="connsiteX123" fmla="*/ 2936985 w 5166485"/>
              <a:gd name="connsiteY123" fmla="*/ 6812477 h 6855583"/>
              <a:gd name="connsiteX124" fmla="*/ 2750320 w 5166485"/>
              <a:gd name="connsiteY124" fmla="*/ 6849749 h 6855583"/>
              <a:gd name="connsiteX125" fmla="*/ 2746081 w 5166485"/>
              <a:gd name="connsiteY125" fmla="*/ 6849972 h 6855583"/>
              <a:gd name="connsiteX126" fmla="*/ 2742897 w 5166485"/>
              <a:gd name="connsiteY126" fmla="*/ 6850446 h 6855583"/>
              <a:gd name="connsiteX127" fmla="*/ 2690435 w 5166485"/>
              <a:gd name="connsiteY127" fmla="*/ 6853038 h 6855583"/>
              <a:gd name="connsiteX128" fmla="*/ 2690435 w 5166485"/>
              <a:gd name="connsiteY128" fmla="*/ 6855583 h 6855583"/>
              <a:gd name="connsiteX129" fmla="*/ 2639538 w 5166485"/>
              <a:gd name="connsiteY129" fmla="*/ 6855583 h 6855583"/>
              <a:gd name="connsiteX130" fmla="*/ 2639527 w 5166485"/>
              <a:gd name="connsiteY130" fmla="*/ 6855583 h 6855583"/>
              <a:gd name="connsiteX131" fmla="*/ 2639516 w 5166485"/>
              <a:gd name="connsiteY131" fmla="*/ 6855583 h 6855583"/>
              <a:gd name="connsiteX132" fmla="*/ 2638878 w 5166485"/>
              <a:gd name="connsiteY132" fmla="*/ 6855583 h 6855583"/>
              <a:gd name="connsiteX133" fmla="*/ 2617659 w 5166485"/>
              <a:gd name="connsiteY133" fmla="*/ 6855583 h 6855583"/>
              <a:gd name="connsiteX134" fmla="*/ 2566761 w 5166485"/>
              <a:gd name="connsiteY134" fmla="*/ 6855583 h 6855583"/>
              <a:gd name="connsiteX135" fmla="*/ 2566750 w 5166485"/>
              <a:gd name="connsiteY135" fmla="*/ 6855583 h 6855583"/>
              <a:gd name="connsiteX136" fmla="*/ 2566740 w 5166485"/>
              <a:gd name="connsiteY136" fmla="*/ 6855583 h 6855583"/>
              <a:gd name="connsiteX137" fmla="*/ 2566100 w 5166485"/>
              <a:gd name="connsiteY137" fmla="*/ 6855583 h 6855583"/>
              <a:gd name="connsiteX138" fmla="*/ 1974046 w 5166485"/>
              <a:gd name="connsiteY138" fmla="*/ 6855583 h 6855583"/>
              <a:gd name="connsiteX139" fmla="*/ 1924977 w 5166485"/>
              <a:gd name="connsiteY139" fmla="*/ 6855583 h 6855583"/>
              <a:gd name="connsiteX140" fmla="*/ 1923149 w 5166485"/>
              <a:gd name="connsiteY140" fmla="*/ 6855583 h 6855583"/>
              <a:gd name="connsiteX141" fmla="*/ 1923138 w 5166485"/>
              <a:gd name="connsiteY141" fmla="*/ 6855583 h 6855583"/>
              <a:gd name="connsiteX142" fmla="*/ 1923127 w 5166485"/>
              <a:gd name="connsiteY142" fmla="*/ 6855583 h 6855583"/>
              <a:gd name="connsiteX143" fmla="*/ 1922488 w 5166485"/>
              <a:gd name="connsiteY143" fmla="*/ 6855583 h 6855583"/>
              <a:gd name="connsiteX144" fmla="*/ 1901270 w 5166485"/>
              <a:gd name="connsiteY144" fmla="*/ 6855583 h 6855583"/>
              <a:gd name="connsiteX145" fmla="*/ 1874079 w 5166485"/>
              <a:gd name="connsiteY145" fmla="*/ 6855583 h 6855583"/>
              <a:gd name="connsiteX146" fmla="*/ 1874068 w 5166485"/>
              <a:gd name="connsiteY146" fmla="*/ 6855583 h 6855583"/>
              <a:gd name="connsiteX147" fmla="*/ 1874058 w 5166485"/>
              <a:gd name="connsiteY147" fmla="*/ 6855583 h 6855583"/>
              <a:gd name="connsiteX148" fmla="*/ 1873420 w 5166485"/>
              <a:gd name="connsiteY148" fmla="*/ 6855583 h 6855583"/>
              <a:gd name="connsiteX149" fmla="*/ 1852200 w 5166485"/>
              <a:gd name="connsiteY149" fmla="*/ 6855583 h 6855583"/>
              <a:gd name="connsiteX150" fmla="*/ 1850372 w 5166485"/>
              <a:gd name="connsiteY150" fmla="*/ 6855583 h 6855583"/>
              <a:gd name="connsiteX151" fmla="*/ 1850361 w 5166485"/>
              <a:gd name="connsiteY151" fmla="*/ 6855583 h 6855583"/>
              <a:gd name="connsiteX152" fmla="*/ 1850351 w 5166485"/>
              <a:gd name="connsiteY152" fmla="*/ 6855583 h 6855583"/>
              <a:gd name="connsiteX153" fmla="*/ 1849711 w 5166485"/>
              <a:gd name="connsiteY153" fmla="*/ 6855583 h 6855583"/>
              <a:gd name="connsiteX154" fmla="*/ 1801303 w 5166485"/>
              <a:gd name="connsiteY154" fmla="*/ 6855583 h 6855583"/>
              <a:gd name="connsiteX155" fmla="*/ 1801292 w 5166485"/>
              <a:gd name="connsiteY155" fmla="*/ 6855583 h 6855583"/>
              <a:gd name="connsiteX156" fmla="*/ 1801282 w 5166485"/>
              <a:gd name="connsiteY156" fmla="*/ 6855583 h 6855583"/>
              <a:gd name="connsiteX157" fmla="*/ 1800642 w 5166485"/>
              <a:gd name="connsiteY157" fmla="*/ 6855583 h 6855583"/>
              <a:gd name="connsiteX158" fmla="*/ 1555906 w 5166485"/>
              <a:gd name="connsiteY158" fmla="*/ 6855583 h 6855583"/>
              <a:gd name="connsiteX159" fmla="*/ 1483128 w 5166485"/>
              <a:gd name="connsiteY159" fmla="*/ 6855583 h 6855583"/>
              <a:gd name="connsiteX160" fmla="*/ 1208587 w 5166485"/>
              <a:gd name="connsiteY160" fmla="*/ 6855583 h 6855583"/>
              <a:gd name="connsiteX161" fmla="*/ 1157689 w 5166485"/>
              <a:gd name="connsiteY161" fmla="*/ 6855583 h 6855583"/>
              <a:gd name="connsiteX162" fmla="*/ 1157678 w 5166485"/>
              <a:gd name="connsiteY162" fmla="*/ 6855583 h 6855583"/>
              <a:gd name="connsiteX163" fmla="*/ 1157669 w 5166485"/>
              <a:gd name="connsiteY163" fmla="*/ 6855583 h 6855583"/>
              <a:gd name="connsiteX164" fmla="*/ 1157031 w 5166485"/>
              <a:gd name="connsiteY164" fmla="*/ 6855583 h 6855583"/>
              <a:gd name="connsiteX165" fmla="*/ 1135810 w 5166485"/>
              <a:gd name="connsiteY165" fmla="*/ 6855583 h 6855583"/>
              <a:gd name="connsiteX166" fmla="*/ 1084913 w 5166485"/>
              <a:gd name="connsiteY166" fmla="*/ 6855583 h 6855583"/>
              <a:gd name="connsiteX167" fmla="*/ 1084902 w 5166485"/>
              <a:gd name="connsiteY167" fmla="*/ 6855583 h 6855583"/>
              <a:gd name="connsiteX168" fmla="*/ 1084893 w 5166485"/>
              <a:gd name="connsiteY168" fmla="*/ 6855583 h 6855583"/>
              <a:gd name="connsiteX169" fmla="*/ 1084253 w 5166485"/>
              <a:gd name="connsiteY169" fmla="*/ 6855583 h 6855583"/>
              <a:gd name="connsiteX170" fmla="*/ 839517 w 5166485"/>
              <a:gd name="connsiteY170" fmla="*/ 6855583 h 6855583"/>
              <a:gd name="connsiteX171" fmla="*/ 790448 w 5166485"/>
              <a:gd name="connsiteY171" fmla="*/ 6855583 h 6855583"/>
              <a:gd name="connsiteX172" fmla="*/ 766740 w 5166485"/>
              <a:gd name="connsiteY172" fmla="*/ 6855583 h 6855583"/>
              <a:gd name="connsiteX173" fmla="*/ 717671 w 5166485"/>
              <a:gd name="connsiteY173" fmla="*/ 6855583 h 6855583"/>
              <a:gd name="connsiteX174" fmla="*/ 74059 w 5166485"/>
              <a:gd name="connsiteY174" fmla="*/ 6855583 h 6855583"/>
              <a:gd name="connsiteX175" fmla="*/ 1282 w 5166485"/>
              <a:gd name="connsiteY175" fmla="*/ 6855583 h 6855583"/>
              <a:gd name="connsiteX176" fmla="*/ 1282 w 5166485"/>
              <a:gd name="connsiteY176" fmla="*/ 6709335 h 6855583"/>
              <a:gd name="connsiteX177" fmla="*/ 1282 w 5166485"/>
              <a:gd name="connsiteY177" fmla="*/ 5785114 h 6855583"/>
              <a:gd name="connsiteX178" fmla="*/ 0 w 5166485"/>
              <a:gd name="connsiteY178" fmla="*/ 5785114 h 6855583"/>
              <a:gd name="connsiteX179" fmla="*/ 0 w 5166485"/>
              <a:gd name="connsiteY179" fmla="*/ 5725228 h 6855583"/>
              <a:gd name="connsiteX180" fmla="*/ 0 w 5166485"/>
              <a:gd name="connsiteY180" fmla="*/ 5657025 h 6855583"/>
              <a:gd name="connsiteX181" fmla="*/ 0 w 5166485"/>
              <a:gd name="connsiteY181" fmla="*/ 5598154 h 6855583"/>
              <a:gd name="connsiteX182" fmla="*/ 0 w 5166485"/>
              <a:gd name="connsiteY182" fmla="*/ 5529139 h 6855583"/>
              <a:gd name="connsiteX183" fmla="*/ 0 w 5166485"/>
              <a:gd name="connsiteY183" fmla="*/ 5502424 h 6855583"/>
              <a:gd name="connsiteX184" fmla="*/ 0 w 5166485"/>
              <a:gd name="connsiteY184" fmla="*/ 5405390 h 6855583"/>
              <a:gd name="connsiteX185" fmla="*/ 0 w 5166485"/>
              <a:gd name="connsiteY185" fmla="*/ 5379128 h 6855583"/>
              <a:gd name="connsiteX186" fmla="*/ 0 w 5166485"/>
              <a:gd name="connsiteY186" fmla="*/ 4907380 h 6855583"/>
              <a:gd name="connsiteX187" fmla="*/ 0 w 5166485"/>
              <a:gd name="connsiteY187" fmla="*/ 4794177 h 6855583"/>
              <a:gd name="connsiteX188" fmla="*/ 0 w 5166485"/>
              <a:gd name="connsiteY188" fmla="*/ 4623176 h 6855583"/>
              <a:gd name="connsiteX189" fmla="*/ 0 w 5166485"/>
              <a:gd name="connsiteY189" fmla="*/ 4514791 h 6855583"/>
              <a:gd name="connsiteX190" fmla="*/ 1294 w 5166485"/>
              <a:gd name="connsiteY190" fmla="*/ 4514791 h 6855583"/>
              <a:gd name="connsiteX191" fmla="*/ 1294 w 5166485"/>
              <a:gd name="connsiteY191" fmla="*/ 4514790 h 6855583"/>
              <a:gd name="connsiteX192" fmla="*/ 1294 w 5166485"/>
              <a:gd name="connsiteY192" fmla="*/ 4514355 h 6855583"/>
              <a:gd name="connsiteX193" fmla="*/ 1294 w 5166485"/>
              <a:gd name="connsiteY193" fmla="*/ 4495635 h 6855583"/>
              <a:gd name="connsiteX194" fmla="*/ 1294 w 5166485"/>
              <a:gd name="connsiteY194" fmla="*/ 4437486 h 6855583"/>
              <a:gd name="connsiteX195" fmla="*/ 3998 w 5166485"/>
              <a:gd name="connsiteY195" fmla="*/ 4437486 h 6855583"/>
              <a:gd name="connsiteX196" fmla="*/ 6216 w 5166485"/>
              <a:gd name="connsiteY196" fmla="*/ 4374413 h 6855583"/>
              <a:gd name="connsiteX197" fmla="*/ 6782 w 5166485"/>
              <a:gd name="connsiteY197" fmla="*/ 4368991 h 6855583"/>
              <a:gd name="connsiteX198" fmla="*/ 6892 w 5166485"/>
              <a:gd name="connsiteY198" fmla="*/ 4365997 h 6855583"/>
              <a:gd name="connsiteX199" fmla="*/ 10050 w 5166485"/>
              <a:gd name="connsiteY199" fmla="*/ 4337551 h 6855583"/>
              <a:gd name="connsiteX200" fmla="*/ 19508 w 5166485"/>
              <a:gd name="connsiteY200" fmla="*/ 4246611 h 6855583"/>
              <a:gd name="connsiteX201" fmla="*/ 21306 w 5166485"/>
              <a:gd name="connsiteY201" fmla="*/ 4236154 h 6855583"/>
              <a:gd name="connsiteX202" fmla="*/ 21989 w 5166485"/>
              <a:gd name="connsiteY202" fmla="*/ 4229994 h 6855583"/>
              <a:gd name="connsiteX203" fmla="*/ 27574 w 5166485"/>
              <a:gd name="connsiteY203" fmla="*/ 4199586 h 6855583"/>
              <a:gd name="connsiteX204" fmla="*/ 29284 w 5166485"/>
              <a:gd name="connsiteY204" fmla="*/ 4199586 h 6855583"/>
              <a:gd name="connsiteX205" fmla="*/ 29540 w 5166485"/>
              <a:gd name="connsiteY205" fmla="*/ 4198449 h 6855583"/>
              <a:gd name="connsiteX206" fmla="*/ 42529 w 5166485"/>
              <a:gd name="connsiteY206" fmla="*/ 4136748 h 6855583"/>
              <a:gd name="connsiteX207" fmla="*/ 46228 w 5166485"/>
              <a:gd name="connsiteY207" fmla="*/ 4124266 h 6855583"/>
              <a:gd name="connsiteX208" fmla="*/ 47868 w 5166485"/>
              <a:gd name="connsiteY208" fmla="*/ 4116981 h 6855583"/>
              <a:gd name="connsiteX209" fmla="*/ 55747 w 5166485"/>
              <a:gd name="connsiteY209" fmla="*/ 4092151 h 6855583"/>
              <a:gd name="connsiteX210" fmla="*/ 71490 w 5166485"/>
              <a:gd name="connsiteY210" fmla="*/ 4039027 h 6855583"/>
              <a:gd name="connsiteX211" fmla="*/ 77718 w 5166485"/>
              <a:gd name="connsiteY211" fmla="*/ 4022906 h 6855583"/>
              <a:gd name="connsiteX212" fmla="*/ 80657 w 5166485"/>
              <a:gd name="connsiteY212" fmla="*/ 4013638 h 6855583"/>
              <a:gd name="connsiteX213" fmla="*/ 89984 w 5166485"/>
              <a:gd name="connsiteY213" fmla="*/ 3991153 h 6855583"/>
              <a:gd name="connsiteX214" fmla="*/ 107731 w 5166485"/>
              <a:gd name="connsiteY214" fmla="*/ 3945212 h 6855583"/>
              <a:gd name="connsiteX215" fmla="*/ 117082 w 5166485"/>
              <a:gd name="connsiteY215" fmla="*/ 3925819 h 6855583"/>
              <a:gd name="connsiteX216" fmla="*/ 121624 w 5166485"/>
              <a:gd name="connsiteY216" fmla="*/ 3914866 h 6855583"/>
              <a:gd name="connsiteX217" fmla="*/ 131854 w 5166485"/>
              <a:gd name="connsiteY217" fmla="*/ 3895180 h 6855583"/>
              <a:gd name="connsiteX218" fmla="*/ 150882 w 5166485"/>
              <a:gd name="connsiteY218" fmla="*/ 3855710 h 6855583"/>
              <a:gd name="connsiteX219" fmla="*/ 163921 w 5166485"/>
              <a:gd name="connsiteY219" fmla="*/ 3833461 h 6855583"/>
              <a:gd name="connsiteX220" fmla="*/ 170313 w 5166485"/>
              <a:gd name="connsiteY220" fmla="*/ 3821161 h 6855583"/>
              <a:gd name="connsiteX221" fmla="*/ 180949 w 5166485"/>
              <a:gd name="connsiteY221" fmla="*/ 3804408 h 6855583"/>
              <a:gd name="connsiteX222" fmla="*/ 200571 w 5166485"/>
              <a:gd name="connsiteY222" fmla="*/ 3770926 h 6855583"/>
              <a:gd name="connsiteX223" fmla="*/ 217848 w 5166485"/>
              <a:gd name="connsiteY223" fmla="*/ 3746294 h 6855583"/>
              <a:gd name="connsiteX224" fmla="*/ 226277 w 5166485"/>
              <a:gd name="connsiteY224" fmla="*/ 3733015 h 6855583"/>
              <a:gd name="connsiteX225" fmla="*/ 236872 w 5166485"/>
              <a:gd name="connsiteY225" fmla="*/ 3719164 h 6855583"/>
              <a:gd name="connsiteX226" fmla="*/ 256434 w 5166485"/>
              <a:gd name="connsiteY226" fmla="*/ 3691269 h 6855583"/>
              <a:gd name="connsiteX227" fmla="*/ 278476 w 5166485"/>
              <a:gd name="connsiteY227" fmla="*/ 3664770 h 6855583"/>
              <a:gd name="connsiteX228" fmla="*/ 289068 w 5166485"/>
              <a:gd name="connsiteY228" fmla="*/ 3650922 h 6855583"/>
              <a:gd name="connsiteX229" fmla="*/ 299210 w 5166485"/>
              <a:gd name="connsiteY229" fmla="*/ 3639845 h 6855583"/>
              <a:gd name="connsiteX230" fmla="*/ 318094 w 5166485"/>
              <a:gd name="connsiteY230" fmla="*/ 3617142 h 6855583"/>
              <a:gd name="connsiteX231" fmla="*/ 345456 w 5166485"/>
              <a:gd name="connsiteY231" fmla="*/ 3589336 h 6855583"/>
              <a:gd name="connsiteX232" fmla="*/ 358237 w 5166485"/>
              <a:gd name="connsiteY232" fmla="*/ 3575375 h 6855583"/>
              <a:gd name="connsiteX233" fmla="*/ 367555 w 5166485"/>
              <a:gd name="connsiteY233" fmla="*/ 3566877 h 6855583"/>
              <a:gd name="connsiteX234" fmla="*/ 385187 w 5166485"/>
              <a:gd name="connsiteY234" fmla="*/ 3548953 h 6855583"/>
              <a:gd name="connsiteX235" fmla="*/ 418478 w 5166485"/>
              <a:gd name="connsiteY235" fmla="*/ 3520422 h 6855583"/>
              <a:gd name="connsiteX236" fmla="*/ 433333 w 5166485"/>
              <a:gd name="connsiteY236" fmla="*/ 3506870 h 6855583"/>
              <a:gd name="connsiteX237" fmla="*/ 441492 w 5166485"/>
              <a:gd name="connsiteY237" fmla="*/ 3500699 h 6855583"/>
              <a:gd name="connsiteX238" fmla="*/ 457342 w 5166485"/>
              <a:gd name="connsiteY238" fmla="*/ 3487112 h 6855583"/>
              <a:gd name="connsiteX239" fmla="*/ 497345 w 5166485"/>
              <a:gd name="connsiteY239" fmla="*/ 3458431 h 6855583"/>
              <a:gd name="connsiteX240" fmla="*/ 513909 w 5166485"/>
              <a:gd name="connsiteY240" fmla="*/ 3445896 h 6855583"/>
              <a:gd name="connsiteX241" fmla="*/ 520601 w 5166485"/>
              <a:gd name="connsiteY241" fmla="*/ 3441758 h 6855583"/>
              <a:gd name="connsiteX242" fmla="*/ 534185 w 5166485"/>
              <a:gd name="connsiteY242" fmla="*/ 3432019 h 6855583"/>
              <a:gd name="connsiteX243" fmla="*/ 582120 w 5166485"/>
              <a:gd name="connsiteY243" fmla="*/ 3403709 h 6855583"/>
              <a:gd name="connsiteX244" fmla="*/ 599514 w 5166485"/>
              <a:gd name="connsiteY244" fmla="*/ 3392950 h 6855583"/>
              <a:gd name="connsiteX245" fmla="*/ 604468 w 5166485"/>
              <a:gd name="connsiteY245" fmla="*/ 3390510 h 6855583"/>
              <a:gd name="connsiteX246" fmla="*/ 615351 w 5166485"/>
              <a:gd name="connsiteY246" fmla="*/ 3384083 h 6855583"/>
              <a:gd name="connsiteX247" fmla="*/ 673670 w 5166485"/>
              <a:gd name="connsiteY247" fmla="*/ 3356422 h 6855583"/>
              <a:gd name="connsiteX248" fmla="*/ 689699 w 5166485"/>
              <a:gd name="connsiteY248" fmla="*/ 3348524 h 6855583"/>
              <a:gd name="connsiteX249" fmla="*/ 692665 w 5166485"/>
              <a:gd name="connsiteY249" fmla="*/ 3347410 h 6855583"/>
              <a:gd name="connsiteX250" fmla="*/ 700468 w 5166485"/>
              <a:gd name="connsiteY250" fmla="*/ 3343710 h 6855583"/>
              <a:gd name="connsiteX251" fmla="*/ 776485 w 5166485"/>
              <a:gd name="connsiteY251" fmla="*/ 3315941 h 6855583"/>
              <a:gd name="connsiteX252" fmla="*/ 784019 w 5166485"/>
              <a:gd name="connsiteY252" fmla="*/ 3313112 h 6855583"/>
              <a:gd name="connsiteX253" fmla="*/ 784777 w 5166485"/>
              <a:gd name="connsiteY253" fmla="*/ 3312912 h 6855583"/>
              <a:gd name="connsiteX254" fmla="*/ 789167 w 5166485"/>
              <a:gd name="connsiteY254" fmla="*/ 3311308 h 6855583"/>
              <a:gd name="connsiteX255" fmla="*/ 975831 w 5166485"/>
              <a:gd name="connsiteY255" fmla="*/ 3272037 h 6855583"/>
              <a:gd name="connsiteX256" fmla="*/ 980073 w 5166485"/>
              <a:gd name="connsiteY256" fmla="*/ 3271801 h 6855583"/>
              <a:gd name="connsiteX257" fmla="*/ 983256 w 5166485"/>
              <a:gd name="connsiteY257" fmla="*/ 3271301 h 6855583"/>
              <a:gd name="connsiteX258" fmla="*/ 1035718 w 5166485"/>
              <a:gd name="connsiteY258" fmla="*/ 3268571 h 6855583"/>
              <a:gd name="connsiteX259" fmla="*/ 1035718 w 5166485"/>
              <a:gd name="connsiteY259" fmla="*/ 3265890 h 6855583"/>
              <a:gd name="connsiteX260" fmla="*/ 1086616 w 5166485"/>
              <a:gd name="connsiteY260" fmla="*/ 3265890 h 6855583"/>
              <a:gd name="connsiteX261" fmla="*/ 4098476 w 5166485"/>
              <a:gd name="connsiteY261" fmla="*/ 852993 h 6855583"/>
              <a:gd name="connsiteX262" fmla="*/ 5166485 w 5166485"/>
              <a:gd name="connsiteY262" fmla="*/ 1921002 h 6855583"/>
              <a:gd name="connsiteX263" fmla="*/ 4207674 w 5166485"/>
              <a:gd name="connsiteY263" fmla="*/ 2983496 h 6855583"/>
              <a:gd name="connsiteX264" fmla="*/ 4112812 w 5166485"/>
              <a:gd name="connsiteY264" fmla="*/ 2988286 h 6855583"/>
              <a:gd name="connsiteX265" fmla="*/ 4112812 w 5166485"/>
              <a:gd name="connsiteY265" fmla="*/ 2989010 h 6855583"/>
              <a:gd name="connsiteX266" fmla="*/ 4098476 w 5166485"/>
              <a:gd name="connsiteY266" fmla="*/ 2989010 h 6855583"/>
              <a:gd name="connsiteX267" fmla="*/ 3030468 w 5166485"/>
              <a:gd name="connsiteY267" fmla="*/ 2989010 h 6855583"/>
              <a:gd name="connsiteX268" fmla="*/ 3030468 w 5166485"/>
              <a:gd name="connsiteY268" fmla="*/ 1921011 h 6855583"/>
              <a:gd name="connsiteX269" fmla="*/ 3030468 w 5166485"/>
              <a:gd name="connsiteY269" fmla="*/ 1921002 h 6855583"/>
              <a:gd name="connsiteX270" fmla="*/ 3030468 w 5166485"/>
              <a:gd name="connsiteY270" fmla="*/ 1920991 h 6855583"/>
              <a:gd name="connsiteX271" fmla="*/ 3030468 w 5166485"/>
              <a:gd name="connsiteY271" fmla="*/ 1870827 h 6855583"/>
              <a:gd name="connsiteX272" fmla="*/ 3033002 w 5166485"/>
              <a:gd name="connsiteY272" fmla="*/ 1870827 h 6855583"/>
              <a:gd name="connsiteX273" fmla="*/ 3035982 w 5166485"/>
              <a:gd name="connsiteY273" fmla="*/ 1811804 h 6855583"/>
              <a:gd name="connsiteX274" fmla="*/ 4098476 w 5166485"/>
              <a:gd name="connsiteY274" fmla="*/ 852993 h 6855583"/>
              <a:gd name="connsiteX275" fmla="*/ 988607 w 5166485"/>
              <a:gd name="connsiteY275" fmla="*/ 0 h 6855583"/>
              <a:gd name="connsiteX276" fmla="*/ 988617 w 5166485"/>
              <a:gd name="connsiteY276" fmla="*/ 1 h 6855583"/>
              <a:gd name="connsiteX277" fmla="*/ 989198 w 5166485"/>
              <a:gd name="connsiteY277" fmla="*/ 1 h 6855583"/>
              <a:gd name="connsiteX278" fmla="*/ 1018562 w 5166485"/>
              <a:gd name="connsiteY278" fmla="*/ 1 h 6855583"/>
              <a:gd name="connsiteX279" fmla="*/ 1064868 w 5166485"/>
              <a:gd name="connsiteY279" fmla="*/ 1 h 6855583"/>
              <a:gd name="connsiteX280" fmla="*/ 1064878 w 5166485"/>
              <a:gd name="connsiteY280" fmla="*/ 0 h 6855583"/>
              <a:gd name="connsiteX281" fmla="*/ 1064887 w 5166485"/>
              <a:gd name="connsiteY281" fmla="*/ 1 h 6855583"/>
              <a:gd name="connsiteX282" fmla="*/ 1065468 w 5166485"/>
              <a:gd name="connsiteY282" fmla="*/ 1 h 6855583"/>
              <a:gd name="connsiteX283" fmla="*/ 1638703 w 5166485"/>
              <a:gd name="connsiteY283" fmla="*/ 1 h 6855583"/>
              <a:gd name="connsiteX284" fmla="*/ 1685008 w 5166485"/>
              <a:gd name="connsiteY284" fmla="*/ 1 h 6855583"/>
              <a:gd name="connsiteX285" fmla="*/ 1685018 w 5166485"/>
              <a:gd name="connsiteY285" fmla="*/ 0 h 6855583"/>
              <a:gd name="connsiteX286" fmla="*/ 1685028 w 5166485"/>
              <a:gd name="connsiteY286" fmla="*/ 1 h 6855583"/>
              <a:gd name="connsiteX287" fmla="*/ 1685609 w 5166485"/>
              <a:gd name="connsiteY287" fmla="*/ 1 h 6855583"/>
              <a:gd name="connsiteX288" fmla="*/ 1714972 w 5166485"/>
              <a:gd name="connsiteY288" fmla="*/ 1 h 6855583"/>
              <a:gd name="connsiteX289" fmla="*/ 1761279 w 5166485"/>
              <a:gd name="connsiteY289" fmla="*/ 1 h 6855583"/>
              <a:gd name="connsiteX290" fmla="*/ 1761288 w 5166485"/>
              <a:gd name="connsiteY290" fmla="*/ 0 h 6855583"/>
              <a:gd name="connsiteX291" fmla="*/ 1761297 w 5166485"/>
              <a:gd name="connsiteY291" fmla="*/ 1 h 6855583"/>
              <a:gd name="connsiteX292" fmla="*/ 1761879 w 5166485"/>
              <a:gd name="connsiteY292" fmla="*/ 1 h 6855583"/>
              <a:gd name="connsiteX293" fmla="*/ 1974481 w 5166485"/>
              <a:gd name="connsiteY293" fmla="*/ 1 h 6855583"/>
              <a:gd name="connsiteX294" fmla="*/ 2050751 w 5166485"/>
              <a:gd name="connsiteY294" fmla="*/ 1 h 6855583"/>
              <a:gd name="connsiteX295" fmla="*/ 2670892 w 5166485"/>
              <a:gd name="connsiteY295" fmla="*/ 1 h 6855583"/>
              <a:gd name="connsiteX296" fmla="*/ 2747162 w 5166485"/>
              <a:gd name="connsiteY296" fmla="*/ 1 h 6855583"/>
              <a:gd name="connsiteX297" fmla="*/ 2747162 w 5166485"/>
              <a:gd name="connsiteY297" fmla="*/ 849474 h 6855583"/>
              <a:gd name="connsiteX298" fmla="*/ 2745606 w 5166485"/>
              <a:gd name="connsiteY298" fmla="*/ 849474 h 6855583"/>
              <a:gd name="connsiteX299" fmla="*/ 2745606 w 5166485"/>
              <a:gd name="connsiteY299" fmla="*/ 1065915 h 6855583"/>
              <a:gd name="connsiteX300" fmla="*/ 2746772 w 5166485"/>
              <a:gd name="connsiteY300" fmla="*/ 1065915 h 6855583"/>
              <a:gd name="connsiteX301" fmla="*/ 2746772 w 5166485"/>
              <a:gd name="connsiteY301" fmla="*/ 1136245 h 6855583"/>
              <a:gd name="connsiteX302" fmla="*/ 2746772 w 5166485"/>
              <a:gd name="connsiteY302" fmla="*/ 1390429 h 6855583"/>
              <a:gd name="connsiteX303" fmla="*/ 2746772 w 5166485"/>
              <a:gd name="connsiteY303" fmla="*/ 1922616 h 6855583"/>
              <a:gd name="connsiteX304" fmla="*/ 2746772 w 5166485"/>
              <a:gd name="connsiteY304" fmla="*/ 1946508 h 6855583"/>
              <a:gd name="connsiteX305" fmla="*/ 2746772 w 5166485"/>
              <a:gd name="connsiteY305" fmla="*/ 2121884 h 6855583"/>
              <a:gd name="connsiteX306" fmla="*/ 2745595 w 5166485"/>
              <a:gd name="connsiteY306" fmla="*/ 2121884 h 6855583"/>
              <a:gd name="connsiteX307" fmla="*/ 2745595 w 5166485"/>
              <a:gd name="connsiteY307" fmla="*/ 2122187 h 6855583"/>
              <a:gd name="connsiteX308" fmla="*/ 2745595 w 5166485"/>
              <a:gd name="connsiteY308" fmla="*/ 2135156 h 6855583"/>
              <a:gd name="connsiteX309" fmla="*/ 2745595 w 5166485"/>
              <a:gd name="connsiteY309" fmla="*/ 2175445 h 6855583"/>
              <a:gd name="connsiteX310" fmla="*/ 2743134 w 5166485"/>
              <a:gd name="connsiteY310" fmla="*/ 2175445 h 6855583"/>
              <a:gd name="connsiteX311" fmla="*/ 2741116 w 5166485"/>
              <a:gd name="connsiteY311" fmla="*/ 2219143 h 6855583"/>
              <a:gd name="connsiteX312" fmla="*/ 2740603 w 5166485"/>
              <a:gd name="connsiteY312" fmla="*/ 2222901 h 6855583"/>
              <a:gd name="connsiteX313" fmla="*/ 2740500 w 5166485"/>
              <a:gd name="connsiteY313" fmla="*/ 2224976 h 6855583"/>
              <a:gd name="connsiteX314" fmla="*/ 2737627 w 5166485"/>
              <a:gd name="connsiteY314" fmla="*/ 2244685 h 6855583"/>
              <a:gd name="connsiteX315" fmla="*/ 2735536 w 5166485"/>
              <a:gd name="connsiteY315" fmla="*/ 2259998 h 6855583"/>
              <a:gd name="connsiteX316" fmla="*/ 2735536 w 5166485"/>
              <a:gd name="connsiteY316" fmla="*/ 2291981 h 6855583"/>
              <a:gd name="connsiteX317" fmla="*/ 2733075 w 5166485"/>
              <a:gd name="connsiteY317" fmla="*/ 2291981 h 6855583"/>
              <a:gd name="connsiteX318" fmla="*/ 2731057 w 5166485"/>
              <a:gd name="connsiteY318" fmla="*/ 2336433 h 6855583"/>
              <a:gd name="connsiteX319" fmla="*/ 2730544 w 5166485"/>
              <a:gd name="connsiteY319" fmla="*/ 2340255 h 6855583"/>
              <a:gd name="connsiteX320" fmla="*/ 2730441 w 5166485"/>
              <a:gd name="connsiteY320" fmla="*/ 2342367 h 6855583"/>
              <a:gd name="connsiteX321" fmla="*/ 2727568 w 5166485"/>
              <a:gd name="connsiteY321" fmla="*/ 2362415 h 6855583"/>
              <a:gd name="connsiteX322" fmla="*/ 2718964 w 5166485"/>
              <a:gd name="connsiteY322" fmla="*/ 2426508 h 6855583"/>
              <a:gd name="connsiteX323" fmla="*/ 2717329 w 5166485"/>
              <a:gd name="connsiteY323" fmla="*/ 2433880 h 6855583"/>
              <a:gd name="connsiteX324" fmla="*/ 2716706 w 5166485"/>
              <a:gd name="connsiteY324" fmla="*/ 2438222 h 6855583"/>
              <a:gd name="connsiteX325" fmla="*/ 2711395 w 5166485"/>
              <a:gd name="connsiteY325" fmla="*/ 2460635 h 6855583"/>
              <a:gd name="connsiteX326" fmla="*/ 2699576 w 5166485"/>
              <a:gd name="connsiteY326" fmla="*/ 2513912 h 6855583"/>
              <a:gd name="connsiteX327" fmla="*/ 2696210 w 5166485"/>
              <a:gd name="connsiteY327" fmla="*/ 2524690 h 6855583"/>
              <a:gd name="connsiteX328" fmla="*/ 2694719 w 5166485"/>
              <a:gd name="connsiteY328" fmla="*/ 2530980 h 6855583"/>
              <a:gd name="connsiteX329" fmla="*/ 2687551 w 5166485"/>
              <a:gd name="connsiteY329" fmla="*/ 2552423 h 6855583"/>
              <a:gd name="connsiteX330" fmla="*/ 2673227 w 5166485"/>
              <a:gd name="connsiteY330" fmla="*/ 2598293 h 6855583"/>
              <a:gd name="connsiteX331" fmla="*/ 2667561 w 5166485"/>
              <a:gd name="connsiteY331" fmla="*/ 2612213 h 6855583"/>
              <a:gd name="connsiteX332" fmla="*/ 2664886 w 5166485"/>
              <a:gd name="connsiteY332" fmla="*/ 2620217 h 6855583"/>
              <a:gd name="connsiteX333" fmla="*/ 2656402 w 5166485"/>
              <a:gd name="connsiteY333" fmla="*/ 2639632 h 6855583"/>
              <a:gd name="connsiteX334" fmla="*/ 2640256 w 5166485"/>
              <a:gd name="connsiteY334" fmla="*/ 2679301 h 6855583"/>
              <a:gd name="connsiteX335" fmla="*/ 2631748 w 5166485"/>
              <a:gd name="connsiteY335" fmla="*/ 2696048 h 6855583"/>
              <a:gd name="connsiteX336" fmla="*/ 2627616 w 5166485"/>
              <a:gd name="connsiteY336" fmla="*/ 2705505 h 6855583"/>
              <a:gd name="connsiteX337" fmla="*/ 2618309 w 5166485"/>
              <a:gd name="connsiteY337" fmla="*/ 2722504 h 6855583"/>
              <a:gd name="connsiteX338" fmla="*/ 2600997 w 5166485"/>
              <a:gd name="connsiteY338" fmla="*/ 2756585 h 6855583"/>
              <a:gd name="connsiteX339" fmla="*/ 2589134 w 5166485"/>
              <a:gd name="connsiteY339" fmla="*/ 2775797 h 6855583"/>
              <a:gd name="connsiteX340" fmla="*/ 2583319 w 5166485"/>
              <a:gd name="connsiteY340" fmla="*/ 2786419 h 6855583"/>
              <a:gd name="connsiteX341" fmla="*/ 2573641 w 5166485"/>
              <a:gd name="connsiteY341" fmla="*/ 2800885 h 6855583"/>
              <a:gd name="connsiteX342" fmla="*/ 2555790 w 5166485"/>
              <a:gd name="connsiteY342" fmla="*/ 2829795 h 6855583"/>
              <a:gd name="connsiteX343" fmla="*/ 2540073 w 5166485"/>
              <a:gd name="connsiteY343" fmla="*/ 2851064 h 6855583"/>
              <a:gd name="connsiteX344" fmla="*/ 2532404 w 5166485"/>
              <a:gd name="connsiteY344" fmla="*/ 2862531 h 6855583"/>
              <a:gd name="connsiteX345" fmla="*/ 2522765 w 5166485"/>
              <a:gd name="connsiteY345" fmla="*/ 2874490 h 6855583"/>
              <a:gd name="connsiteX346" fmla="*/ 2504967 w 5166485"/>
              <a:gd name="connsiteY346" fmla="*/ 2898578 h 6855583"/>
              <a:gd name="connsiteX347" fmla="*/ 2484913 w 5166485"/>
              <a:gd name="connsiteY347" fmla="*/ 2921459 h 6855583"/>
              <a:gd name="connsiteX348" fmla="*/ 2475277 w 5166485"/>
              <a:gd name="connsiteY348" fmla="*/ 2933417 h 6855583"/>
              <a:gd name="connsiteX349" fmla="*/ 2466050 w 5166485"/>
              <a:gd name="connsiteY349" fmla="*/ 2942981 h 6855583"/>
              <a:gd name="connsiteX350" fmla="*/ 2448868 w 5166485"/>
              <a:gd name="connsiteY350" fmla="*/ 2962585 h 6855583"/>
              <a:gd name="connsiteX351" fmla="*/ 2423976 w 5166485"/>
              <a:gd name="connsiteY351" fmla="*/ 2986596 h 6855583"/>
              <a:gd name="connsiteX352" fmla="*/ 2412348 w 5166485"/>
              <a:gd name="connsiteY352" fmla="*/ 2998650 h 6855583"/>
              <a:gd name="connsiteX353" fmla="*/ 2403870 w 5166485"/>
              <a:gd name="connsiteY353" fmla="*/ 3005990 h 6855583"/>
              <a:gd name="connsiteX354" fmla="*/ 2387828 w 5166485"/>
              <a:gd name="connsiteY354" fmla="*/ 3021464 h 6855583"/>
              <a:gd name="connsiteX355" fmla="*/ 2357540 w 5166485"/>
              <a:gd name="connsiteY355" fmla="*/ 3046103 h 6855583"/>
              <a:gd name="connsiteX356" fmla="*/ 2344025 w 5166485"/>
              <a:gd name="connsiteY356" fmla="*/ 3057805 h 6855583"/>
              <a:gd name="connsiteX357" fmla="*/ 2336603 w 5166485"/>
              <a:gd name="connsiteY357" fmla="*/ 3063135 h 6855583"/>
              <a:gd name="connsiteX358" fmla="*/ 2322182 w 5166485"/>
              <a:gd name="connsiteY358" fmla="*/ 3074865 h 6855583"/>
              <a:gd name="connsiteX359" fmla="*/ 2285787 w 5166485"/>
              <a:gd name="connsiteY359" fmla="*/ 3099631 h 6855583"/>
              <a:gd name="connsiteX360" fmla="*/ 2270718 w 5166485"/>
              <a:gd name="connsiteY360" fmla="*/ 3110454 h 6855583"/>
              <a:gd name="connsiteX361" fmla="*/ 2264629 w 5166485"/>
              <a:gd name="connsiteY361" fmla="*/ 3114027 h 6855583"/>
              <a:gd name="connsiteX362" fmla="*/ 2252269 w 5166485"/>
              <a:gd name="connsiteY362" fmla="*/ 3122437 h 6855583"/>
              <a:gd name="connsiteX363" fmla="*/ 2208660 w 5166485"/>
              <a:gd name="connsiteY363" fmla="*/ 3146882 h 6855583"/>
              <a:gd name="connsiteX364" fmla="*/ 2192835 w 5166485"/>
              <a:gd name="connsiteY364" fmla="*/ 3156172 h 6855583"/>
              <a:gd name="connsiteX365" fmla="*/ 2188328 w 5166485"/>
              <a:gd name="connsiteY365" fmla="*/ 3158279 h 6855583"/>
              <a:gd name="connsiteX366" fmla="*/ 2178425 w 5166485"/>
              <a:gd name="connsiteY366" fmla="*/ 3163830 h 6855583"/>
              <a:gd name="connsiteX367" fmla="*/ 2125368 w 5166485"/>
              <a:gd name="connsiteY367" fmla="*/ 3187714 h 6855583"/>
              <a:gd name="connsiteX368" fmla="*/ 2110783 w 5166485"/>
              <a:gd name="connsiteY368" fmla="*/ 3194534 h 6855583"/>
              <a:gd name="connsiteX369" fmla="*/ 2108085 w 5166485"/>
              <a:gd name="connsiteY369" fmla="*/ 3195495 h 6855583"/>
              <a:gd name="connsiteX370" fmla="*/ 2100986 w 5166485"/>
              <a:gd name="connsiteY370" fmla="*/ 3198691 h 6855583"/>
              <a:gd name="connsiteX371" fmla="*/ 2031826 w 5166485"/>
              <a:gd name="connsiteY371" fmla="*/ 3222668 h 6855583"/>
              <a:gd name="connsiteX372" fmla="*/ 2024972 w 5166485"/>
              <a:gd name="connsiteY372" fmla="*/ 3225111 h 6855583"/>
              <a:gd name="connsiteX373" fmla="*/ 2024283 w 5166485"/>
              <a:gd name="connsiteY373" fmla="*/ 3225284 h 6855583"/>
              <a:gd name="connsiteX374" fmla="*/ 2020288 w 5166485"/>
              <a:gd name="connsiteY374" fmla="*/ 3226670 h 6855583"/>
              <a:gd name="connsiteX375" fmla="*/ 1850461 w 5166485"/>
              <a:gd name="connsiteY375" fmla="*/ 3260580 h 6855583"/>
              <a:gd name="connsiteX376" fmla="*/ 1846605 w 5166485"/>
              <a:gd name="connsiteY376" fmla="*/ 3260783 h 6855583"/>
              <a:gd name="connsiteX377" fmla="*/ 1843708 w 5166485"/>
              <a:gd name="connsiteY377" fmla="*/ 3261214 h 6855583"/>
              <a:gd name="connsiteX378" fmla="*/ 1795978 w 5166485"/>
              <a:gd name="connsiteY378" fmla="*/ 3263571 h 6855583"/>
              <a:gd name="connsiteX379" fmla="*/ 1795978 w 5166485"/>
              <a:gd name="connsiteY379" fmla="*/ 3265886 h 6855583"/>
              <a:gd name="connsiteX380" fmla="*/ 1749672 w 5166485"/>
              <a:gd name="connsiteY380" fmla="*/ 3265886 h 6855583"/>
              <a:gd name="connsiteX381" fmla="*/ 1749662 w 5166485"/>
              <a:gd name="connsiteY381" fmla="*/ 3265887 h 6855583"/>
              <a:gd name="connsiteX382" fmla="*/ 1749653 w 5166485"/>
              <a:gd name="connsiteY382" fmla="*/ 3265886 h 6855583"/>
              <a:gd name="connsiteX383" fmla="*/ 1749071 w 5166485"/>
              <a:gd name="connsiteY383" fmla="*/ 3265886 h 6855583"/>
              <a:gd name="connsiteX384" fmla="*/ 1729765 w 5166485"/>
              <a:gd name="connsiteY384" fmla="*/ 3265886 h 6855583"/>
              <a:gd name="connsiteX385" fmla="*/ 1683460 w 5166485"/>
              <a:gd name="connsiteY385" fmla="*/ 3265886 h 6855583"/>
              <a:gd name="connsiteX386" fmla="*/ 1683450 w 5166485"/>
              <a:gd name="connsiteY386" fmla="*/ 3265887 h 6855583"/>
              <a:gd name="connsiteX387" fmla="*/ 1683441 w 5166485"/>
              <a:gd name="connsiteY387" fmla="*/ 3265886 h 6855583"/>
              <a:gd name="connsiteX388" fmla="*/ 1682859 w 5166485"/>
              <a:gd name="connsiteY388" fmla="*/ 3265886 h 6855583"/>
              <a:gd name="connsiteX389" fmla="*/ 1099567 w 5166485"/>
              <a:gd name="connsiteY389" fmla="*/ 3265887 h 6855583"/>
              <a:gd name="connsiteX390" fmla="*/ 1053261 w 5166485"/>
              <a:gd name="connsiteY390" fmla="*/ 3265887 h 6855583"/>
              <a:gd name="connsiteX391" fmla="*/ 1053251 w 5166485"/>
              <a:gd name="connsiteY391" fmla="*/ 3265887 h 6855583"/>
              <a:gd name="connsiteX392" fmla="*/ 1053242 w 5166485"/>
              <a:gd name="connsiteY392" fmla="*/ 3265887 h 6855583"/>
              <a:gd name="connsiteX393" fmla="*/ 1052660 w 5166485"/>
              <a:gd name="connsiteY393" fmla="*/ 3265887 h 6855583"/>
              <a:gd name="connsiteX394" fmla="*/ 1033356 w 5166485"/>
              <a:gd name="connsiteY394" fmla="*/ 3265887 h 6855583"/>
              <a:gd name="connsiteX395" fmla="*/ 987049 w 5166485"/>
              <a:gd name="connsiteY395" fmla="*/ 3265887 h 6855583"/>
              <a:gd name="connsiteX396" fmla="*/ 987040 w 5166485"/>
              <a:gd name="connsiteY396" fmla="*/ 3265887 h 6855583"/>
              <a:gd name="connsiteX397" fmla="*/ 987030 w 5166485"/>
              <a:gd name="connsiteY397" fmla="*/ 3265887 h 6855583"/>
              <a:gd name="connsiteX398" fmla="*/ 986449 w 5166485"/>
              <a:gd name="connsiteY398" fmla="*/ 3265887 h 6855583"/>
              <a:gd name="connsiteX399" fmla="*/ 763788 w 5166485"/>
              <a:gd name="connsiteY399" fmla="*/ 3265887 h 6855583"/>
              <a:gd name="connsiteX400" fmla="*/ 697577 w 5166485"/>
              <a:gd name="connsiteY400" fmla="*/ 3265887 h 6855583"/>
              <a:gd name="connsiteX401" fmla="*/ 67379 w 5166485"/>
              <a:gd name="connsiteY401" fmla="*/ 3265887 h 6855583"/>
              <a:gd name="connsiteX402" fmla="*/ 1166 w 5166485"/>
              <a:gd name="connsiteY402" fmla="*/ 3265887 h 6855583"/>
              <a:gd name="connsiteX403" fmla="*/ 1166 w 5166485"/>
              <a:gd name="connsiteY403" fmla="*/ 3132833 h 6855583"/>
              <a:gd name="connsiteX404" fmla="*/ 1166 w 5166485"/>
              <a:gd name="connsiteY404" fmla="*/ 2291981 h 6855583"/>
              <a:gd name="connsiteX405" fmla="*/ 0 w 5166485"/>
              <a:gd name="connsiteY405" fmla="*/ 2291981 h 6855583"/>
              <a:gd name="connsiteX406" fmla="*/ 0 w 5166485"/>
              <a:gd name="connsiteY406" fmla="*/ 2237497 h 6855583"/>
              <a:gd name="connsiteX407" fmla="*/ 0 w 5166485"/>
              <a:gd name="connsiteY407" fmla="*/ 2175445 h 6855583"/>
              <a:gd name="connsiteX408" fmla="*/ 0 w 5166485"/>
              <a:gd name="connsiteY408" fmla="*/ 2121884 h 6855583"/>
              <a:gd name="connsiteX409" fmla="*/ 0 w 5166485"/>
              <a:gd name="connsiteY409" fmla="*/ 2059094 h 6855583"/>
              <a:gd name="connsiteX410" fmla="*/ 0 w 5166485"/>
              <a:gd name="connsiteY410" fmla="*/ 2034789 h 6855583"/>
              <a:gd name="connsiteX411" fmla="*/ 0 w 5166485"/>
              <a:gd name="connsiteY411" fmla="*/ 1946508 h 6855583"/>
              <a:gd name="connsiteX412" fmla="*/ 0 w 5166485"/>
              <a:gd name="connsiteY412" fmla="*/ 1922616 h 6855583"/>
              <a:gd name="connsiteX413" fmla="*/ 0 w 5166485"/>
              <a:gd name="connsiteY413" fmla="*/ 1493422 h 6855583"/>
              <a:gd name="connsiteX414" fmla="*/ 0 w 5166485"/>
              <a:gd name="connsiteY414" fmla="*/ 1390429 h 6855583"/>
              <a:gd name="connsiteX415" fmla="*/ 0 w 5166485"/>
              <a:gd name="connsiteY415" fmla="*/ 1234853 h 6855583"/>
              <a:gd name="connsiteX416" fmla="*/ 0 w 5166485"/>
              <a:gd name="connsiteY416" fmla="*/ 1136246 h 6855583"/>
              <a:gd name="connsiteX417" fmla="*/ 1178 w 5166485"/>
              <a:gd name="connsiteY417" fmla="*/ 1136246 h 6855583"/>
              <a:gd name="connsiteX418" fmla="*/ 1178 w 5166485"/>
              <a:gd name="connsiteY418" fmla="*/ 1136245 h 6855583"/>
              <a:gd name="connsiteX419" fmla="*/ 1178 w 5166485"/>
              <a:gd name="connsiteY419" fmla="*/ 1135849 h 6855583"/>
              <a:gd name="connsiteX420" fmla="*/ 1178 w 5166485"/>
              <a:gd name="connsiteY420" fmla="*/ 1118819 h 6855583"/>
              <a:gd name="connsiteX421" fmla="*/ 1178 w 5166485"/>
              <a:gd name="connsiteY421" fmla="*/ 1065915 h 6855583"/>
              <a:gd name="connsiteX422" fmla="*/ 3638 w 5166485"/>
              <a:gd name="connsiteY422" fmla="*/ 1065915 h 6855583"/>
              <a:gd name="connsiteX423" fmla="*/ 5656 w 5166485"/>
              <a:gd name="connsiteY423" fmla="*/ 1008533 h 6855583"/>
              <a:gd name="connsiteX424" fmla="*/ 6170 w 5166485"/>
              <a:gd name="connsiteY424" fmla="*/ 1003598 h 6855583"/>
              <a:gd name="connsiteX425" fmla="*/ 6271 w 5166485"/>
              <a:gd name="connsiteY425" fmla="*/ 1000874 h 6855583"/>
              <a:gd name="connsiteX426" fmla="*/ 9144 w 5166485"/>
              <a:gd name="connsiteY426" fmla="*/ 974994 h 6855583"/>
              <a:gd name="connsiteX427" fmla="*/ 17749 w 5166485"/>
              <a:gd name="connsiteY427" fmla="*/ 892259 h 6855583"/>
              <a:gd name="connsiteX428" fmla="*/ 19384 w 5166485"/>
              <a:gd name="connsiteY428" fmla="*/ 882743 h 6855583"/>
              <a:gd name="connsiteX429" fmla="*/ 20006 w 5166485"/>
              <a:gd name="connsiteY429" fmla="*/ 877139 h 6855583"/>
              <a:gd name="connsiteX430" fmla="*/ 25086 w 5166485"/>
              <a:gd name="connsiteY430" fmla="*/ 849474 h 6855583"/>
              <a:gd name="connsiteX431" fmla="*/ 26643 w 5166485"/>
              <a:gd name="connsiteY431" fmla="*/ 849474 h 6855583"/>
              <a:gd name="connsiteX432" fmla="*/ 26876 w 5166485"/>
              <a:gd name="connsiteY432" fmla="*/ 848439 h 6855583"/>
              <a:gd name="connsiteX433" fmla="*/ 38694 w 5166485"/>
              <a:gd name="connsiteY433" fmla="*/ 792304 h 6855583"/>
              <a:gd name="connsiteX434" fmla="*/ 42059 w 5166485"/>
              <a:gd name="connsiteY434" fmla="*/ 780948 h 6855583"/>
              <a:gd name="connsiteX435" fmla="*/ 43550 w 5166485"/>
              <a:gd name="connsiteY435" fmla="*/ 774321 h 6855583"/>
              <a:gd name="connsiteX436" fmla="*/ 50718 w 5166485"/>
              <a:gd name="connsiteY436" fmla="*/ 751729 h 6855583"/>
              <a:gd name="connsiteX437" fmla="*/ 65042 w 5166485"/>
              <a:gd name="connsiteY437" fmla="*/ 703398 h 6855583"/>
              <a:gd name="connsiteX438" fmla="*/ 70707 w 5166485"/>
              <a:gd name="connsiteY438" fmla="*/ 688731 h 6855583"/>
              <a:gd name="connsiteX439" fmla="*/ 73382 w 5166485"/>
              <a:gd name="connsiteY439" fmla="*/ 680300 h 6855583"/>
              <a:gd name="connsiteX440" fmla="*/ 81869 w 5166485"/>
              <a:gd name="connsiteY440" fmla="*/ 659842 h 6855583"/>
              <a:gd name="connsiteX441" fmla="*/ 98014 w 5166485"/>
              <a:gd name="connsiteY441" fmla="*/ 618045 h 6855583"/>
              <a:gd name="connsiteX442" fmla="*/ 106521 w 5166485"/>
              <a:gd name="connsiteY442" fmla="*/ 600402 h 6855583"/>
              <a:gd name="connsiteX443" fmla="*/ 110652 w 5166485"/>
              <a:gd name="connsiteY443" fmla="*/ 590437 h 6855583"/>
              <a:gd name="connsiteX444" fmla="*/ 119961 w 5166485"/>
              <a:gd name="connsiteY444" fmla="*/ 572526 h 6855583"/>
              <a:gd name="connsiteX445" fmla="*/ 137272 w 5166485"/>
              <a:gd name="connsiteY445" fmla="*/ 536617 h 6855583"/>
              <a:gd name="connsiteX446" fmla="*/ 149135 w 5166485"/>
              <a:gd name="connsiteY446" fmla="*/ 516375 h 6855583"/>
              <a:gd name="connsiteX447" fmla="*/ 154950 w 5166485"/>
              <a:gd name="connsiteY447" fmla="*/ 505184 h 6855583"/>
              <a:gd name="connsiteX448" fmla="*/ 164628 w 5166485"/>
              <a:gd name="connsiteY448" fmla="*/ 489942 h 6855583"/>
              <a:gd name="connsiteX449" fmla="*/ 182480 w 5166485"/>
              <a:gd name="connsiteY449" fmla="*/ 459481 h 6855583"/>
              <a:gd name="connsiteX450" fmla="*/ 198196 w 5166485"/>
              <a:gd name="connsiteY450" fmla="*/ 437070 h 6855583"/>
              <a:gd name="connsiteX451" fmla="*/ 205866 w 5166485"/>
              <a:gd name="connsiteY451" fmla="*/ 424989 h 6855583"/>
              <a:gd name="connsiteX452" fmla="*/ 215505 w 5166485"/>
              <a:gd name="connsiteY452" fmla="*/ 412388 h 6855583"/>
              <a:gd name="connsiteX453" fmla="*/ 233302 w 5166485"/>
              <a:gd name="connsiteY453" fmla="*/ 387010 h 6855583"/>
              <a:gd name="connsiteX454" fmla="*/ 253356 w 5166485"/>
              <a:gd name="connsiteY454" fmla="*/ 362902 h 6855583"/>
              <a:gd name="connsiteX455" fmla="*/ 262993 w 5166485"/>
              <a:gd name="connsiteY455" fmla="*/ 350303 h 6855583"/>
              <a:gd name="connsiteX456" fmla="*/ 272219 w 5166485"/>
              <a:gd name="connsiteY456" fmla="*/ 340225 h 6855583"/>
              <a:gd name="connsiteX457" fmla="*/ 289401 w 5166485"/>
              <a:gd name="connsiteY457" fmla="*/ 319569 h 6855583"/>
              <a:gd name="connsiteX458" fmla="*/ 314295 w 5166485"/>
              <a:gd name="connsiteY458" fmla="*/ 294271 h 6855583"/>
              <a:gd name="connsiteX459" fmla="*/ 325922 w 5166485"/>
              <a:gd name="connsiteY459" fmla="*/ 281570 h 6855583"/>
              <a:gd name="connsiteX460" fmla="*/ 334399 w 5166485"/>
              <a:gd name="connsiteY460" fmla="*/ 273838 h 6855583"/>
              <a:gd name="connsiteX461" fmla="*/ 350443 w 5166485"/>
              <a:gd name="connsiteY461" fmla="*/ 257532 h 6855583"/>
              <a:gd name="connsiteX462" fmla="*/ 380729 w 5166485"/>
              <a:gd name="connsiteY462" fmla="*/ 231573 h 6855583"/>
              <a:gd name="connsiteX463" fmla="*/ 394244 w 5166485"/>
              <a:gd name="connsiteY463" fmla="*/ 219244 h 6855583"/>
              <a:gd name="connsiteX464" fmla="*/ 401667 w 5166485"/>
              <a:gd name="connsiteY464" fmla="*/ 213629 h 6855583"/>
              <a:gd name="connsiteX465" fmla="*/ 416087 w 5166485"/>
              <a:gd name="connsiteY465" fmla="*/ 201267 h 6855583"/>
              <a:gd name="connsiteX466" fmla="*/ 452481 w 5166485"/>
              <a:gd name="connsiteY466" fmla="*/ 175174 h 6855583"/>
              <a:gd name="connsiteX467" fmla="*/ 467551 w 5166485"/>
              <a:gd name="connsiteY467" fmla="*/ 163770 h 6855583"/>
              <a:gd name="connsiteX468" fmla="*/ 473642 w 5166485"/>
              <a:gd name="connsiteY468" fmla="*/ 160005 h 6855583"/>
              <a:gd name="connsiteX469" fmla="*/ 485999 w 5166485"/>
              <a:gd name="connsiteY469" fmla="*/ 151145 h 6855583"/>
              <a:gd name="connsiteX470" fmla="*/ 529610 w 5166485"/>
              <a:gd name="connsiteY470" fmla="*/ 125388 h 6855583"/>
              <a:gd name="connsiteX471" fmla="*/ 545435 w 5166485"/>
              <a:gd name="connsiteY471" fmla="*/ 115600 h 6855583"/>
              <a:gd name="connsiteX472" fmla="*/ 549942 w 5166485"/>
              <a:gd name="connsiteY472" fmla="*/ 113381 h 6855583"/>
              <a:gd name="connsiteX473" fmla="*/ 559845 w 5166485"/>
              <a:gd name="connsiteY473" fmla="*/ 107533 h 6855583"/>
              <a:gd name="connsiteX474" fmla="*/ 612902 w 5166485"/>
              <a:gd name="connsiteY474" fmla="*/ 82367 h 6855583"/>
              <a:gd name="connsiteX475" fmla="*/ 627487 w 5166485"/>
              <a:gd name="connsiteY475" fmla="*/ 75182 h 6855583"/>
              <a:gd name="connsiteX476" fmla="*/ 630185 w 5166485"/>
              <a:gd name="connsiteY476" fmla="*/ 74169 h 6855583"/>
              <a:gd name="connsiteX477" fmla="*/ 637283 w 5166485"/>
              <a:gd name="connsiteY477" fmla="*/ 70802 h 6855583"/>
              <a:gd name="connsiteX478" fmla="*/ 706443 w 5166485"/>
              <a:gd name="connsiteY478" fmla="*/ 45538 h 6855583"/>
              <a:gd name="connsiteX479" fmla="*/ 713297 w 5166485"/>
              <a:gd name="connsiteY479" fmla="*/ 42964 h 6855583"/>
              <a:gd name="connsiteX480" fmla="*/ 713985 w 5166485"/>
              <a:gd name="connsiteY480" fmla="*/ 42781 h 6855583"/>
              <a:gd name="connsiteX481" fmla="*/ 717981 w 5166485"/>
              <a:gd name="connsiteY481" fmla="*/ 41323 h 6855583"/>
              <a:gd name="connsiteX482" fmla="*/ 887808 w 5166485"/>
              <a:gd name="connsiteY482" fmla="*/ 5593 h 6855583"/>
              <a:gd name="connsiteX483" fmla="*/ 891667 w 5166485"/>
              <a:gd name="connsiteY483" fmla="*/ 5380 h 6855583"/>
              <a:gd name="connsiteX484" fmla="*/ 894562 w 5166485"/>
              <a:gd name="connsiteY484" fmla="*/ 4925 h 6855583"/>
              <a:gd name="connsiteX485" fmla="*/ 942291 w 5166485"/>
              <a:gd name="connsiteY485" fmla="*/ 2441 h 6855583"/>
              <a:gd name="connsiteX486" fmla="*/ 942291 w 5166485"/>
              <a:gd name="connsiteY486" fmla="*/ 1 h 6855583"/>
              <a:gd name="connsiteX487" fmla="*/ 988599 w 5166485"/>
              <a:gd name="connsiteY487" fmla="*/ 1 h 6855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</a:cxnLst>
            <a:rect l="l" t="t" r="r" b="b"/>
            <a:pathLst>
              <a:path w="5166485" h="6855583">
                <a:moveTo>
                  <a:pt x="1086626" y="3265888"/>
                </a:moveTo>
                <a:lnTo>
                  <a:pt x="1086635" y="3265890"/>
                </a:lnTo>
                <a:lnTo>
                  <a:pt x="1087274" y="3265890"/>
                </a:lnTo>
                <a:lnTo>
                  <a:pt x="1119550" y="3265890"/>
                </a:lnTo>
                <a:lnTo>
                  <a:pt x="1170447" y="3265890"/>
                </a:lnTo>
                <a:lnTo>
                  <a:pt x="1170458" y="3265888"/>
                </a:lnTo>
                <a:lnTo>
                  <a:pt x="1170468" y="3265890"/>
                </a:lnTo>
                <a:lnTo>
                  <a:pt x="1171107" y="3265890"/>
                </a:lnTo>
                <a:lnTo>
                  <a:pt x="1752107" y="3265890"/>
                </a:lnTo>
                <a:lnTo>
                  <a:pt x="1801177" y="3265890"/>
                </a:lnTo>
                <a:lnTo>
                  <a:pt x="1803005" y="3265890"/>
                </a:lnTo>
                <a:lnTo>
                  <a:pt x="1803015" y="3265888"/>
                </a:lnTo>
                <a:lnTo>
                  <a:pt x="1803026" y="3265890"/>
                </a:lnTo>
                <a:lnTo>
                  <a:pt x="1803664" y="3265890"/>
                </a:lnTo>
                <a:lnTo>
                  <a:pt x="1835940" y="3265890"/>
                </a:lnTo>
                <a:lnTo>
                  <a:pt x="1852074" y="3265890"/>
                </a:lnTo>
                <a:lnTo>
                  <a:pt x="1852084" y="3265888"/>
                </a:lnTo>
                <a:lnTo>
                  <a:pt x="1852095" y="3265890"/>
                </a:lnTo>
                <a:lnTo>
                  <a:pt x="1852734" y="3265890"/>
                </a:lnTo>
                <a:lnTo>
                  <a:pt x="1885010" y="3265890"/>
                </a:lnTo>
                <a:lnTo>
                  <a:pt x="1886837" y="3265890"/>
                </a:lnTo>
                <a:lnTo>
                  <a:pt x="1886846" y="3265888"/>
                </a:lnTo>
                <a:lnTo>
                  <a:pt x="1886857" y="3265890"/>
                </a:lnTo>
                <a:lnTo>
                  <a:pt x="1887496" y="3265890"/>
                </a:lnTo>
                <a:lnTo>
                  <a:pt x="1935905" y="3265890"/>
                </a:lnTo>
                <a:lnTo>
                  <a:pt x="1935916" y="3265888"/>
                </a:lnTo>
                <a:lnTo>
                  <a:pt x="1935926" y="3265890"/>
                </a:lnTo>
                <a:lnTo>
                  <a:pt x="1936565" y="3265890"/>
                </a:lnTo>
                <a:lnTo>
                  <a:pt x="2170246" y="3265890"/>
                </a:lnTo>
                <a:lnTo>
                  <a:pt x="2254079" y="3265890"/>
                </a:lnTo>
                <a:lnTo>
                  <a:pt x="2517566" y="3265890"/>
                </a:lnTo>
                <a:lnTo>
                  <a:pt x="2568463" y="3265890"/>
                </a:lnTo>
                <a:lnTo>
                  <a:pt x="2568473" y="3265888"/>
                </a:lnTo>
                <a:lnTo>
                  <a:pt x="2568484" y="3265890"/>
                </a:lnTo>
                <a:lnTo>
                  <a:pt x="2569123" y="3265890"/>
                </a:lnTo>
                <a:lnTo>
                  <a:pt x="2601399" y="3265890"/>
                </a:lnTo>
                <a:lnTo>
                  <a:pt x="2652295" y="3265890"/>
                </a:lnTo>
                <a:lnTo>
                  <a:pt x="2652306" y="3265888"/>
                </a:lnTo>
                <a:lnTo>
                  <a:pt x="2652315" y="3265890"/>
                </a:lnTo>
                <a:lnTo>
                  <a:pt x="2652954" y="3265890"/>
                </a:lnTo>
                <a:lnTo>
                  <a:pt x="2886635" y="3265890"/>
                </a:lnTo>
                <a:lnTo>
                  <a:pt x="2935705" y="3265890"/>
                </a:lnTo>
                <a:lnTo>
                  <a:pt x="2970468" y="3265890"/>
                </a:lnTo>
                <a:lnTo>
                  <a:pt x="3019538" y="3265890"/>
                </a:lnTo>
                <a:lnTo>
                  <a:pt x="3652094" y="3265890"/>
                </a:lnTo>
                <a:lnTo>
                  <a:pt x="3735927" y="3265890"/>
                </a:lnTo>
                <a:lnTo>
                  <a:pt x="3735927" y="4199586"/>
                </a:lnTo>
                <a:lnTo>
                  <a:pt x="3734217" y="4199586"/>
                </a:lnTo>
                <a:lnTo>
                  <a:pt x="3734217" y="4437486"/>
                </a:lnTo>
                <a:lnTo>
                  <a:pt x="3735499" y="4437486"/>
                </a:lnTo>
                <a:lnTo>
                  <a:pt x="3735499" y="4514790"/>
                </a:lnTo>
                <a:lnTo>
                  <a:pt x="3735499" y="4794177"/>
                </a:lnTo>
                <a:lnTo>
                  <a:pt x="3735500" y="5379128"/>
                </a:lnTo>
                <a:lnTo>
                  <a:pt x="3735500" y="5405390"/>
                </a:lnTo>
                <a:lnTo>
                  <a:pt x="3735500" y="5598154"/>
                </a:lnTo>
                <a:lnTo>
                  <a:pt x="3734205" y="5598154"/>
                </a:lnTo>
                <a:lnTo>
                  <a:pt x="3734205" y="5598486"/>
                </a:lnTo>
                <a:lnTo>
                  <a:pt x="3734205" y="5612740"/>
                </a:lnTo>
                <a:lnTo>
                  <a:pt x="3734205" y="5657025"/>
                </a:lnTo>
                <a:lnTo>
                  <a:pt x="3731500" y="5657025"/>
                </a:lnTo>
                <a:lnTo>
                  <a:pt x="3729283" y="5705056"/>
                </a:lnTo>
                <a:lnTo>
                  <a:pt x="3728718" y="5709186"/>
                </a:lnTo>
                <a:lnTo>
                  <a:pt x="3728606" y="5711467"/>
                </a:lnTo>
                <a:lnTo>
                  <a:pt x="3725448" y="5733130"/>
                </a:lnTo>
                <a:lnTo>
                  <a:pt x="3723149" y="5749961"/>
                </a:lnTo>
                <a:lnTo>
                  <a:pt x="3723149" y="5785114"/>
                </a:lnTo>
                <a:lnTo>
                  <a:pt x="3720444" y="5785114"/>
                </a:lnTo>
                <a:lnTo>
                  <a:pt x="3718226" y="5833975"/>
                </a:lnTo>
                <a:lnTo>
                  <a:pt x="3717662" y="5838176"/>
                </a:lnTo>
                <a:lnTo>
                  <a:pt x="3717549" y="5840496"/>
                </a:lnTo>
                <a:lnTo>
                  <a:pt x="3714391" y="5862534"/>
                </a:lnTo>
                <a:lnTo>
                  <a:pt x="3704933" y="5932981"/>
                </a:lnTo>
                <a:lnTo>
                  <a:pt x="3703137" y="5941083"/>
                </a:lnTo>
                <a:lnTo>
                  <a:pt x="3702452" y="5945855"/>
                </a:lnTo>
                <a:lnTo>
                  <a:pt x="3696614" y="5970492"/>
                </a:lnTo>
                <a:lnTo>
                  <a:pt x="3683622" y="6029051"/>
                </a:lnTo>
                <a:lnTo>
                  <a:pt x="3679923" y="6040897"/>
                </a:lnTo>
                <a:lnTo>
                  <a:pt x="3678285" y="6047812"/>
                </a:lnTo>
                <a:lnTo>
                  <a:pt x="3670406" y="6071379"/>
                </a:lnTo>
                <a:lnTo>
                  <a:pt x="3654662" y="6121798"/>
                </a:lnTo>
                <a:lnTo>
                  <a:pt x="3648434" y="6137099"/>
                </a:lnTo>
                <a:lnTo>
                  <a:pt x="3645495" y="6145895"/>
                </a:lnTo>
                <a:lnTo>
                  <a:pt x="3636168" y="6167235"/>
                </a:lnTo>
                <a:lnTo>
                  <a:pt x="3618421" y="6210838"/>
                </a:lnTo>
                <a:lnTo>
                  <a:pt x="3609070" y="6229244"/>
                </a:lnTo>
                <a:lnTo>
                  <a:pt x="3604529" y="6239639"/>
                </a:lnTo>
                <a:lnTo>
                  <a:pt x="3594298" y="6258324"/>
                </a:lnTo>
                <a:lnTo>
                  <a:pt x="3575270" y="6295785"/>
                </a:lnTo>
                <a:lnTo>
                  <a:pt x="3562231" y="6316901"/>
                </a:lnTo>
                <a:lnTo>
                  <a:pt x="3555841" y="6328575"/>
                </a:lnTo>
                <a:lnTo>
                  <a:pt x="3545203" y="6344476"/>
                </a:lnTo>
                <a:lnTo>
                  <a:pt x="3525580" y="6376252"/>
                </a:lnTo>
                <a:lnTo>
                  <a:pt x="3508306" y="6399630"/>
                </a:lnTo>
                <a:lnTo>
                  <a:pt x="3499876" y="6412234"/>
                </a:lnTo>
                <a:lnTo>
                  <a:pt x="3489281" y="6425379"/>
                </a:lnTo>
                <a:lnTo>
                  <a:pt x="3469720" y="6451856"/>
                </a:lnTo>
                <a:lnTo>
                  <a:pt x="3447676" y="6477005"/>
                </a:lnTo>
                <a:lnTo>
                  <a:pt x="3437085" y="6490148"/>
                </a:lnTo>
                <a:lnTo>
                  <a:pt x="3426944" y="6500661"/>
                </a:lnTo>
                <a:lnTo>
                  <a:pt x="3408058" y="6522209"/>
                </a:lnTo>
                <a:lnTo>
                  <a:pt x="3380698" y="6548600"/>
                </a:lnTo>
                <a:lnTo>
                  <a:pt x="3367917" y="6561848"/>
                </a:lnTo>
                <a:lnTo>
                  <a:pt x="3358599" y="6569916"/>
                </a:lnTo>
                <a:lnTo>
                  <a:pt x="3340966" y="6586926"/>
                </a:lnTo>
                <a:lnTo>
                  <a:pt x="3307673" y="6614008"/>
                </a:lnTo>
                <a:lnTo>
                  <a:pt x="3292820" y="6626869"/>
                </a:lnTo>
                <a:lnTo>
                  <a:pt x="3284662" y="6632728"/>
                </a:lnTo>
                <a:lnTo>
                  <a:pt x="3268811" y="6645621"/>
                </a:lnTo>
                <a:lnTo>
                  <a:pt x="3228808" y="6672841"/>
                </a:lnTo>
                <a:lnTo>
                  <a:pt x="3212245" y="6684739"/>
                </a:lnTo>
                <a:lnTo>
                  <a:pt x="3205551" y="6688665"/>
                </a:lnTo>
                <a:lnTo>
                  <a:pt x="3191968" y="6697909"/>
                </a:lnTo>
                <a:lnTo>
                  <a:pt x="3144033" y="6724779"/>
                </a:lnTo>
                <a:lnTo>
                  <a:pt x="3126640" y="6734990"/>
                </a:lnTo>
                <a:lnTo>
                  <a:pt x="3121686" y="6737306"/>
                </a:lnTo>
                <a:lnTo>
                  <a:pt x="3110802" y="6743407"/>
                </a:lnTo>
                <a:lnTo>
                  <a:pt x="3052483" y="6769660"/>
                </a:lnTo>
                <a:lnTo>
                  <a:pt x="3036452" y="6777154"/>
                </a:lnTo>
                <a:lnTo>
                  <a:pt x="3033487" y="6778211"/>
                </a:lnTo>
                <a:lnTo>
                  <a:pt x="3025684" y="6781724"/>
                </a:lnTo>
                <a:lnTo>
                  <a:pt x="2949668" y="6808079"/>
                </a:lnTo>
                <a:lnTo>
                  <a:pt x="2942133" y="6810763"/>
                </a:lnTo>
                <a:lnTo>
                  <a:pt x="2941376" y="6810955"/>
                </a:lnTo>
                <a:lnTo>
                  <a:pt x="2936985" y="6812477"/>
                </a:lnTo>
                <a:cubicBezTo>
                  <a:pt x="2876741" y="6830372"/>
                  <a:pt x="2814355" y="6842968"/>
                  <a:pt x="2750320" y="6849749"/>
                </a:cubicBezTo>
                <a:lnTo>
                  <a:pt x="2746081" y="6849972"/>
                </a:lnTo>
                <a:lnTo>
                  <a:pt x="2742897" y="6850446"/>
                </a:lnTo>
                <a:lnTo>
                  <a:pt x="2690435" y="6853038"/>
                </a:lnTo>
                <a:lnTo>
                  <a:pt x="2690435" y="6855583"/>
                </a:lnTo>
                <a:lnTo>
                  <a:pt x="2639538" y="6855583"/>
                </a:lnTo>
                <a:lnTo>
                  <a:pt x="2639527" y="6855583"/>
                </a:lnTo>
                <a:lnTo>
                  <a:pt x="2639516" y="6855583"/>
                </a:lnTo>
                <a:lnTo>
                  <a:pt x="2638878" y="6855583"/>
                </a:lnTo>
                <a:lnTo>
                  <a:pt x="2617659" y="6855583"/>
                </a:lnTo>
                <a:lnTo>
                  <a:pt x="2566761" y="6855583"/>
                </a:lnTo>
                <a:lnTo>
                  <a:pt x="2566750" y="6855583"/>
                </a:lnTo>
                <a:lnTo>
                  <a:pt x="2566740" y="6855583"/>
                </a:lnTo>
                <a:lnTo>
                  <a:pt x="2566100" y="6855583"/>
                </a:lnTo>
                <a:lnTo>
                  <a:pt x="1974046" y="6855583"/>
                </a:lnTo>
                <a:lnTo>
                  <a:pt x="1924977" y="6855583"/>
                </a:lnTo>
                <a:lnTo>
                  <a:pt x="1923149" y="6855583"/>
                </a:lnTo>
                <a:lnTo>
                  <a:pt x="1923138" y="6855583"/>
                </a:lnTo>
                <a:lnTo>
                  <a:pt x="1923127" y="6855583"/>
                </a:lnTo>
                <a:lnTo>
                  <a:pt x="1922488" y="6855583"/>
                </a:lnTo>
                <a:lnTo>
                  <a:pt x="1901270" y="6855583"/>
                </a:lnTo>
                <a:lnTo>
                  <a:pt x="1874079" y="6855583"/>
                </a:lnTo>
                <a:lnTo>
                  <a:pt x="1874068" y="6855583"/>
                </a:lnTo>
                <a:lnTo>
                  <a:pt x="1874058" y="6855583"/>
                </a:lnTo>
                <a:lnTo>
                  <a:pt x="1873420" y="6855583"/>
                </a:lnTo>
                <a:lnTo>
                  <a:pt x="1852200" y="6855583"/>
                </a:lnTo>
                <a:lnTo>
                  <a:pt x="1850372" y="6855583"/>
                </a:lnTo>
                <a:lnTo>
                  <a:pt x="1850361" y="6855583"/>
                </a:lnTo>
                <a:lnTo>
                  <a:pt x="1850351" y="6855583"/>
                </a:lnTo>
                <a:lnTo>
                  <a:pt x="1849711" y="6855583"/>
                </a:lnTo>
                <a:lnTo>
                  <a:pt x="1801303" y="6855583"/>
                </a:lnTo>
                <a:lnTo>
                  <a:pt x="1801292" y="6855583"/>
                </a:lnTo>
                <a:lnTo>
                  <a:pt x="1801282" y="6855583"/>
                </a:lnTo>
                <a:lnTo>
                  <a:pt x="1800642" y="6855583"/>
                </a:lnTo>
                <a:lnTo>
                  <a:pt x="1555906" y="6855583"/>
                </a:lnTo>
                <a:lnTo>
                  <a:pt x="1483128" y="6855583"/>
                </a:lnTo>
                <a:lnTo>
                  <a:pt x="1208587" y="6855583"/>
                </a:lnTo>
                <a:lnTo>
                  <a:pt x="1157689" y="6855583"/>
                </a:lnTo>
                <a:lnTo>
                  <a:pt x="1157678" y="6855583"/>
                </a:lnTo>
                <a:lnTo>
                  <a:pt x="1157669" y="6855583"/>
                </a:lnTo>
                <a:lnTo>
                  <a:pt x="1157031" y="6855583"/>
                </a:lnTo>
                <a:lnTo>
                  <a:pt x="1135810" y="6855583"/>
                </a:lnTo>
                <a:lnTo>
                  <a:pt x="1084913" y="6855583"/>
                </a:lnTo>
                <a:lnTo>
                  <a:pt x="1084902" y="6855583"/>
                </a:lnTo>
                <a:lnTo>
                  <a:pt x="1084893" y="6855583"/>
                </a:lnTo>
                <a:lnTo>
                  <a:pt x="1084253" y="6855583"/>
                </a:lnTo>
                <a:lnTo>
                  <a:pt x="839517" y="6855583"/>
                </a:lnTo>
                <a:lnTo>
                  <a:pt x="790448" y="6855583"/>
                </a:lnTo>
                <a:lnTo>
                  <a:pt x="766740" y="6855583"/>
                </a:lnTo>
                <a:lnTo>
                  <a:pt x="717671" y="6855583"/>
                </a:lnTo>
                <a:lnTo>
                  <a:pt x="74059" y="6855583"/>
                </a:lnTo>
                <a:lnTo>
                  <a:pt x="1282" y="6855583"/>
                </a:lnTo>
                <a:lnTo>
                  <a:pt x="1282" y="6709335"/>
                </a:lnTo>
                <a:lnTo>
                  <a:pt x="1282" y="5785114"/>
                </a:lnTo>
                <a:lnTo>
                  <a:pt x="0" y="5785114"/>
                </a:lnTo>
                <a:lnTo>
                  <a:pt x="0" y="5725228"/>
                </a:lnTo>
                <a:lnTo>
                  <a:pt x="0" y="5657025"/>
                </a:lnTo>
                <a:lnTo>
                  <a:pt x="0" y="5598154"/>
                </a:lnTo>
                <a:lnTo>
                  <a:pt x="0" y="5529139"/>
                </a:lnTo>
                <a:lnTo>
                  <a:pt x="0" y="5502424"/>
                </a:lnTo>
                <a:lnTo>
                  <a:pt x="0" y="5405390"/>
                </a:lnTo>
                <a:lnTo>
                  <a:pt x="0" y="5379128"/>
                </a:lnTo>
                <a:lnTo>
                  <a:pt x="0" y="4907380"/>
                </a:lnTo>
                <a:lnTo>
                  <a:pt x="0" y="4794177"/>
                </a:lnTo>
                <a:lnTo>
                  <a:pt x="0" y="4623176"/>
                </a:lnTo>
                <a:lnTo>
                  <a:pt x="0" y="4514791"/>
                </a:lnTo>
                <a:lnTo>
                  <a:pt x="1294" y="4514791"/>
                </a:lnTo>
                <a:lnTo>
                  <a:pt x="1294" y="4514790"/>
                </a:lnTo>
                <a:lnTo>
                  <a:pt x="1294" y="4514355"/>
                </a:lnTo>
                <a:lnTo>
                  <a:pt x="1294" y="4495635"/>
                </a:lnTo>
                <a:lnTo>
                  <a:pt x="1294" y="4437486"/>
                </a:lnTo>
                <a:lnTo>
                  <a:pt x="3998" y="4437486"/>
                </a:lnTo>
                <a:lnTo>
                  <a:pt x="6216" y="4374413"/>
                </a:lnTo>
                <a:lnTo>
                  <a:pt x="6782" y="4368991"/>
                </a:lnTo>
                <a:lnTo>
                  <a:pt x="6892" y="4365997"/>
                </a:lnTo>
                <a:lnTo>
                  <a:pt x="10050" y="4337551"/>
                </a:lnTo>
                <a:lnTo>
                  <a:pt x="19508" y="4246611"/>
                </a:lnTo>
                <a:lnTo>
                  <a:pt x="21306" y="4236154"/>
                </a:lnTo>
                <a:lnTo>
                  <a:pt x="21989" y="4229994"/>
                </a:lnTo>
                <a:lnTo>
                  <a:pt x="27574" y="4199586"/>
                </a:lnTo>
                <a:lnTo>
                  <a:pt x="29284" y="4199586"/>
                </a:lnTo>
                <a:lnTo>
                  <a:pt x="29540" y="4198449"/>
                </a:lnTo>
                <a:lnTo>
                  <a:pt x="42529" y="4136748"/>
                </a:lnTo>
                <a:lnTo>
                  <a:pt x="46228" y="4124266"/>
                </a:lnTo>
                <a:lnTo>
                  <a:pt x="47868" y="4116981"/>
                </a:lnTo>
                <a:lnTo>
                  <a:pt x="55747" y="4092151"/>
                </a:lnTo>
                <a:lnTo>
                  <a:pt x="71490" y="4039027"/>
                </a:lnTo>
                <a:lnTo>
                  <a:pt x="77718" y="4022906"/>
                </a:lnTo>
                <a:lnTo>
                  <a:pt x="80657" y="4013638"/>
                </a:lnTo>
                <a:lnTo>
                  <a:pt x="89984" y="3991153"/>
                </a:lnTo>
                <a:lnTo>
                  <a:pt x="107731" y="3945212"/>
                </a:lnTo>
                <a:lnTo>
                  <a:pt x="117082" y="3925819"/>
                </a:lnTo>
                <a:lnTo>
                  <a:pt x="121624" y="3914866"/>
                </a:lnTo>
                <a:lnTo>
                  <a:pt x="131854" y="3895180"/>
                </a:lnTo>
                <a:lnTo>
                  <a:pt x="150882" y="3855710"/>
                </a:lnTo>
                <a:lnTo>
                  <a:pt x="163921" y="3833461"/>
                </a:lnTo>
                <a:lnTo>
                  <a:pt x="170313" y="3821161"/>
                </a:lnTo>
                <a:lnTo>
                  <a:pt x="180949" y="3804408"/>
                </a:lnTo>
                <a:lnTo>
                  <a:pt x="200571" y="3770926"/>
                </a:lnTo>
                <a:lnTo>
                  <a:pt x="217848" y="3746294"/>
                </a:lnTo>
                <a:lnTo>
                  <a:pt x="226277" y="3733015"/>
                </a:lnTo>
                <a:lnTo>
                  <a:pt x="236872" y="3719164"/>
                </a:lnTo>
                <a:lnTo>
                  <a:pt x="256434" y="3691269"/>
                </a:lnTo>
                <a:lnTo>
                  <a:pt x="278476" y="3664770"/>
                </a:lnTo>
                <a:lnTo>
                  <a:pt x="289068" y="3650922"/>
                </a:lnTo>
                <a:lnTo>
                  <a:pt x="299210" y="3639845"/>
                </a:lnTo>
                <a:lnTo>
                  <a:pt x="318094" y="3617142"/>
                </a:lnTo>
                <a:lnTo>
                  <a:pt x="345456" y="3589336"/>
                </a:lnTo>
                <a:lnTo>
                  <a:pt x="358237" y="3575375"/>
                </a:lnTo>
                <a:lnTo>
                  <a:pt x="367555" y="3566877"/>
                </a:lnTo>
                <a:lnTo>
                  <a:pt x="385187" y="3548953"/>
                </a:lnTo>
                <a:lnTo>
                  <a:pt x="418478" y="3520422"/>
                </a:lnTo>
                <a:lnTo>
                  <a:pt x="433333" y="3506870"/>
                </a:lnTo>
                <a:lnTo>
                  <a:pt x="441492" y="3500699"/>
                </a:lnTo>
                <a:lnTo>
                  <a:pt x="457342" y="3487112"/>
                </a:lnTo>
                <a:lnTo>
                  <a:pt x="497345" y="3458431"/>
                </a:lnTo>
                <a:lnTo>
                  <a:pt x="513909" y="3445896"/>
                </a:lnTo>
                <a:lnTo>
                  <a:pt x="520601" y="3441758"/>
                </a:lnTo>
                <a:lnTo>
                  <a:pt x="534185" y="3432019"/>
                </a:lnTo>
                <a:lnTo>
                  <a:pt x="582120" y="3403709"/>
                </a:lnTo>
                <a:lnTo>
                  <a:pt x="599514" y="3392950"/>
                </a:lnTo>
                <a:lnTo>
                  <a:pt x="604468" y="3390510"/>
                </a:lnTo>
                <a:lnTo>
                  <a:pt x="615351" y="3384083"/>
                </a:lnTo>
                <a:lnTo>
                  <a:pt x="673670" y="3356422"/>
                </a:lnTo>
                <a:lnTo>
                  <a:pt x="689699" y="3348524"/>
                </a:lnTo>
                <a:lnTo>
                  <a:pt x="692665" y="3347410"/>
                </a:lnTo>
                <a:lnTo>
                  <a:pt x="700468" y="3343710"/>
                </a:lnTo>
                <a:lnTo>
                  <a:pt x="776485" y="3315941"/>
                </a:lnTo>
                <a:lnTo>
                  <a:pt x="784019" y="3313112"/>
                </a:lnTo>
                <a:lnTo>
                  <a:pt x="784777" y="3312912"/>
                </a:lnTo>
                <a:lnTo>
                  <a:pt x="789167" y="3311308"/>
                </a:lnTo>
                <a:cubicBezTo>
                  <a:pt x="849413" y="3292452"/>
                  <a:pt x="911798" y="3279182"/>
                  <a:pt x="975831" y="3272037"/>
                </a:cubicBezTo>
                <a:lnTo>
                  <a:pt x="980073" y="3271801"/>
                </a:lnTo>
                <a:lnTo>
                  <a:pt x="983256" y="3271301"/>
                </a:lnTo>
                <a:lnTo>
                  <a:pt x="1035718" y="3268571"/>
                </a:lnTo>
                <a:lnTo>
                  <a:pt x="1035718" y="3265890"/>
                </a:lnTo>
                <a:lnTo>
                  <a:pt x="1086616" y="3265890"/>
                </a:lnTo>
                <a:close/>
                <a:moveTo>
                  <a:pt x="4098476" y="852993"/>
                </a:moveTo>
                <a:cubicBezTo>
                  <a:pt x="4688321" y="852993"/>
                  <a:pt x="5166485" y="1331157"/>
                  <a:pt x="5166485" y="1921002"/>
                </a:cubicBezTo>
                <a:cubicBezTo>
                  <a:pt x="5166485" y="2473981"/>
                  <a:pt x="4746224" y="2928803"/>
                  <a:pt x="4207674" y="2983496"/>
                </a:cubicBezTo>
                <a:lnTo>
                  <a:pt x="4112812" y="2988286"/>
                </a:lnTo>
                <a:lnTo>
                  <a:pt x="4112812" y="2989010"/>
                </a:lnTo>
                <a:lnTo>
                  <a:pt x="4098476" y="2989010"/>
                </a:lnTo>
                <a:lnTo>
                  <a:pt x="3030468" y="2989010"/>
                </a:lnTo>
                <a:lnTo>
                  <a:pt x="3030468" y="1921011"/>
                </a:lnTo>
                <a:lnTo>
                  <a:pt x="3030468" y="1921002"/>
                </a:lnTo>
                <a:lnTo>
                  <a:pt x="3030468" y="1920991"/>
                </a:lnTo>
                <a:lnTo>
                  <a:pt x="3030468" y="1870827"/>
                </a:lnTo>
                <a:lnTo>
                  <a:pt x="3033002" y="1870827"/>
                </a:lnTo>
                <a:lnTo>
                  <a:pt x="3035982" y="1811804"/>
                </a:lnTo>
                <a:cubicBezTo>
                  <a:pt x="3090675" y="1273254"/>
                  <a:pt x="3545497" y="852993"/>
                  <a:pt x="4098476" y="852993"/>
                </a:cubicBezTo>
                <a:close/>
                <a:moveTo>
                  <a:pt x="988607" y="0"/>
                </a:moveTo>
                <a:lnTo>
                  <a:pt x="988617" y="1"/>
                </a:lnTo>
                <a:lnTo>
                  <a:pt x="989198" y="1"/>
                </a:lnTo>
                <a:lnTo>
                  <a:pt x="1018562" y="1"/>
                </a:lnTo>
                <a:lnTo>
                  <a:pt x="1064868" y="1"/>
                </a:lnTo>
                <a:lnTo>
                  <a:pt x="1064878" y="0"/>
                </a:lnTo>
                <a:lnTo>
                  <a:pt x="1064887" y="1"/>
                </a:lnTo>
                <a:lnTo>
                  <a:pt x="1065468" y="1"/>
                </a:lnTo>
                <a:lnTo>
                  <a:pt x="1638703" y="1"/>
                </a:lnTo>
                <a:lnTo>
                  <a:pt x="1685008" y="1"/>
                </a:lnTo>
                <a:lnTo>
                  <a:pt x="1685018" y="0"/>
                </a:lnTo>
                <a:lnTo>
                  <a:pt x="1685028" y="1"/>
                </a:lnTo>
                <a:lnTo>
                  <a:pt x="1685609" y="1"/>
                </a:lnTo>
                <a:lnTo>
                  <a:pt x="1714972" y="1"/>
                </a:lnTo>
                <a:lnTo>
                  <a:pt x="1761279" y="1"/>
                </a:lnTo>
                <a:lnTo>
                  <a:pt x="1761288" y="0"/>
                </a:lnTo>
                <a:lnTo>
                  <a:pt x="1761297" y="1"/>
                </a:lnTo>
                <a:lnTo>
                  <a:pt x="1761879" y="1"/>
                </a:lnTo>
                <a:lnTo>
                  <a:pt x="1974481" y="1"/>
                </a:lnTo>
                <a:lnTo>
                  <a:pt x="2050751" y="1"/>
                </a:lnTo>
                <a:lnTo>
                  <a:pt x="2670892" y="1"/>
                </a:lnTo>
                <a:lnTo>
                  <a:pt x="2747162" y="1"/>
                </a:lnTo>
                <a:lnTo>
                  <a:pt x="2747162" y="849474"/>
                </a:lnTo>
                <a:lnTo>
                  <a:pt x="2745606" y="849474"/>
                </a:lnTo>
                <a:lnTo>
                  <a:pt x="2745606" y="1065915"/>
                </a:lnTo>
                <a:lnTo>
                  <a:pt x="2746772" y="1065915"/>
                </a:lnTo>
                <a:lnTo>
                  <a:pt x="2746772" y="1136245"/>
                </a:lnTo>
                <a:lnTo>
                  <a:pt x="2746772" y="1390429"/>
                </a:lnTo>
                <a:lnTo>
                  <a:pt x="2746772" y="1922616"/>
                </a:lnTo>
                <a:lnTo>
                  <a:pt x="2746772" y="1946508"/>
                </a:lnTo>
                <a:lnTo>
                  <a:pt x="2746772" y="2121884"/>
                </a:lnTo>
                <a:lnTo>
                  <a:pt x="2745595" y="2121884"/>
                </a:lnTo>
                <a:lnTo>
                  <a:pt x="2745595" y="2122187"/>
                </a:lnTo>
                <a:lnTo>
                  <a:pt x="2745595" y="2135156"/>
                </a:lnTo>
                <a:lnTo>
                  <a:pt x="2745595" y="2175445"/>
                </a:lnTo>
                <a:lnTo>
                  <a:pt x="2743134" y="2175445"/>
                </a:lnTo>
                <a:lnTo>
                  <a:pt x="2741116" y="2219143"/>
                </a:lnTo>
                <a:lnTo>
                  <a:pt x="2740603" y="2222901"/>
                </a:lnTo>
                <a:lnTo>
                  <a:pt x="2740500" y="2224976"/>
                </a:lnTo>
                <a:lnTo>
                  <a:pt x="2737627" y="2244685"/>
                </a:lnTo>
                <a:lnTo>
                  <a:pt x="2735536" y="2259998"/>
                </a:lnTo>
                <a:lnTo>
                  <a:pt x="2735536" y="2291981"/>
                </a:lnTo>
                <a:lnTo>
                  <a:pt x="2733075" y="2291981"/>
                </a:lnTo>
                <a:lnTo>
                  <a:pt x="2731057" y="2336433"/>
                </a:lnTo>
                <a:lnTo>
                  <a:pt x="2730544" y="2340255"/>
                </a:lnTo>
                <a:lnTo>
                  <a:pt x="2730441" y="2342367"/>
                </a:lnTo>
                <a:lnTo>
                  <a:pt x="2727568" y="2362415"/>
                </a:lnTo>
                <a:lnTo>
                  <a:pt x="2718964" y="2426508"/>
                </a:lnTo>
                <a:lnTo>
                  <a:pt x="2717329" y="2433880"/>
                </a:lnTo>
                <a:lnTo>
                  <a:pt x="2716706" y="2438222"/>
                </a:lnTo>
                <a:lnTo>
                  <a:pt x="2711395" y="2460635"/>
                </a:lnTo>
                <a:lnTo>
                  <a:pt x="2699576" y="2513912"/>
                </a:lnTo>
                <a:lnTo>
                  <a:pt x="2696210" y="2524690"/>
                </a:lnTo>
                <a:lnTo>
                  <a:pt x="2694719" y="2530980"/>
                </a:lnTo>
                <a:lnTo>
                  <a:pt x="2687551" y="2552423"/>
                </a:lnTo>
                <a:lnTo>
                  <a:pt x="2673227" y="2598293"/>
                </a:lnTo>
                <a:lnTo>
                  <a:pt x="2667561" y="2612213"/>
                </a:lnTo>
                <a:lnTo>
                  <a:pt x="2664886" y="2620217"/>
                </a:lnTo>
                <a:lnTo>
                  <a:pt x="2656402" y="2639632"/>
                </a:lnTo>
                <a:lnTo>
                  <a:pt x="2640256" y="2679301"/>
                </a:lnTo>
                <a:lnTo>
                  <a:pt x="2631748" y="2696048"/>
                </a:lnTo>
                <a:lnTo>
                  <a:pt x="2627616" y="2705505"/>
                </a:lnTo>
                <a:lnTo>
                  <a:pt x="2618309" y="2722504"/>
                </a:lnTo>
                <a:lnTo>
                  <a:pt x="2600997" y="2756585"/>
                </a:lnTo>
                <a:lnTo>
                  <a:pt x="2589134" y="2775797"/>
                </a:lnTo>
                <a:lnTo>
                  <a:pt x="2583319" y="2786419"/>
                </a:lnTo>
                <a:lnTo>
                  <a:pt x="2573641" y="2800885"/>
                </a:lnTo>
                <a:lnTo>
                  <a:pt x="2555790" y="2829795"/>
                </a:lnTo>
                <a:lnTo>
                  <a:pt x="2540073" y="2851064"/>
                </a:lnTo>
                <a:lnTo>
                  <a:pt x="2532404" y="2862531"/>
                </a:lnTo>
                <a:lnTo>
                  <a:pt x="2522765" y="2874490"/>
                </a:lnTo>
                <a:lnTo>
                  <a:pt x="2504967" y="2898578"/>
                </a:lnTo>
                <a:lnTo>
                  <a:pt x="2484913" y="2921459"/>
                </a:lnTo>
                <a:lnTo>
                  <a:pt x="2475277" y="2933417"/>
                </a:lnTo>
                <a:lnTo>
                  <a:pt x="2466050" y="2942981"/>
                </a:lnTo>
                <a:lnTo>
                  <a:pt x="2448868" y="2962585"/>
                </a:lnTo>
                <a:lnTo>
                  <a:pt x="2423976" y="2986596"/>
                </a:lnTo>
                <a:lnTo>
                  <a:pt x="2412348" y="2998650"/>
                </a:lnTo>
                <a:lnTo>
                  <a:pt x="2403870" y="3005990"/>
                </a:lnTo>
                <a:lnTo>
                  <a:pt x="2387828" y="3021464"/>
                </a:lnTo>
                <a:lnTo>
                  <a:pt x="2357540" y="3046103"/>
                </a:lnTo>
                <a:lnTo>
                  <a:pt x="2344025" y="3057805"/>
                </a:lnTo>
                <a:lnTo>
                  <a:pt x="2336603" y="3063135"/>
                </a:lnTo>
                <a:lnTo>
                  <a:pt x="2322182" y="3074865"/>
                </a:lnTo>
                <a:lnTo>
                  <a:pt x="2285787" y="3099631"/>
                </a:lnTo>
                <a:lnTo>
                  <a:pt x="2270718" y="3110454"/>
                </a:lnTo>
                <a:lnTo>
                  <a:pt x="2264629" y="3114027"/>
                </a:lnTo>
                <a:lnTo>
                  <a:pt x="2252269" y="3122437"/>
                </a:lnTo>
                <a:lnTo>
                  <a:pt x="2208660" y="3146882"/>
                </a:lnTo>
                <a:lnTo>
                  <a:pt x="2192835" y="3156172"/>
                </a:lnTo>
                <a:lnTo>
                  <a:pt x="2188328" y="3158279"/>
                </a:lnTo>
                <a:lnTo>
                  <a:pt x="2178425" y="3163830"/>
                </a:lnTo>
                <a:lnTo>
                  <a:pt x="2125368" y="3187714"/>
                </a:lnTo>
                <a:lnTo>
                  <a:pt x="2110783" y="3194534"/>
                </a:lnTo>
                <a:lnTo>
                  <a:pt x="2108085" y="3195495"/>
                </a:lnTo>
                <a:lnTo>
                  <a:pt x="2100986" y="3198691"/>
                </a:lnTo>
                <a:lnTo>
                  <a:pt x="2031826" y="3222668"/>
                </a:lnTo>
                <a:lnTo>
                  <a:pt x="2024972" y="3225111"/>
                </a:lnTo>
                <a:lnTo>
                  <a:pt x="2024283" y="3225284"/>
                </a:lnTo>
                <a:lnTo>
                  <a:pt x="2020288" y="3226670"/>
                </a:lnTo>
                <a:cubicBezTo>
                  <a:pt x="1965477" y="3242950"/>
                  <a:pt x="1908719" y="3254410"/>
                  <a:pt x="1850461" y="3260580"/>
                </a:cubicBezTo>
                <a:lnTo>
                  <a:pt x="1846605" y="3260783"/>
                </a:lnTo>
                <a:lnTo>
                  <a:pt x="1843708" y="3261214"/>
                </a:lnTo>
                <a:lnTo>
                  <a:pt x="1795978" y="3263571"/>
                </a:lnTo>
                <a:lnTo>
                  <a:pt x="1795978" y="3265886"/>
                </a:lnTo>
                <a:lnTo>
                  <a:pt x="1749672" y="3265886"/>
                </a:lnTo>
                <a:lnTo>
                  <a:pt x="1749662" y="3265887"/>
                </a:lnTo>
                <a:lnTo>
                  <a:pt x="1749653" y="3265886"/>
                </a:lnTo>
                <a:lnTo>
                  <a:pt x="1749071" y="3265886"/>
                </a:lnTo>
                <a:lnTo>
                  <a:pt x="1729765" y="3265886"/>
                </a:lnTo>
                <a:lnTo>
                  <a:pt x="1683460" y="3265886"/>
                </a:lnTo>
                <a:lnTo>
                  <a:pt x="1683450" y="3265887"/>
                </a:lnTo>
                <a:lnTo>
                  <a:pt x="1683441" y="3265886"/>
                </a:lnTo>
                <a:lnTo>
                  <a:pt x="1682859" y="3265886"/>
                </a:lnTo>
                <a:lnTo>
                  <a:pt x="1099567" y="3265887"/>
                </a:lnTo>
                <a:lnTo>
                  <a:pt x="1053261" y="3265887"/>
                </a:lnTo>
                <a:lnTo>
                  <a:pt x="1053251" y="3265887"/>
                </a:lnTo>
                <a:lnTo>
                  <a:pt x="1053242" y="3265887"/>
                </a:lnTo>
                <a:lnTo>
                  <a:pt x="1052660" y="3265887"/>
                </a:lnTo>
                <a:lnTo>
                  <a:pt x="1033356" y="3265887"/>
                </a:lnTo>
                <a:lnTo>
                  <a:pt x="987049" y="3265887"/>
                </a:lnTo>
                <a:lnTo>
                  <a:pt x="987040" y="3265887"/>
                </a:lnTo>
                <a:lnTo>
                  <a:pt x="987030" y="3265887"/>
                </a:lnTo>
                <a:lnTo>
                  <a:pt x="986449" y="3265887"/>
                </a:lnTo>
                <a:lnTo>
                  <a:pt x="763788" y="3265887"/>
                </a:lnTo>
                <a:lnTo>
                  <a:pt x="697577" y="3265887"/>
                </a:lnTo>
                <a:lnTo>
                  <a:pt x="67379" y="3265887"/>
                </a:lnTo>
                <a:lnTo>
                  <a:pt x="1166" y="3265887"/>
                </a:lnTo>
                <a:lnTo>
                  <a:pt x="1166" y="3132833"/>
                </a:lnTo>
                <a:lnTo>
                  <a:pt x="1166" y="2291981"/>
                </a:lnTo>
                <a:lnTo>
                  <a:pt x="0" y="2291981"/>
                </a:lnTo>
                <a:lnTo>
                  <a:pt x="0" y="2237497"/>
                </a:lnTo>
                <a:lnTo>
                  <a:pt x="0" y="2175445"/>
                </a:lnTo>
                <a:lnTo>
                  <a:pt x="0" y="2121884"/>
                </a:lnTo>
                <a:lnTo>
                  <a:pt x="0" y="2059094"/>
                </a:lnTo>
                <a:lnTo>
                  <a:pt x="0" y="2034789"/>
                </a:lnTo>
                <a:lnTo>
                  <a:pt x="0" y="1946508"/>
                </a:lnTo>
                <a:lnTo>
                  <a:pt x="0" y="1922616"/>
                </a:lnTo>
                <a:lnTo>
                  <a:pt x="0" y="1493422"/>
                </a:lnTo>
                <a:lnTo>
                  <a:pt x="0" y="1390429"/>
                </a:lnTo>
                <a:lnTo>
                  <a:pt x="0" y="1234853"/>
                </a:lnTo>
                <a:lnTo>
                  <a:pt x="0" y="1136246"/>
                </a:lnTo>
                <a:lnTo>
                  <a:pt x="1178" y="1136246"/>
                </a:lnTo>
                <a:lnTo>
                  <a:pt x="1178" y="1136245"/>
                </a:lnTo>
                <a:lnTo>
                  <a:pt x="1178" y="1135849"/>
                </a:lnTo>
                <a:lnTo>
                  <a:pt x="1178" y="1118819"/>
                </a:lnTo>
                <a:lnTo>
                  <a:pt x="1178" y="1065915"/>
                </a:lnTo>
                <a:lnTo>
                  <a:pt x="3638" y="1065915"/>
                </a:lnTo>
                <a:lnTo>
                  <a:pt x="5656" y="1008533"/>
                </a:lnTo>
                <a:lnTo>
                  <a:pt x="6170" y="1003598"/>
                </a:lnTo>
                <a:lnTo>
                  <a:pt x="6271" y="1000874"/>
                </a:lnTo>
                <a:lnTo>
                  <a:pt x="9144" y="974994"/>
                </a:lnTo>
                <a:lnTo>
                  <a:pt x="17749" y="892259"/>
                </a:lnTo>
                <a:lnTo>
                  <a:pt x="19384" y="882743"/>
                </a:lnTo>
                <a:lnTo>
                  <a:pt x="20006" y="877139"/>
                </a:lnTo>
                <a:lnTo>
                  <a:pt x="25086" y="849474"/>
                </a:lnTo>
                <a:lnTo>
                  <a:pt x="26643" y="849474"/>
                </a:lnTo>
                <a:lnTo>
                  <a:pt x="26876" y="848439"/>
                </a:lnTo>
                <a:lnTo>
                  <a:pt x="38694" y="792304"/>
                </a:lnTo>
                <a:lnTo>
                  <a:pt x="42059" y="780948"/>
                </a:lnTo>
                <a:lnTo>
                  <a:pt x="43550" y="774321"/>
                </a:lnTo>
                <a:lnTo>
                  <a:pt x="50718" y="751729"/>
                </a:lnTo>
                <a:lnTo>
                  <a:pt x="65042" y="703398"/>
                </a:lnTo>
                <a:lnTo>
                  <a:pt x="70707" y="688731"/>
                </a:lnTo>
                <a:lnTo>
                  <a:pt x="73382" y="680300"/>
                </a:lnTo>
                <a:lnTo>
                  <a:pt x="81869" y="659842"/>
                </a:lnTo>
                <a:lnTo>
                  <a:pt x="98014" y="618045"/>
                </a:lnTo>
                <a:lnTo>
                  <a:pt x="106521" y="600402"/>
                </a:lnTo>
                <a:lnTo>
                  <a:pt x="110652" y="590437"/>
                </a:lnTo>
                <a:lnTo>
                  <a:pt x="119961" y="572526"/>
                </a:lnTo>
                <a:lnTo>
                  <a:pt x="137272" y="536617"/>
                </a:lnTo>
                <a:lnTo>
                  <a:pt x="149135" y="516375"/>
                </a:lnTo>
                <a:lnTo>
                  <a:pt x="154950" y="505184"/>
                </a:lnTo>
                <a:lnTo>
                  <a:pt x="164628" y="489942"/>
                </a:lnTo>
                <a:lnTo>
                  <a:pt x="182480" y="459481"/>
                </a:lnTo>
                <a:lnTo>
                  <a:pt x="198196" y="437070"/>
                </a:lnTo>
                <a:lnTo>
                  <a:pt x="205866" y="424989"/>
                </a:lnTo>
                <a:lnTo>
                  <a:pt x="215505" y="412388"/>
                </a:lnTo>
                <a:lnTo>
                  <a:pt x="233302" y="387010"/>
                </a:lnTo>
                <a:lnTo>
                  <a:pt x="253356" y="362902"/>
                </a:lnTo>
                <a:lnTo>
                  <a:pt x="262993" y="350303"/>
                </a:lnTo>
                <a:lnTo>
                  <a:pt x="272219" y="340225"/>
                </a:lnTo>
                <a:lnTo>
                  <a:pt x="289401" y="319569"/>
                </a:lnTo>
                <a:lnTo>
                  <a:pt x="314295" y="294271"/>
                </a:lnTo>
                <a:lnTo>
                  <a:pt x="325922" y="281570"/>
                </a:lnTo>
                <a:lnTo>
                  <a:pt x="334399" y="273838"/>
                </a:lnTo>
                <a:lnTo>
                  <a:pt x="350443" y="257532"/>
                </a:lnTo>
                <a:lnTo>
                  <a:pt x="380729" y="231573"/>
                </a:lnTo>
                <a:lnTo>
                  <a:pt x="394244" y="219244"/>
                </a:lnTo>
                <a:lnTo>
                  <a:pt x="401667" y="213629"/>
                </a:lnTo>
                <a:lnTo>
                  <a:pt x="416087" y="201267"/>
                </a:lnTo>
                <a:lnTo>
                  <a:pt x="452481" y="175174"/>
                </a:lnTo>
                <a:lnTo>
                  <a:pt x="467551" y="163770"/>
                </a:lnTo>
                <a:lnTo>
                  <a:pt x="473642" y="160005"/>
                </a:lnTo>
                <a:lnTo>
                  <a:pt x="485999" y="151145"/>
                </a:lnTo>
                <a:lnTo>
                  <a:pt x="529610" y="125388"/>
                </a:lnTo>
                <a:lnTo>
                  <a:pt x="545435" y="115600"/>
                </a:lnTo>
                <a:lnTo>
                  <a:pt x="549942" y="113381"/>
                </a:lnTo>
                <a:lnTo>
                  <a:pt x="559845" y="107533"/>
                </a:lnTo>
                <a:lnTo>
                  <a:pt x="612902" y="82367"/>
                </a:lnTo>
                <a:lnTo>
                  <a:pt x="627487" y="75182"/>
                </a:lnTo>
                <a:lnTo>
                  <a:pt x="630185" y="74169"/>
                </a:lnTo>
                <a:lnTo>
                  <a:pt x="637283" y="70802"/>
                </a:lnTo>
                <a:lnTo>
                  <a:pt x="706443" y="45538"/>
                </a:lnTo>
                <a:lnTo>
                  <a:pt x="713297" y="42964"/>
                </a:lnTo>
                <a:lnTo>
                  <a:pt x="713985" y="42781"/>
                </a:lnTo>
                <a:lnTo>
                  <a:pt x="717981" y="41323"/>
                </a:lnTo>
                <a:cubicBezTo>
                  <a:pt x="772791" y="24167"/>
                  <a:pt x="829549" y="12094"/>
                  <a:pt x="887808" y="5593"/>
                </a:cubicBezTo>
                <a:lnTo>
                  <a:pt x="891667" y="5380"/>
                </a:lnTo>
                <a:lnTo>
                  <a:pt x="894562" y="4925"/>
                </a:lnTo>
                <a:lnTo>
                  <a:pt x="942291" y="2441"/>
                </a:lnTo>
                <a:lnTo>
                  <a:pt x="942291" y="1"/>
                </a:lnTo>
                <a:lnTo>
                  <a:pt x="988599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2809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8D4063-0260-324B-8BE9-419900C3E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74C7C3-D5AD-F54F-9AA8-369FE1206C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1B679A-806F-2843-AAFB-7A3D778D2E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03E9C4-01C0-6146-A854-046AC276D7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A12ACC-AC8B-AE45-B434-6CB627D506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12BD6AC-4010-0B41-99E6-92C3FC4484F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8152FCD5-638C-7841-AEA6-5CFE55CDABB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B36C77E1-E1FC-CC44-A38F-38080121C29F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908700-1DD2-184E-8A88-1B0E24BC71ED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5746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A7F1A-9513-7247-A856-31C213C22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D05DFB7-A793-0E4F-9F13-0233E5AC096B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88BA89A-67E4-8F47-B701-91877925BB3A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842A90DC-0F43-A64B-9122-59D37D59B6F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AD1F8A-0F22-8D4D-BDD1-EFBA923C2ABB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0394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766AB1-BECD-E446-B7B8-F966EE9CD310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2B4E1A3-FDED-B54A-A4B2-560DFB748E6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0023B8F-C9D4-EB4C-A3EE-4E825969E1D6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89448EE-955F-C34B-B990-21F42FB2B842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4040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C05A99-AD77-486B-A8A8-87537634D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C98ECD-C4F5-4570-9891-0D8243BCBD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477200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1582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E4E2B-78FA-AF43-8B4E-7A0205C52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246695-62C6-3443-8CB8-695A7B1EE4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D9539A-BA0B-EA49-AB9E-F449F299BA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88F9980-FEFA-8446-B9EA-1997F22CEA56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E07480B-6E4D-AC45-877A-31402BFDD81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E809110A-4D9A-7647-A1A1-98DE54E084C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F3E5FB-B705-D74E-B23A-B3DF73E05DA9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0844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18437E-5AF1-DE41-A5AB-37D3EFAAF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2D56A2-847F-554A-8B61-D9118C3F9A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393E83-FA87-0843-BD32-999355DA9E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EE85BE-7784-9440-9F2B-034B24DB9B35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6391A9B-2E45-4C48-A811-AF74F1F7F9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C705FA1B-EF01-BF45-B9E5-1B731B98D60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8458D7-AB91-5F4A-A76E-9993295EC2C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11080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74640-6AF9-564C-B2B6-F05D1AB6C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B7BB5C-051F-F54E-94F3-0DE8E1489B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AAABEEA-4B73-4E46-81C2-D4E8ABC7E5F4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00236A3-088D-A748-8891-C57C719D1B7F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CE86EA0-BADD-254D-AB83-89CFA74710F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8D8C54-4E0D-944A-9AFB-6E357C722210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8784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31C43F-2755-7644-923B-C0AE04A360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652C5E-4724-0E44-9D74-E948798F24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E0F476-3A44-084E-A847-06838EE77B3F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D37708C-0DD8-2140-814E-E8876FE832F5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992A40C4-022A-6843-BE98-56062B52D98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62E71D-BD5D-F643-82E3-34FCC431EE15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01067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06DD4E-27C3-4172-A5EA-06A4687DE2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0BBF47-3956-48BE-85E0-38281F50D8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9A47F-C029-426F-BBB9-96835C664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85C33E-01C1-4C4C-A27C-76F8A1BFF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18F9C-22E6-4486-9013-3CC0AA32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1977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9D353B-ABC3-44AD-99B2-1F71C10687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38F164-5992-4860-85C0-F3EFE68D64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284E8-7FB5-4841-98C6-1A8F83F53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96E8AB-4F18-46F8-8033-59F187ADC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DAAA37-F541-43E2-8349-1A03A752A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0941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043FA-9A9D-42D8-AB2F-CCBBD3FC1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75512A-3345-4408-9463-F0D07CA559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AB60A9-D8BC-4CC7-9C38-39C0331F4C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F167BD-120D-4114-8F01-7BA8205BB7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169E4D-44EE-4E0A-AA9C-6DCD99DB8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5249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4C7C0-7B0E-4D5B-937E-65760FCF9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D8E08B-C867-464B-B460-8C777A71AC9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E1AD5A-FCAB-4374-AAC8-6CBD67FE2F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F2AEDC-9E86-4C90-AAB4-E76AB572A5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53F756-F107-4DCC-808C-49761084C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AFA7FF-E024-48FC-8A04-ABAEA477C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5781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8B3DC-A1A2-4178-BC9C-18D28A5CA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DF5056-601E-48C9-8177-A4DDD8BE01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4C52C1-85F8-4074-B0F2-2412533EAF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EC94D1-8771-4A8C-B032-A9D0D623B3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065715-8350-4A91-84C1-9D43CEFF15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9404AC-C928-4B49-8FE2-6236075715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AD8F014-6D2F-43FC-904F-C2B5DFDD6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814FBA-D065-4FA3-B2A4-B3A14F9E3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5846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AE279-79B0-4FDB-AA81-DAB8B77079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786516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2">
            <a:extLst>
              <a:ext uri="{FF2B5EF4-FFF2-40B4-BE49-F238E27FC236}">
                <a16:creationId xmlns:a16="http://schemas.microsoft.com/office/drawing/2014/main" id="{F807600B-B6CF-4A17-895F-00592339451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888045" y="3109019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6" name="Picture Placeholder 32">
            <a:extLst>
              <a:ext uri="{FF2B5EF4-FFF2-40B4-BE49-F238E27FC236}">
                <a16:creationId xmlns:a16="http://schemas.microsoft.com/office/drawing/2014/main" id="{A6F9CD3E-4C01-47E9-8E53-8FE1715DECE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09379" y="3109019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5" name="Picture Placeholder 32">
            <a:extLst>
              <a:ext uri="{FF2B5EF4-FFF2-40B4-BE49-F238E27FC236}">
                <a16:creationId xmlns:a16="http://schemas.microsoft.com/office/drawing/2014/main" id="{2D71831C-D257-4741-9FE5-6C91A558E80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30713" y="3109019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4" name="Picture Placeholder 32">
            <a:extLst>
              <a:ext uri="{FF2B5EF4-FFF2-40B4-BE49-F238E27FC236}">
                <a16:creationId xmlns:a16="http://schemas.microsoft.com/office/drawing/2014/main" id="{55AE3507-758E-476B-B0C7-A455CB87838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53030" y="3109019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32965218-7EAA-4C50-A1FC-CAFF1CC55C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0538" y="1203325"/>
            <a:ext cx="1050925" cy="8191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F4630D-11DC-4102-8766-0D88420E4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5838A5-7A4E-46FE-94C8-C4A48478EF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A2D4F-8D23-4CF7-AB45-4647EB802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ADFC39-5F39-47A0-8C0E-9C8E50DD6859}"/>
              </a:ext>
            </a:extLst>
          </p:cNvPr>
          <p:cNvSpPr/>
          <p:nvPr/>
        </p:nvSpPr>
        <p:spPr>
          <a:xfrm>
            <a:off x="5653617" y="1130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306F4D3-C292-4A71-8595-05D32A26310E}"/>
              </a:ext>
            </a:extLst>
          </p:cNvPr>
          <p:cNvSpPr/>
          <p:nvPr/>
        </p:nvSpPr>
        <p:spPr>
          <a:xfrm>
            <a:off x="1335617" y="3035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7D30FF0-21D1-4CE5-89D0-DA444B2CF14D}"/>
              </a:ext>
            </a:extLst>
          </p:cNvPr>
          <p:cNvSpPr/>
          <p:nvPr/>
        </p:nvSpPr>
        <p:spPr>
          <a:xfrm>
            <a:off x="4214283" y="3035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9D0C822-0C5C-4C1D-AF89-4ECF70E5BC11}"/>
              </a:ext>
            </a:extLst>
          </p:cNvPr>
          <p:cNvSpPr/>
          <p:nvPr/>
        </p:nvSpPr>
        <p:spPr>
          <a:xfrm>
            <a:off x="7092949" y="3035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0CE8130-7EFD-48ED-B344-55BA0DF32E6E}"/>
              </a:ext>
            </a:extLst>
          </p:cNvPr>
          <p:cNvSpPr/>
          <p:nvPr/>
        </p:nvSpPr>
        <p:spPr>
          <a:xfrm>
            <a:off x="9971615" y="3035300"/>
            <a:ext cx="884766" cy="965200"/>
          </a:xfrm>
          <a:prstGeom prst="rect">
            <a:avLst/>
          </a:prstGeom>
          <a:noFill/>
          <a:ln>
            <a:solidFill>
              <a:srgbClr val="E83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7163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F562D1-7000-4934-BA08-EB573283B1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268B6C-8D0A-46F1-8118-2D6E0089D0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02E6F-C199-4AEC-A8EB-73083CF03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6592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EFA43A9-1515-43E3-9040-ACE0DD553C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66700" y="3607994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593DE47-F666-42DA-B91B-BBB963FB96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48125" y="925513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F9A6711B-CC92-4052-A8A9-22AB908094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28868" y="3607994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3871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90BF43A-ADF4-474C-A6C7-D13F30B47ED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003300"/>
            <a:ext cx="3952764" cy="5537200"/>
          </a:xfrm>
          <a:custGeom>
            <a:avLst/>
            <a:gdLst>
              <a:gd name="connsiteX0" fmla="*/ 1184164 w 3952764"/>
              <a:gd name="connsiteY0" fmla="*/ 0 h 5537200"/>
              <a:gd name="connsiteX1" fmla="*/ 3952764 w 3952764"/>
              <a:gd name="connsiteY1" fmla="*/ 2768600 h 5537200"/>
              <a:gd name="connsiteX2" fmla="*/ 1184164 w 3952764"/>
              <a:gd name="connsiteY2" fmla="*/ 5537200 h 5537200"/>
              <a:gd name="connsiteX3" fmla="*/ 106500 w 3952764"/>
              <a:gd name="connsiteY3" fmla="*/ 5319630 h 5537200"/>
              <a:gd name="connsiteX4" fmla="*/ 0 w 3952764"/>
              <a:gd name="connsiteY4" fmla="*/ 5268326 h 5537200"/>
              <a:gd name="connsiteX5" fmla="*/ 0 w 3952764"/>
              <a:gd name="connsiteY5" fmla="*/ 268874 h 5537200"/>
              <a:gd name="connsiteX6" fmla="*/ 106500 w 3952764"/>
              <a:gd name="connsiteY6" fmla="*/ 217570 h 5537200"/>
              <a:gd name="connsiteX7" fmla="*/ 1184164 w 3952764"/>
              <a:gd name="connsiteY7" fmla="*/ 0 h 553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52764" h="5537200">
                <a:moveTo>
                  <a:pt x="1184164" y="0"/>
                </a:moveTo>
                <a:cubicBezTo>
                  <a:pt x="2713220" y="0"/>
                  <a:pt x="3952764" y="1239544"/>
                  <a:pt x="3952764" y="2768600"/>
                </a:cubicBezTo>
                <a:cubicBezTo>
                  <a:pt x="3952764" y="4297656"/>
                  <a:pt x="2713220" y="5537200"/>
                  <a:pt x="1184164" y="5537200"/>
                </a:cubicBezTo>
                <a:cubicBezTo>
                  <a:pt x="801900" y="5537200"/>
                  <a:pt x="437731" y="5459729"/>
                  <a:pt x="106500" y="5319630"/>
                </a:cubicBezTo>
                <a:lnTo>
                  <a:pt x="0" y="5268326"/>
                </a:lnTo>
                <a:lnTo>
                  <a:pt x="0" y="268874"/>
                </a:lnTo>
                <a:lnTo>
                  <a:pt x="106500" y="217570"/>
                </a:lnTo>
                <a:cubicBezTo>
                  <a:pt x="437731" y="77472"/>
                  <a:pt x="801900" y="0"/>
                  <a:pt x="1184164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1856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94A58E8-F52F-4A44-B1EF-1CCF06E4E2C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429000" y="0"/>
            <a:ext cx="5130800" cy="6858000"/>
          </a:xfrm>
          <a:custGeom>
            <a:avLst/>
            <a:gdLst>
              <a:gd name="connsiteX0" fmla="*/ 0 w 5130800"/>
              <a:gd name="connsiteY0" fmla="*/ 0 h 6858000"/>
              <a:gd name="connsiteX1" fmla="*/ 2110503 w 5130800"/>
              <a:gd name="connsiteY1" fmla="*/ 0 h 6858000"/>
              <a:gd name="connsiteX2" fmla="*/ 5130800 w 5130800"/>
              <a:gd name="connsiteY2" fmla="*/ 6858000 h 6858000"/>
              <a:gd name="connsiteX3" fmla="*/ 3020297 w 5130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30800" h="6858000">
                <a:moveTo>
                  <a:pt x="0" y="0"/>
                </a:moveTo>
                <a:lnTo>
                  <a:pt x="2110503" y="0"/>
                </a:lnTo>
                <a:lnTo>
                  <a:pt x="5130800" y="6858000"/>
                </a:lnTo>
                <a:lnTo>
                  <a:pt x="3020297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69A26C0-BA85-43FA-9548-0A0F7A8D94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219200" y="0"/>
            <a:ext cx="5130800" cy="6858000"/>
          </a:xfrm>
          <a:custGeom>
            <a:avLst/>
            <a:gdLst>
              <a:gd name="connsiteX0" fmla="*/ 0 w 5130800"/>
              <a:gd name="connsiteY0" fmla="*/ 0 h 6858000"/>
              <a:gd name="connsiteX1" fmla="*/ 2110503 w 5130800"/>
              <a:gd name="connsiteY1" fmla="*/ 0 h 6858000"/>
              <a:gd name="connsiteX2" fmla="*/ 5130800 w 5130800"/>
              <a:gd name="connsiteY2" fmla="*/ 6858000 h 6858000"/>
              <a:gd name="connsiteX3" fmla="*/ 3020297 w 5130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30800" h="6858000">
                <a:moveTo>
                  <a:pt x="0" y="0"/>
                </a:moveTo>
                <a:lnTo>
                  <a:pt x="2110503" y="0"/>
                </a:lnTo>
                <a:lnTo>
                  <a:pt x="5130800" y="6858000"/>
                </a:lnTo>
                <a:lnTo>
                  <a:pt x="3020297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D6440D9-CD52-44B2-A4EA-17B834508E6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990600" y="0"/>
            <a:ext cx="5130800" cy="6858000"/>
          </a:xfrm>
          <a:custGeom>
            <a:avLst/>
            <a:gdLst>
              <a:gd name="connsiteX0" fmla="*/ 0 w 5130800"/>
              <a:gd name="connsiteY0" fmla="*/ 0 h 6858000"/>
              <a:gd name="connsiteX1" fmla="*/ 2110503 w 5130800"/>
              <a:gd name="connsiteY1" fmla="*/ 0 h 6858000"/>
              <a:gd name="connsiteX2" fmla="*/ 5130800 w 5130800"/>
              <a:gd name="connsiteY2" fmla="*/ 6858000 h 6858000"/>
              <a:gd name="connsiteX3" fmla="*/ 3020297 w 5130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30800" h="6858000">
                <a:moveTo>
                  <a:pt x="0" y="0"/>
                </a:moveTo>
                <a:lnTo>
                  <a:pt x="2110503" y="0"/>
                </a:lnTo>
                <a:lnTo>
                  <a:pt x="5130800" y="6858000"/>
                </a:lnTo>
                <a:lnTo>
                  <a:pt x="3020297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1334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F540B0D-4795-4BC7-87C5-70C1142C563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391401" y="4470974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77385D8-4260-4CD4-8EDB-C56E34A3286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45358" y="4470974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C53C9E8-AC21-4D16-BB7D-EDD25725256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572625" y="3142045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900CEAA-39BA-434B-8E0D-4C5FFF31F7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18379" y="3142045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CB1BD77-7453-40ED-A9B1-6A70B0FBBF9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845648" y="1813117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6A50284-9143-4611-AC0B-E85174E0D0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18475" y="484188"/>
            <a:ext cx="1387475" cy="1609023"/>
          </a:xfrm>
          <a:custGeom>
            <a:avLst/>
            <a:gdLst>
              <a:gd name="connsiteX0" fmla="*/ 692214 w 1387475"/>
              <a:gd name="connsiteY0" fmla="*/ 0 h 1609023"/>
              <a:gd name="connsiteX1" fmla="*/ 695360 w 1387475"/>
              <a:gd name="connsiteY1" fmla="*/ 0 h 1609023"/>
              <a:gd name="connsiteX2" fmla="*/ 1387475 w 1387475"/>
              <a:gd name="connsiteY2" fmla="*/ 346058 h 1609023"/>
              <a:gd name="connsiteX3" fmla="*/ 1387475 w 1387475"/>
              <a:gd name="connsiteY3" fmla="*/ 1262179 h 1609023"/>
              <a:gd name="connsiteX4" fmla="*/ 693787 w 1387475"/>
              <a:gd name="connsiteY4" fmla="*/ 1609023 h 1609023"/>
              <a:gd name="connsiteX5" fmla="*/ 0 w 1387475"/>
              <a:gd name="connsiteY5" fmla="*/ 1262129 h 1609023"/>
              <a:gd name="connsiteX6" fmla="*/ 0 w 1387475"/>
              <a:gd name="connsiteY6" fmla="*/ 346107 h 160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7475" h="1609023">
                <a:moveTo>
                  <a:pt x="692214" y="0"/>
                </a:moveTo>
                <a:lnTo>
                  <a:pt x="695360" y="0"/>
                </a:lnTo>
                <a:lnTo>
                  <a:pt x="1387475" y="346058"/>
                </a:lnTo>
                <a:lnTo>
                  <a:pt x="1387475" y="1262179"/>
                </a:lnTo>
                <a:lnTo>
                  <a:pt x="693787" y="1609023"/>
                </a:lnTo>
                <a:lnTo>
                  <a:pt x="0" y="1262129"/>
                </a:lnTo>
                <a:lnTo>
                  <a:pt x="0" y="34610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2492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Blank">
  <p:cSld name="15_Blank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64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rotWithShape="1">
            <a:blip r:embed="rId2">
              <a:alphaModFix/>
            </a:blip>
            <a:tile tx="0" ty="0" sx="100000" sy="100000" flip="none" algn="tl"/>
          </a:blipFill>
          <a:ln>
            <a:noFill/>
          </a:ln>
        </p:spPr>
        <p:txBody>
          <a:bodyPr spcFirstLastPara="1" wrap="square" lIns="91425" tIns="45700" rIns="91425" bIns="45700" anchor="ctr" anchorCtr="1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•"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Google Shape;48;p64"/>
          <p:cNvSpPr txBox="1">
            <a:spLocks noGrp="1"/>
          </p:cNvSpPr>
          <p:nvPr>
            <p:ph type="body" idx="1"/>
          </p:nvPr>
        </p:nvSpPr>
        <p:spPr>
          <a:xfrm>
            <a:off x="5799137" y="1306517"/>
            <a:ext cx="3956051" cy="317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000"/>
              <a:buNone/>
              <a:defRPr sz="3000" b="1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137811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9F89DD-CA58-45CD-90F9-4278575A1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156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9F89DD-CA58-45CD-90F9-4278575A1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A4E1EA-D881-409B-8C04-1257A8D74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0A0191-1FAF-4367-B442-46F8272CC223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2D4470-69BB-4864-BBB8-F96270AE99D6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 Privacy</a:t>
            </a:r>
          </a:p>
        </p:txBody>
      </p:sp>
    </p:spTree>
    <p:extLst>
      <p:ext uri="{BB962C8B-B14F-4D97-AF65-F5344CB8AC3E}">
        <p14:creationId xmlns:p14="http://schemas.microsoft.com/office/powerpoint/2010/main" val="38457702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C450B92-4B37-4F18-BB97-A5E278988E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64566" y="543887"/>
            <a:ext cx="4936834" cy="4844056"/>
          </a:xfrm>
          <a:custGeom>
            <a:avLst/>
            <a:gdLst>
              <a:gd name="connsiteX0" fmla="*/ 1925955 w 3851910"/>
              <a:gd name="connsiteY0" fmla="*/ 0 h 3779520"/>
              <a:gd name="connsiteX1" fmla="*/ 3851910 w 3851910"/>
              <a:gd name="connsiteY1" fmla="*/ 1889760 h 3779520"/>
              <a:gd name="connsiteX2" fmla="*/ 1925955 w 3851910"/>
              <a:gd name="connsiteY2" fmla="*/ 3779520 h 3779520"/>
              <a:gd name="connsiteX3" fmla="*/ 0 w 3851910"/>
              <a:gd name="connsiteY3" fmla="*/ 1889760 h 3779520"/>
              <a:gd name="connsiteX4" fmla="*/ 1925955 w 3851910"/>
              <a:gd name="connsiteY4" fmla="*/ 0 h 3779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910" h="3779520">
                <a:moveTo>
                  <a:pt x="1925955" y="0"/>
                </a:moveTo>
                <a:cubicBezTo>
                  <a:pt x="2989631" y="0"/>
                  <a:pt x="3851910" y="846074"/>
                  <a:pt x="3851910" y="1889760"/>
                </a:cubicBezTo>
                <a:cubicBezTo>
                  <a:pt x="3851910" y="2933446"/>
                  <a:pt x="2989631" y="3779520"/>
                  <a:pt x="1925955" y="3779520"/>
                </a:cubicBezTo>
                <a:cubicBezTo>
                  <a:pt x="862279" y="3779520"/>
                  <a:pt x="0" y="2933446"/>
                  <a:pt x="0" y="1889760"/>
                </a:cubicBezTo>
                <a:cubicBezTo>
                  <a:pt x="0" y="846074"/>
                  <a:pt x="862279" y="0"/>
                  <a:pt x="192595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8853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93536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CEFA43A9-1515-43E3-9040-ACE0DD553C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66700" y="3607994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593DE47-F666-42DA-B91B-BBB963FB96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48125" y="925513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F9A6711B-CC92-4052-A8A9-22AB908094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28868" y="3607994"/>
            <a:ext cx="3671888" cy="25844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6224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605542-4BA6-49E2-9186-328C7257F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3AE337-4659-4614-A3B2-9A3295D4F3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377AB3-EA0F-4564-BA11-CE86CEC2B74E}" type="datetimeFigureOut">
              <a:rPr lang="en-US" smtClean="0"/>
              <a:t>7/16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D358D3-5A6A-496C-A8B2-A7B60581D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A4B1E0-2B52-4B39-B6EF-22A5CCB74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D112-55D8-4CF9-923F-275B1C8B9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7394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8465CD8-01F2-4B39-9718-EB9ED29A67B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843703" y="1034119"/>
            <a:ext cx="3450614" cy="4862287"/>
          </a:xfrm>
          <a:custGeom>
            <a:avLst/>
            <a:gdLst>
              <a:gd name="connsiteX0" fmla="*/ 1725317 w 3450614"/>
              <a:gd name="connsiteY0" fmla="*/ 0 h 4862287"/>
              <a:gd name="connsiteX1" fmla="*/ 1725334 w 3450614"/>
              <a:gd name="connsiteY1" fmla="*/ 1 h 4862287"/>
              <a:gd name="connsiteX2" fmla="*/ 1726349 w 3450614"/>
              <a:gd name="connsiteY2" fmla="*/ 1 h 4862287"/>
              <a:gd name="connsiteX3" fmla="*/ 3448576 w 3450614"/>
              <a:gd name="connsiteY3" fmla="*/ 1 h 4862287"/>
              <a:gd name="connsiteX4" fmla="*/ 3448576 w 3450614"/>
              <a:gd name="connsiteY4" fmla="*/ 1654075 h 4862287"/>
              <a:gd name="connsiteX5" fmla="*/ 3450614 w 3450614"/>
              <a:gd name="connsiteY5" fmla="*/ 1654075 h 4862287"/>
              <a:gd name="connsiteX6" fmla="*/ 3450614 w 3450614"/>
              <a:gd name="connsiteY6" fmla="*/ 1746610 h 4862287"/>
              <a:gd name="connsiteX7" fmla="*/ 3450614 w 3450614"/>
              <a:gd name="connsiteY7" fmla="*/ 2081042 h 4862287"/>
              <a:gd name="connsiteX8" fmla="*/ 3450614 w 3450614"/>
              <a:gd name="connsiteY8" fmla="*/ 2781245 h 4862287"/>
              <a:gd name="connsiteX9" fmla="*/ 3450614 w 3450614"/>
              <a:gd name="connsiteY9" fmla="*/ 3115676 h 4862287"/>
              <a:gd name="connsiteX10" fmla="*/ 3448555 w 3450614"/>
              <a:gd name="connsiteY10" fmla="*/ 3115676 h 4862287"/>
              <a:gd name="connsiteX11" fmla="*/ 3448555 w 3450614"/>
              <a:gd name="connsiteY11" fmla="*/ 3115677 h 4862287"/>
              <a:gd name="connsiteX12" fmla="*/ 3448555 w 3450614"/>
              <a:gd name="connsiteY12" fmla="*/ 3116199 h 4862287"/>
              <a:gd name="connsiteX13" fmla="*/ 3448555 w 3450614"/>
              <a:gd name="connsiteY13" fmla="*/ 3138605 h 4862287"/>
              <a:gd name="connsiteX14" fmla="*/ 3448555 w 3450614"/>
              <a:gd name="connsiteY14" fmla="*/ 3208212 h 4862287"/>
              <a:gd name="connsiteX15" fmla="*/ 3444255 w 3450614"/>
              <a:gd name="connsiteY15" fmla="*/ 3208212 h 4862287"/>
              <a:gd name="connsiteX16" fmla="*/ 3440728 w 3450614"/>
              <a:gd name="connsiteY16" fmla="*/ 3283711 h 4862287"/>
              <a:gd name="connsiteX17" fmla="*/ 3439830 w 3450614"/>
              <a:gd name="connsiteY17" fmla="*/ 3290202 h 4862287"/>
              <a:gd name="connsiteX18" fmla="*/ 3439651 w 3450614"/>
              <a:gd name="connsiteY18" fmla="*/ 3293788 h 4862287"/>
              <a:gd name="connsiteX19" fmla="*/ 3434630 w 3450614"/>
              <a:gd name="connsiteY19" fmla="*/ 3327838 h 4862287"/>
              <a:gd name="connsiteX20" fmla="*/ 3419589 w 3450614"/>
              <a:gd name="connsiteY20" fmla="*/ 3436693 h 4862287"/>
              <a:gd name="connsiteX21" fmla="*/ 3416731 w 3450614"/>
              <a:gd name="connsiteY21" fmla="*/ 3449212 h 4862287"/>
              <a:gd name="connsiteX22" fmla="*/ 3415644 w 3450614"/>
              <a:gd name="connsiteY22" fmla="*/ 3456587 h 4862287"/>
              <a:gd name="connsiteX23" fmla="*/ 3406357 w 3450614"/>
              <a:gd name="connsiteY23" fmla="*/ 3494653 h 4862287"/>
              <a:gd name="connsiteX24" fmla="*/ 3385699 w 3450614"/>
              <a:gd name="connsiteY24" fmla="*/ 3585139 h 4862287"/>
              <a:gd name="connsiteX25" fmla="*/ 3379816 w 3450614"/>
              <a:gd name="connsiteY25" fmla="*/ 3603445 h 4862287"/>
              <a:gd name="connsiteX26" fmla="*/ 3377210 w 3450614"/>
              <a:gd name="connsiteY26" fmla="*/ 3614128 h 4862287"/>
              <a:gd name="connsiteX27" fmla="*/ 3364680 w 3450614"/>
              <a:gd name="connsiteY27" fmla="*/ 3650544 h 4862287"/>
              <a:gd name="connsiteX28" fmla="*/ 3339643 w 3450614"/>
              <a:gd name="connsiteY28" fmla="*/ 3728452 h 4862287"/>
              <a:gd name="connsiteX29" fmla="*/ 3329740 w 3450614"/>
              <a:gd name="connsiteY29" fmla="*/ 3752093 h 4862287"/>
              <a:gd name="connsiteX30" fmla="*/ 3325063 w 3450614"/>
              <a:gd name="connsiteY30" fmla="*/ 3765685 h 4862287"/>
              <a:gd name="connsiteX31" fmla="*/ 3310233 w 3450614"/>
              <a:gd name="connsiteY31" fmla="*/ 3798661 h 4862287"/>
              <a:gd name="connsiteX32" fmla="*/ 3282010 w 3450614"/>
              <a:gd name="connsiteY32" fmla="*/ 3866035 h 4862287"/>
              <a:gd name="connsiteX33" fmla="*/ 3267141 w 3450614"/>
              <a:gd name="connsiteY33" fmla="*/ 3894476 h 4862287"/>
              <a:gd name="connsiteX34" fmla="*/ 3259917 w 3450614"/>
              <a:gd name="connsiteY34" fmla="*/ 3910538 h 4862287"/>
              <a:gd name="connsiteX35" fmla="*/ 3243649 w 3450614"/>
              <a:gd name="connsiteY35" fmla="*/ 3939410 h 4862287"/>
              <a:gd name="connsiteX36" fmla="*/ 3213389 w 3450614"/>
              <a:gd name="connsiteY36" fmla="*/ 3997293 h 4862287"/>
              <a:gd name="connsiteX37" fmla="*/ 3192653 w 3450614"/>
              <a:gd name="connsiteY37" fmla="*/ 4029922 h 4862287"/>
              <a:gd name="connsiteX38" fmla="*/ 3182489 w 3450614"/>
              <a:gd name="connsiteY38" fmla="*/ 4047960 h 4862287"/>
              <a:gd name="connsiteX39" fmla="*/ 3165573 w 3450614"/>
              <a:gd name="connsiteY39" fmla="*/ 4072530 h 4862287"/>
              <a:gd name="connsiteX40" fmla="*/ 3134368 w 3450614"/>
              <a:gd name="connsiteY40" fmla="*/ 4121631 h 4862287"/>
              <a:gd name="connsiteX41" fmla="*/ 3106897 w 3450614"/>
              <a:gd name="connsiteY41" fmla="*/ 4157755 h 4862287"/>
              <a:gd name="connsiteX42" fmla="*/ 3093490 w 3450614"/>
              <a:gd name="connsiteY42" fmla="*/ 4177230 h 4862287"/>
              <a:gd name="connsiteX43" fmla="*/ 3076642 w 3450614"/>
              <a:gd name="connsiteY43" fmla="*/ 4197541 h 4862287"/>
              <a:gd name="connsiteX44" fmla="*/ 3045532 w 3450614"/>
              <a:gd name="connsiteY44" fmla="*/ 4238452 h 4862287"/>
              <a:gd name="connsiteX45" fmla="*/ 3010479 w 3450614"/>
              <a:gd name="connsiteY45" fmla="*/ 4277313 h 4862287"/>
              <a:gd name="connsiteX46" fmla="*/ 2993635 w 3450614"/>
              <a:gd name="connsiteY46" fmla="*/ 4297621 h 4862287"/>
              <a:gd name="connsiteX47" fmla="*/ 2977507 w 3450614"/>
              <a:gd name="connsiteY47" fmla="*/ 4313865 h 4862287"/>
              <a:gd name="connsiteX48" fmla="*/ 2947474 w 3450614"/>
              <a:gd name="connsiteY48" fmla="*/ 4347160 h 4862287"/>
              <a:gd name="connsiteX49" fmla="*/ 2903963 w 3450614"/>
              <a:gd name="connsiteY49" fmla="*/ 4387941 h 4862287"/>
              <a:gd name="connsiteX50" fmla="*/ 2883638 w 3450614"/>
              <a:gd name="connsiteY50" fmla="*/ 4408412 h 4862287"/>
              <a:gd name="connsiteX51" fmla="*/ 2868821 w 3450614"/>
              <a:gd name="connsiteY51" fmla="*/ 4420877 h 4862287"/>
              <a:gd name="connsiteX52" fmla="*/ 2840778 w 3450614"/>
              <a:gd name="connsiteY52" fmla="*/ 4447160 h 4862287"/>
              <a:gd name="connsiteX53" fmla="*/ 2787837 w 3450614"/>
              <a:gd name="connsiteY53" fmla="*/ 4489006 h 4862287"/>
              <a:gd name="connsiteX54" fmla="*/ 2764214 w 3450614"/>
              <a:gd name="connsiteY54" fmla="*/ 4508880 h 4862287"/>
              <a:gd name="connsiteX55" fmla="*/ 2751241 w 3450614"/>
              <a:gd name="connsiteY55" fmla="*/ 4517932 h 4862287"/>
              <a:gd name="connsiteX56" fmla="*/ 2726034 w 3450614"/>
              <a:gd name="connsiteY56" fmla="*/ 4537856 h 4862287"/>
              <a:gd name="connsiteX57" fmla="*/ 2662417 w 3450614"/>
              <a:gd name="connsiteY57" fmla="*/ 4579917 h 4862287"/>
              <a:gd name="connsiteX58" fmla="*/ 2636077 w 3450614"/>
              <a:gd name="connsiteY58" fmla="*/ 4598299 h 4862287"/>
              <a:gd name="connsiteX59" fmla="*/ 2625433 w 3450614"/>
              <a:gd name="connsiteY59" fmla="*/ 4604369 h 4862287"/>
              <a:gd name="connsiteX60" fmla="*/ 2603830 w 3450614"/>
              <a:gd name="connsiteY60" fmla="*/ 4618652 h 4862287"/>
              <a:gd name="connsiteX61" fmla="*/ 2527603 w 3450614"/>
              <a:gd name="connsiteY61" fmla="*/ 4660169 h 4862287"/>
              <a:gd name="connsiteX62" fmla="*/ 2499940 w 3450614"/>
              <a:gd name="connsiteY62" fmla="*/ 4675947 h 4862287"/>
              <a:gd name="connsiteX63" fmla="*/ 2492063 w 3450614"/>
              <a:gd name="connsiteY63" fmla="*/ 4679525 h 4862287"/>
              <a:gd name="connsiteX64" fmla="*/ 2474754 w 3450614"/>
              <a:gd name="connsiteY64" fmla="*/ 4688952 h 4862287"/>
              <a:gd name="connsiteX65" fmla="*/ 2382012 w 3450614"/>
              <a:gd name="connsiteY65" fmla="*/ 4729518 h 4862287"/>
              <a:gd name="connsiteX66" fmla="*/ 2356518 w 3450614"/>
              <a:gd name="connsiteY66" fmla="*/ 4741099 h 4862287"/>
              <a:gd name="connsiteX67" fmla="*/ 2351802 w 3450614"/>
              <a:gd name="connsiteY67" fmla="*/ 4742732 h 4862287"/>
              <a:gd name="connsiteX68" fmla="*/ 2339394 w 3450614"/>
              <a:gd name="connsiteY68" fmla="*/ 4748160 h 4862287"/>
              <a:gd name="connsiteX69" fmla="*/ 2218506 w 3450614"/>
              <a:gd name="connsiteY69" fmla="*/ 4788884 h 4862287"/>
              <a:gd name="connsiteX70" fmla="*/ 2206525 w 3450614"/>
              <a:gd name="connsiteY70" fmla="*/ 4793033 h 4862287"/>
              <a:gd name="connsiteX71" fmla="*/ 2205321 w 3450614"/>
              <a:gd name="connsiteY71" fmla="*/ 4793327 h 4862287"/>
              <a:gd name="connsiteX72" fmla="*/ 2198337 w 3450614"/>
              <a:gd name="connsiteY72" fmla="*/ 4795679 h 4862287"/>
              <a:gd name="connsiteX73" fmla="*/ 1901489 w 3450614"/>
              <a:gd name="connsiteY73" fmla="*/ 4853272 h 4862287"/>
              <a:gd name="connsiteX74" fmla="*/ 1894746 w 3450614"/>
              <a:gd name="connsiteY74" fmla="*/ 4853617 h 4862287"/>
              <a:gd name="connsiteX75" fmla="*/ 1889684 w 3450614"/>
              <a:gd name="connsiteY75" fmla="*/ 4854350 h 4862287"/>
              <a:gd name="connsiteX76" fmla="*/ 1806254 w 3450614"/>
              <a:gd name="connsiteY76" fmla="*/ 4858353 h 4862287"/>
              <a:gd name="connsiteX77" fmla="*/ 1806254 w 3450614"/>
              <a:gd name="connsiteY77" fmla="*/ 4862286 h 4862287"/>
              <a:gd name="connsiteX78" fmla="*/ 1725313 w 3450614"/>
              <a:gd name="connsiteY78" fmla="*/ 4862286 h 4862287"/>
              <a:gd name="connsiteX79" fmla="*/ 1725296 w 3450614"/>
              <a:gd name="connsiteY79" fmla="*/ 4862287 h 4862287"/>
              <a:gd name="connsiteX80" fmla="*/ 1725280 w 3450614"/>
              <a:gd name="connsiteY80" fmla="*/ 4862286 h 4862287"/>
              <a:gd name="connsiteX81" fmla="*/ 1724265 w 3450614"/>
              <a:gd name="connsiteY81" fmla="*/ 4862286 h 4862287"/>
              <a:gd name="connsiteX82" fmla="*/ 2039 w 3450614"/>
              <a:gd name="connsiteY82" fmla="*/ 4862286 h 4862287"/>
              <a:gd name="connsiteX83" fmla="*/ 2039 w 3450614"/>
              <a:gd name="connsiteY83" fmla="*/ 3208212 h 4862287"/>
              <a:gd name="connsiteX84" fmla="*/ 0 w 3450614"/>
              <a:gd name="connsiteY84" fmla="*/ 3208212 h 4862287"/>
              <a:gd name="connsiteX85" fmla="*/ 0 w 3450614"/>
              <a:gd name="connsiteY85" fmla="*/ 3115677 h 4862287"/>
              <a:gd name="connsiteX86" fmla="*/ 0 w 3450614"/>
              <a:gd name="connsiteY86" fmla="*/ 2781245 h 4862287"/>
              <a:gd name="connsiteX87" fmla="*/ 0 w 3450614"/>
              <a:gd name="connsiteY87" fmla="*/ 2081042 h 4862287"/>
              <a:gd name="connsiteX88" fmla="*/ 0 w 3450614"/>
              <a:gd name="connsiteY88" fmla="*/ 1746611 h 4862287"/>
              <a:gd name="connsiteX89" fmla="*/ 2059 w 3450614"/>
              <a:gd name="connsiteY89" fmla="*/ 1746611 h 4862287"/>
              <a:gd name="connsiteX90" fmla="*/ 2059 w 3450614"/>
              <a:gd name="connsiteY90" fmla="*/ 1746610 h 4862287"/>
              <a:gd name="connsiteX91" fmla="*/ 2059 w 3450614"/>
              <a:gd name="connsiteY91" fmla="*/ 1746088 h 4862287"/>
              <a:gd name="connsiteX92" fmla="*/ 2059 w 3450614"/>
              <a:gd name="connsiteY92" fmla="*/ 1723682 h 4862287"/>
              <a:gd name="connsiteX93" fmla="*/ 2059 w 3450614"/>
              <a:gd name="connsiteY93" fmla="*/ 1654075 h 4862287"/>
              <a:gd name="connsiteX94" fmla="*/ 6359 w 3450614"/>
              <a:gd name="connsiteY94" fmla="*/ 1654075 h 4862287"/>
              <a:gd name="connsiteX95" fmla="*/ 9887 w 3450614"/>
              <a:gd name="connsiteY95" fmla="*/ 1578577 h 4862287"/>
              <a:gd name="connsiteX96" fmla="*/ 10784 w 3450614"/>
              <a:gd name="connsiteY96" fmla="*/ 1572084 h 4862287"/>
              <a:gd name="connsiteX97" fmla="*/ 10963 w 3450614"/>
              <a:gd name="connsiteY97" fmla="*/ 1568500 h 4862287"/>
              <a:gd name="connsiteX98" fmla="*/ 15984 w 3450614"/>
              <a:gd name="connsiteY98" fmla="*/ 1534449 h 4862287"/>
              <a:gd name="connsiteX99" fmla="*/ 31025 w 3450614"/>
              <a:gd name="connsiteY99" fmla="*/ 1425594 h 4862287"/>
              <a:gd name="connsiteX100" fmla="*/ 33883 w 3450614"/>
              <a:gd name="connsiteY100" fmla="*/ 1413074 h 4862287"/>
              <a:gd name="connsiteX101" fmla="*/ 34970 w 3450614"/>
              <a:gd name="connsiteY101" fmla="*/ 1405701 h 4862287"/>
              <a:gd name="connsiteX102" fmla="*/ 44257 w 3450614"/>
              <a:gd name="connsiteY102" fmla="*/ 1367635 h 4862287"/>
              <a:gd name="connsiteX103" fmla="*/ 64915 w 3450614"/>
              <a:gd name="connsiteY103" fmla="*/ 1277148 h 4862287"/>
              <a:gd name="connsiteX104" fmla="*/ 70798 w 3450614"/>
              <a:gd name="connsiteY104" fmla="*/ 1258842 h 4862287"/>
              <a:gd name="connsiteX105" fmla="*/ 73404 w 3450614"/>
              <a:gd name="connsiteY105" fmla="*/ 1248160 h 4862287"/>
              <a:gd name="connsiteX106" fmla="*/ 85934 w 3450614"/>
              <a:gd name="connsiteY106" fmla="*/ 1211743 h 4862287"/>
              <a:gd name="connsiteX107" fmla="*/ 110971 w 3450614"/>
              <a:gd name="connsiteY107" fmla="*/ 1133836 h 4862287"/>
              <a:gd name="connsiteX108" fmla="*/ 120874 w 3450614"/>
              <a:gd name="connsiteY108" fmla="*/ 1110194 h 4862287"/>
              <a:gd name="connsiteX109" fmla="*/ 125551 w 3450614"/>
              <a:gd name="connsiteY109" fmla="*/ 1096602 h 4862287"/>
              <a:gd name="connsiteX110" fmla="*/ 140381 w 3450614"/>
              <a:gd name="connsiteY110" fmla="*/ 1063627 h 4862287"/>
              <a:gd name="connsiteX111" fmla="*/ 168604 w 3450614"/>
              <a:gd name="connsiteY111" fmla="*/ 996252 h 4862287"/>
              <a:gd name="connsiteX112" fmla="*/ 183473 w 3450614"/>
              <a:gd name="connsiteY112" fmla="*/ 967811 h 4862287"/>
              <a:gd name="connsiteX113" fmla="*/ 190697 w 3450614"/>
              <a:gd name="connsiteY113" fmla="*/ 951749 h 4862287"/>
              <a:gd name="connsiteX114" fmla="*/ 206965 w 3450614"/>
              <a:gd name="connsiteY114" fmla="*/ 922877 h 4862287"/>
              <a:gd name="connsiteX115" fmla="*/ 237225 w 3450614"/>
              <a:gd name="connsiteY115" fmla="*/ 864994 h 4862287"/>
              <a:gd name="connsiteX116" fmla="*/ 257961 w 3450614"/>
              <a:gd name="connsiteY116" fmla="*/ 832366 h 4862287"/>
              <a:gd name="connsiteX117" fmla="*/ 268126 w 3450614"/>
              <a:gd name="connsiteY117" fmla="*/ 814326 h 4862287"/>
              <a:gd name="connsiteX118" fmla="*/ 285041 w 3450614"/>
              <a:gd name="connsiteY118" fmla="*/ 789757 h 4862287"/>
              <a:gd name="connsiteX119" fmla="*/ 316247 w 3450614"/>
              <a:gd name="connsiteY119" fmla="*/ 740656 h 4862287"/>
              <a:gd name="connsiteX120" fmla="*/ 343717 w 3450614"/>
              <a:gd name="connsiteY120" fmla="*/ 704532 h 4862287"/>
              <a:gd name="connsiteX121" fmla="*/ 357124 w 3450614"/>
              <a:gd name="connsiteY121" fmla="*/ 685058 h 4862287"/>
              <a:gd name="connsiteX122" fmla="*/ 373972 w 3450614"/>
              <a:gd name="connsiteY122" fmla="*/ 664746 h 4862287"/>
              <a:gd name="connsiteX123" fmla="*/ 405082 w 3450614"/>
              <a:gd name="connsiteY123" fmla="*/ 623835 h 4862287"/>
              <a:gd name="connsiteX124" fmla="*/ 440135 w 3450614"/>
              <a:gd name="connsiteY124" fmla="*/ 584975 h 4862287"/>
              <a:gd name="connsiteX125" fmla="*/ 456979 w 3450614"/>
              <a:gd name="connsiteY125" fmla="*/ 564666 h 4862287"/>
              <a:gd name="connsiteX126" fmla="*/ 473107 w 3450614"/>
              <a:gd name="connsiteY126" fmla="*/ 548422 h 4862287"/>
              <a:gd name="connsiteX127" fmla="*/ 503141 w 3450614"/>
              <a:gd name="connsiteY127" fmla="*/ 515126 h 4862287"/>
              <a:gd name="connsiteX128" fmla="*/ 546651 w 3450614"/>
              <a:gd name="connsiteY128" fmla="*/ 474346 h 4862287"/>
              <a:gd name="connsiteX129" fmla="*/ 566976 w 3450614"/>
              <a:gd name="connsiteY129" fmla="*/ 453875 h 4862287"/>
              <a:gd name="connsiteX130" fmla="*/ 581793 w 3450614"/>
              <a:gd name="connsiteY130" fmla="*/ 441410 h 4862287"/>
              <a:gd name="connsiteX131" fmla="*/ 609835 w 3450614"/>
              <a:gd name="connsiteY131" fmla="*/ 415127 h 4862287"/>
              <a:gd name="connsiteX132" fmla="*/ 662777 w 3450614"/>
              <a:gd name="connsiteY132" fmla="*/ 373281 h 4862287"/>
              <a:gd name="connsiteX133" fmla="*/ 686400 w 3450614"/>
              <a:gd name="connsiteY133" fmla="*/ 353407 h 4862287"/>
              <a:gd name="connsiteX134" fmla="*/ 699372 w 3450614"/>
              <a:gd name="connsiteY134" fmla="*/ 344355 h 4862287"/>
              <a:gd name="connsiteX135" fmla="*/ 724580 w 3450614"/>
              <a:gd name="connsiteY135" fmla="*/ 324431 h 4862287"/>
              <a:gd name="connsiteX136" fmla="*/ 788197 w 3450614"/>
              <a:gd name="connsiteY136" fmla="*/ 282370 h 4862287"/>
              <a:gd name="connsiteX137" fmla="*/ 814537 w 3450614"/>
              <a:gd name="connsiteY137" fmla="*/ 263988 h 4862287"/>
              <a:gd name="connsiteX138" fmla="*/ 825181 w 3450614"/>
              <a:gd name="connsiteY138" fmla="*/ 257919 h 4862287"/>
              <a:gd name="connsiteX139" fmla="*/ 846784 w 3450614"/>
              <a:gd name="connsiteY139" fmla="*/ 243635 h 4862287"/>
              <a:gd name="connsiteX140" fmla="*/ 923012 w 3450614"/>
              <a:gd name="connsiteY140" fmla="*/ 202119 h 4862287"/>
              <a:gd name="connsiteX141" fmla="*/ 950674 w 3450614"/>
              <a:gd name="connsiteY141" fmla="*/ 186341 h 4862287"/>
              <a:gd name="connsiteX142" fmla="*/ 958551 w 3450614"/>
              <a:gd name="connsiteY142" fmla="*/ 182762 h 4862287"/>
              <a:gd name="connsiteX143" fmla="*/ 975861 w 3450614"/>
              <a:gd name="connsiteY143" fmla="*/ 173335 h 4862287"/>
              <a:gd name="connsiteX144" fmla="*/ 1068602 w 3450614"/>
              <a:gd name="connsiteY144" fmla="*/ 132770 h 4862287"/>
              <a:gd name="connsiteX145" fmla="*/ 1094096 w 3450614"/>
              <a:gd name="connsiteY145" fmla="*/ 121188 h 4862287"/>
              <a:gd name="connsiteX146" fmla="*/ 1098812 w 3450614"/>
              <a:gd name="connsiteY146" fmla="*/ 119555 h 4862287"/>
              <a:gd name="connsiteX147" fmla="*/ 1111220 w 3450614"/>
              <a:gd name="connsiteY147" fmla="*/ 114128 h 4862287"/>
              <a:gd name="connsiteX148" fmla="*/ 1232108 w 3450614"/>
              <a:gd name="connsiteY148" fmla="*/ 73404 h 4862287"/>
              <a:gd name="connsiteX149" fmla="*/ 1244089 w 3450614"/>
              <a:gd name="connsiteY149" fmla="*/ 69254 h 4862287"/>
              <a:gd name="connsiteX150" fmla="*/ 1245293 w 3450614"/>
              <a:gd name="connsiteY150" fmla="*/ 68960 h 4862287"/>
              <a:gd name="connsiteX151" fmla="*/ 1252276 w 3450614"/>
              <a:gd name="connsiteY151" fmla="*/ 66608 h 4862287"/>
              <a:gd name="connsiteX152" fmla="*/ 1549124 w 3450614"/>
              <a:gd name="connsiteY152" fmla="*/ 9015 h 4862287"/>
              <a:gd name="connsiteX153" fmla="*/ 1555869 w 3450614"/>
              <a:gd name="connsiteY153" fmla="*/ 8671 h 4862287"/>
              <a:gd name="connsiteX154" fmla="*/ 1560930 w 3450614"/>
              <a:gd name="connsiteY154" fmla="*/ 7937 h 4862287"/>
              <a:gd name="connsiteX155" fmla="*/ 1644360 w 3450614"/>
              <a:gd name="connsiteY155" fmla="*/ 3934 h 4862287"/>
              <a:gd name="connsiteX156" fmla="*/ 1644360 w 3450614"/>
              <a:gd name="connsiteY156" fmla="*/ 1 h 4862287"/>
              <a:gd name="connsiteX157" fmla="*/ 1725301 w 3450614"/>
              <a:gd name="connsiteY157" fmla="*/ 1 h 4862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3450614" h="4862287">
                <a:moveTo>
                  <a:pt x="1725317" y="0"/>
                </a:moveTo>
                <a:lnTo>
                  <a:pt x="1725334" y="1"/>
                </a:lnTo>
                <a:lnTo>
                  <a:pt x="1726349" y="1"/>
                </a:lnTo>
                <a:lnTo>
                  <a:pt x="3448576" y="1"/>
                </a:lnTo>
                <a:lnTo>
                  <a:pt x="3448576" y="1654075"/>
                </a:lnTo>
                <a:lnTo>
                  <a:pt x="3450614" y="1654075"/>
                </a:lnTo>
                <a:lnTo>
                  <a:pt x="3450614" y="1746610"/>
                </a:lnTo>
                <a:lnTo>
                  <a:pt x="3450614" y="2081042"/>
                </a:lnTo>
                <a:lnTo>
                  <a:pt x="3450614" y="2781245"/>
                </a:lnTo>
                <a:lnTo>
                  <a:pt x="3450614" y="3115676"/>
                </a:lnTo>
                <a:lnTo>
                  <a:pt x="3448555" y="3115676"/>
                </a:lnTo>
                <a:lnTo>
                  <a:pt x="3448555" y="3115677"/>
                </a:lnTo>
                <a:lnTo>
                  <a:pt x="3448555" y="3116199"/>
                </a:lnTo>
                <a:lnTo>
                  <a:pt x="3448555" y="3138605"/>
                </a:lnTo>
                <a:lnTo>
                  <a:pt x="3448555" y="3208212"/>
                </a:lnTo>
                <a:lnTo>
                  <a:pt x="3444255" y="3208212"/>
                </a:lnTo>
                <a:lnTo>
                  <a:pt x="3440728" y="3283711"/>
                </a:lnTo>
                <a:lnTo>
                  <a:pt x="3439830" y="3290202"/>
                </a:lnTo>
                <a:lnTo>
                  <a:pt x="3439651" y="3293788"/>
                </a:lnTo>
                <a:lnTo>
                  <a:pt x="3434630" y="3327838"/>
                </a:lnTo>
                <a:lnTo>
                  <a:pt x="3419589" y="3436693"/>
                </a:lnTo>
                <a:lnTo>
                  <a:pt x="3416731" y="3449212"/>
                </a:lnTo>
                <a:lnTo>
                  <a:pt x="3415644" y="3456587"/>
                </a:lnTo>
                <a:lnTo>
                  <a:pt x="3406357" y="3494653"/>
                </a:lnTo>
                <a:lnTo>
                  <a:pt x="3385699" y="3585139"/>
                </a:lnTo>
                <a:lnTo>
                  <a:pt x="3379816" y="3603445"/>
                </a:lnTo>
                <a:lnTo>
                  <a:pt x="3377210" y="3614128"/>
                </a:lnTo>
                <a:lnTo>
                  <a:pt x="3364680" y="3650544"/>
                </a:lnTo>
                <a:lnTo>
                  <a:pt x="3339643" y="3728452"/>
                </a:lnTo>
                <a:lnTo>
                  <a:pt x="3329740" y="3752093"/>
                </a:lnTo>
                <a:lnTo>
                  <a:pt x="3325063" y="3765685"/>
                </a:lnTo>
                <a:lnTo>
                  <a:pt x="3310233" y="3798661"/>
                </a:lnTo>
                <a:lnTo>
                  <a:pt x="3282010" y="3866035"/>
                </a:lnTo>
                <a:lnTo>
                  <a:pt x="3267141" y="3894476"/>
                </a:lnTo>
                <a:lnTo>
                  <a:pt x="3259917" y="3910538"/>
                </a:lnTo>
                <a:lnTo>
                  <a:pt x="3243649" y="3939410"/>
                </a:lnTo>
                <a:lnTo>
                  <a:pt x="3213389" y="3997293"/>
                </a:lnTo>
                <a:lnTo>
                  <a:pt x="3192653" y="4029922"/>
                </a:lnTo>
                <a:lnTo>
                  <a:pt x="3182489" y="4047960"/>
                </a:lnTo>
                <a:lnTo>
                  <a:pt x="3165573" y="4072530"/>
                </a:lnTo>
                <a:lnTo>
                  <a:pt x="3134368" y="4121631"/>
                </a:lnTo>
                <a:lnTo>
                  <a:pt x="3106897" y="4157755"/>
                </a:lnTo>
                <a:lnTo>
                  <a:pt x="3093490" y="4177230"/>
                </a:lnTo>
                <a:lnTo>
                  <a:pt x="3076642" y="4197541"/>
                </a:lnTo>
                <a:lnTo>
                  <a:pt x="3045532" y="4238452"/>
                </a:lnTo>
                <a:lnTo>
                  <a:pt x="3010479" y="4277313"/>
                </a:lnTo>
                <a:lnTo>
                  <a:pt x="2993635" y="4297621"/>
                </a:lnTo>
                <a:lnTo>
                  <a:pt x="2977507" y="4313865"/>
                </a:lnTo>
                <a:lnTo>
                  <a:pt x="2947474" y="4347160"/>
                </a:lnTo>
                <a:lnTo>
                  <a:pt x="2903963" y="4387941"/>
                </a:lnTo>
                <a:lnTo>
                  <a:pt x="2883638" y="4408412"/>
                </a:lnTo>
                <a:lnTo>
                  <a:pt x="2868821" y="4420877"/>
                </a:lnTo>
                <a:lnTo>
                  <a:pt x="2840778" y="4447160"/>
                </a:lnTo>
                <a:lnTo>
                  <a:pt x="2787837" y="4489006"/>
                </a:lnTo>
                <a:lnTo>
                  <a:pt x="2764214" y="4508880"/>
                </a:lnTo>
                <a:lnTo>
                  <a:pt x="2751241" y="4517932"/>
                </a:lnTo>
                <a:lnTo>
                  <a:pt x="2726034" y="4537856"/>
                </a:lnTo>
                <a:lnTo>
                  <a:pt x="2662417" y="4579917"/>
                </a:lnTo>
                <a:lnTo>
                  <a:pt x="2636077" y="4598299"/>
                </a:lnTo>
                <a:lnTo>
                  <a:pt x="2625433" y="4604369"/>
                </a:lnTo>
                <a:lnTo>
                  <a:pt x="2603830" y="4618652"/>
                </a:lnTo>
                <a:lnTo>
                  <a:pt x="2527603" y="4660169"/>
                </a:lnTo>
                <a:lnTo>
                  <a:pt x="2499940" y="4675947"/>
                </a:lnTo>
                <a:lnTo>
                  <a:pt x="2492063" y="4679525"/>
                </a:lnTo>
                <a:lnTo>
                  <a:pt x="2474754" y="4688952"/>
                </a:lnTo>
                <a:lnTo>
                  <a:pt x="2382012" y="4729518"/>
                </a:lnTo>
                <a:lnTo>
                  <a:pt x="2356518" y="4741099"/>
                </a:lnTo>
                <a:lnTo>
                  <a:pt x="2351802" y="4742732"/>
                </a:lnTo>
                <a:lnTo>
                  <a:pt x="2339394" y="4748160"/>
                </a:lnTo>
                <a:lnTo>
                  <a:pt x="2218506" y="4788884"/>
                </a:lnTo>
                <a:lnTo>
                  <a:pt x="2206525" y="4793033"/>
                </a:lnTo>
                <a:lnTo>
                  <a:pt x="2205321" y="4793327"/>
                </a:lnTo>
                <a:lnTo>
                  <a:pt x="2198337" y="4795679"/>
                </a:lnTo>
                <a:cubicBezTo>
                  <a:pt x="2102531" y="4823331"/>
                  <a:pt x="2003321" y="4842793"/>
                  <a:pt x="1901489" y="4853272"/>
                </a:cubicBezTo>
                <a:lnTo>
                  <a:pt x="1894746" y="4853617"/>
                </a:lnTo>
                <a:lnTo>
                  <a:pt x="1889684" y="4854350"/>
                </a:lnTo>
                <a:lnTo>
                  <a:pt x="1806254" y="4858353"/>
                </a:lnTo>
                <a:lnTo>
                  <a:pt x="1806254" y="4862286"/>
                </a:lnTo>
                <a:lnTo>
                  <a:pt x="1725313" y="4862286"/>
                </a:lnTo>
                <a:lnTo>
                  <a:pt x="1725296" y="4862287"/>
                </a:lnTo>
                <a:lnTo>
                  <a:pt x="1725280" y="4862286"/>
                </a:lnTo>
                <a:lnTo>
                  <a:pt x="1724265" y="4862286"/>
                </a:lnTo>
                <a:lnTo>
                  <a:pt x="2039" y="4862286"/>
                </a:lnTo>
                <a:lnTo>
                  <a:pt x="2039" y="3208212"/>
                </a:lnTo>
                <a:lnTo>
                  <a:pt x="0" y="3208212"/>
                </a:lnTo>
                <a:lnTo>
                  <a:pt x="0" y="3115677"/>
                </a:lnTo>
                <a:lnTo>
                  <a:pt x="0" y="2781245"/>
                </a:lnTo>
                <a:lnTo>
                  <a:pt x="0" y="2081042"/>
                </a:lnTo>
                <a:lnTo>
                  <a:pt x="0" y="1746611"/>
                </a:lnTo>
                <a:lnTo>
                  <a:pt x="2059" y="1746611"/>
                </a:lnTo>
                <a:lnTo>
                  <a:pt x="2059" y="1746610"/>
                </a:lnTo>
                <a:lnTo>
                  <a:pt x="2059" y="1746088"/>
                </a:lnTo>
                <a:lnTo>
                  <a:pt x="2059" y="1723682"/>
                </a:lnTo>
                <a:lnTo>
                  <a:pt x="2059" y="1654075"/>
                </a:lnTo>
                <a:lnTo>
                  <a:pt x="6359" y="1654075"/>
                </a:lnTo>
                <a:lnTo>
                  <a:pt x="9887" y="1578577"/>
                </a:lnTo>
                <a:lnTo>
                  <a:pt x="10784" y="1572084"/>
                </a:lnTo>
                <a:lnTo>
                  <a:pt x="10963" y="1568500"/>
                </a:lnTo>
                <a:lnTo>
                  <a:pt x="15984" y="1534449"/>
                </a:lnTo>
                <a:lnTo>
                  <a:pt x="31025" y="1425594"/>
                </a:lnTo>
                <a:lnTo>
                  <a:pt x="33883" y="1413074"/>
                </a:lnTo>
                <a:lnTo>
                  <a:pt x="34970" y="1405701"/>
                </a:lnTo>
                <a:lnTo>
                  <a:pt x="44257" y="1367635"/>
                </a:lnTo>
                <a:lnTo>
                  <a:pt x="64915" y="1277148"/>
                </a:lnTo>
                <a:lnTo>
                  <a:pt x="70798" y="1258842"/>
                </a:lnTo>
                <a:lnTo>
                  <a:pt x="73404" y="1248160"/>
                </a:lnTo>
                <a:lnTo>
                  <a:pt x="85934" y="1211743"/>
                </a:lnTo>
                <a:lnTo>
                  <a:pt x="110971" y="1133836"/>
                </a:lnTo>
                <a:lnTo>
                  <a:pt x="120874" y="1110194"/>
                </a:lnTo>
                <a:lnTo>
                  <a:pt x="125551" y="1096602"/>
                </a:lnTo>
                <a:lnTo>
                  <a:pt x="140381" y="1063627"/>
                </a:lnTo>
                <a:lnTo>
                  <a:pt x="168604" y="996252"/>
                </a:lnTo>
                <a:lnTo>
                  <a:pt x="183473" y="967811"/>
                </a:lnTo>
                <a:lnTo>
                  <a:pt x="190697" y="951749"/>
                </a:lnTo>
                <a:lnTo>
                  <a:pt x="206965" y="922877"/>
                </a:lnTo>
                <a:lnTo>
                  <a:pt x="237225" y="864994"/>
                </a:lnTo>
                <a:lnTo>
                  <a:pt x="257961" y="832366"/>
                </a:lnTo>
                <a:lnTo>
                  <a:pt x="268126" y="814326"/>
                </a:lnTo>
                <a:lnTo>
                  <a:pt x="285041" y="789757"/>
                </a:lnTo>
                <a:lnTo>
                  <a:pt x="316247" y="740656"/>
                </a:lnTo>
                <a:lnTo>
                  <a:pt x="343717" y="704532"/>
                </a:lnTo>
                <a:lnTo>
                  <a:pt x="357124" y="685058"/>
                </a:lnTo>
                <a:lnTo>
                  <a:pt x="373972" y="664746"/>
                </a:lnTo>
                <a:lnTo>
                  <a:pt x="405082" y="623835"/>
                </a:lnTo>
                <a:lnTo>
                  <a:pt x="440135" y="584975"/>
                </a:lnTo>
                <a:lnTo>
                  <a:pt x="456979" y="564666"/>
                </a:lnTo>
                <a:lnTo>
                  <a:pt x="473107" y="548422"/>
                </a:lnTo>
                <a:lnTo>
                  <a:pt x="503141" y="515126"/>
                </a:lnTo>
                <a:lnTo>
                  <a:pt x="546651" y="474346"/>
                </a:lnTo>
                <a:lnTo>
                  <a:pt x="566976" y="453875"/>
                </a:lnTo>
                <a:lnTo>
                  <a:pt x="581793" y="441410"/>
                </a:lnTo>
                <a:lnTo>
                  <a:pt x="609835" y="415127"/>
                </a:lnTo>
                <a:lnTo>
                  <a:pt x="662777" y="373281"/>
                </a:lnTo>
                <a:lnTo>
                  <a:pt x="686400" y="353407"/>
                </a:lnTo>
                <a:lnTo>
                  <a:pt x="699372" y="344355"/>
                </a:lnTo>
                <a:lnTo>
                  <a:pt x="724580" y="324431"/>
                </a:lnTo>
                <a:lnTo>
                  <a:pt x="788197" y="282370"/>
                </a:lnTo>
                <a:lnTo>
                  <a:pt x="814537" y="263988"/>
                </a:lnTo>
                <a:lnTo>
                  <a:pt x="825181" y="257919"/>
                </a:lnTo>
                <a:lnTo>
                  <a:pt x="846784" y="243635"/>
                </a:lnTo>
                <a:lnTo>
                  <a:pt x="923012" y="202119"/>
                </a:lnTo>
                <a:lnTo>
                  <a:pt x="950674" y="186341"/>
                </a:lnTo>
                <a:lnTo>
                  <a:pt x="958551" y="182762"/>
                </a:lnTo>
                <a:lnTo>
                  <a:pt x="975861" y="173335"/>
                </a:lnTo>
                <a:lnTo>
                  <a:pt x="1068602" y="132770"/>
                </a:lnTo>
                <a:lnTo>
                  <a:pt x="1094096" y="121188"/>
                </a:lnTo>
                <a:lnTo>
                  <a:pt x="1098812" y="119555"/>
                </a:lnTo>
                <a:lnTo>
                  <a:pt x="1111220" y="114128"/>
                </a:lnTo>
                <a:lnTo>
                  <a:pt x="1232108" y="73404"/>
                </a:lnTo>
                <a:lnTo>
                  <a:pt x="1244089" y="69254"/>
                </a:lnTo>
                <a:lnTo>
                  <a:pt x="1245293" y="68960"/>
                </a:lnTo>
                <a:lnTo>
                  <a:pt x="1252276" y="66608"/>
                </a:lnTo>
                <a:cubicBezTo>
                  <a:pt x="1348082" y="38957"/>
                  <a:pt x="1447293" y="19494"/>
                  <a:pt x="1549124" y="9015"/>
                </a:cubicBezTo>
                <a:lnTo>
                  <a:pt x="1555869" y="8671"/>
                </a:lnTo>
                <a:lnTo>
                  <a:pt x="1560930" y="7937"/>
                </a:lnTo>
                <a:lnTo>
                  <a:pt x="1644360" y="3934"/>
                </a:lnTo>
                <a:lnTo>
                  <a:pt x="1644360" y="1"/>
                </a:lnTo>
                <a:lnTo>
                  <a:pt x="1725301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7722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62DBD5-2427-428E-AFD9-72E8C9DADF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-1"/>
            <a:ext cx="4914899" cy="6835074"/>
          </a:xfrm>
          <a:custGeom>
            <a:avLst/>
            <a:gdLst>
              <a:gd name="connsiteX0" fmla="*/ 2225960 w 4451945"/>
              <a:gd name="connsiteY0" fmla="*/ 0 h 6191251"/>
              <a:gd name="connsiteX1" fmla="*/ 2225981 w 4451945"/>
              <a:gd name="connsiteY1" fmla="*/ 1 h 6191251"/>
              <a:gd name="connsiteX2" fmla="*/ 2330410 w 4451945"/>
              <a:gd name="connsiteY2" fmla="*/ 1 h 6191251"/>
              <a:gd name="connsiteX3" fmla="*/ 2330410 w 4451945"/>
              <a:gd name="connsiteY3" fmla="*/ 5009 h 6191251"/>
              <a:gd name="connsiteX4" fmla="*/ 2438050 w 4451945"/>
              <a:gd name="connsiteY4" fmla="*/ 10106 h 6191251"/>
              <a:gd name="connsiteX5" fmla="*/ 2444580 w 4451945"/>
              <a:gd name="connsiteY5" fmla="*/ 11041 h 6191251"/>
              <a:gd name="connsiteX6" fmla="*/ 2453282 w 4451945"/>
              <a:gd name="connsiteY6" fmla="*/ 11479 h 6191251"/>
              <a:gd name="connsiteX7" fmla="*/ 2836272 w 4451945"/>
              <a:gd name="connsiteY7" fmla="*/ 84814 h 6191251"/>
              <a:gd name="connsiteX8" fmla="*/ 2845282 w 4451945"/>
              <a:gd name="connsiteY8" fmla="*/ 87808 h 6191251"/>
              <a:gd name="connsiteX9" fmla="*/ 2846835 w 4451945"/>
              <a:gd name="connsiteY9" fmla="*/ 88183 h 6191251"/>
              <a:gd name="connsiteX10" fmla="*/ 2862293 w 4451945"/>
              <a:gd name="connsiteY10" fmla="*/ 93466 h 6191251"/>
              <a:gd name="connsiteX11" fmla="*/ 3018261 w 4451945"/>
              <a:gd name="connsiteY11" fmla="*/ 145321 h 6191251"/>
              <a:gd name="connsiteX12" fmla="*/ 3034270 w 4451945"/>
              <a:gd name="connsiteY12" fmla="*/ 152232 h 6191251"/>
              <a:gd name="connsiteX13" fmla="*/ 3040354 w 4451945"/>
              <a:gd name="connsiteY13" fmla="*/ 154311 h 6191251"/>
              <a:gd name="connsiteX14" fmla="*/ 3073246 w 4451945"/>
              <a:gd name="connsiteY14" fmla="*/ 169059 h 6191251"/>
              <a:gd name="connsiteX15" fmla="*/ 3192900 w 4451945"/>
              <a:gd name="connsiteY15" fmla="*/ 220711 h 6191251"/>
              <a:gd name="connsiteX16" fmla="*/ 3215233 w 4451945"/>
              <a:gd name="connsiteY16" fmla="*/ 232715 h 6191251"/>
              <a:gd name="connsiteX17" fmla="*/ 3225396 w 4451945"/>
              <a:gd name="connsiteY17" fmla="*/ 237271 h 6191251"/>
              <a:gd name="connsiteX18" fmla="*/ 3261085 w 4451945"/>
              <a:gd name="connsiteY18" fmla="*/ 257362 h 6191251"/>
              <a:gd name="connsiteX19" fmla="*/ 3359433 w 4451945"/>
              <a:gd name="connsiteY19" fmla="*/ 310226 h 6191251"/>
              <a:gd name="connsiteX20" fmla="*/ 3387305 w 4451945"/>
              <a:gd name="connsiteY20" fmla="*/ 328413 h 6191251"/>
              <a:gd name="connsiteX21" fmla="*/ 3401038 w 4451945"/>
              <a:gd name="connsiteY21" fmla="*/ 336142 h 6191251"/>
              <a:gd name="connsiteX22" fmla="*/ 3435022 w 4451945"/>
              <a:gd name="connsiteY22" fmla="*/ 359548 h 6191251"/>
              <a:gd name="connsiteX23" fmla="*/ 3517099 w 4451945"/>
              <a:gd name="connsiteY23" fmla="*/ 413105 h 6191251"/>
              <a:gd name="connsiteX24" fmla="*/ 3549622 w 4451945"/>
              <a:gd name="connsiteY24" fmla="*/ 438475 h 6191251"/>
              <a:gd name="connsiteX25" fmla="*/ 3566359 w 4451945"/>
              <a:gd name="connsiteY25" fmla="*/ 450001 h 6191251"/>
              <a:gd name="connsiteX26" fmla="*/ 3596837 w 4451945"/>
              <a:gd name="connsiteY26" fmla="*/ 475307 h 6191251"/>
              <a:gd name="connsiteX27" fmla="*/ 3665142 w 4451945"/>
              <a:gd name="connsiteY27" fmla="*/ 528589 h 6191251"/>
              <a:gd name="connsiteX28" fmla="*/ 3701322 w 4451945"/>
              <a:gd name="connsiteY28" fmla="*/ 562056 h 6191251"/>
              <a:gd name="connsiteX29" fmla="*/ 3720439 w 4451945"/>
              <a:gd name="connsiteY29" fmla="*/ 577928 h 6191251"/>
              <a:gd name="connsiteX30" fmla="*/ 3746661 w 4451945"/>
              <a:gd name="connsiteY30" fmla="*/ 603995 h 6191251"/>
              <a:gd name="connsiteX31" fmla="*/ 3802799 w 4451945"/>
              <a:gd name="connsiteY31" fmla="*/ 655921 h 6191251"/>
              <a:gd name="connsiteX32" fmla="*/ 3841548 w 4451945"/>
              <a:gd name="connsiteY32" fmla="*/ 698318 h 6191251"/>
              <a:gd name="connsiteX33" fmla="*/ 3862356 w 4451945"/>
              <a:gd name="connsiteY33" fmla="*/ 719001 h 6191251"/>
              <a:gd name="connsiteX34" fmla="*/ 3884088 w 4451945"/>
              <a:gd name="connsiteY34" fmla="*/ 744860 h 6191251"/>
              <a:gd name="connsiteX35" fmla="*/ 3929313 w 4451945"/>
              <a:gd name="connsiteY35" fmla="*/ 794342 h 6191251"/>
              <a:gd name="connsiteX36" fmla="*/ 3969450 w 4451945"/>
              <a:gd name="connsiteY36" fmla="*/ 846435 h 6191251"/>
              <a:gd name="connsiteX37" fmla="*/ 3991188 w 4451945"/>
              <a:gd name="connsiteY37" fmla="*/ 872298 h 6191251"/>
              <a:gd name="connsiteX38" fmla="*/ 4008485 w 4451945"/>
              <a:gd name="connsiteY38" fmla="*/ 897096 h 6191251"/>
              <a:gd name="connsiteX39" fmla="*/ 4043928 w 4451945"/>
              <a:gd name="connsiteY39" fmla="*/ 943093 h 6191251"/>
              <a:gd name="connsiteX40" fmla="*/ 4084188 w 4451945"/>
              <a:gd name="connsiteY40" fmla="*/ 1005614 h 6191251"/>
              <a:gd name="connsiteX41" fmla="*/ 4106012 w 4451945"/>
              <a:gd name="connsiteY41" fmla="*/ 1036899 h 6191251"/>
              <a:gd name="connsiteX42" fmla="*/ 4119126 w 4451945"/>
              <a:gd name="connsiteY42" fmla="*/ 1059869 h 6191251"/>
              <a:gd name="connsiteX43" fmla="*/ 4145880 w 4451945"/>
              <a:gd name="connsiteY43" fmla="*/ 1101415 h 6191251"/>
              <a:gd name="connsiteX44" fmla="*/ 4184921 w 4451945"/>
              <a:gd name="connsiteY44" fmla="*/ 1175119 h 6191251"/>
              <a:gd name="connsiteX45" fmla="*/ 4205911 w 4451945"/>
              <a:gd name="connsiteY45" fmla="*/ 1211882 h 6191251"/>
              <a:gd name="connsiteX46" fmla="*/ 4215230 w 4451945"/>
              <a:gd name="connsiteY46" fmla="*/ 1232334 h 6191251"/>
              <a:gd name="connsiteX47" fmla="*/ 4234415 w 4451945"/>
              <a:gd name="connsiteY47" fmla="*/ 1268548 h 6191251"/>
              <a:gd name="connsiteX48" fmla="*/ 4270827 w 4451945"/>
              <a:gd name="connsiteY48" fmla="*/ 1354338 h 6191251"/>
              <a:gd name="connsiteX49" fmla="*/ 4289961 w 4451945"/>
              <a:gd name="connsiteY49" fmla="*/ 1396326 h 6191251"/>
              <a:gd name="connsiteX50" fmla="*/ 4295995 w 4451945"/>
              <a:gd name="connsiteY50" fmla="*/ 1413634 h 6191251"/>
              <a:gd name="connsiteX51" fmla="*/ 4308772 w 4451945"/>
              <a:gd name="connsiteY51" fmla="*/ 1443737 h 6191251"/>
              <a:gd name="connsiteX52" fmla="*/ 4341074 w 4451945"/>
              <a:gd name="connsiteY52" fmla="*/ 1542938 h 6191251"/>
              <a:gd name="connsiteX53" fmla="*/ 4357240 w 4451945"/>
              <a:gd name="connsiteY53" fmla="*/ 1589308 h 6191251"/>
              <a:gd name="connsiteX54" fmla="*/ 4360602 w 4451945"/>
              <a:gd name="connsiteY54" fmla="*/ 1602910 h 6191251"/>
              <a:gd name="connsiteX55" fmla="*/ 4368193 w 4451945"/>
              <a:gd name="connsiteY55" fmla="*/ 1626219 h 6191251"/>
              <a:gd name="connsiteX56" fmla="*/ 4394846 w 4451945"/>
              <a:gd name="connsiteY56" fmla="*/ 1741438 h 6191251"/>
              <a:gd name="connsiteX57" fmla="*/ 4406827 w 4451945"/>
              <a:gd name="connsiteY57" fmla="*/ 1789908 h 6191251"/>
              <a:gd name="connsiteX58" fmla="*/ 4408230 w 4451945"/>
              <a:gd name="connsiteY58" fmla="*/ 1799297 h 6191251"/>
              <a:gd name="connsiteX59" fmla="*/ 4411918 w 4451945"/>
              <a:gd name="connsiteY59" fmla="*/ 1815238 h 6191251"/>
              <a:gd name="connsiteX60" fmla="*/ 4431323 w 4451945"/>
              <a:gd name="connsiteY60" fmla="*/ 1953846 h 6191251"/>
              <a:gd name="connsiteX61" fmla="*/ 4437802 w 4451945"/>
              <a:gd name="connsiteY61" fmla="*/ 1997203 h 6191251"/>
              <a:gd name="connsiteX62" fmla="*/ 4438032 w 4451945"/>
              <a:gd name="connsiteY62" fmla="*/ 2001767 h 6191251"/>
              <a:gd name="connsiteX63" fmla="*/ 4439190 w 4451945"/>
              <a:gd name="connsiteY63" fmla="*/ 2010034 h 6191251"/>
              <a:gd name="connsiteX64" fmla="*/ 4443741 w 4451945"/>
              <a:gd name="connsiteY64" fmla="*/ 2106169 h 6191251"/>
              <a:gd name="connsiteX65" fmla="*/ 4449289 w 4451945"/>
              <a:gd name="connsiteY65" fmla="*/ 2106169 h 6191251"/>
              <a:gd name="connsiteX66" fmla="*/ 4449289 w 4451945"/>
              <a:gd name="connsiteY66" fmla="*/ 2194799 h 6191251"/>
              <a:gd name="connsiteX67" fmla="*/ 4449289 w 4451945"/>
              <a:gd name="connsiteY67" fmla="*/ 2223329 h 6191251"/>
              <a:gd name="connsiteX68" fmla="*/ 4449289 w 4451945"/>
              <a:gd name="connsiteY68" fmla="*/ 2223995 h 6191251"/>
              <a:gd name="connsiteX69" fmla="*/ 4449289 w 4451945"/>
              <a:gd name="connsiteY69" fmla="*/ 2223996 h 6191251"/>
              <a:gd name="connsiteX70" fmla="*/ 4451945 w 4451945"/>
              <a:gd name="connsiteY70" fmla="*/ 2223996 h 6191251"/>
              <a:gd name="connsiteX71" fmla="*/ 4451945 w 4451945"/>
              <a:gd name="connsiteY71" fmla="*/ 2649834 h 6191251"/>
              <a:gd name="connsiteX72" fmla="*/ 4451945 w 4451945"/>
              <a:gd name="connsiteY72" fmla="*/ 3541417 h 6191251"/>
              <a:gd name="connsiteX73" fmla="*/ 4451945 w 4451945"/>
              <a:gd name="connsiteY73" fmla="*/ 3967256 h 6191251"/>
              <a:gd name="connsiteX74" fmla="*/ 4451945 w 4451945"/>
              <a:gd name="connsiteY74" fmla="*/ 4085083 h 6191251"/>
              <a:gd name="connsiteX75" fmla="*/ 4449314 w 4451945"/>
              <a:gd name="connsiteY75" fmla="*/ 4085083 h 6191251"/>
              <a:gd name="connsiteX76" fmla="*/ 4449314 w 4451945"/>
              <a:gd name="connsiteY76" fmla="*/ 6191250 h 6191251"/>
              <a:gd name="connsiteX77" fmla="*/ 2227318 w 4451945"/>
              <a:gd name="connsiteY77" fmla="*/ 6191250 h 6191251"/>
              <a:gd name="connsiteX78" fmla="*/ 2226007 w 4451945"/>
              <a:gd name="connsiteY78" fmla="*/ 6191250 h 6191251"/>
              <a:gd name="connsiteX79" fmla="*/ 2225986 w 4451945"/>
              <a:gd name="connsiteY79" fmla="*/ 6191251 h 6191251"/>
              <a:gd name="connsiteX80" fmla="*/ 2225965 w 4451945"/>
              <a:gd name="connsiteY80" fmla="*/ 6191250 h 6191251"/>
              <a:gd name="connsiteX81" fmla="*/ 2121536 w 4451945"/>
              <a:gd name="connsiteY81" fmla="*/ 6191250 h 6191251"/>
              <a:gd name="connsiteX82" fmla="*/ 2121536 w 4451945"/>
              <a:gd name="connsiteY82" fmla="*/ 6186242 h 6191251"/>
              <a:gd name="connsiteX83" fmla="*/ 2013895 w 4451945"/>
              <a:gd name="connsiteY83" fmla="*/ 6181144 h 6191251"/>
              <a:gd name="connsiteX84" fmla="*/ 2007364 w 4451945"/>
              <a:gd name="connsiteY84" fmla="*/ 6180211 h 6191251"/>
              <a:gd name="connsiteX85" fmla="*/ 1998664 w 4451945"/>
              <a:gd name="connsiteY85" fmla="*/ 6179772 h 6191251"/>
              <a:gd name="connsiteX86" fmla="*/ 1615674 w 4451945"/>
              <a:gd name="connsiteY86" fmla="*/ 6106438 h 6191251"/>
              <a:gd name="connsiteX87" fmla="*/ 1606663 w 4451945"/>
              <a:gd name="connsiteY87" fmla="*/ 6103442 h 6191251"/>
              <a:gd name="connsiteX88" fmla="*/ 1605110 w 4451945"/>
              <a:gd name="connsiteY88" fmla="*/ 6103069 h 6191251"/>
              <a:gd name="connsiteX89" fmla="*/ 1589652 w 4451945"/>
              <a:gd name="connsiteY89" fmla="*/ 6097785 h 6191251"/>
              <a:gd name="connsiteX90" fmla="*/ 1433684 w 4451945"/>
              <a:gd name="connsiteY90" fmla="*/ 6045931 h 6191251"/>
              <a:gd name="connsiteX91" fmla="*/ 1417676 w 4451945"/>
              <a:gd name="connsiteY91" fmla="*/ 6039019 h 6191251"/>
              <a:gd name="connsiteX92" fmla="*/ 1411591 w 4451945"/>
              <a:gd name="connsiteY92" fmla="*/ 6036940 h 6191251"/>
              <a:gd name="connsiteX93" fmla="*/ 1378699 w 4451945"/>
              <a:gd name="connsiteY93" fmla="*/ 6022193 h 6191251"/>
              <a:gd name="connsiteX94" fmla="*/ 1259044 w 4451945"/>
              <a:gd name="connsiteY94" fmla="*/ 5970541 h 6191251"/>
              <a:gd name="connsiteX95" fmla="*/ 1236712 w 4451945"/>
              <a:gd name="connsiteY95" fmla="*/ 5958537 h 6191251"/>
              <a:gd name="connsiteX96" fmla="*/ 1226549 w 4451945"/>
              <a:gd name="connsiteY96" fmla="*/ 5953980 h 6191251"/>
              <a:gd name="connsiteX97" fmla="*/ 1190860 w 4451945"/>
              <a:gd name="connsiteY97" fmla="*/ 5933890 h 6191251"/>
              <a:gd name="connsiteX98" fmla="*/ 1092512 w 4451945"/>
              <a:gd name="connsiteY98" fmla="*/ 5881025 h 6191251"/>
              <a:gd name="connsiteX99" fmla="*/ 1064640 w 4451945"/>
              <a:gd name="connsiteY99" fmla="*/ 5862838 h 6191251"/>
              <a:gd name="connsiteX100" fmla="*/ 1050907 w 4451945"/>
              <a:gd name="connsiteY100" fmla="*/ 5855110 h 6191251"/>
              <a:gd name="connsiteX101" fmla="*/ 1016923 w 4451945"/>
              <a:gd name="connsiteY101" fmla="*/ 5831703 h 6191251"/>
              <a:gd name="connsiteX102" fmla="*/ 934846 w 4451945"/>
              <a:gd name="connsiteY102" fmla="*/ 5778147 h 6191251"/>
              <a:gd name="connsiteX103" fmla="*/ 902324 w 4451945"/>
              <a:gd name="connsiteY103" fmla="*/ 5752777 h 6191251"/>
              <a:gd name="connsiteX104" fmla="*/ 885586 w 4451945"/>
              <a:gd name="connsiteY104" fmla="*/ 5741251 h 6191251"/>
              <a:gd name="connsiteX105" fmla="*/ 855108 w 4451945"/>
              <a:gd name="connsiteY105" fmla="*/ 5715945 h 6191251"/>
              <a:gd name="connsiteX106" fmla="*/ 786804 w 4451945"/>
              <a:gd name="connsiteY106" fmla="*/ 5662661 h 6191251"/>
              <a:gd name="connsiteX107" fmla="*/ 750624 w 4451945"/>
              <a:gd name="connsiteY107" fmla="*/ 5629195 h 6191251"/>
              <a:gd name="connsiteX108" fmla="*/ 731506 w 4451945"/>
              <a:gd name="connsiteY108" fmla="*/ 5613323 h 6191251"/>
              <a:gd name="connsiteX109" fmla="*/ 705284 w 4451945"/>
              <a:gd name="connsiteY109" fmla="*/ 5587257 h 6191251"/>
              <a:gd name="connsiteX110" fmla="*/ 649146 w 4451945"/>
              <a:gd name="connsiteY110" fmla="*/ 5535330 h 6191251"/>
              <a:gd name="connsiteX111" fmla="*/ 610397 w 4451945"/>
              <a:gd name="connsiteY111" fmla="*/ 5492934 h 6191251"/>
              <a:gd name="connsiteX112" fmla="*/ 589589 w 4451945"/>
              <a:gd name="connsiteY112" fmla="*/ 5472250 h 6191251"/>
              <a:gd name="connsiteX113" fmla="*/ 567858 w 4451945"/>
              <a:gd name="connsiteY113" fmla="*/ 5446391 h 6191251"/>
              <a:gd name="connsiteX114" fmla="*/ 522632 w 4451945"/>
              <a:gd name="connsiteY114" fmla="*/ 5396909 h 6191251"/>
              <a:gd name="connsiteX115" fmla="*/ 482495 w 4451945"/>
              <a:gd name="connsiteY115" fmla="*/ 5344816 h 6191251"/>
              <a:gd name="connsiteX116" fmla="*/ 460758 w 4451945"/>
              <a:gd name="connsiteY116" fmla="*/ 5318953 h 6191251"/>
              <a:gd name="connsiteX117" fmla="*/ 443460 w 4451945"/>
              <a:gd name="connsiteY117" fmla="*/ 5294156 h 6191251"/>
              <a:gd name="connsiteX118" fmla="*/ 408018 w 4451945"/>
              <a:gd name="connsiteY118" fmla="*/ 5248158 h 6191251"/>
              <a:gd name="connsiteX119" fmla="*/ 367757 w 4451945"/>
              <a:gd name="connsiteY119" fmla="*/ 5185637 h 6191251"/>
              <a:gd name="connsiteX120" fmla="*/ 345932 w 4451945"/>
              <a:gd name="connsiteY120" fmla="*/ 5154352 h 6191251"/>
              <a:gd name="connsiteX121" fmla="*/ 332819 w 4451945"/>
              <a:gd name="connsiteY121" fmla="*/ 5131383 h 6191251"/>
              <a:gd name="connsiteX122" fmla="*/ 306065 w 4451945"/>
              <a:gd name="connsiteY122" fmla="*/ 5089836 h 6191251"/>
              <a:gd name="connsiteX123" fmla="*/ 267024 w 4451945"/>
              <a:gd name="connsiteY123" fmla="*/ 5016132 h 6191251"/>
              <a:gd name="connsiteX124" fmla="*/ 246035 w 4451945"/>
              <a:gd name="connsiteY124" fmla="*/ 4979369 h 6191251"/>
              <a:gd name="connsiteX125" fmla="*/ 236715 w 4451945"/>
              <a:gd name="connsiteY125" fmla="*/ 4958917 h 6191251"/>
              <a:gd name="connsiteX126" fmla="*/ 217531 w 4451945"/>
              <a:gd name="connsiteY126" fmla="*/ 4922702 h 6191251"/>
              <a:gd name="connsiteX127" fmla="*/ 181118 w 4451945"/>
              <a:gd name="connsiteY127" fmla="*/ 4836913 h 6191251"/>
              <a:gd name="connsiteX128" fmla="*/ 161984 w 4451945"/>
              <a:gd name="connsiteY128" fmla="*/ 4794925 h 6191251"/>
              <a:gd name="connsiteX129" fmla="*/ 155951 w 4451945"/>
              <a:gd name="connsiteY129" fmla="*/ 4777618 h 6191251"/>
              <a:gd name="connsiteX130" fmla="*/ 143173 w 4451945"/>
              <a:gd name="connsiteY130" fmla="*/ 4747515 h 6191251"/>
              <a:gd name="connsiteX131" fmla="*/ 110871 w 4451945"/>
              <a:gd name="connsiteY131" fmla="*/ 4648314 h 6191251"/>
              <a:gd name="connsiteX132" fmla="*/ 94705 w 4451945"/>
              <a:gd name="connsiteY132" fmla="*/ 4601944 h 6191251"/>
              <a:gd name="connsiteX133" fmla="*/ 91343 w 4451945"/>
              <a:gd name="connsiteY133" fmla="*/ 4588341 h 6191251"/>
              <a:gd name="connsiteX134" fmla="*/ 83753 w 4451945"/>
              <a:gd name="connsiteY134" fmla="*/ 4565031 h 6191251"/>
              <a:gd name="connsiteX135" fmla="*/ 57100 w 4451945"/>
              <a:gd name="connsiteY135" fmla="*/ 4449814 h 6191251"/>
              <a:gd name="connsiteX136" fmla="*/ 45118 w 4451945"/>
              <a:gd name="connsiteY136" fmla="*/ 4401343 h 6191251"/>
              <a:gd name="connsiteX137" fmla="*/ 43715 w 4451945"/>
              <a:gd name="connsiteY137" fmla="*/ 4391954 h 6191251"/>
              <a:gd name="connsiteX138" fmla="*/ 40028 w 4451945"/>
              <a:gd name="connsiteY138" fmla="*/ 4376013 h 6191251"/>
              <a:gd name="connsiteX139" fmla="*/ 20623 w 4451945"/>
              <a:gd name="connsiteY139" fmla="*/ 4237405 h 6191251"/>
              <a:gd name="connsiteX140" fmla="*/ 14144 w 4451945"/>
              <a:gd name="connsiteY140" fmla="*/ 4194048 h 6191251"/>
              <a:gd name="connsiteX141" fmla="*/ 13913 w 4451945"/>
              <a:gd name="connsiteY141" fmla="*/ 4189483 h 6191251"/>
              <a:gd name="connsiteX142" fmla="*/ 12755 w 4451945"/>
              <a:gd name="connsiteY142" fmla="*/ 4181217 h 6191251"/>
              <a:gd name="connsiteX143" fmla="*/ 8205 w 4451945"/>
              <a:gd name="connsiteY143" fmla="*/ 4085083 h 6191251"/>
              <a:gd name="connsiteX144" fmla="*/ 2656 w 4451945"/>
              <a:gd name="connsiteY144" fmla="*/ 4085083 h 6191251"/>
              <a:gd name="connsiteX145" fmla="*/ 2656 w 4451945"/>
              <a:gd name="connsiteY145" fmla="*/ 3996451 h 6191251"/>
              <a:gd name="connsiteX146" fmla="*/ 2656 w 4451945"/>
              <a:gd name="connsiteY146" fmla="*/ 3967921 h 6191251"/>
              <a:gd name="connsiteX147" fmla="*/ 2656 w 4451945"/>
              <a:gd name="connsiteY147" fmla="*/ 3967256 h 6191251"/>
              <a:gd name="connsiteX148" fmla="*/ 2656 w 4451945"/>
              <a:gd name="connsiteY148" fmla="*/ 3967255 h 6191251"/>
              <a:gd name="connsiteX149" fmla="*/ 0 w 4451945"/>
              <a:gd name="connsiteY149" fmla="*/ 3967255 h 6191251"/>
              <a:gd name="connsiteX150" fmla="*/ 0 w 4451945"/>
              <a:gd name="connsiteY150" fmla="*/ 3541417 h 6191251"/>
              <a:gd name="connsiteX151" fmla="*/ 0 w 4451945"/>
              <a:gd name="connsiteY151" fmla="*/ 2649834 h 6191251"/>
              <a:gd name="connsiteX152" fmla="*/ 0 w 4451945"/>
              <a:gd name="connsiteY152" fmla="*/ 2223995 h 6191251"/>
              <a:gd name="connsiteX153" fmla="*/ 0 w 4451945"/>
              <a:gd name="connsiteY153" fmla="*/ 2106169 h 6191251"/>
              <a:gd name="connsiteX154" fmla="*/ 2630 w 4451945"/>
              <a:gd name="connsiteY154" fmla="*/ 2106169 h 6191251"/>
              <a:gd name="connsiteX155" fmla="*/ 2630 w 4451945"/>
              <a:gd name="connsiteY155" fmla="*/ 1 h 6191251"/>
              <a:gd name="connsiteX156" fmla="*/ 2224628 w 4451945"/>
              <a:gd name="connsiteY156" fmla="*/ 1 h 6191251"/>
              <a:gd name="connsiteX157" fmla="*/ 2225938 w 4451945"/>
              <a:gd name="connsiteY157" fmla="*/ 1 h 619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4451945" h="6191251">
                <a:moveTo>
                  <a:pt x="2225960" y="0"/>
                </a:moveTo>
                <a:lnTo>
                  <a:pt x="2225981" y="1"/>
                </a:lnTo>
                <a:lnTo>
                  <a:pt x="2330410" y="1"/>
                </a:lnTo>
                <a:lnTo>
                  <a:pt x="2330410" y="5009"/>
                </a:lnTo>
                <a:lnTo>
                  <a:pt x="2438050" y="10106"/>
                </a:lnTo>
                <a:lnTo>
                  <a:pt x="2444580" y="11041"/>
                </a:lnTo>
                <a:lnTo>
                  <a:pt x="2453282" y="11479"/>
                </a:lnTo>
                <a:cubicBezTo>
                  <a:pt x="2584664" y="24822"/>
                  <a:pt x="2712664" y="49604"/>
                  <a:pt x="2836272" y="84814"/>
                </a:cubicBezTo>
                <a:lnTo>
                  <a:pt x="2845282" y="87808"/>
                </a:lnTo>
                <a:lnTo>
                  <a:pt x="2846835" y="88183"/>
                </a:lnTo>
                <a:lnTo>
                  <a:pt x="2862293" y="93466"/>
                </a:lnTo>
                <a:lnTo>
                  <a:pt x="3018261" y="145321"/>
                </a:lnTo>
                <a:lnTo>
                  <a:pt x="3034270" y="152232"/>
                </a:lnTo>
                <a:lnTo>
                  <a:pt x="3040354" y="154311"/>
                </a:lnTo>
                <a:lnTo>
                  <a:pt x="3073246" y="169059"/>
                </a:lnTo>
                <a:lnTo>
                  <a:pt x="3192900" y="220711"/>
                </a:lnTo>
                <a:lnTo>
                  <a:pt x="3215233" y="232715"/>
                </a:lnTo>
                <a:lnTo>
                  <a:pt x="3225396" y="237271"/>
                </a:lnTo>
                <a:lnTo>
                  <a:pt x="3261085" y="257362"/>
                </a:lnTo>
                <a:lnTo>
                  <a:pt x="3359433" y="310226"/>
                </a:lnTo>
                <a:lnTo>
                  <a:pt x="3387305" y="328413"/>
                </a:lnTo>
                <a:lnTo>
                  <a:pt x="3401038" y="336142"/>
                </a:lnTo>
                <a:lnTo>
                  <a:pt x="3435022" y="359548"/>
                </a:lnTo>
                <a:lnTo>
                  <a:pt x="3517099" y="413105"/>
                </a:lnTo>
                <a:lnTo>
                  <a:pt x="3549622" y="438475"/>
                </a:lnTo>
                <a:lnTo>
                  <a:pt x="3566359" y="450001"/>
                </a:lnTo>
                <a:lnTo>
                  <a:pt x="3596837" y="475307"/>
                </a:lnTo>
                <a:lnTo>
                  <a:pt x="3665142" y="528589"/>
                </a:lnTo>
                <a:lnTo>
                  <a:pt x="3701322" y="562056"/>
                </a:lnTo>
                <a:lnTo>
                  <a:pt x="3720439" y="577928"/>
                </a:lnTo>
                <a:lnTo>
                  <a:pt x="3746661" y="603995"/>
                </a:lnTo>
                <a:lnTo>
                  <a:pt x="3802799" y="655921"/>
                </a:lnTo>
                <a:lnTo>
                  <a:pt x="3841548" y="698318"/>
                </a:lnTo>
                <a:lnTo>
                  <a:pt x="3862356" y="719001"/>
                </a:lnTo>
                <a:lnTo>
                  <a:pt x="3884088" y="744860"/>
                </a:lnTo>
                <a:lnTo>
                  <a:pt x="3929313" y="794342"/>
                </a:lnTo>
                <a:lnTo>
                  <a:pt x="3969450" y="846435"/>
                </a:lnTo>
                <a:lnTo>
                  <a:pt x="3991188" y="872298"/>
                </a:lnTo>
                <a:lnTo>
                  <a:pt x="4008485" y="897096"/>
                </a:lnTo>
                <a:lnTo>
                  <a:pt x="4043928" y="943093"/>
                </a:lnTo>
                <a:lnTo>
                  <a:pt x="4084188" y="1005614"/>
                </a:lnTo>
                <a:lnTo>
                  <a:pt x="4106012" y="1036899"/>
                </a:lnTo>
                <a:lnTo>
                  <a:pt x="4119126" y="1059869"/>
                </a:lnTo>
                <a:lnTo>
                  <a:pt x="4145880" y="1101415"/>
                </a:lnTo>
                <a:lnTo>
                  <a:pt x="4184921" y="1175119"/>
                </a:lnTo>
                <a:lnTo>
                  <a:pt x="4205911" y="1211882"/>
                </a:lnTo>
                <a:lnTo>
                  <a:pt x="4215230" y="1232334"/>
                </a:lnTo>
                <a:lnTo>
                  <a:pt x="4234415" y="1268548"/>
                </a:lnTo>
                <a:lnTo>
                  <a:pt x="4270827" y="1354338"/>
                </a:lnTo>
                <a:lnTo>
                  <a:pt x="4289961" y="1396326"/>
                </a:lnTo>
                <a:lnTo>
                  <a:pt x="4295995" y="1413634"/>
                </a:lnTo>
                <a:lnTo>
                  <a:pt x="4308772" y="1443737"/>
                </a:lnTo>
                <a:lnTo>
                  <a:pt x="4341074" y="1542938"/>
                </a:lnTo>
                <a:lnTo>
                  <a:pt x="4357240" y="1589308"/>
                </a:lnTo>
                <a:lnTo>
                  <a:pt x="4360602" y="1602910"/>
                </a:lnTo>
                <a:lnTo>
                  <a:pt x="4368193" y="1626219"/>
                </a:lnTo>
                <a:lnTo>
                  <a:pt x="4394846" y="1741438"/>
                </a:lnTo>
                <a:lnTo>
                  <a:pt x="4406827" y="1789908"/>
                </a:lnTo>
                <a:lnTo>
                  <a:pt x="4408230" y="1799297"/>
                </a:lnTo>
                <a:lnTo>
                  <a:pt x="4411918" y="1815238"/>
                </a:lnTo>
                <a:lnTo>
                  <a:pt x="4431323" y="1953846"/>
                </a:lnTo>
                <a:lnTo>
                  <a:pt x="4437802" y="1997203"/>
                </a:lnTo>
                <a:lnTo>
                  <a:pt x="4438032" y="2001767"/>
                </a:lnTo>
                <a:lnTo>
                  <a:pt x="4439190" y="2010034"/>
                </a:lnTo>
                <a:lnTo>
                  <a:pt x="4443741" y="2106169"/>
                </a:lnTo>
                <a:lnTo>
                  <a:pt x="4449289" y="2106169"/>
                </a:lnTo>
                <a:lnTo>
                  <a:pt x="4449289" y="2194799"/>
                </a:lnTo>
                <a:lnTo>
                  <a:pt x="4449289" y="2223329"/>
                </a:lnTo>
                <a:lnTo>
                  <a:pt x="4449289" y="2223995"/>
                </a:lnTo>
                <a:lnTo>
                  <a:pt x="4449289" y="2223996"/>
                </a:lnTo>
                <a:lnTo>
                  <a:pt x="4451945" y="2223996"/>
                </a:lnTo>
                <a:lnTo>
                  <a:pt x="4451945" y="2649834"/>
                </a:lnTo>
                <a:lnTo>
                  <a:pt x="4451945" y="3541417"/>
                </a:lnTo>
                <a:lnTo>
                  <a:pt x="4451945" y="3967256"/>
                </a:lnTo>
                <a:lnTo>
                  <a:pt x="4451945" y="4085083"/>
                </a:lnTo>
                <a:lnTo>
                  <a:pt x="4449314" y="4085083"/>
                </a:lnTo>
                <a:lnTo>
                  <a:pt x="4449314" y="6191250"/>
                </a:lnTo>
                <a:lnTo>
                  <a:pt x="2227318" y="6191250"/>
                </a:lnTo>
                <a:lnTo>
                  <a:pt x="2226007" y="6191250"/>
                </a:lnTo>
                <a:lnTo>
                  <a:pt x="2225986" y="6191251"/>
                </a:lnTo>
                <a:lnTo>
                  <a:pt x="2225965" y="6191250"/>
                </a:lnTo>
                <a:lnTo>
                  <a:pt x="2121536" y="6191250"/>
                </a:lnTo>
                <a:lnTo>
                  <a:pt x="2121536" y="6186242"/>
                </a:lnTo>
                <a:lnTo>
                  <a:pt x="2013895" y="6181144"/>
                </a:lnTo>
                <a:lnTo>
                  <a:pt x="2007364" y="6180211"/>
                </a:lnTo>
                <a:lnTo>
                  <a:pt x="1998664" y="6179772"/>
                </a:lnTo>
                <a:cubicBezTo>
                  <a:pt x="1867282" y="6166428"/>
                  <a:pt x="1739282" y="6141647"/>
                  <a:pt x="1615674" y="6106438"/>
                </a:cubicBezTo>
                <a:lnTo>
                  <a:pt x="1606663" y="6103442"/>
                </a:lnTo>
                <a:lnTo>
                  <a:pt x="1605110" y="6103069"/>
                </a:lnTo>
                <a:lnTo>
                  <a:pt x="1589652" y="6097785"/>
                </a:lnTo>
                <a:lnTo>
                  <a:pt x="1433684" y="6045931"/>
                </a:lnTo>
                <a:lnTo>
                  <a:pt x="1417676" y="6039019"/>
                </a:lnTo>
                <a:lnTo>
                  <a:pt x="1411591" y="6036940"/>
                </a:lnTo>
                <a:lnTo>
                  <a:pt x="1378699" y="6022193"/>
                </a:lnTo>
                <a:lnTo>
                  <a:pt x="1259044" y="5970541"/>
                </a:lnTo>
                <a:lnTo>
                  <a:pt x="1236712" y="5958537"/>
                </a:lnTo>
                <a:lnTo>
                  <a:pt x="1226549" y="5953980"/>
                </a:lnTo>
                <a:lnTo>
                  <a:pt x="1190860" y="5933890"/>
                </a:lnTo>
                <a:lnTo>
                  <a:pt x="1092512" y="5881025"/>
                </a:lnTo>
                <a:lnTo>
                  <a:pt x="1064640" y="5862838"/>
                </a:lnTo>
                <a:lnTo>
                  <a:pt x="1050907" y="5855110"/>
                </a:lnTo>
                <a:lnTo>
                  <a:pt x="1016923" y="5831703"/>
                </a:lnTo>
                <a:lnTo>
                  <a:pt x="934846" y="5778147"/>
                </a:lnTo>
                <a:lnTo>
                  <a:pt x="902324" y="5752777"/>
                </a:lnTo>
                <a:lnTo>
                  <a:pt x="885586" y="5741251"/>
                </a:lnTo>
                <a:lnTo>
                  <a:pt x="855108" y="5715945"/>
                </a:lnTo>
                <a:lnTo>
                  <a:pt x="786804" y="5662661"/>
                </a:lnTo>
                <a:lnTo>
                  <a:pt x="750624" y="5629195"/>
                </a:lnTo>
                <a:lnTo>
                  <a:pt x="731506" y="5613323"/>
                </a:lnTo>
                <a:lnTo>
                  <a:pt x="705284" y="5587257"/>
                </a:lnTo>
                <a:lnTo>
                  <a:pt x="649146" y="5535330"/>
                </a:lnTo>
                <a:lnTo>
                  <a:pt x="610397" y="5492934"/>
                </a:lnTo>
                <a:lnTo>
                  <a:pt x="589589" y="5472250"/>
                </a:lnTo>
                <a:lnTo>
                  <a:pt x="567858" y="5446391"/>
                </a:lnTo>
                <a:lnTo>
                  <a:pt x="522632" y="5396909"/>
                </a:lnTo>
                <a:lnTo>
                  <a:pt x="482495" y="5344816"/>
                </a:lnTo>
                <a:lnTo>
                  <a:pt x="460758" y="5318953"/>
                </a:lnTo>
                <a:lnTo>
                  <a:pt x="443460" y="5294156"/>
                </a:lnTo>
                <a:lnTo>
                  <a:pt x="408018" y="5248158"/>
                </a:lnTo>
                <a:lnTo>
                  <a:pt x="367757" y="5185637"/>
                </a:lnTo>
                <a:lnTo>
                  <a:pt x="345932" y="5154352"/>
                </a:lnTo>
                <a:lnTo>
                  <a:pt x="332819" y="5131383"/>
                </a:lnTo>
                <a:lnTo>
                  <a:pt x="306065" y="5089836"/>
                </a:lnTo>
                <a:lnTo>
                  <a:pt x="267024" y="5016132"/>
                </a:lnTo>
                <a:lnTo>
                  <a:pt x="246035" y="4979369"/>
                </a:lnTo>
                <a:lnTo>
                  <a:pt x="236715" y="4958917"/>
                </a:lnTo>
                <a:lnTo>
                  <a:pt x="217531" y="4922702"/>
                </a:lnTo>
                <a:lnTo>
                  <a:pt x="181118" y="4836913"/>
                </a:lnTo>
                <a:lnTo>
                  <a:pt x="161984" y="4794925"/>
                </a:lnTo>
                <a:lnTo>
                  <a:pt x="155951" y="4777618"/>
                </a:lnTo>
                <a:lnTo>
                  <a:pt x="143173" y="4747515"/>
                </a:lnTo>
                <a:lnTo>
                  <a:pt x="110871" y="4648314"/>
                </a:lnTo>
                <a:lnTo>
                  <a:pt x="94705" y="4601944"/>
                </a:lnTo>
                <a:lnTo>
                  <a:pt x="91343" y="4588341"/>
                </a:lnTo>
                <a:lnTo>
                  <a:pt x="83753" y="4565031"/>
                </a:lnTo>
                <a:lnTo>
                  <a:pt x="57100" y="4449814"/>
                </a:lnTo>
                <a:lnTo>
                  <a:pt x="45118" y="4401343"/>
                </a:lnTo>
                <a:lnTo>
                  <a:pt x="43715" y="4391954"/>
                </a:lnTo>
                <a:lnTo>
                  <a:pt x="40028" y="4376013"/>
                </a:lnTo>
                <a:lnTo>
                  <a:pt x="20623" y="4237405"/>
                </a:lnTo>
                <a:lnTo>
                  <a:pt x="14144" y="4194048"/>
                </a:lnTo>
                <a:lnTo>
                  <a:pt x="13913" y="4189483"/>
                </a:lnTo>
                <a:lnTo>
                  <a:pt x="12755" y="4181217"/>
                </a:lnTo>
                <a:lnTo>
                  <a:pt x="8205" y="4085083"/>
                </a:lnTo>
                <a:lnTo>
                  <a:pt x="2656" y="4085083"/>
                </a:lnTo>
                <a:lnTo>
                  <a:pt x="2656" y="3996451"/>
                </a:lnTo>
                <a:lnTo>
                  <a:pt x="2656" y="3967921"/>
                </a:lnTo>
                <a:lnTo>
                  <a:pt x="2656" y="3967256"/>
                </a:lnTo>
                <a:lnTo>
                  <a:pt x="2656" y="3967255"/>
                </a:lnTo>
                <a:lnTo>
                  <a:pt x="0" y="3967255"/>
                </a:lnTo>
                <a:lnTo>
                  <a:pt x="0" y="3541417"/>
                </a:lnTo>
                <a:lnTo>
                  <a:pt x="0" y="2649834"/>
                </a:lnTo>
                <a:lnTo>
                  <a:pt x="0" y="2223995"/>
                </a:lnTo>
                <a:lnTo>
                  <a:pt x="0" y="2106169"/>
                </a:lnTo>
                <a:lnTo>
                  <a:pt x="2630" y="2106169"/>
                </a:lnTo>
                <a:lnTo>
                  <a:pt x="2630" y="1"/>
                </a:lnTo>
                <a:lnTo>
                  <a:pt x="2224628" y="1"/>
                </a:lnTo>
                <a:lnTo>
                  <a:pt x="2225938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6663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0D88FC9-71F7-4AC8-AAC5-506B7E20D11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1950" y="1706346"/>
            <a:ext cx="2978926" cy="3445307"/>
          </a:xfrm>
          <a:custGeom>
            <a:avLst/>
            <a:gdLst>
              <a:gd name="connsiteX0" fmla="*/ 1717881 w 3435742"/>
              <a:gd name="connsiteY0" fmla="*/ 0 h 3973642"/>
              <a:gd name="connsiteX1" fmla="*/ 1717898 w 3435742"/>
              <a:gd name="connsiteY1" fmla="*/ 1 h 3973642"/>
              <a:gd name="connsiteX2" fmla="*/ 1718909 w 3435742"/>
              <a:gd name="connsiteY2" fmla="*/ 1 h 3973642"/>
              <a:gd name="connsiteX3" fmla="*/ 3433713 w 3435742"/>
              <a:gd name="connsiteY3" fmla="*/ 1 h 3973642"/>
              <a:gd name="connsiteX4" fmla="*/ 3433713 w 3435742"/>
              <a:gd name="connsiteY4" fmla="*/ 1625413 h 3973642"/>
              <a:gd name="connsiteX5" fmla="*/ 3435742 w 3435742"/>
              <a:gd name="connsiteY5" fmla="*/ 1625413 h 3973642"/>
              <a:gd name="connsiteX6" fmla="*/ 3435742 w 3435742"/>
              <a:gd name="connsiteY6" fmla="*/ 1716345 h 3973642"/>
              <a:gd name="connsiteX7" fmla="*/ 3435742 w 3435742"/>
              <a:gd name="connsiteY7" fmla="*/ 1742298 h 3973642"/>
              <a:gd name="connsiteX8" fmla="*/ 3435742 w 3435742"/>
              <a:gd name="connsiteY8" fmla="*/ 1928661 h 3973642"/>
              <a:gd name="connsiteX9" fmla="*/ 3435742 w 3435742"/>
              <a:gd name="connsiteY9" fmla="*/ 2033495 h 3973642"/>
              <a:gd name="connsiteX10" fmla="*/ 3435742 w 3435742"/>
              <a:gd name="connsiteY10" fmla="*/ 2257297 h 3973642"/>
              <a:gd name="connsiteX11" fmla="*/ 3433692 w 3435742"/>
              <a:gd name="connsiteY11" fmla="*/ 2257297 h 3973642"/>
              <a:gd name="connsiteX12" fmla="*/ 3433692 w 3435742"/>
              <a:gd name="connsiteY12" fmla="*/ 2257298 h 3973642"/>
              <a:gd name="connsiteX13" fmla="*/ 3433692 w 3435742"/>
              <a:gd name="connsiteY13" fmla="*/ 2257811 h 3973642"/>
              <a:gd name="connsiteX14" fmla="*/ 3433692 w 3435742"/>
              <a:gd name="connsiteY14" fmla="*/ 2279828 h 3973642"/>
              <a:gd name="connsiteX15" fmla="*/ 3433692 w 3435742"/>
              <a:gd name="connsiteY15" fmla="*/ 2348229 h 3973642"/>
              <a:gd name="connsiteX16" fmla="*/ 3429411 w 3435742"/>
              <a:gd name="connsiteY16" fmla="*/ 2348229 h 3973642"/>
              <a:gd name="connsiteX17" fmla="*/ 3425898 w 3435742"/>
              <a:gd name="connsiteY17" fmla="*/ 2422420 h 3973642"/>
              <a:gd name="connsiteX18" fmla="*/ 3425005 w 3435742"/>
              <a:gd name="connsiteY18" fmla="*/ 2428799 h 3973642"/>
              <a:gd name="connsiteX19" fmla="*/ 3424827 w 3435742"/>
              <a:gd name="connsiteY19" fmla="*/ 2432322 h 3973642"/>
              <a:gd name="connsiteX20" fmla="*/ 3419827 w 3435742"/>
              <a:gd name="connsiteY20" fmla="*/ 2465782 h 3973642"/>
              <a:gd name="connsiteX21" fmla="*/ 3404851 w 3435742"/>
              <a:gd name="connsiteY21" fmla="*/ 2572751 h 3973642"/>
              <a:gd name="connsiteX22" fmla="*/ 3402005 w 3435742"/>
              <a:gd name="connsiteY22" fmla="*/ 2585054 h 3973642"/>
              <a:gd name="connsiteX23" fmla="*/ 3400923 w 3435742"/>
              <a:gd name="connsiteY23" fmla="*/ 2592300 h 3973642"/>
              <a:gd name="connsiteX24" fmla="*/ 3391676 w 3435742"/>
              <a:gd name="connsiteY24" fmla="*/ 2629706 h 3973642"/>
              <a:gd name="connsiteX25" fmla="*/ 3371107 w 3435742"/>
              <a:gd name="connsiteY25" fmla="*/ 2718624 h 3973642"/>
              <a:gd name="connsiteX26" fmla="*/ 3365249 w 3435742"/>
              <a:gd name="connsiteY26" fmla="*/ 2736614 h 3973642"/>
              <a:gd name="connsiteX27" fmla="*/ 3362654 w 3435742"/>
              <a:gd name="connsiteY27" fmla="*/ 2747111 h 3973642"/>
              <a:gd name="connsiteX28" fmla="*/ 3350179 w 3435742"/>
              <a:gd name="connsiteY28" fmla="*/ 2782897 h 3973642"/>
              <a:gd name="connsiteX29" fmla="*/ 3325250 w 3435742"/>
              <a:gd name="connsiteY29" fmla="*/ 2859454 h 3973642"/>
              <a:gd name="connsiteX30" fmla="*/ 3315389 w 3435742"/>
              <a:gd name="connsiteY30" fmla="*/ 2882686 h 3973642"/>
              <a:gd name="connsiteX31" fmla="*/ 3310733 w 3435742"/>
              <a:gd name="connsiteY31" fmla="*/ 2896042 h 3973642"/>
              <a:gd name="connsiteX32" fmla="*/ 3295966 w 3435742"/>
              <a:gd name="connsiteY32" fmla="*/ 2928446 h 3973642"/>
              <a:gd name="connsiteX33" fmla="*/ 3267865 w 3435742"/>
              <a:gd name="connsiteY33" fmla="*/ 2994653 h 3973642"/>
              <a:gd name="connsiteX34" fmla="*/ 3253060 w 3435742"/>
              <a:gd name="connsiteY34" fmla="*/ 3022602 h 3973642"/>
              <a:gd name="connsiteX35" fmla="*/ 3245868 w 3435742"/>
              <a:gd name="connsiteY35" fmla="*/ 3038385 h 3973642"/>
              <a:gd name="connsiteX36" fmla="*/ 3229669 w 3435742"/>
              <a:gd name="connsiteY36" fmla="*/ 3066757 h 3973642"/>
              <a:gd name="connsiteX37" fmla="*/ 3199540 w 3435742"/>
              <a:gd name="connsiteY37" fmla="*/ 3123637 h 3973642"/>
              <a:gd name="connsiteX38" fmla="*/ 3178893 w 3435742"/>
              <a:gd name="connsiteY38" fmla="*/ 3155700 h 3973642"/>
              <a:gd name="connsiteX39" fmla="*/ 3168773 w 3435742"/>
              <a:gd name="connsiteY39" fmla="*/ 3173426 h 3973642"/>
              <a:gd name="connsiteX40" fmla="*/ 3151929 w 3435742"/>
              <a:gd name="connsiteY40" fmla="*/ 3197570 h 3973642"/>
              <a:gd name="connsiteX41" fmla="*/ 3120859 w 3435742"/>
              <a:gd name="connsiteY41" fmla="*/ 3245820 h 3973642"/>
              <a:gd name="connsiteX42" fmla="*/ 3093506 w 3435742"/>
              <a:gd name="connsiteY42" fmla="*/ 3281318 h 3973642"/>
              <a:gd name="connsiteX43" fmla="*/ 3080157 w 3435742"/>
              <a:gd name="connsiteY43" fmla="*/ 3300456 h 3973642"/>
              <a:gd name="connsiteX44" fmla="*/ 3063382 w 3435742"/>
              <a:gd name="connsiteY44" fmla="*/ 3320415 h 3973642"/>
              <a:gd name="connsiteX45" fmla="*/ 3032406 w 3435742"/>
              <a:gd name="connsiteY45" fmla="*/ 3360617 h 3973642"/>
              <a:gd name="connsiteX46" fmla="*/ 2997504 w 3435742"/>
              <a:gd name="connsiteY46" fmla="*/ 3398805 h 3973642"/>
              <a:gd name="connsiteX47" fmla="*/ 2980733 w 3435742"/>
              <a:gd name="connsiteY47" fmla="*/ 3418761 h 3973642"/>
              <a:gd name="connsiteX48" fmla="*/ 2964674 w 3435742"/>
              <a:gd name="connsiteY48" fmla="*/ 3434723 h 3973642"/>
              <a:gd name="connsiteX49" fmla="*/ 2934770 w 3435742"/>
              <a:gd name="connsiteY49" fmla="*/ 3467442 h 3973642"/>
              <a:gd name="connsiteX50" fmla="*/ 2891447 w 3435742"/>
              <a:gd name="connsiteY50" fmla="*/ 3507516 h 3973642"/>
              <a:gd name="connsiteX51" fmla="*/ 2871210 w 3435742"/>
              <a:gd name="connsiteY51" fmla="*/ 3527632 h 3973642"/>
              <a:gd name="connsiteX52" fmla="*/ 2856456 w 3435742"/>
              <a:gd name="connsiteY52" fmla="*/ 3539881 h 3973642"/>
              <a:gd name="connsiteX53" fmla="*/ 2828534 w 3435742"/>
              <a:gd name="connsiteY53" fmla="*/ 3565708 h 3973642"/>
              <a:gd name="connsiteX54" fmla="*/ 2775821 w 3435742"/>
              <a:gd name="connsiteY54" fmla="*/ 3606830 h 3973642"/>
              <a:gd name="connsiteX55" fmla="*/ 2752301 w 3435742"/>
              <a:gd name="connsiteY55" fmla="*/ 3626359 h 3973642"/>
              <a:gd name="connsiteX56" fmla="*/ 2739383 w 3435742"/>
              <a:gd name="connsiteY56" fmla="*/ 3635254 h 3973642"/>
              <a:gd name="connsiteX57" fmla="*/ 2714285 w 3435742"/>
              <a:gd name="connsiteY57" fmla="*/ 3654833 h 3973642"/>
              <a:gd name="connsiteX58" fmla="*/ 2650942 w 3435742"/>
              <a:gd name="connsiteY58" fmla="*/ 3696165 h 3973642"/>
              <a:gd name="connsiteX59" fmla="*/ 2624716 w 3435742"/>
              <a:gd name="connsiteY59" fmla="*/ 3714229 h 3973642"/>
              <a:gd name="connsiteX60" fmla="*/ 2614117 w 3435742"/>
              <a:gd name="connsiteY60" fmla="*/ 3720193 h 3973642"/>
              <a:gd name="connsiteX61" fmla="*/ 2592607 w 3435742"/>
              <a:gd name="connsiteY61" fmla="*/ 3734229 h 3973642"/>
              <a:gd name="connsiteX62" fmla="*/ 2516709 w 3435742"/>
              <a:gd name="connsiteY62" fmla="*/ 3775026 h 3973642"/>
              <a:gd name="connsiteX63" fmla="*/ 2489165 w 3435742"/>
              <a:gd name="connsiteY63" fmla="*/ 3790531 h 3973642"/>
              <a:gd name="connsiteX64" fmla="*/ 2481322 w 3435742"/>
              <a:gd name="connsiteY64" fmla="*/ 3794047 h 3973642"/>
              <a:gd name="connsiteX65" fmla="*/ 2464088 w 3435742"/>
              <a:gd name="connsiteY65" fmla="*/ 3803311 h 3973642"/>
              <a:gd name="connsiteX66" fmla="*/ 2371745 w 3435742"/>
              <a:gd name="connsiteY66" fmla="*/ 3843173 h 3973642"/>
              <a:gd name="connsiteX67" fmla="*/ 2346361 w 3435742"/>
              <a:gd name="connsiteY67" fmla="*/ 3854554 h 3973642"/>
              <a:gd name="connsiteX68" fmla="*/ 2341666 w 3435742"/>
              <a:gd name="connsiteY68" fmla="*/ 3856159 h 3973642"/>
              <a:gd name="connsiteX69" fmla="*/ 2329311 w 3435742"/>
              <a:gd name="connsiteY69" fmla="*/ 3861493 h 3973642"/>
              <a:gd name="connsiteX70" fmla="*/ 2208945 w 3435742"/>
              <a:gd name="connsiteY70" fmla="*/ 3901511 h 3973642"/>
              <a:gd name="connsiteX71" fmla="*/ 2197015 w 3435742"/>
              <a:gd name="connsiteY71" fmla="*/ 3905588 h 3973642"/>
              <a:gd name="connsiteX72" fmla="*/ 2195817 w 3435742"/>
              <a:gd name="connsiteY72" fmla="*/ 3905877 h 3973642"/>
              <a:gd name="connsiteX73" fmla="*/ 2188863 w 3435742"/>
              <a:gd name="connsiteY73" fmla="*/ 3908188 h 3973642"/>
              <a:gd name="connsiteX74" fmla="*/ 1893294 w 3435742"/>
              <a:gd name="connsiteY74" fmla="*/ 3964784 h 3973642"/>
              <a:gd name="connsiteX75" fmla="*/ 1886580 w 3435742"/>
              <a:gd name="connsiteY75" fmla="*/ 3965122 h 3973642"/>
              <a:gd name="connsiteX76" fmla="*/ 1881540 w 3435742"/>
              <a:gd name="connsiteY76" fmla="*/ 3965842 h 3973642"/>
              <a:gd name="connsiteX77" fmla="*/ 1798469 w 3435742"/>
              <a:gd name="connsiteY77" fmla="*/ 3969777 h 3973642"/>
              <a:gd name="connsiteX78" fmla="*/ 1798469 w 3435742"/>
              <a:gd name="connsiteY78" fmla="*/ 3973641 h 3973642"/>
              <a:gd name="connsiteX79" fmla="*/ 1717877 w 3435742"/>
              <a:gd name="connsiteY79" fmla="*/ 3973641 h 3973642"/>
              <a:gd name="connsiteX80" fmla="*/ 1717860 w 3435742"/>
              <a:gd name="connsiteY80" fmla="*/ 3973642 h 3973642"/>
              <a:gd name="connsiteX81" fmla="*/ 1717844 w 3435742"/>
              <a:gd name="connsiteY81" fmla="*/ 3973641 h 3973642"/>
              <a:gd name="connsiteX82" fmla="*/ 1716833 w 3435742"/>
              <a:gd name="connsiteY82" fmla="*/ 3973641 h 3973642"/>
              <a:gd name="connsiteX83" fmla="*/ 2030 w 3435742"/>
              <a:gd name="connsiteY83" fmla="*/ 3973641 h 3973642"/>
              <a:gd name="connsiteX84" fmla="*/ 2030 w 3435742"/>
              <a:gd name="connsiteY84" fmla="*/ 2348229 h 3973642"/>
              <a:gd name="connsiteX85" fmla="*/ 0 w 3435742"/>
              <a:gd name="connsiteY85" fmla="*/ 2348229 h 3973642"/>
              <a:gd name="connsiteX86" fmla="*/ 0 w 3435742"/>
              <a:gd name="connsiteY86" fmla="*/ 2257298 h 3973642"/>
              <a:gd name="connsiteX87" fmla="*/ 0 w 3435742"/>
              <a:gd name="connsiteY87" fmla="*/ 2033495 h 3973642"/>
              <a:gd name="connsiteX88" fmla="*/ 0 w 3435742"/>
              <a:gd name="connsiteY88" fmla="*/ 1928661 h 3973642"/>
              <a:gd name="connsiteX89" fmla="*/ 0 w 3435742"/>
              <a:gd name="connsiteY89" fmla="*/ 1742298 h 3973642"/>
              <a:gd name="connsiteX90" fmla="*/ 0 w 3435742"/>
              <a:gd name="connsiteY90" fmla="*/ 1716345 h 3973642"/>
              <a:gd name="connsiteX91" fmla="*/ 2050 w 3435742"/>
              <a:gd name="connsiteY91" fmla="*/ 1716345 h 3973642"/>
              <a:gd name="connsiteX92" fmla="*/ 2050 w 3435742"/>
              <a:gd name="connsiteY92" fmla="*/ 1715831 h 3973642"/>
              <a:gd name="connsiteX93" fmla="*/ 2050 w 3435742"/>
              <a:gd name="connsiteY93" fmla="*/ 1693813 h 3973642"/>
              <a:gd name="connsiteX94" fmla="*/ 2050 w 3435742"/>
              <a:gd name="connsiteY94" fmla="*/ 1625413 h 3973642"/>
              <a:gd name="connsiteX95" fmla="*/ 6332 w 3435742"/>
              <a:gd name="connsiteY95" fmla="*/ 1625413 h 3973642"/>
              <a:gd name="connsiteX96" fmla="*/ 9844 w 3435742"/>
              <a:gd name="connsiteY96" fmla="*/ 1551223 h 3973642"/>
              <a:gd name="connsiteX97" fmla="*/ 10737 w 3435742"/>
              <a:gd name="connsiteY97" fmla="*/ 1544843 h 3973642"/>
              <a:gd name="connsiteX98" fmla="*/ 10915 w 3435742"/>
              <a:gd name="connsiteY98" fmla="*/ 1541320 h 3973642"/>
              <a:gd name="connsiteX99" fmla="*/ 15915 w 3435742"/>
              <a:gd name="connsiteY99" fmla="*/ 1507860 h 3973642"/>
              <a:gd name="connsiteX100" fmla="*/ 30891 w 3435742"/>
              <a:gd name="connsiteY100" fmla="*/ 1400891 h 3973642"/>
              <a:gd name="connsiteX101" fmla="*/ 33737 w 3435742"/>
              <a:gd name="connsiteY101" fmla="*/ 1388588 h 3973642"/>
              <a:gd name="connsiteX102" fmla="*/ 34819 w 3435742"/>
              <a:gd name="connsiteY102" fmla="*/ 1381342 h 3973642"/>
              <a:gd name="connsiteX103" fmla="*/ 44066 w 3435742"/>
              <a:gd name="connsiteY103" fmla="*/ 1343936 h 3973642"/>
              <a:gd name="connsiteX104" fmla="*/ 64635 w 3435742"/>
              <a:gd name="connsiteY104" fmla="*/ 1255017 h 3973642"/>
              <a:gd name="connsiteX105" fmla="*/ 70493 w 3435742"/>
              <a:gd name="connsiteY105" fmla="*/ 1237029 h 3973642"/>
              <a:gd name="connsiteX106" fmla="*/ 73088 w 3435742"/>
              <a:gd name="connsiteY106" fmla="*/ 1226531 h 3973642"/>
              <a:gd name="connsiteX107" fmla="*/ 85564 w 3435742"/>
              <a:gd name="connsiteY107" fmla="*/ 1190746 h 3973642"/>
              <a:gd name="connsiteX108" fmla="*/ 110492 w 3435742"/>
              <a:gd name="connsiteY108" fmla="*/ 1114188 h 3973642"/>
              <a:gd name="connsiteX109" fmla="*/ 120353 w 3435742"/>
              <a:gd name="connsiteY109" fmla="*/ 1090957 h 3973642"/>
              <a:gd name="connsiteX110" fmla="*/ 125010 w 3435742"/>
              <a:gd name="connsiteY110" fmla="*/ 1077600 h 3973642"/>
              <a:gd name="connsiteX111" fmla="*/ 139776 w 3435742"/>
              <a:gd name="connsiteY111" fmla="*/ 1045196 h 3973642"/>
              <a:gd name="connsiteX112" fmla="*/ 167877 w 3435742"/>
              <a:gd name="connsiteY112" fmla="*/ 978988 h 3973642"/>
              <a:gd name="connsiteX113" fmla="*/ 182682 w 3435742"/>
              <a:gd name="connsiteY113" fmla="*/ 951041 h 3973642"/>
              <a:gd name="connsiteX114" fmla="*/ 189874 w 3435742"/>
              <a:gd name="connsiteY114" fmla="*/ 935257 h 3973642"/>
              <a:gd name="connsiteX115" fmla="*/ 206073 w 3435742"/>
              <a:gd name="connsiteY115" fmla="*/ 906886 h 3973642"/>
              <a:gd name="connsiteX116" fmla="*/ 236202 w 3435742"/>
              <a:gd name="connsiteY116" fmla="*/ 850005 h 3973642"/>
              <a:gd name="connsiteX117" fmla="*/ 256849 w 3435742"/>
              <a:gd name="connsiteY117" fmla="*/ 817942 h 3973642"/>
              <a:gd name="connsiteX118" fmla="*/ 266970 w 3435742"/>
              <a:gd name="connsiteY118" fmla="*/ 800216 h 3973642"/>
              <a:gd name="connsiteX119" fmla="*/ 283813 w 3435742"/>
              <a:gd name="connsiteY119" fmla="*/ 776072 h 3973642"/>
              <a:gd name="connsiteX120" fmla="*/ 314883 w 3435742"/>
              <a:gd name="connsiteY120" fmla="*/ 727822 h 3973642"/>
              <a:gd name="connsiteX121" fmla="*/ 342236 w 3435742"/>
              <a:gd name="connsiteY121" fmla="*/ 692324 h 3973642"/>
              <a:gd name="connsiteX122" fmla="*/ 355585 w 3435742"/>
              <a:gd name="connsiteY122" fmla="*/ 673187 h 3973642"/>
              <a:gd name="connsiteX123" fmla="*/ 372360 w 3435742"/>
              <a:gd name="connsiteY123" fmla="*/ 653227 h 3973642"/>
              <a:gd name="connsiteX124" fmla="*/ 403336 w 3435742"/>
              <a:gd name="connsiteY124" fmla="*/ 613025 h 3973642"/>
              <a:gd name="connsiteX125" fmla="*/ 438238 w 3435742"/>
              <a:gd name="connsiteY125" fmla="*/ 574838 h 3973642"/>
              <a:gd name="connsiteX126" fmla="*/ 455009 w 3435742"/>
              <a:gd name="connsiteY126" fmla="*/ 554882 h 3973642"/>
              <a:gd name="connsiteX127" fmla="*/ 471068 w 3435742"/>
              <a:gd name="connsiteY127" fmla="*/ 538919 h 3973642"/>
              <a:gd name="connsiteX128" fmla="*/ 500972 w 3435742"/>
              <a:gd name="connsiteY128" fmla="*/ 506200 h 3973642"/>
              <a:gd name="connsiteX129" fmla="*/ 544295 w 3435742"/>
              <a:gd name="connsiteY129" fmla="*/ 466127 h 3973642"/>
              <a:gd name="connsiteX130" fmla="*/ 564532 w 3435742"/>
              <a:gd name="connsiteY130" fmla="*/ 446010 h 3973642"/>
              <a:gd name="connsiteX131" fmla="*/ 579286 w 3435742"/>
              <a:gd name="connsiteY131" fmla="*/ 433761 h 3973642"/>
              <a:gd name="connsiteX132" fmla="*/ 607207 w 3435742"/>
              <a:gd name="connsiteY132" fmla="*/ 407933 h 3973642"/>
              <a:gd name="connsiteX133" fmla="*/ 659921 w 3435742"/>
              <a:gd name="connsiteY133" fmla="*/ 366813 h 3973642"/>
              <a:gd name="connsiteX134" fmla="*/ 683442 w 3435742"/>
              <a:gd name="connsiteY134" fmla="*/ 347283 h 3973642"/>
              <a:gd name="connsiteX135" fmla="*/ 696358 w 3435742"/>
              <a:gd name="connsiteY135" fmla="*/ 338388 h 3973642"/>
              <a:gd name="connsiteX136" fmla="*/ 721457 w 3435742"/>
              <a:gd name="connsiteY136" fmla="*/ 318809 h 3973642"/>
              <a:gd name="connsiteX137" fmla="*/ 784800 w 3435742"/>
              <a:gd name="connsiteY137" fmla="*/ 277477 h 3973642"/>
              <a:gd name="connsiteX138" fmla="*/ 811027 w 3435742"/>
              <a:gd name="connsiteY138" fmla="*/ 259414 h 3973642"/>
              <a:gd name="connsiteX139" fmla="*/ 821625 w 3435742"/>
              <a:gd name="connsiteY139" fmla="*/ 253449 h 3973642"/>
              <a:gd name="connsiteX140" fmla="*/ 843135 w 3435742"/>
              <a:gd name="connsiteY140" fmla="*/ 239414 h 3973642"/>
              <a:gd name="connsiteX141" fmla="*/ 919033 w 3435742"/>
              <a:gd name="connsiteY141" fmla="*/ 198616 h 3973642"/>
              <a:gd name="connsiteX142" fmla="*/ 946577 w 3435742"/>
              <a:gd name="connsiteY142" fmla="*/ 183112 h 3973642"/>
              <a:gd name="connsiteX143" fmla="*/ 954420 w 3435742"/>
              <a:gd name="connsiteY143" fmla="*/ 179595 h 3973642"/>
              <a:gd name="connsiteX144" fmla="*/ 971655 w 3435742"/>
              <a:gd name="connsiteY144" fmla="*/ 170331 h 3973642"/>
              <a:gd name="connsiteX145" fmla="*/ 1063997 w 3435742"/>
              <a:gd name="connsiteY145" fmla="*/ 130469 h 3973642"/>
              <a:gd name="connsiteX146" fmla="*/ 1089381 w 3435742"/>
              <a:gd name="connsiteY146" fmla="*/ 119088 h 3973642"/>
              <a:gd name="connsiteX147" fmla="*/ 1094076 w 3435742"/>
              <a:gd name="connsiteY147" fmla="*/ 117484 h 3973642"/>
              <a:gd name="connsiteX148" fmla="*/ 1106431 w 3435742"/>
              <a:gd name="connsiteY148" fmla="*/ 112150 h 3973642"/>
              <a:gd name="connsiteX149" fmla="*/ 1226798 w 3435742"/>
              <a:gd name="connsiteY149" fmla="*/ 72132 h 3973642"/>
              <a:gd name="connsiteX150" fmla="*/ 1238727 w 3435742"/>
              <a:gd name="connsiteY150" fmla="*/ 68054 h 3973642"/>
              <a:gd name="connsiteX151" fmla="*/ 1239925 w 3435742"/>
              <a:gd name="connsiteY151" fmla="*/ 67765 h 3973642"/>
              <a:gd name="connsiteX152" fmla="*/ 1246879 w 3435742"/>
              <a:gd name="connsiteY152" fmla="*/ 65454 h 3973642"/>
              <a:gd name="connsiteX153" fmla="*/ 1542447 w 3435742"/>
              <a:gd name="connsiteY153" fmla="*/ 8859 h 3973642"/>
              <a:gd name="connsiteX154" fmla="*/ 1549163 w 3435742"/>
              <a:gd name="connsiteY154" fmla="*/ 8521 h 3973642"/>
              <a:gd name="connsiteX155" fmla="*/ 1554203 w 3435742"/>
              <a:gd name="connsiteY155" fmla="*/ 7799 h 3973642"/>
              <a:gd name="connsiteX156" fmla="*/ 1637273 w 3435742"/>
              <a:gd name="connsiteY156" fmla="*/ 3866 h 3973642"/>
              <a:gd name="connsiteX157" fmla="*/ 1637273 w 3435742"/>
              <a:gd name="connsiteY157" fmla="*/ 1 h 3973642"/>
              <a:gd name="connsiteX158" fmla="*/ 1717865 w 3435742"/>
              <a:gd name="connsiteY158" fmla="*/ 1 h 3973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3435742" h="3973642">
                <a:moveTo>
                  <a:pt x="1717881" y="0"/>
                </a:moveTo>
                <a:lnTo>
                  <a:pt x="1717898" y="1"/>
                </a:lnTo>
                <a:lnTo>
                  <a:pt x="1718909" y="1"/>
                </a:lnTo>
                <a:lnTo>
                  <a:pt x="3433713" y="1"/>
                </a:lnTo>
                <a:lnTo>
                  <a:pt x="3433713" y="1625413"/>
                </a:lnTo>
                <a:lnTo>
                  <a:pt x="3435742" y="1625413"/>
                </a:lnTo>
                <a:lnTo>
                  <a:pt x="3435742" y="1716345"/>
                </a:lnTo>
                <a:lnTo>
                  <a:pt x="3435742" y="1742298"/>
                </a:lnTo>
                <a:lnTo>
                  <a:pt x="3435742" y="1928661"/>
                </a:lnTo>
                <a:lnTo>
                  <a:pt x="3435742" y="2033495"/>
                </a:lnTo>
                <a:lnTo>
                  <a:pt x="3435742" y="2257297"/>
                </a:lnTo>
                <a:lnTo>
                  <a:pt x="3433692" y="2257297"/>
                </a:lnTo>
                <a:lnTo>
                  <a:pt x="3433692" y="2257298"/>
                </a:lnTo>
                <a:lnTo>
                  <a:pt x="3433692" y="2257811"/>
                </a:lnTo>
                <a:lnTo>
                  <a:pt x="3433692" y="2279828"/>
                </a:lnTo>
                <a:lnTo>
                  <a:pt x="3433692" y="2348229"/>
                </a:lnTo>
                <a:lnTo>
                  <a:pt x="3429411" y="2348229"/>
                </a:lnTo>
                <a:lnTo>
                  <a:pt x="3425898" y="2422420"/>
                </a:lnTo>
                <a:lnTo>
                  <a:pt x="3425005" y="2428799"/>
                </a:lnTo>
                <a:lnTo>
                  <a:pt x="3424827" y="2432322"/>
                </a:lnTo>
                <a:lnTo>
                  <a:pt x="3419827" y="2465782"/>
                </a:lnTo>
                <a:lnTo>
                  <a:pt x="3404851" y="2572751"/>
                </a:lnTo>
                <a:lnTo>
                  <a:pt x="3402005" y="2585054"/>
                </a:lnTo>
                <a:lnTo>
                  <a:pt x="3400923" y="2592300"/>
                </a:lnTo>
                <a:lnTo>
                  <a:pt x="3391676" y="2629706"/>
                </a:lnTo>
                <a:lnTo>
                  <a:pt x="3371107" y="2718624"/>
                </a:lnTo>
                <a:lnTo>
                  <a:pt x="3365249" y="2736614"/>
                </a:lnTo>
                <a:lnTo>
                  <a:pt x="3362654" y="2747111"/>
                </a:lnTo>
                <a:lnTo>
                  <a:pt x="3350179" y="2782897"/>
                </a:lnTo>
                <a:lnTo>
                  <a:pt x="3325250" y="2859454"/>
                </a:lnTo>
                <a:lnTo>
                  <a:pt x="3315389" y="2882686"/>
                </a:lnTo>
                <a:lnTo>
                  <a:pt x="3310733" y="2896042"/>
                </a:lnTo>
                <a:lnTo>
                  <a:pt x="3295966" y="2928446"/>
                </a:lnTo>
                <a:lnTo>
                  <a:pt x="3267865" y="2994653"/>
                </a:lnTo>
                <a:lnTo>
                  <a:pt x="3253060" y="3022602"/>
                </a:lnTo>
                <a:lnTo>
                  <a:pt x="3245868" y="3038385"/>
                </a:lnTo>
                <a:lnTo>
                  <a:pt x="3229669" y="3066757"/>
                </a:lnTo>
                <a:lnTo>
                  <a:pt x="3199540" y="3123637"/>
                </a:lnTo>
                <a:lnTo>
                  <a:pt x="3178893" y="3155700"/>
                </a:lnTo>
                <a:lnTo>
                  <a:pt x="3168773" y="3173426"/>
                </a:lnTo>
                <a:lnTo>
                  <a:pt x="3151929" y="3197570"/>
                </a:lnTo>
                <a:lnTo>
                  <a:pt x="3120859" y="3245820"/>
                </a:lnTo>
                <a:lnTo>
                  <a:pt x="3093506" y="3281318"/>
                </a:lnTo>
                <a:lnTo>
                  <a:pt x="3080157" y="3300456"/>
                </a:lnTo>
                <a:lnTo>
                  <a:pt x="3063382" y="3320415"/>
                </a:lnTo>
                <a:lnTo>
                  <a:pt x="3032406" y="3360617"/>
                </a:lnTo>
                <a:lnTo>
                  <a:pt x="2997504" y="3398805"/>
                </a:lnTo>
                <a:lnTo>
                  <a:pt x="2980733" y="3418761"/>
                </a:lnTo>
                <a:lnTo>
                  <a:pt x="2964674" y="3434723"/>
                </a:lnTo>
                <a:lnTo>
                  <a:pt x="2934770" y="3467442"/>
                </a:lnTo>
                <a:lnTo>
                  <a:pt x="2891447" y="3507516"/>
                </a:lnTo>
                <a:lnTo>
                  <a:pt x="2871210" y="3527632"/>
                </a:lnTo>
                <a:lnTo>
                  <a:pt x="2856456" y="3539881"/>
                </a:lnTo>
                <a:lnTo>
                  <a:pt x="2828534" y="3565708"/>
                </a:lnTo>
                <a:lnTo>
                  <a:pt x="2775821" y="3606830"/>
                </a:lnTo>
                <a:lnTo>
                  <a:pt x="2752301" y="3626359"/>
                </a:lnTo>
                <a:lnTo>
                  <a:pt x="2739383" y="3635254"/>
                </a:lnTo>
                <a:lnTo>
                  <a:pt x="2714285" y="3654833"/>
                </a:lnTo>
                <a:lnTo>
                  <a:pt x="2650942" y="3696165"/>
                </a:lnTo>
                <a:lnTo>
                  <a:pt x="2624716" y="3714229"/>
                </a:lnTo>
                <a:lnTo>
                  <a:pt x="2614117" y="3720193"/>
                </a:lnTo>
                <a:lnTo>
                  <a:pt x="2592607" y="3734229"/>
                </a:lnTo>
                <a:lnTo>
                  <a:pt x="2516709" y="3775026"/>
                </a:lnTo>
                <a:lnTo>
                  <a:pt x="2489165" y="3790531"/>
                </a:lnTo>
                <a:lnTo>
                  <a:pt x="2481322" y="3794047"/>
                </a:lnTo>
                <a:lnTo>
                  <a:pt x="2464088" y="3803311"/>
                </a:lnTo>
                <a:lnTo>
                  <a:pt x="2371745" y="3843173"/>
                </a:lnTo>
                <a:lnTo>
                  <a:pt x="2346361" y="3854554"/>
                </a:lnTo>
                <a:lnTo>
                  <a:pt x="2341666" y="3856159"/>
                </a:lnTo>
                <a:lnTo>
                  <a:pt x="2329311" y="3861493"/>
                </a:lnTo>
                <a:lnTo>
                  <a:pt x="2208945" y="3901511"/>
                </a:lnTo>
                <a:lnTo>
                  <a:pt x="2197015" y="3905588"/>
                </a:lnTo>
                <a:lnTo>
                  <a:pt x="2195817" y="3905877"/>
                </a:lnTo>
                <a:lnTo>
                  <a:pt x="2188863" y="3908188"/>
                </a:lnTo>
                <a:cubicBezTo>
                  <a:pt x="2093469" y="3935361"/>
                  <a:pt x="1994687" y="3954486"/>
                  <a:pt x="1893294" y="3964784"/>
                </a:cubicBezTo>
                <a:lnTo>
                  <a:pt x="1886580" y="3965122"/>
                </a:lnTo>
                <a:lnTo>
                  <a:pt x="1881540" y="3965842"/>
                </a:lnTo>
                <a:lnTo>
                  <a:pt x="1798469" y="3969777"/>
                </a:lnTo>
                <a:lnTo>
                  <a:pt x="1798469" y="3973641"/>
                </a:lnTo>
                <a:lnTo>
                  <a:pt x="1717877" y="3973641"/>
                </a:lnTo>
                <a:lnTo>
                  <a:pt x="1717860" y="3973642"/>
                </a:lnTo>
                <a:lnTo>
                  <a:pt x="1717844" y="3973641"/>
                </a:lnTo>
                <a:lnTo>
                  <a:pt x="1716833" y="3973641"/>
                </a:lnTo>
                <a:lnTo>
                  <a:pt x="2030" y="3973641"/>
                </a:lnTo>
                <a:lnTo>
                  <a:pt x="2030" y="2348229"/>
                </a:lnTo>
                <a:lnTo>
                  <a:pt x="0" y="2348229"/>
                </a:lnTo>
                <a:lnTo>
                  <a:pt x="0" y="2257298"/>
                </a:lnTo>
                <a:lnTo>
                  <a:pt x="0" y="2033495"/>
                </a:lnTo>
                <a:lnTo>
                  <a:pt x="0" y="1928661"/>
                </a:lnTo>
                <a:lnTo>
                  <a:pt x="0" y="1742298"/>
                </a:lnTo>
                <a:lnTo>
                  <a:pt x="0" y="1716345"/>
                </a:lnTo>
                <a:lnTo>
                  <a:pt x="2050" y="1716345"/>
                </a:lnTo>
                <a:lnTo>
                  <a:pt x="2050" y="1715831"/>
                </a:lnTo>
                <a:lnTo>
                  <a:pt x="2050" y="1693813"/>
                </a:lnTo>
                <a:lnTo>
                  <a:pt x="2050" y="1625413"/>
                </a:lnTo>
                <a:lnTo>
                  <a:pt x="6332" y="1625413"/>
                </a:lnTo>
                <a:lnTo>
                  <a:pt x="9844" y="1551223"/>
                </a:lnTo>
                <a:lnTo>
                  <a:pt x="10737" y="1544843"/>
                </a:lnTo>
                <a:lnTo>
                  <a:pt x="10915" y="1541320"/>
                </a:lnTo>
                <a:lnTo>
                  <a:pt x="15915" y="1507860"/>
                </a:lnTo>
                <a:lnTo>
                  <a:pt x="30891" y="1400891"/>
                </a:lnTo>
                <a:lnTo>
                  <a:pt x="33737" y="1388588"/>
                </a:lnTo>
                <a:lnTo>
                  <a:pt x="34819" y="1381342"/>
                </a:lnTo>
                <a:lnTo>
                  <a:pt x="44066" y="1343936"/>
                </a:lnTo>
                <a:lnTo>
                  <a:pt x="64635" y="1255017"/>
                </a:lnTo>
                <a:lnTo>
                  <a:pt x="70493" y="1237029"/>
                </a:lnTo>
                <a:lnTo>
                  <a:pt x="73088" y="1226531"/>
                </a:lnTo>
                <a:lnTo>
                  <a:pt x="85564" y="1190746"/>
                </a:lnTo>
                <a:lnTo>
                  <a:pt x="110492" y="1114188"/>
                </a:lnTo>
                <a:lnTo>
                  <a:pt x="120353" y="1090957"/>
                </a:lnTo>
                <a:lnTo>
                  <a:pt x="125010" y="1077600"/>
                </a:lnTo>
                <a:lnTo>
                  <a:pt x="139776" y="1045196"/>
                </a:lnTo>
                <a:lnTo>
                  <a:pt x="167877" y="978988"/>
                </a:lnTo>
                <a:lnTo>
                  <a:pt x="182682" y="951041"/>
                </a:lnTo>
                <a:lnTo>
                  <a:pt x="189874" y="935257"/>
                </a:lnTo>
                <a:lnTo>
                  <a:pt x="206073" y="906886"/>
                </a:lnTo>
                <a:lnTo>
                  <a:pt x="236202" y="850005"/>
                </a:lnTo>
                <a:lnTo>
                  <a:pt x="256849" y="817942"/>
                </a:lnTo>
                <a:lnTo>
                  <a:pt x="266970" y="800216"/>
                </a:lnTo>
                <a:lnTo>
                  <a:pt x="283813" y="776072"/>
                </a:lnTo>
                <a:lnTo>
                  <a:pt x="314883" y="727822"/>
                </a:lnTo>
                <a:lnTo>
                  <a:pt x="342236" y="692324"/>
                </a:lnTo>
                <a:lnTo>
                  <a:pt x="355585" y="673187"/>
                </a:lnTo>
                <a:lnTo>
                  <a:pt x="372360" y="653227"/>
                </a:lnTo>
                <a:lnTo>
                  <a:pt x="403336" y="613025"/>
                </a:lnTo>
                <a:lnTo>
                  <a:pt x="438238" y="574838"/>
                </a:lnTo>
                <a:lnTo>
                  <a:pt x="455009" y="554882"/>
                </a:lnTo>
                <a:lnTo>
                  <a:pt x="471068" y="538919"/>
                </a:lnTo>
                <a:lnTo>
                  <a:pt x="500972" y="506200"/>
                </a:lnTo>
                <a:lnTo>
                  <a:pt x="544295" y="466127"/>
                </a:lnTo>
                <a:lnTo>
                  <a:pt x="564532" y="446010"/>
                </a:lnTo>
                <a:lnTo>
                  <a:pt x="579286" y="433761"/>
                </a:lnTo>
                <a:lnTo>
                  <a:pt x="607207" y="407933"/>
                </a:lnTo>
                <a:lnTo>
                  <a:pt x="659921" y="366813"/>
                </a:lnTo>
                <a:lnTo>
                  <a:pt x="683442" y="347283"/>
                </a:lnTo>
                <a:lnTo>
                  <a:pt x="696358" y="338388"/>
                </a:lnTo>
                <a:lnTo>
                  <a:pt x="721457" y="318809"/>
                </a:lnTo>
                <a:lnTo>
                  <a:pt x="784800" y="277477"/>
                </a:lnTo>
                <a:lnTo>
                  <a:pt x="811027" y="259414"/>
                </a:lnTo>
                <a:lnTo>
                  <a:pt x="821625" y="253449"/>
                </a:lnTo>
                <a:lnTo>
                  <a:pt x="843135" y="239414"/>
                </a:lnTo>
                <a:lnTo>
                  <a:pt x="919033" y="198616"/>
                </a:lnTo>
                <a:lnTo>
                  <a:pt x="946577" y="183112"/>
                </a:lnTo>
                <a:lnTo>
                  <a:pt x="954420" y="179595"/>
                </a:lnTo>
                <a:lnTo>
                  <a:pt x="971655" y="170331"/>
                </a:lnTo>
                <a:lnTo>
                  <a:pt x="1063997" y="130469"/>
                </a:lnTo>
                <a:lnTo>
                  <a:pt x="1089381" y="119088"/>
                </a:lnTo>
                <a:lnTo>
                  <a:pt x="1094076" y="117484"/>
                </a:lnTo>
                <a:lnTo>
                  <a:pt x="1106431" y="112150"/>
                </a:lnTo>
                <a:lnTo>
                  <a:pt x="1226798" y="72132"/>
                </a:lnTo>
                <a:lnTo>
                  <a:pt x="1238727" y="68054"/>
                </a:lnTo>
                <a:lnTo>
                  <a:pt x="1239925" y="67765"/>
                </a:lnTo>
                <a:lnTo>
                  <a:pt x="1246879" y="65454"/>
                </a:lnTo>
                <a:cubicBezTo>
                  <a:pt x="1342272" y="38282"/>
                  <a:pt x="1441055" y="19156"/>
                  <a:pt x="1542447" y="8859"/>
                </a:cubicBezTo>
                <a:lnTo>
                  <a:pt x="1549163" y="8521"/>
                </a:lnTo>
                <a:lnTo>
                  <a:pt x="1554203" y="7799"/>
                </a:lnTo>
                <a:lnTo>
                  <a:pt x="1637273" y="3866"/>
                </a:lnTo>
                <a:lnTo>
                  <a:pt x="1637273" y="1"/>
                </a:lnTo>
                <a:lnTo>
                  <a:pt x="1717865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947E5EA-7CD1-4AB9-8BF8-88EC6942AE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24250" y="264796"/>
            <a:ext cx="3203851" cy="6328408"/>
          </a:xfrm>
          <a:custGeom>
            <a:avLst/>
            <a:gdLst>
              <a:gd name="connsiteX0" fmla="*/ 1601915 w 3203851"/>
              <a:gd name="connsiteY0" fmla="*/ 0 h 6328408"/>
              <a:gd name="connsiteX1" fmla="*/ 1601931 w 3203851"/>
              <a:gd name="connsiteY1" fmla="*/ 1 h 6328408"/>
              <a:gd name="connsiteX2" fmla="*/ 1677083 w 3203851"/>
              <a:gd name="connsiteY2" fmla="*/ 1 h 6328408"/>
              <a:gd name="connsiteX3" fmla="*/ 1677083 w 3203851"/>
              <a:gd name="connsiteY3" fmla="*/ 3604 h 6328408"/>
              <a:gd name="connsiteX4" fmla="*/ 1754548 w 3203851"/>
              <a:gd name="connsiteY4" fmla="*/ 7273 h 6328408"/>
              <a:gd name="connsiteX5" fmla="*/ 1759248 w 3203851"/>
              <a:gd name="connsiteY5" fmla="*/ 7945 h 6328408"/>
              <a:gd name="connsiteX6" fmla="*/ 1765508 w 3203851"/>
              <a:gd name="connsiteY6" fmla="*/ 8260 h 6328408"/>
              <a:gd name="connsiteX7" fmla="*/ 2041128 w 3203851"/>
              <a:gd name="connsiteY7" fmla="*/ 61036 h 6328408"/>
              <a:gd name="connsiteX8" fmla="*/ 2047613 w 3203851"/>
              <a:gd name="connsiteY8" fmla="*/ 63191 h 6328408"/>
              <a:gd name="connsiteX9" fmla="*/ 2048730 w 3203851"/>
              <a:gd name="connsiteY9" fmla="*/ 63461 h 6328408"/>
              <a:gd name="connsiteX10" fmla="*/ 2059855 w 3203851"/>
              <a:gd name="connsiteY10" fmla="*/ 67262 h 6328408"/>
              <a:gd name="connsiteX11" fmla="*/ 2172097 w 3203851"/>
              <a:gd name="connsiteY11" fmla="*/ 104580 h 6328408"/>
              <a:gd name="connsiteX12" fmla="*/ 2183618 w 3203851"/>
              <a:gd name="connsiteY12" fmla="*/ 109554 h 6328408"/>
              <a:gd name="connsiteX13" fmla="*/ 2187996 w 3203851"/>
              <a:gd name="connsiteY13" fmla="*/ 111050 h 6328408"/>
              <a:gd name="connsiteX14" fmla="*/ 2211667 w 3203851"/>
              <a:gd name="connsiteY14" fmla="*/ 121663 h 6328408"/>
              <a:gd name="connsiteX15" fmla="*/ 2297777 w 3203851"/>
              <a:gd name="connsiteY15" fmla="*/ 158835 h 6328408"/>
              <a:gd name="connsiteX16" fmla="*/ 2313848 w 3203851"/>
              <a:gd name="connsiteY16" fmla="*/ 167473 h 6328408"/>
              <a:gd name="connsiteX17" fmla="*/ 2321162 w 3203851"/>
              <a:gd name="connsiteY17" fmla="*/ 170752 h 6328408"/>
              <a:gd name="connsiteX18" fmla="*/ 2346847 w 3203851"/>
              <a:gd name="connsiteY18" fmla="*/ 185211 h 6328408"/>
              <a:gd name="connsiteX19" fmla="*/ 2417622 w 3203851"/>
              <a:gd name="connsiteY19" fmla="*/ 223254 h 6328408"/>
              <a:gd name="connsiteX20" fmla="*/ 2437680 w 3203851"/>
              <a:gd name="connsiteY20" fmla="*/ 236343 h 6328408"/>
              <a:gd name="connsiteX21" fmla="*/ 2447564 w 3203851"/>
              <a:gd name="connsiteY21" fmla="*/ 241904 h 6328408"/>
              <a:gd name="connsiteX22" fmla="*/ 2472020 w 3203851"/>
              <a:gd name="connsiteY22" fmla="*/ 258749 h 6328408"/>
              <a:gd name="connsiteX23" fmla="*/ 2531088 w 3203851"/>
              <a:gd name="connsiteY23" fmla="*/ 297291 h 6328408"/>
              <a:gd name="connsiteX24" fmla="*/ 2554492 w 3203851"/>
              <a:gd name="connsiteY24" fmla="*/ 315549 h 6328408"/>
              <a:gd name="connsiteX25" fmla="*/ 2566538 w 3203851"/>
              <a:gd name="connsiteY25" fmla="*/ 323843 h 6328408"/>
              <a:gd name="connsiteX26" fmla="*/ 2588470 w 3203851"/>
              <a:gd name="connsiteY26" fmla="*/ 342054 h 6328408"/>
              <a:gd name="connsiteX27" fmla="*/ 2637626 w 3203851"/>
              <a:gd name="connsiteY27" fmla="*/ 380401 h 6328408"/>
              <a:gd name="connsiteX28" fmla="*/ 2663663 w 3203851"/>
              <a:gd name="connsiteY28" fmla="*/ 404485 h 6328408"/>
              <a:gd name="connsiteX29" fmla="*/ 2677421 w 3203851"/>
              <a:gd name="connsiteY29" fmla="*/ 415907 h 6328408"/>
              <a:gd name="connsiteX30" fmla="*/ 2696292 w 3203851"/>
              <a:gd name="connsiteY30" fmla="*/ 434665 h 6328408"/>
              <a:gd name="connsiteX31" fmla="*/ 2736691 w 3203851"/>
              <a:gd name="connsiteY31" fmla="*/ 472035 h 6328408"/>
              <a:gd name="connsiteX32" fmla="*/ 2764577 w 3203851"/>
              <a:gd name="connsiteY32" fmla="*/ 502545 h 6328408"/>
              <a:gd name="connsiteX33" fmla="*/ 2779552 w 3203851"/>
              <a:gd name="connsiteY33" fmla="*/ 517430 h 6328408"/>
              <a:gd name="connsiteX34" fmla="*/ 2795191 w 3203851"/>
              <a:gd name="connsiteY34" fmla="*/ 536039 h 6328408"/>
              <a:gd name="connsiteX35" fmla="*/ 2827738 w 3203851"/>
              <a:gd name="connsiteY35" fmla="*/ 571650 h 6328408"/>
              <a:gd name="connsiteX36" fmla="*/ 2856623 w 3203851"/>
              <a:gd name="connsiteY36" fmla="*/ 609138 h 6328408"/>
              <a:gd name="connsiteX37" fmla="*/ 2872266 w 3203851"/>
              <a:gd name="connsiteY37" fmla="*/ 627750 h 6328408"/>
              <a:gd name="connsiteX38" fmla="*/ 2884714 w 3203851"/>
              <a:gd name="connsiteY38" fmla="*/ 645596 h 6328408"/>
              <a:gd name="connsiteX39" fmla="*/ 2910220 w 3203851"/>
              <a:gd name="connsiteY39" fmla="*/ 678698 h 6328408"/>
              <a:gd name="connsiteX40" fmla="*/ 2939193 w 3203851"/>
              <a:gd name="connsiteY40" fmla="*/ 723692 h 6328408"/>
              <a:gd name="connsiteX41" fmla="*/ 2954901 w 3203851"/>
              <a:gd name="connsiteY41" fmla="*/ 746206 h 6328408"/>
              <a:gd name="connsiteX42" fmla="*/ 2964338 w 3203851"/>
              <a:gd name="connsiteY42" fmla="*/ 762736 h 6328408"/>
              <a:gd name="connsiteX43" fmla="*/ 2983591 w 3203851"/>
              <a:gd name="connsiteY43" fmla="*/ 792635 h 6328408"/>
              <a:gd name="connsiteX44" fmla="*/ 3011687 w 3203851"/>
              <a:gd name="connsiteY44" fmla="*/ 845676 h 6328408"/>
              <a:gd name="connsiteX45" fmla="*/ 3026792 w 3203851"/>
              <a:gd name="connsiteY45" fmla="*/ 872133 h 6328408"/>
              <a:gd name="connsiteX46" fmla="*/ 3033499 w 3203851"/>
              <a:gd name="connsiteY46" fmla="*/ 886851 h 6328408"/>
              <a:gd name="connsiteX47" fmla="*/ 3047305 w 3203851"/>
              <a:gd name="connsiteY47" fmla="*/ 912913 h 6328408"/>
              <a:gd name="connsiteX48" fmla="*/ 3073509 w 3203851"/>
              <a:gd name="connsiteY48" fmla="*/ 974652 h 6328408"/>
              <a:gd name="connsiteX49" fmla="*/ 3087279 w 3203851"/>
              <a:gd name="connsiteY49" fmla="*/ 1004869 h 6328408"/>
              <a:gd name="connsiteX50" fmla="*/ 3091621 w 3203851"/>
              <a:gd name="connsiteY50" fmla="*/ 1017323 h 6328408"/>
              <a:gd name="connsiteX51" fmla="*/ 3100816 w 3203851"/>
              <a:gd name="connsiteY51" fmla="*/ 1038987 h 6328408"/>
              <a:gd name="connsiteX52" fmla="*/ 3124063 w 3203851"/>
              <a:gd name="connsiteY52" fmla="*/ 1110377 h 6328408"/>
              <a:gd name="connsiteX53" fmla="*/ 3135696 w 3203851"/>
              <a:gd name="connsiteY53" fmla="*/ 1143748 h 6328408"/>
              <a:gd name="connsiteX54" fmla="*/ 3138116 w 3203851"/>
              <a:gd name="connsiteY54" fmla="*/ 1153536 h 6328408"/>
              <a:gd name="connsiteX55" fmla="*/ 3143578 w 3203851"/>
              <a:gd name="connsiteY55" fmla="*/ 1170312 h 6328408"/>
              <a:gd name="connsiteX56" fmla="*/ 3162759 w 3203851"/>
              <a:gd name="connsiteY56" fmla="*/ 1253229 h 6328408"/>
              <a:gd name="connsiteX57" fmla="*/ 3171382 w 3203851"/>
              <a:gd name="connsiteY57" fmla="*/ 1288110 h 6328408"/>
              <a:gd name="connsiteX58" fmla="*/ 3172391 w 3203851"/>
              <a:gd name="connsiteY58" fmla="*/ 1294867 h 6328408"/>
              <a:gd name="connsiteX59" fmla="*/ 3175045 w 3203851"/>
              <a:gd name="connsiteY59" fmla="*/ 1306339 h 6328408"/>
              <a:gd name="connsiteX60" fmla="*/ 3189010 w 3203851"/>
              <a:gd name="connsiteY60" fmla="*/ 1406089 h 6328408"/>
              <a:gd name="connsiteX61" fmla="*/ 3193673 w 3203851"/>
              <a:gd name="connsiteY61" fmla="*/ 1437290 h 6328408"/>
              <a:gd name="connsiteX62" fmla="*/ 3193839 w 3203851"/>
              <a:gd name="connsiteY62" fmla="*/ 1440576 h 6328408"/>
              <a:gd name="connsiteX63" fmla="*/ 3194671 w 3203851"/>
              <a:gd name="connsiteY63" fmla="*/ 1446524 h 6328408"/>
              <a:gd name="connsiteX64" fmla="*/ 3197947 w 3203851"/>
              <a:gd name="connsiteY64" fmla="*/ 1515708 h 6328408"/>
              <a:gd name="connsiteX65" fmla="*/ 3201939 w 3203851"/>
              <a:gd name="connsiteY65" fmla="*/ 1515708 h 6328408"/>
              <a:gd name="connsiteX66" fmla="*/ 3201939 w 3203851"/>
              <a:gd name="connsiteY66" fmla="*/ 1579492 h 6328408"/>
              <a:gd name="connsiteX67" fmla="*/ 3201939 w 3203851"/>
              <a:gd name="connsiteY67" fmla="*/ 1600023 h 6328408"/>
              <a:gd name="connsiteX68" fmla="*/ 3201939 w 3203851"/>
              <a:gd name="connsiteY68" fmla="*/ 1600501 h 6328408"/>
              <a:gd name="connsiteX69" fmla="*/ 3201939 w 3203851"/>
              <a:gd name="connsiteY69" fmla="*/ 1600502 h 6328408"/>
              <a:gd name="connsiteX70" fmla="*/ 3203851 w 3203851"/>
              <a:gd name="connsiteY70" fmla="*/ 1600502 h 6328408"/>
              <a:gd name="connsiteX71" fmla="*/ 3203851 w 3203851"/>
              <a:gd name="connsiteY71" fmla="*/ 1809199 h 6328408"/>
              <a:gd name="connsiteX72" fmla="*/ 3203851 w 3203851"/>
              <a:gd name="connsiteY72" fmla="*/ 1906957 h 6328408"/>
              <a:gd name="connsiteX73" fmla="*/ 3203851 w 3203851"/>
              <a:gd name="connsiteY73" fmla="*/ 2080742 h 6328408"/>
              <a:gd name="connsiteX74" fmla="*/ 3203851 w 3203851"/>
              <a:gd name="connsiteY74" fmla="*/ 2104943 h 6328408"/>
              <a:gd name="connsiteX75" fmla="*/ 3203851 w 3203851"/>
              <a:gd name="connsiteY75" fmla="*/ 2189738 h 6328408"/>
              <a:gd name="connsiteX76" fmla="*/ 3201959 w 3203851"/>
              <a:gd name="connsiteY76" fmla="*/ 2189738 h 6328408"/>
              <a:gd name="connsiteX77" fmla="*/ 3201959 w 3203851"/>
              <a:gd name="connsiteY77" fmla="*/ 2222055 h 6328408"/>
              <a:gd name="connsiteX78" fmla="*/ 1784816 w 3203851"/>
              <a:gd name="connsiteY78" fmla="*/ 2222055 h 6328408"/>
              <a:gd name="connsiteX79" fmla="*/ 2041128 w 3203851"/>
              <a:gd name="connsiteY79" fmla="*/ 2271133 h 6328408"/>
              <a:gd name="connsiteX80" fmla="*/ 2047613 w 3203851"/>
              <a:gd name="connsiteY80" fmla="*/ 2273288 h 6328408"/>
              <a:gd name="connsiteX81" fmla="*/ 2048730 w 3203851"/>
              <a:gd name="connsiteY81" fmla="*/ 2273558 h 6328408"/>
              <a:gd name="connsiteX82" fmla="*/ 2059854 w 3203851"/>
              <a:gd name="connsiteY82" fmla="*/ 2277361 h 6328408"/>
              <a:gd name="connsiteX83" fmla="*/ 2172097 w 3203851"/>
              <a:gd name="connsiteY83" fmla="*/ 2314678 h 6328408"/>
              <a:gd name="connsiteX84" fmla="*/ 2183618 w 3203851"/>
              <a:gd name="connsiteY84" fmla="*/ 2319652 h 6328408"/>
              <a:gd name="connsiteX85" fmla="*/ 2187996 w 3203851"/>
              <a:gd name="connsiteY85" fmla="*/ 2321147 h 6328408"/>
              <a:gd name="connsiteX86" fmla="*/ 2211667 w 3203851"/>
              <a:gd name="connsiteY86" fmla="*/ 2331760 h 6328408"/>
              <a:gd name="connsiteX87" fmla="*/ 2297776 w 3203851"/>
              <a:gd name="connsiteY87" fmla="*/ 2368932 h 6328408"/>
              <a:gd name="connsiteX88" fmla="*/ 2313848 w 3203851"/>
              <a:gd name="connsiteY88" fmla="*/ 2377571 h 6328408"/>
              <a:gd name="connsiteX89" fmla="*/ 2321162 w 3203851"/>
              <a:gd name="connsiteY89" fmla="*/ 2380850 h 6328408"/>
              <a:gd name="connsiteX90" fmla="*/ 2346847 w 3203851"/>
              <a:gd name="connsiteY90" fmla="*/ 2395308 h 6328408"/>
              <a:gd name="connsiteX91" fmla="*/ 2417622 w 3203851"/>
              <a:gd name="connsiteY91" fmla="*/ 2433352 h 6328408"/>
              <a:gd name="connsiteX92" fmla="*/ 2437680 w 3203851"/>
              <a:gd name="connsiteY92" fmla="*/ 2446440 h 6328408"/>
              <a:gd name="connsiteX93" fmla="*/ 2447563 w 3203851"/>
              <a:gd name="connsiteY93" fmla="*/ 2452002 h 6328408"/>
              <a:gd name="connsiteX94" fmla="*/ 2472020 w 3203851"/>
              <a:gd name="connsiteY94" fmla="*/ 2468846 h 6328408"/>
              <a:gd name="connsiteX95" fmla="*/ 2531088 w 3203851"/>
              <a:gd name="connsiteY95" fmla="*/ 2507389 h 6328408"/>
              <a:gd name="connsiteX96" fmla="*/ 2554493 w 3203851"/>
              <a:gd name="connsiteY96" fmla="*/ 2525646 h 6328408"/>
              <a:gd name="connsiteX97" fmla="*/ 2566537 w 3203851"/>
              <a:gd name="connsiteY97" fmla="*/ 2533941 h 6328408"/>
              <a:gd name="connsiteX98" fmla="*/ 2588470 w 3203851"/>
              <a:gd name="connsiteY98" fmla="*/ 2552153 h 6328408"/>
              <a:gd name="connsiteX99" fmla="*/ 2637626 w 3203851"/>
              <a:gd name="connsiteY99" fmla="*/ 2590497 h 6328408"/>
              <a:gd name="connsiteX100" fmla="*/ 2663663 w 3203851"/>
              <a:gd name="connsiteY100" fmla="*/ 2614582 h 6328408"/>
              <a:gd name="connsiteX101" fmla="*/ 2677421 w 3203851"/>
              <a:gd name="connsiteY101" fmla="*/ 2626004 h 6328408"/>
              <a:gd name="connsiteX102" fmla="*/ 2696292 w 3203851"/>
              <a:gd name="connsiteY102" fmla="*/ 2644763 h 6328408"/>
              <a:gd name="connsiteX103" fmla="*/ 2736691 w 3203851"/>
              <a:gd name="connsiteY103" fmla="*/ 2682132 h 6328408"/>
              <a:gd name="connsiteX104" fmla="*/ 2764577 w 3203851"/>
              <a:gd name="connsiteY104" fmla="*/ 2712642 h 6328408"/>
              <a:gd name="connsiteX105" fmla="*/ 2779552 w 3203851"/>
              <a:gd name="connsiteY105" fmla="*/ 2727528 h 6328408"/>
              <a:gd name="connsiteX106" fmla="*/ 2795191 w 3203851"/>
              <a:gd name="connsiteY106" fmla="*/ 2746137 h 6328408"/>
              <a:gd name="connsiteX107" fmla="*/ 2827737 w 3203851"/>
              <a:gd name="connsiteY107" fmla="*/ 2781747 h 6328408"/>
              <a:gd name="connsiteX108" fmla="*/ 2856623 w 3203851"/>
              <a:gd name="connsiteY108" fmla="*/ 2819235 h 6328408"/>
              <a:gd name="connsiteX109" fmla="*/ 2872266 w 3203851"/>
              <a:gd name="connsiteY109" fmla="*/ 2837848 h 6328408"/>
              <a:gd name="connsiteX110" fmla="*/ 2884714 w 3203851"/>
              <a:gd name="connsiteY110" fmla="*/ 2855694 h 6328408"/>
              <a:gd name="connsiteX111" fmla="*/ 2910220 w 3203851"/>
              <a:gd name="connsiteY111" fmla="*/ 2888796 h 6328408"/>
              <a:gd name="connsiteX112" fmla="*/ 2939193 w 3203851"/>
              <a:gd name="connsiteY112" fmla="*/ 2933789 h 6328408"/>
              <a:gd name="connsiteX113" fmla="*/ 2954900 w 3203851"/>
              <a:gd name="connsiteY113" fmla="*/ 2956304 h 6328408"/>
              <a:gd name="connsiteX114" fmla="*/ 2964337 w 3203851"/>
              <a:gd name="connsiteY114" fmla="*/ 2972833 h 6328408"/>
              <a:gd name="connsiteX115" fmla="*/ 2983591 w 3203851"/>
              <a:gd name="connsiteY115" fmla="*/ 3002732 h 6328408"/>
              <a:gd name="connsiteX116" fmla="*/ 3011686 w 3203851"/>
              <a:gd name="connsiteY116" fmla="*/ 3055774 h 6328408"/>
              <a:gd name="connsiteX117" fmla="*/ 3026792 w 3203851"/>
              <a:gd name="connsiteY117" fmla="*/ 3082230 h 6328408"/>
              <a:gd name="connsiteX118" fmla="*/ 3033499 w 3203851"/>
              <a:gd name="connsiteY118" fmla="*/ 3096949 h 6328408"/>
              <a:gd name="connsiteX119" fmla="*/ 3047304 w 3203851"/>
              <a:gd name="connsiteY119" fmla="*/ 3123010 h 6328408"/>
              <a:gd name="connsiteX120" fmla="*/ 3073509 w 3203851"/>
              <a:gd name="connsiteY120" fmla="*/ 3184749 h 6328408"/>
              <a:gd name="connsiteX121" fmla="*/ 3087278 w 3203851"/>
              <a:gd name="connsiteY121" fmla="*/ 3214966 h 6328408"/>
              <a:gd name="connsiteX122" fmla="*/ 3091621 w 3203851"/>
              <a:gd name="connsiteY122" fmla="*/ 3227421 h 6328408"/>
              <a:gd name="connsiteX123" fmla="*/ 3100816 w 3203851"/>
              <a:gd name="connsiteY123" fmla="*/ 3249084 h 6328408"/>
              <a:gd name="connsiteX124" fmla="*/ 3124062 w 3203851"/>
              <a:gd name="connsiteY124" fmla="*/ 3320475 h 6328408"/>
              <a:gd name="connsiteX125" fmla="*/ 3135696 w 3203851"/>
              <a:gd name="connsiteY125" fmla="*/ 3353845 h 6328408"/>
              <a:gd name="connsiteX126" fmla="*/ 3138116 w 3203851"/>
              <a:gd name="connsiteY126" fmla="*/ 3363634 h 6328408"/>
              <a:gd name="connsiteX127" fmla="*/ 3143578 w 3203851"/>
              <a:gd name="connsiteY127" fmla="*/ 3380408 h 6328408"/>
              <a:gd name="connsiteX128" fmla="*/ 3162759 w 3203851"/>
              <a:gd name="connsiteY128" fmla="*/ 3463326 h 6328408"/>
              <a:gd name="connsiteX129" fmla="*/ 3171382 w 3203851"/>
              <a:gd name="connsiteY129" fmla="*/ 3498207 h 6328408"/>
              <a:gd name="connsiteX130" fmla="*/ 3172391 w 3203851"/>
              <a:gd name="connsiteY130" fmla="*/ 3504964 h 6328408"/>
              <a:gd name="connsiteX131" fmla="*/ 3175045 w 3203851"/>
              <a:gd name="connsiteY131" fmla="*/ 3516437 h 6328408"/>
              <a:gd name="connsiteX132" fmla="*/ 3189010 w 3203851"/>
              <a:gd name="connsiteY132" fmla="*/ 3616186 h 6328408"/>
              <a:gd name="connsiteX133" fmla="*/ 3193672 w 3203851"/>
              <a:gd name="connsiteY133" fmla="*/ 3647388 h 6328408"/>
              <a:gd name="connsiteX134" fmla="*/ 3193838 w 3203851"/>
              <a:gd name="connsiteY134" fmla="*/ 3650673 h 6328408"/>
              <a:gd name="connsiteX135" fmla="*/ 3194671 w 3203851"/>
              <a:gd name="connsiteY135" fmla="*/ 3656622 h 6328408"/>
              <a:gd name="connsiteX136" fmla="*/ 3197946 w 3203851"/>
              <a:gd name="connsiteY136" fmla="*/ 3725805 h 6328408"/>
              <a:gd name="connsiteX137" fmla="*/ 3201939 w 3203851"/>
              <a:gd name="connsiteY137" fmla="*/ 3725805 h 6328408"/>
              <a:gd name="connsiteX138" fmla="*/ 3201939 w 3203851"/>
              <a:gd name="connsiteY138" fmla="*/ 3789588 h 6328408"/>
              <a:gd name="connsiteX139" fmla="*/ 3201939 w 3203851"/>
              <a:gd name="connsiteY139" fmla="*/ 3810120 h 6328408"/>
              <a:gd name="connsiteX140" fmla="*/ 3201939 w 3203851"/>
              <a:gd name="connsiteY140" fmla="*/ 3810600 h 6328408"/>
              <a:gd name="connsiteX141" fmla="*/ 3203851 w 3203851"/>
              <a:gd name="connsiteY141" fmla="*/ 3810600 h 6328408"/>
              <a:gd name="connsiteX142" fmla="*/ 3203851 w 3203851"/>
              <a:gd name="connsiteY142" fmla="*/ 3834801 h 6328408"/>
              <a:gd name="connsiteX143" fmla="*/ 3203851 w 3203851"/>
              <a:gd name="connsiteY143" fmla="*/ 4008586 h 6328408"/>
              <a:gd name="connsiteX144" fmla="*/ 3203851 w 3203851"/>
              <a:gd name="connsiteY144" fmla="*/ 4106344 h 6328408"/>
              <a:gd name="connsiteX145" fmla="*/ 3203851 w 3203851"/>
              <a:gd name="connsiteY145" fmla="*/ 4223465 h 6328408"/>
              <a:gd name="connsiteX146" fmla="*/ 3203851 w 3203851"/>
              <a:gd name="connsiteY146" fmla="*/ 4247666 h 6328408"/>
              <a:gd name="connsiteX147" fmla="*/ 3203851 w 3203851"/>
              <a:gd name="connsiteY147" fmla="*/ 4315042 h 6328408"/>
              <a:gd name="connsiteX148" fmla="*/ 3203851 w 3203851"/>
              <a:gd name="connsiteY148" fmla="*/ 4399835 h 6328408"/>
              <a:gd name="connsiteX149" fmla="*/ 3203851 w 3203851"/>
              <a:gd name="connsiteY149" fmla="*/ 4421451 h 6328408"/>
              <a:gd name="connsiteX150" fmla="*/ 3203851 w 3203851"/>
              <a:gd name="connsiteY150" fmla="*/ 4519209 h 6328408"/>
              <a:gd name="connsiteX151" fmla="*/ 3203851 w 3203851"/>
              <a:gd name="connsiteY151" fmla="*/ 4727907 h 6328408"/>
              <a:gd name="connsiteX152" fmla="*/ 3203851 w 3203851"/>
              <a:gd name="connsiteY152" fmla="*/ 4812700 h 6328408"/>
              <a:gd name="connsiteX153" fmla="*/ 3201958 w 3203851"/>
              <a:gd name="connsiteY153" fmla="*/ 4812700 h 6328408"/>
              <a:gd name="connsiteX154" fmla="*/ 3201958 w 3203851"/>
              <a:gd name="connsiteY154" fmla="*/ 5915542 h 6328408"/>
              <a:gd name="connsiteX155" fmla="*/ 3201958 w 3203851"/>
              <a:gd name="connsiteY155" fmla="*/ 6328407 h 6328408"/>
              <a:gd name="connsiteX156" fmla="*/ 1602893 w 3203851"/>
              <a:gd name="connsiteY156" fmla="*/ 6328407 h 6328408"/>
              <a:gd name="connsiteX157" fmla="*/ 1601950 w 3203851"/>
              <a:gd name="connsiteY157" fmla="*/ 6328407 h 6328408"/>
              <a:gd name="connsiteX158" fmla="*/ 1601936 w 3203851"/>
              <a:gd name="connsiteY158" fmla="*/ 6328408 h 6328408"/>
              <a:gd name="connsiteX159" fmla="*/ 1601920 w 3203851"/>
              <a:gd name="connsiteY159" fmla="*/ 6328407 h 6328408"/>
              <a:gd name="connsiteX160" fmla="*/ 1526767 w 3203851"/>
              <a:gd name="connsiteY160" fmla="*/ 6328407 h 6328408"/>
              <a:gd name="connsiteX161" fmla="*/ 1526767 w 3203851"/>
              <a:gd name="connsiteY161" fmla="*/ 6324804 h 6328408"/>
              <a:gd name="connsiteX162" fmla="*/ 1449303 w 3203851"/>
              <a:gd name="connsiteY162" fmla="*/ 6321135 h 6328408"/>
              <a:gd name="connsiteX163" fmla="*/ 1444603 w 3203851"/>
              <a:gd name="connsiteY163" fmla="*/ 6320463 h 6328408"/>
              <a:gd name="connsiteX164" fmla="*/ 1438342 w 3203851"/>
              <a:gd name="connsiteY164" fmla="*/ 6320148 h 6328408"/>
              <a:gd name="connsiteX165" fmla="*/ 1162722 w 3203851"/>
              <a:gd name="connsiteY165" fmla="*/ 6267372 h 6328408"/>
              <a:gd name="connsiteX166" fmla="*/ 1156238 w 3203851"/>
              <a:gd name="connsiteY166" fmla="*/ 6265217 h 6328408"/>
              <a:gd name="connsiteX167" fmla="*/ 1155121 w 3203851"/>
              <a:gd name="connsiteY167" fmla="*/ 6264947 h 6328408"/>
              <a:gd name="connsiteX168" fmla="*/ 1143996 w 3203851"/>
              <a:gd name="connsiteY168" fmla="*/ 6261146 h 6328408"/>
              <a:gd name="connsiteX169" fmla="*/ 1031754 w 3203851"/>
              <a:gd name="connsiteY169" fmla="*/ 6223828 h 6328408"/>
              <a:gd name="connsiteX170" fmla="*/ 1020233 w 3203851"/>
              <a:gd name="connsiteY170" fmla="*/ 6218854 h 6328408"/>
              <a:gd name="connsiteX171" fmla="*/ 1015855 w 3203851"/>
              <a:gd name="connsiteY171" fmla="*/ 6217358 h 6328408"/>
              <a:gd name="connsiteX172" fmla="*/ 992184 w 3203851"/>
              <a:gd name="connsiteY172" fmla="*/ 6206745 h 6328408"/>
              <a:gd name="connsiteX173" fmla="*/ 906073 w 3203851"/>
              <a:gd name="connsiteY173" fmla="*/ 6169573 h 6328408"/>
              <a:gd name="connsiteX174" fmla="*/ 890003 w 3203851"/>
              <a:gd name="connsiteY174" fmla="*/ 6160935 h 6328408"/>
              <a:gd name="connsiteX175" fmla="*/ 882689 w 3203851"/>
              <a:gd name="connsiteY175" fmla="*/ 6157656 h 6328408"/>
              <a:gd name="connsiteX176" fmla="*/ 857004 w 3203851"/>
              <a:gd name="connsiteY176" fmla="*/ 6143197 h 6328408"/>
              <a:gd name="connsiteX177" fmla="*/ 786229 w 3203851"/>
              <a:gd name="connsiteY177" fmla="*/ 6105154 h 6328408"/>
              <a:gd name="connsiteX178" fmla="*/ 766170 w 3203851"/>
              <a:gd name="connsiteY178" fmla="*/ 6092065 h 6328408"/>
              <a:gd name="connsiteX179" fmla="*/ 756287 w 3203851"/>
              <a:gd name="connsiteY179" fmla="*/ 6086504 h 6328408"/>
              <a:gd name="connsiteX180" fmla="*/ 731831 w 3203851"/>
              <a:gd name="connsiteY180" fmla="*/ 6069659 h 6328408"/>
              <a:gd name="connsiteX181" fmla="*/ 672763 w 3203851"/>
              <a:gd name="connsiteY181" fmla="*/ 6031117 h 6328408"/>
              <a:gd name="connsiteX182" fmla="*/ 649359 w 3203851"/>
              <a:gd name="connsiteY182" fmla="*/ 6012859 h 6328408"/>
              <a:gd name="connsiteX183" fmla="*/ 637313 w 3203851"/>
              <a:gd name="connsiteY183" fmla="*/ 6004565 h 6328408"/>
              <a:gd name="connsiteX184" fmla="*/ 615380 w 3203851"/>
              <a:gd name="connsiteY184" fmla="*/ 5986354 h 6328408"/>
              <a:gd name="connsiteX185" fmla="*/ 566225 w 3203851"/>
              <a:gd name="connsiteY185" fmla="*/ 5948007 h 6328408"/>
              <a:gd name="connsiteX186" fmla="*/ 540188 w 3203851"/>
              <a:gd name="connsiteY186" fmla="*/ 5923923 h 6328408"/>
              <a:gd name="connsiteX187" fmla="*/ 526430 w 3203851"/>
              <a:gd name="connsiteY187" fmla="*/ 5912501 h 6328408"/>
              <a:gd name="connsiteX188" fmla="*/ 507558 w 3203851"/>
              <a:gd name="connsiteY188" fmla="*/ 5893743 h 6328408"/>
              <a:gd name="connsiteX189" fmla="*/ 467159 w 3203851"/>
              <a:gd name="connsiteY189" fmla="*/ 5856373 h 6328408"/>
              <a:gd name="connsiteX190" fmla="*/ 439274 w 3203851"/>
              <a:gd name="connsiteY190" fmla="*/ 5825863 h 6328408"/>
              <a:gd name="connsiteX191" fmla="*/ 424299 w 3203851"/>
              <a:gd name="connsiteY191" fmla="*/ 5810978 h 6328408"/>
              <a:gd name="connsiteX192" fmla="*/ 408660 w 3203851"/>
              <a:gd name="connsiteY192" fmla="*/ 5792369 h 6328408"/>
              <a:gd name="connsiteX193" fmla="*/ 376113 w 3203851"/>
              <a:gd name="connsiteY193" fmla="*/ 5756758 h 6328408"/>
              <a:gd name="connsiteX194" fmla="*/ 347228 w 3203851"/>
              <a:gd name="connsiteY194" fmla="*/ 5719270 h 6328408"/>
              <a:gd name="connsiteX195" fmla="*/ 331585 w 3203851"/>
              <a:gd name="connsiteY195" fmla="*/ 5700658 h 6328408"/>
              <a:gd name="connsiteX196" fmla="*/ 319137 w 3203851"/>
              <a:gd name="connsiteY196" fmla="*/ 5682812 h 6328408"/>
              <a:gd name="connsiteX197" fmla="*/ 293630 w 3203851"/>
              <a:gd name="connsiteY197" fmla="*/ 5649710 h 6328408"/>
              <a:gd name="connsiteX198" fmla="*/ 264657 w 3203851"/>
              <a:gd name="connsiteY198" fmla="*/ 5604716 h 6328408"/>
              <a:gd name="connsiteX199" fmla="*/ 248950 w 3203851"/>
              <a:gd name="connsiteY199" fmla="*/ 5582202 h 6328408"/>
              <a:gd name="connsiteX200" fmla="*/ 239513 w 3203851"/>
              <a:gd name="connsiteY200" fmla="*/ 5565672 h 6328408"/>
              <a:gd name="connsiteX201" fmla="*/ 220260 w 3203851"/>
              <a:gd name="connsiteY201" fmla="*/ 5535773 h 6328408"/>
              <a:gd name="connsiteX202" fmla="*/ 192164 w 3203851"/>
              <a:gd name="connsiteY202" fmla="*/ 5482732 h 6328408"/>
              <a:gd name="connsiteX203" fmla="*/ 177059 w 3203851"/>
              <a:gd name="connsiteY203" fmla="*/ 5456275 h 6328408"/>
              <a:gd name="connsiteX204" fmla="*/ 170352 w 3203851"/>
              <a:gd name="connsiteY204" fmla="*/ 5441557 h 6328408"/>
              <a:gd name="connsiteX205" fmla="*/ 156546 w 3203851"/>
              <a:gd name="connsiteY205" fmla="*/ 5415495 h 6328408"/>
              <a:gd name="connsiteX206" fmla="*/ 130342 w 3203851"/>
              <a:gd name="connsiteY206" fmla="*/ 5353756 h 6328408"/>
              <a:gd name="connsiteX207" fmla="*/ 116572 w 3203851"/>
              <a:gd name="connsiteY207" fmla="*/ 5323539 h 6328408"/>
              <a:gd name="connsiteX208" fmla="*/ 112230 w 3203851"/>
              <a:gd name="connsiteY208" fmla="*/ 5311085 h 6328408"/>
              <a:gd name="connsiteX209" fmla="*/ 103034 w 3203851"/>
              <a:gd name="connsiteY209" fmla="*/ 5289421 h 6328408"/>
              <a:gd name="connsiteX210" fmla="*/ 79788 w 3203851"/>
              <a:gd name="connsiteY210" fmla="*/ 5218031 h 6328408"/>
              <a:gd name="connsiteX211" fmla="*/ 68155 w 3203851"/>
              <a:gd name="connsiteY211" fmla="*/ 5184660 h 6328408"/>
              <a:gd name="connsiteX212" fmla="*/ 65735 w 3203851"/>
              <a:gd name="connsiteY212" fmla="*/ 5174872 h 6328408"/>
              <a:gd name="connsiteX213" fmla="*/ 60272 w 3203851"/>
              <a:gd name="connsiteY213" fmla="*/ 5158096 h 6328408"/>
              <a:gd name="connsiteX214" fmla="*/ 41092 w 3203851"/>
              <a:gd name="connsiteY214" fmla="*/ 5075179 h 6328408"/>
              <a:gd name="connsiteX215" fmla="*/ 32469 w 3203851"/>
              <a:gd name="connsiteY215" fmla="*/ 5040298 h 6328408"/>
              <a:gd name="connsiteX216" fmla="*/ 31460 w 3203851"/>
              <a:gd name="connsiteY216" fmla="*/ 5033541 h 6328408"/>
              <a:gd name="connsiteX217" fmla="*/ 28806 w 3203851"/>
              <a:gd name="connsiteY217" fmla="*/ 5022069 h 6328408"/>
              <a:gd name="connsiteX218" fmla="*/ 14841 w 3203851"/>
              <a:gd name="connsiteY218" fmla="*/ 4922319 h 6328408"/>
              <a:gd name="connsiteX219" fmla="*/ 10178 w 3203851"/>
              <a:gd name="connsiteY219" fmla="*/ 4891118 h 6328408"/>
              <a:gd name="connsiteX220" fmla="*/ 10012 w 3203851"/>
              <a:gd name="connsiteY220" fmla="*/ 4887832 h 6328408"/>
              <a:gd name="connsiteX221" fmla="*/ 9179 w 3203851"/>
              <a:gd name="connsiteY221" fmla="*/ 4881884 h 6328408"/>
              <a:gd name="connsiteX222" fmla="*/ 5904 w 3203851"/>
              <a:gd name="connsiteY222" fmla="*/ 4812700 h 6328408"/>
              <a:gd name="connsiteX223" fmla="*/ 1912 w 3203851"/>
              <a:gd name="connsiteY223" fmla="*/ 4812700 h 6328408"/>
              <a:gd name="connsiteX224" fmla="*/ 1912 w 3203851"/>
              <a:gd name="connsiteY224" fmla="*/ 4748916 h 6328408"/>
              <a:gd name="connsiteX225" fmla="*/ 1912 w 3203851"/>
              <a:gd name="connsiteY225" fmla="*/ 4728385 h 6328408"/>
              <a:gd name="connsiteX226" fmla="*/ 1912 w 3203851"/>
              <a:gd name="connsiteY226" fmla="*/ 4727907 h 6328408"/>
              <a:gd name="connsiteX227" fmla="*/ 1912 w 3203851"/>
              <a:gd name="connsiteY227" fmla="*/ 4727906 h 6328408"/>
              <a:gd name="connsiteX228" fmla="*/ 0 w 3203851"/>
              <a:gd name="connsiteY228" fmla="*/ 4727906 h 6328408"/>
              <a:gd name="connsiteX229" fmla="*/ 0 w 3203851"/>
              <a:gd name="connsiteY229" fmla="*/ 4519209 h 6328408"/>
              <a:gd name="connsiteX230" fmla="*/ 0 w 3203851"/>
              <a:gd name="connsiteY230" fmla="*/ 4421451 h 6328408"/>
              <a:gd name="connsiteX231" fmla="*/ 0 w 3203851"/>
              <a:gd name="connsiteY231" fmla="*/ 4315041 h 6328408"/>
              <a:gd name="connsiteX232" fmla="*/ 0 w 3203851"/>
              <a:gd name="connsiteY232" fmla="*/ 4247666 h 6328408"/>
              <a:gd name="connsiteX233" fmla="*/ 0 w 3203851"/>
              <a:gd name="connsiteY233" fmla="*/ 4223465 h 6328408"/>
              <a:gd name="connsiteX234" fmla="*/ 0 w 3203851"/>
              <a:gd name="connsiteY234" fmla="*/ 4138670 h 6328408"/>
              <a:gd name="connsiteX235" fmla="*/ 0 w 3203851"/>
              <a:gd name="connsiteY235" fmla="*/ 4106344 h 6328408"/>
              <a:gd name="connsiteX236" fmla="*/ 0 w 3203851"/>
              <a:gd name="connsiteY236" fmla="*/ 4008586 h 6328408"/>
              <a:gd name="connsiteX237" fmla="*/ 0 w 3203851"/>
              <a:gd name="connsiteY237" fmla="*/ 3834801 h 6328408"/>
              <a:gd name="connsiteX238" fmla="*/ 0 w 3203851"/>
              <a:gd name="connsiteY238" fmla="*/ 3810600 h 6328408"/>
              <a:gd name="connsiteX239" fmla="*/ 0 w 3203851"/>
              <a:gd name="connsiteY239" fmla="*/ 3725805 h 6328408"/>
              <a:gd name="connsiteX240" fmla="*/ 1892 w 3203851"/>
              <a:gd name="connsiteY240" fmla="*/ 3725805 h 6328408"/>
              <a:gd name="connsiteX241" fmla="*/ 1892 w 3203851"/>
              <a:gd name="connsiteY241" fmla="*/ 2622963 h 6328408"/>
              <a:gd name="connsiteX242" fmla="*/ 1892 w 3203851"/>
              <a:gd name="connsiteY242" fmla="*/ 2210098 h 6328408"/>
              <a:gd name="connsiteX243" fmla="*/ 6868 w 3203851"/>
              <a:gd name="connsiteY243" fmla="*/ 2210098 h 6328408"/>
              <a:gd name="connsiteX244" fmla="*/ 5904 w 3203851"/>
              <a:gd name="connsiteY244" fmla="*/ 2189738 h 6328408"/>
              <a:gd name="connsiteX245" fmla="*/ 1911 w 3203851"/>
              <a:gd name="connsiteY245" fmla="*/ 2189738 h 6328408"/>
              <a:gd name="connsiteX246" fmla="*/ 1911 w 3203851"/>
              <a:gd name="connsiteY246" fmla="*/ 2125955 h 6328408"/>
              <a:gd name="connsiteX247" fmla="*/ 1911 w 3203851"/>
              <a:gd name="connsiteY247" fmla="*/ 2105423 h 6328408"/>
              <a:gd name="connsiteX248" fmla="*/ 1911 w 3203851"/>
              <a:gd name="connsiteY248" fmla="*/ 2104943 h 6328408"/>
              <a:gd name="connsiteX249" fmla="*/ 0 w 3203851"/>
              <a:gd name="connsiteY249" fmla="*/ 2104943 h 6328408"/>
              <a:gd name="connsiteX250" fmla="*/ 0 w 3203851"/>
              <a:gd name="connsiteY250" fmla="*/ 2080742 h 6328408"/>
              <a:gd name="connsiteX251" fmla="*/ 0 w 3203851"/>
              <a:gd name="connsiteY251" fmla="*/ 1906957 h 6328408"/>
              <a:gd name="connsiteX252" fmla="*/ 0 w 3203851"/>
              <a:gd name="connsiteY252" fmla="*/ 1809199 h 6328408"/>
              <a:gd name="connsiteX253" fmla="*/ 0 w 3203851"/>
              <a:gd name="connsiteY253" fmla="*/ 1600501 h 6328408"/>
              <a:gd name="connsiteX254" fmla="*/ 0 w 3203851"/>
              <a:gd name="connsiteY254" fmla="*/ 1515708 h 6328408"/>
              <a:gd name="connsiteX255" fmla="*/ 1893 w 3203851"/>
              <a:gd name="connsiteY255" fmla="*/ 1515708 h 6328408"/>
              <a:gd name="connsiteX256" fmla="*/ 1893 w 3203851"/>
              <a:gd name="connsiteY256" fmla="*/ 1 h 6328408"/>
              <a:gd name="connsiteX257" fmla="*/ 1600957 w 3203851"/>
              <a:gd name="connsiteY257" fmla="*/ 1 h 6328408"/>
              <a:gd name="connsiteX258" fmla="*/ 1601900 w 3203851"/>
              <a:gd name="connsiteY258" fmla="*/ 1 h 6328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</a:cxnLst>
            <a:rect l="l" t="t" r="r" b="b"/>
            <a:pathLst>
              <a:path w="3203851" h="6328408">
                <a:moveTo>
                  <a:pt x="1601915" y="0"/>
                </a:moveTo>
                <a:lnTo>
                  <a:pt x="1601931" y="1"/>
                </a:lnTo>
                <a:lnTo>
                  <a:pt x="1677083" y="1"/>
                </a:lnTo>
                <a:lnTo>
                  <a:pt x="1677083" y="3604"/>
                </a:lnTo>
                <a:lnTo>
                  <a:pt x="1754548" y="7273"/>
                </a:lnTo>
                <a:lnTo>
                  <a:pt x="1759248" y="7945"/>
                </a:lnTo>
                <a:lnTo>
                  <a:pt x="1765508" y="8260"/>
                </a:lnTo>
                <a:cubicBezTo>
                  <a:pt x="1860058" y="17863"/>
                  <a:pt x="1952173" y="35697"/>
                  <a:pt x="2041128" y="61036"/>
                </a:cubicBezTo>
                <a:lnTo>
                  <a:pt x="2047613" y="63191"/>
                </a:lnTo>
                <a:lnTo>
                  <a:pt x="2048730" y="63461"/>
                </a:lnTo>
                <a:lnTo>
                  <a:pt x="2059855" y="67262"/>
                </a:lnTo>
                <a:lnTo>
                  <a:pt x="2172097" y="104580"/>
                </a:lnTo>
                <a:lnTo>
                  <a:pt x="2183618" y="109554"/>
                </a:lnTo>
                <a:lnTo>
                  <a:pt x="2187996" y="111050"/>
                </a:lnTo>
                <a:lnTo>
                  <a:pt x="2211667" y="121663"/>
                </a:lnTo>
                <a:lnTo>
                  <a:pt x="2297777" y="158835"/>
                </a:lnTo>
                <a:lnTo>
                  <a:pt x="2313848" y="167473"/>
                </a:lnTo>
                <a:lnTo>
                  <a:pt x="2321162" y="170752"/>
                </a:lnTo>
                <a:lnTo>
                  <a:pt x="2346847" y="185211"/>
                </a:lnTo>
                <a:lnTo>
                  <a:pt x="2417622" y="223254"/>
                </a:lnTo>
                <a:lnTo>
                  <a:pt x="2437680" y="236343"/>
                </a:lnTo>
                <a:lnTo>
                  <a:pt x="2447564" y="241904"/>
                </a:lnTo>
                <a:lnTo>
                  <a:pt x="2472020" y="258749"/>
                </a:lnTo>
                <a:lnTo>
                  <a:pt x="2531088" y="297291"/>
                </a:lnTo>
                <a:lnTo>
                  <a:pt x="2554492" y="315549"/>
                </a:lnTo>
                <a:lnTo>
                  <a:pt x="2566538" y="323843"/>
                </a:lnTo>
                <a:lnTo>
                  <a:pt x="2588470" y="342054"/>
                </a:lnTo>
                <a:lnTo>
                  <a:pt x="2637626" y="380401"/>
                </a:lnTo>
                <a:lnTo>
                  <a:pt x="2663663" y="404485"/>
                </a:lnTo>
                <a:lnTo>
                  <a:pt x="2677421" y="415907"/>
                </a:lnTo>
                <a:lnTo>
                  <a:pt x="2696292" y="434665"/>
                </a:lnTo>
                <a:lnTo>
                  <a:pt x="2736691" y="472035"/>
                </a:lnTo>
                <a:lnTo>
                  <a:pt x="2764577" y="502545"/>
                </a:lnTo>
                <a:lnTo>
                  <a:pt x="2779552" y="517430"/>
                </a:lnTo>
                <a:lnTo>
                  <a:pt x="2795191" y="536039"/>
                </a:lnTo>
                <a:lnTo>
                  <a:pt x="2827738" y="571650"/>
                </a:lnTo>
                <a:lnTo>
                  <a:pt x="2856623" y="609138"/>
                </a:lnTo>
                <a:lnTo>
                  <a:pt x="2872266" y="627750"/>
                </a:lnTo>
                <a:lnTo>
                  <a:pt x="2884714" y="645596"/>
                </a:lnTo>
                <a:lnTo>
                  <a:pt x="2910220" y="678698"/>
                </a:lnTo>
                <a:lnTo>
                  <a:pt x="2939193" y="723692"/>
                </a:lnTo>
                <a:lnTo>
                  <a:pt x="2954901" y="746206"/>
                </a:lnTo>
                <a:lnTo>
                  <a:pt x="2964338" y="762736"/>
                </a:lnTo>
                <a:lnTo>
                  <a:pt x="2983591" y="792635"/>
                </a:lnTo>
                <a:lnTo>
                  <a:pt x="3011687" y="845676"/>
                </a:lnTo>
                <a:lnTo>
                  <a:pt x="3026792" y="872133"/>
                </a:lnTo>
                <a:lnTo>
                  <a:pt x="3033499" y="886851"/>
                </a:lnTo>
                <a:lnTo>
                  <a:pt x="3047305" y="912913"/>
                </a:lnTo>
                <a:lnTo>
                  <a:pt x="3073509" y="974652"/>
                </a:lnTo>
                <a:lnTo>
                  <a:pt x="3087279" y="1004869"/>
                </a:lnTo>
                <a:lnTo>
                  <a:pt x="3091621" y="1017323"/>
                </a:lnTo>
                <a:lnTo>
                  <a:pt x="3100816" y="1038987"/>
                </a:lnTo>
                <a:lnTo>
                  <a:pt x="3124063" y="1110377"/>
                </a:lnTo>
                <a:lnTo>
                  <a:pt x="3135696" y="1143748"/>
                </a:lnTo>
                <a:lnTo>
                  <a:pt x="3138116" y="1153536"/>
                </a:lnTo>
                <a:lnTo>
                  <a:pt x="3143578" y="1170312"/>
                </a:lnTo>
                <a:lnTo>
                  <a:pt x="3162759" y="1253229"/>
                </a:lnTo>
                <a:lnTo>
                  <a:pt x="3171382" y="1288110"/>
                </a:lnTo>
                <a:lnTo>
                  <a:pt x="3172391" y="1294867"/>
                </a:lnTo>
                <a:lnTo>
                  <a:pt x="3175045" y="1306339"/>
                </a:lnTo>
                <a:lnTo>
                  <a:pt x="3189010" y="1406089"/>
                </a:lnTo>
                <a:lnTo>
                  <a:pt x="3193673" y="1437290"/>
                </a:lnTo>
                <a:lnTo>
                  <a:pt x="3193839" y="1440576"/>
                </a:lnTo>
                <a:lnTo>
                  <a:pt x="3194671" y="1446524"/>
                </a:lnTo>
                <a:lnTo>
                  <a:pt x="3197947" y="1515708"/>
                </a:lnTo>
                <a:lnTo>
                  <a:pt x="3201939" y="1515708"/>
                </a:lnTo>
                <a:lnTo>
                  <a:pt x="3201939" y="1579492"/>
                </a:lnTo>
                <a:lnTo>
                  <a:pt x="3201939" y="1600023"/>
                </a:lnTo>
                <a:lnTo>
                  <a:pt x="3201939" y="1600501"/>
                </a:lnTo>
                <a:lnTo>
                  <a:pt x="3201939" y="1600502"/>
                </a:lnTo>
                <a:lnTo>
                  <a:pt x="3203851" y="1600502"/>
                </a:lnTo>
                <a:lnTo>
                  <a:pt x="3203851" y="1809199"/>
                </a:lnTo>
                <a:lnTo>
                  <a:pt x="3203851" y="1906957"/>
                </a:lnTo>
                <a:lnTo>
                  <a:pt x="3203851" y="2080742"/>
                </a:lnTo>
                <a:lnTo>
                  <a:pt x="3203851" y="2104943"/>
                </a:lnTo>
                <a:lnTo>
                  <a:pt x="3203851" y="2189738"/>
                </a:lnTo>
                <a:lnTo>
                  <a:pt x="3201959" y="2189738"/>
                </a:lnTo>
                <a:lnTo>
                  <a:pt x="3201959" y="2222055"/>
                </a:lnTo>
                <a:lnTo>
                  <a:pt x="1784816" y="2222055"/>
                </a:lnTo>
                <a:lnTo>
                  <a:pt x="2041128" y="2271133"/>
                </a:lnTo>
                <a:lnTo>
                  <a:pt x="2047613" y="2273288"/>
                </a:lnTo>
                <a:lnTo>
                  <a:pt x="2048730" y="2273558"/>
                </a:lnTo>
                <a:lnTo>
                  <a:pt x="2059854" y="2277361"/>
                </a:lnTo>
                <a:lnTo>
                  <a:pt x="2172097" y="2314678"/>
                </a:lnTo>
                <a:lnTo>
                  <a:pt x="2183618" y="2319652"/>
                </a:lnTo>
                <a:lnTo>
                  <a:pt x="2187996" y="2321147"/>
                </a:lnTo>
                <a:lnTo>
                  <a:pt x="2211667" y="2331760"/>
                </a:lnTo>
                <a:lnTo>
                  <a:pt x="2297776" y="2368932"/>
                </a:lnTo>
                <a:lnTo>
                  <a:pt x="2313848" y="2377571"/>
                </a:lnTo>
                <a:lnTo>
                  <a:pt x="2321162" y="2380850"/>
                </a:lnTo>
                <a:lnTo>
                  <a:pt x="2346847" y="2395308"/>
                </a:lnTo>
                <a:lnTo>
                  <a:pt x="2417622" y="2433352"/>
                </a:lnTo>
                <a:lnTo>
                  <a:pt x="2437680" y="2446440"/>
                </a:lnTo>
                <a:lnTo>
                  <a:pt x="2447563" y="2452002"/>
                </a:lnTo>
                <a:lnTo>
                  <a:pt x="2472020" y="2468846"/>
                </a:lnTo>
                <a:lnTo>
                  <a:pt x="2531088" y="2507389"/>
                </a:lnTo>
                <a:lnTo>
                  <a:pt x="2554493" y="2525646"/>
                </a:lnTo>
                <a:lnTo>
                  <a:pt x="2566537" y="2533941"/>
                </a:lnTo>
                <a:lnTo>
                  <a:pt x="2588470" y="2552153"/>
                </a:lnTo>
                <a:lnTo>
                  <a:pt x="2637626" y="2590497"/>
                </a:lnTo>
                <a:lnTo>
                  <a:pt x="2663663" y="2614582"/>
                </a:lnTo>
                <a:lnTo>
                  <a:pt x="2677421" y="2626004"/>
                </a:lnTo>
                <a:lnTo>
                  <a:pt x="2696292" y="2644763"/>
                </a:lnTo>
                <a:lnTo>
                  <a:pt x="2736691" y="2682132"/>
                </a:lnTo>
                <a:lnTo>
                  <a:pt x="2764577" y="2712642"/>
                </a:lnTo>
                <a:lnTo>
                  <a:pt x="2779552" y="2727528"/>
                </a:lnTo>
                <a:lnTo>
                  <a:pt x="2795191" y="2746137"/>
                </a:lnTo>
                <a:lnTo>
                  <a:pt x="2827737" y="2781747"/>
                </a:lnTo>
                <a:lnTo>
                  <a:pt x="2856623" y="2819235"/>
                </a:lnTo>
                <a:lnTo>
                  <a:pt x="2872266" y="2837848"/>
                </a:lnTo>
                <a:lnTo>
                  <a:pt x="2884714" y="2855694"/>
                </a:lnTo>
                <a:lnTo>
                  <a:pt x="2910220" y="2888796"/>
                </a:lnTo>
                <a:lnTo>
                  <a:pt x="2939193" y="2933789"/>
                </a:lnTo>
                <a:lnTo>
                  <a:pt x="2954900" y="2956304"/>
                </a:lnTo>
                <a:lnTo>
                  <a:pt x="2964337" y="2972833"/>
                </a:lnTo>
                <a:lnTo>
                  <a:pt x="2983591" y="3002732"/>
                </a:lnTo>
                <a:lnTo>
                  <a:pt x="3011686" y="3055774"/>
                </a:lnTo>
                <a:lnTo>
                  <a:pt x="3026792" y="3082230"/>
                </a:lnTo>
                <a:lnTo>
                  <a:pt x="3033499" y="3096949"/>
                </a:lnTo>
                <a:lnTo>
                  <a:pt x="3047304" y="3123010"/>
                </a:lnTo>
                <a:lnTo>
                  <a:pt x="3073509" y="3184749"/>
                </a:lnTo>
                <a:lnTo>
                  <a:pt x="3087278" y="3214966"/>
                </a:lnTo>
                <a:lnTo>
                  <a:pt x="3091621" y="3227421"/>
                </a:lnTo>
                <a:lnTo>
                  <a:pt x="3100816" y="3249084"/>
                </a:lnTo>
                <a:lnTo>
                  <a:pt x="3124062" y="3320475"/>
                </a:lnTo>
                <a:lnTo>
                  <a:pt x="3135696" y="3353845"/>
                </a:lnTo>
                <a:lnTo>
                  <a:pt x="3138116" y="3363634"/>
                </a:lnTo>
                <a:lnTo>
                  <a:pt x="3143578" y="3380408"/>
                </a:lnTo>
                <a:lnTo>
                  <a:pt x="3162759" y="3463326"/>
                </a:lnTo>
                <a:lnTo>
                  <a:pt x="3171382" y="3498207"/>
                </a:lnTo>
                <a:lnTo>
                  <a:pt x="3172391" y="3504964"/>
                </a:lnTo>
                <a:lnTo>
                  <a:pt x="3175045" y="3516437"/>
                </a:lnTo>
                <a:lnTo>
                  <a:pt x="3189010" y="3616186"/>
                </a:lnTo>
                <a:lnTo>
                  <a:pt x="3193672" y="3647388"/>
                </a:lnTo>
                <a:lnTo>
                  <a:pt x="3193838" y="3650673"/>
                </a:lnTo>
                <a:lnTo>
                  <a:pt x="3194671" y="3656622"/>
                </a:lnTo>
                <a:lnTo>
                  <a:pt x="3197946" y="3725805"/>
                </a:lnTo>
                <a:lnTo>
                  <a:pt x="3201939" y="3725805"/>
                </a:lnTo>
                <a:lnTo>
                  <a:pt x="3201939" y="3789588"/>
                </a:lnTo>
                <a:lnTo>
                  <a:pt x="3201939" y="3810120"/>
                </a:lnTo>
                <a:lnTo>
                  <a:pt x="3201939" y="3810600"/>
                </a:lnTo>
                <a:lnTo>
                  <a:pt x="3203851" y="3810600"/>
                </a:lnTo>
                <a:lnTo>
                  <a:pt x="3203851" y="3834801"/>
                </a:lnTo>
                <a:lnTo>
                  <a:pt x="3203851" y="4008586"/>
                </a:lnTo>
                <a:lnTo>
                  <a:pt x="3203851" y="4106344"/>
                </a:lnTo>
                <a:lnTo>
                  <a:pt x="3203851" y="4223465"/>
                </a:lnTo>
                <a:lnTo>
                  <a:pt x="3203851" y="4247666"/>
                </a:lnTo>
                <a:lnTo>
                  <a:pt x="3203851" y="4315042"/>
                </a:lnTo>
                <a:lnTo>
                  <a:pt x="3203851" y="4399835"/>
                </a:lnTo>
                <a:lnTo>
                  <a:pt x="3203851" y="4421451"/>
                </a:lnTo>
                <a:lnTo>
                  <a:pt x="3203851" y="4519209"/>
                </a:lnTo>
                <a:lnTo>
                  <a:pt x="3203851" y="4727907"/>
                </a:lnTo>
                <a:lnTo>
                  <a:pt x="3203851" y="4812700"/>
                </a:lnTo>
                <a:lnTo>
                  <a:pt x="3201958" y="4812700"/>
                </a:lnTo>
                <a:lnTo>
                  <a:pt x="3201958" y="5915542"/>
                </a:lnTo>
                <a:lnTo>
                  <a:pt x="3201958" y="6328407"/>
                </a:lnTo>
                <a:lnTo>
                  <a:pt x="1602893" y="6328407"/>
                </a:lnTo>
                <a:lnTo>
                  <a:pt x="1601950" y="6328407"/>
                </a:lnTo>
                <a:lnTo>
                  <a:pt x="1601936" y="6328408"/>
                </a:lnTo>
                <a:lnTo>
                  <a:pt x="1601920" y="6328407"/>
                </a:lnTo>
                <a:lnTo>
                  <a:pt x="1526767" y="6328407"/>
                </a:lnTo>
                <a:lnTo>
                  <a:pt x="1526767" y="6324804"/>
                </a:lnTo>
                <a:lnTo>
                  <a:pt x="1449303" y="6321135"/>
                </a:lnTo>
                <a:lnTo>
                  <a:pt x="1444603" y="6320463"/>
                </a:lnTo>
                <a:lnTo>
                  <a:pt x="1438342" y="6320148"/>
                </a:lnTo>
                <a:cubicBezTo>
                  <a:pt x="1343793" y="6310545"/>
                  <a:pt x="1251678" y="6292711"/>
                  <a:pt x="1162722" y="6267372"/>
                </a:cubicBezTo>
                <a:lnTo>
                  <a:pt x="1156238" y="6265217"/>
                </a:lnTo>
                <a:lnTo>
                  <a:pt x="1155121" y="6264947"/>
                </a:lnTo>
                <a:lnTo>
                  <a:pt x="1143996" y="6261146"/>
                </a:lnTo>
                <a:lnTo>
                  <a:pt x="1031754" y="6223828"/>
                </a:lnTo>
                <a:lnTo>
                  <a:pt x="1020233" y="6218854"/>
                </a:lnTo>
                <a:lnTo>
                  <a:pt x="1015855" y="6217358"/>
                </a:lnTo>
                <a:lnTo>
                  <a:pt x="992184" y="6206745"/>
                </a:lnTo>
                <a:lnTo>
                  <a:pt x="906073" y="6169573"/>
                </a:lnTo>
                <a:lnTo>
                  <a:pt x="890003" y="6160935"/>
                </a:lnTo>
                <a:lnTo>
                  <a:pt x="882689" y="6157656"/>
                </a:lnTo>
                <a:lnTo>
                  <a:pt x="857004" y="6143197"/>
                </a:lnTo>
                <a:lnTo>
                  <a:pt x="786229" y="6105154"/>
                </a:lnTo>
                <a:lnTo>
                  <a:pt x="766170" y="6092065"/>
                </a:lnTo>
                <a:lnTo>
                  <a:pt x="756287" y="6086504"/>
                </a:lnTo>
                <a:lnTo>
                  <a:pt x="731831" y="6069659"/>
                </a:lnTo>
                <a:lnTo>
                  <a:pt x="672763" y="6031117"/>
                </a:lnTo>
                <a:lnTo>
                  <a:pt x="649359" y="6012859"/>
                </a:lnTo>
                <a:lnTo>
                  <a:pt x="637313" y="6004565"/>
                </a:lnTo>
                <a:lnTo>
                  <a:pt x="615380" y="5986354"/>
                </a:lnTo>
                <a:lnTo>
                  <a:pt x="566225" y="5948007"/>
                </a:lnTo>
                <a:lnTo>
                  <a:pt x="540188" y="5923923"/>
                </a:lnTo>
                <a:lnTo>
                  <a:pt x="526430" y="5912501"/>
                </a:lnTo>
                <a:lnTo>
                  <a:pt x="507558" y="5893743"/>
                </a:lnTo>
                <a:lnTo>
                  <a:pt x="467159" y="5856373"/>
                </a:lnTo>
                <a:lnTo>
                  <a:pt x="439274" y="5825863"/>
                </a:lnTo>
                <a:lnTo>
                  <a:pt x="424299" y="5810978"/>
                </a:lnTo>
                <a:lnTo>
                  <a:pt x="408660" y="5792369"/>
                </a:lnTo>
                <a:lnTo>
                  <a:pt x="376113" y="5756758"/>
                </a:lnTo>
                <a:lnTo>
                  <a:pt x="347228" y="5719270"/>
                </a:lnTo>
                <a:lnTo>
                  <a:pt x="331585" y="5700658"/>
                </a:lnTo>
                <a:lnTo>
                  <a:pt x="319137" y="5682812"/>
                </a:lnTo>
                <a:lnTo>
                  <a:pt x="293630" y="5649710"/>
                </a:lnTo>
                <a:lnTo>
                  <a:pt x="264657" y="5604716"/>
                </a:lnTo>
                <a:lnTo>
                  <a:pt x="248950" y="5582202"/>
                </a:lnTo>
                <a:lnTo>
                  <a:pt x="239513" y="5565672"/>
                </a:lnTo>
                <a:lnTo>
                  <a:pt x="220260" y="5535773"/>
                </a:lnTo>
                <a:lnTo>
                  <a:pt x="192164" y="5482732"/>
                </a:lnTo>
                <a:lnTo>
                  <a:pt x="177059" y="5456275"/>
                </a:lnTo>
                <a:lnTo>
                  <a:pt x="170352" y="5441557"/>
                </a:lnTo>
                <a:lnTo>
                  <a:pt x="156546" y="5415495"/>
                </a:lnTo>
                <a:lnTo>
                  <a:pt x="130342" y="5353756"/>
                </a:lnTo>
                <a:lnTo>
                  <a:pt x="116572" y="5323539"/>
                </a:lnTo>
                <a:lnTo>
                  <a:pt x="112230" y="5311085"/>
                </a:lnTo>
                <a:lnTo>
                  <a:pt x="103034" y="5289421"/>
                </a:lnTo>
                <a:lnTo>
                  <a:pt x="79788" y="5218031"/>
                </a:lnTo>
                <a:lnTo>
                  <a:pt x="68155" y="5184660"/>
                </a:lnTo>
                <a:lnTo>
                  <a:pt x="65735" y="5174872"/>
                </a:lnTo>
                <a:lnTo>
                  <a:pt x="60272" y="5158096"/>
                </a:lnTo>
                <a:lnTo>
                  <a:pt x="41092" y="5075179"/>
                </a:lnTo>
                <a:lnTo>
                  <a:pt x="32469" y="5040298"/>
                </a:lnTo>
                <a:lnTo>
                  <a:pt x="31460" y="5033541"/>
                </a:lnTo>
                <a:lnTo>
                  <a:pt x="28806" y="5022069"/>
                </a:lnTo>
                <a:lnTo>
                  <a:pt x="14841" y="4922319"/>
                </a:lnTo>
                <a:lnTo>
                  <a:pt x="10178" y="4891118"/>
                </a:lnTo>
                <a:lnTo>
                  <a:pt x="10012" y="4887832"/>
                </a:lnTo>
                <a:lnTo>
                  <a:pt x="9179" y="4881884"/>
                </a:lnTo>
                <a:lnTo>
                  <a:pt x="5904" y="4812700"/>
                </a:lnTo>
                <a:lnTo>
                  <a:pt x="1912" y="4812700"/>
                </a:lnTo>
                <a:lnTo>
                  <a:pt x="1912" y="4748916"/>
                </a:lnTo>
                <a:lnTo>
                  <a:pt x="1912" y="4728385"/>
                </a:lnTo>
                <a:lnTo>
                  <a:pt x="1912" y="4727907"/>
                </a:lnTo>
                <a:lnTo>
                  <a:pt x="1912" y="4727906"/>
                </a:lnTo>
                <a:lnTo>
                  <a:pt x="0" y="4727906"/>
                </a:lnTo>
                <a:lnTo>
                  <a:pt x="0" y="4519209"/>
                </a:lnTo>
                <a:lnTo>
                  <a:pt x="0" y="4421451"/>
                </a:lnTo>
                <a:lnTo>
                  <a:pt x="0" y="4315041"/>
                </a:lnTo>
                <a:lnTo>
                  <a:pt x="0" y="4247666"/>
                </a:lnTo>
                <a:lnTo>
                  <a:pt x="0" y="4223465"/>
                </a:lnTo>
                <a:lnTo>
                  <a:pt x="0" y="4138670"/>
                </a:lnTo>
                <a:lnTo>
                  <a:pt x="0" y="4106344"/>
                </a:lnTo>
                <a:lnTo>
                  <a:pt x="0" y="4008586"/>
                </a:lnTo>
                <a:lnTo>
                  <a:pt x="0" y="3834801"/>
                </a:lnTo>
                <a:lnTo>
                  <a:pt x="0" y="3810600"/>
                </a:lnTo>
                <a:lnTo>
                  <a:pt x="0" y="3725805"/>
                </a:lnTo>
                <a:lnTo>
                  <a:pt x="1892" y="3725805"/>
                </a:lnTo>
                <a:lnTo>
                  <a:pt x="1892" y="2622963"/>
                </a:lnTo>
                <a:lnTo>
                  <a:pt x="1892" y="2210098"/>
                </a:lnTo>
                <a:lnTo>
                  <a:pt x="6868" y="2210098"/>
                </a:lnTo>
                <a:lnTo>
                  <a:pt x="5904" y="2189738"/>
                </a:lnTo>
                <a:lnTo>
                  <a:pt x="1911" y="2189738"/>
                </a:lnTo>
                <a:lnTo>
                  <a:pt x="1911" y="2125955"/>
                </a:lnTo>
                <a:lnTo>
                  <a:pt x="1911" y="2105423"/>
                </a:lnTo>
                <a:lnTo>
                  <a:pt x="1911" y="2104943"/>
                </a:lnTo>
                <a:lnTo>
                  <a:pt x="0" y="2104943"/>
                </a:lnTo>
                <a:lnTo>
                  <a:pt x="0" y="2080742"/>
                </a:lnTo>
                <a:lnTo>
                  <a:pt x="0" y="1906957"/>
                </a:lnTo>
                <a:lnTo>
                  <a:pt x="0" y="1809199"/>
                </a:lnTo>
                <a:lnTo>
                  <a:pt x="0" y="1600501"/>
                </a:lnTo>
                <a:lnTo>
                  <a:pt x="0" y="1515708"/>
                </a:lnTo>
                <a:lnTo>
                  <a:pt x="1893" y="1515708"/>
                </a:lnTo>
                <a:lnTo>
                  <a:pt x="1893" y="1"/>
                </a:lnTo>
                <a:lnTo>
                  <a:pt x="1600957" y="1"/>
                </a:lnTo>
                <a:lnTo>
                  <a:pt x="1601900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157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F148A77-634B-4BCB-AB09-F77C7AE22C7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764009" y="3697260"/>
            <a:ext cx="6064842" cy="2824212"/>
          </a:xfrm>
          <a:custGeom>
            <a:avLst/>
            <a:gdLst>
              <a:gd name="connsiteX0" fmla="*/ 0 w 6064842"/>
              <a:gd name="connsiteY0" fmla="*/ 0 h 2824212"/>
              <a:gd name="connsiteX1" fmla="*/ 670946 w 6064842"/>
              <a:gd name="connsiteY1" fmla="*/ 0 h 2824212"/>
              <a:gd name="connsiteX2" fmla="*/ 708481 w 6064842"/>
              <a:gd name="connsiteY2" fmla="*/ 0 h 2824212"/>
              <a:gd name="connsiteX3" fmla="*/ 1747470 w 6064842"/>
              <a:gd name="connsiteY3" fmla="*/ 0 h 2824212"/>
              <a:gd name="connsiteX4" fmla="*/ 1885136 w 6064842"/>
              <a:gd name="connsiteY4" fmla="*/ 0 h 2824212"/>
              <a:gd name="connsiteX5" fmla="*/ 2189625 w 6064842"/>
              <a:gd name="connsiteY5" fmla="*/ 0 h 2824212"/>
              <a:gd name="connsiteX6" fmla="*/ 2418416 w 6064842"/>
              <a:gd name="connsiteY6" fmla="*/ 0 h 2824212"/>
              <a:gd name="connsiteX7" fmla="*/ 2455951 w 6064842"/>
              <a:gd name="connsiteY7" fmla="*/ 0 h 2824212"/>
              <a:gd name="connsiteX8" fmla="*/ 3304400 w 6064842"/>
              <a:gd name="connsiteY8" fmla="*/ 0 h 2824212"/>
              <a:gd name="connsiteX9" fmla="*/ 3608890 w 6064842"/>
              <a:gd name="connsiteY9" fmla="*/ 0 h 2824212"/>
              <a:gd name="connsiteX10" fmla="*/ 3632605 w 6064842"/>
              <a:gd name="connsiteY10" fmla="*/ 0 h 2824212"/>
              <a:gd name="connsiteX11" fmla="*/ 3937095 w 6064842"/>
              <a:gd name="connsiteY11" fmla="*/ 0 h 2824212"/>
              <a:gd name="connsiteX12" fmla="*/ 5051870 w 6064842"/>
              <a:gd name="connsiteY12" fmla="*/ 0 h 2824212"/>
              <a:gd name="connsiteX13" fmla="*/ 5356360 w 6064842"/>
              <a:gd name="connsiteY13" fmla="*/ 0 h 2824212"/>
              <a:gd name="connsiteX14" fmla="*/ 5356360 w 6064842"/>
              <a:gd name="connsiteY14" fmla="*/ 930 h 2824212"/>
              <a:gd name="connsiteX15" fmla="*/ 5356361 w 6064842"/>
              <a:gd name="connsiteY15" fmla="*/ 930 h 2824212"/>
              <a:gd name="connsiteX16" fmla="*/ 5356573 w 6064842"/>
              <a:gd name="connsiteY16" fmla="*/ 930 h 2824212"/>
              <a:gd name="connsiteX17" fmla="*/ 5365661 w 6064842"/>
              <a:gd name="connsiteY17" fmla="*/ 930 h 2824212"/>
              <a:gd name="connsiteX18" fmla="*/ 5393896 w 6064842"/>
              <a:gd name="connsiteY18" fmla="*/ 930 h 2824212"/>
              <a:gd name="connsiteX19" fmla="*/ 5393896 w 6064842"/>
              <a:gd name="connsiteY19" fmla="*/ 2870 h 2824212"/>
              <a:gd name="connsiteX20" fmla="*/ 5424521 w 6064842"/>
              <a:gd name="connsiteY20" fmla="*/ 4461 h 2824212"/>
              <a:gd name="connsiteX21" fmla="*/ 5427155 w 6064842"/>
              <a:gd name="connsiteY21" fmla="*/ 4866 h 2824212"/>
              <a:gd name="connsiteX22" fmla="*/ 5428608 w 6064842"/>
              <a:gd name="connsiteY22" fmla="*/ 4946 h 2824212"/>
              <a:gd name="connsiteX23" fmla="*/ 5442420 w 6064842"/>
              <a:gd name="connsiteY23" fmla="*/ 7212 h 2824212"/>
              <a:gd name="connsiteX24" fmla="*/ 5486575 w 6064842"/>
              <a:gd name="connsiteY24" fmla="*/ 13997 h 2824212"/>
              <a:gd name="connsiteX25" fmla="*/ 5491653 w 6064842"/>
              <a:gd name="connsiteY25" fmla="*/ 15287 h 2824212"/>
              <a:gd name="connsiteX26" fmla="*/ 5494644 w 6064842"/>
              <a:gd name="connsiteY26" fmla="*/ 15777 h 2824212"/>
              <a:gd name="connsiteX27" fmla="*/ 5510085 w 6064842"/>
              <a:gd name="connsiteY27" fmla="*/ 19968 h 2824212"/>
              <a:gd name="connsiteX28" fmla="*/ 5546790 w 6064842"/>
              <a:gd name="connsiteY28" fmla="*/ 29287 h 2824212"/>
              <a:gd name="connsiteX29" fmla="*/ 5554216 w 6064842"/>
              <a:gd name="connsiteY29" fmla="*/ 31942 h 2824212"/>
              <a:gd name="connsiteX30" fmla="*/ 5558548 w 6064842"/>
              <a:gd name="connsiteY30" fmla="*/ 33117 h 2824212"/>
              <a:gd name="connsiteX31" fmla="*/ 5573320 w 6064842"/>
              <a:gd name="connsiteY31" fmla="*/ 38769 h 2824212"/>
              <a:gd name="connsiteX32" fmla="*/ 5604922 w 6064842"/>
              <a:gd name="connsiteY32" fmla="*/ 50066 h 2824212"/>
              <a:gd name="connsiteX33" fmla="*/ 5614512 w 6064842"/>
              <a:gd name="connsiteY33" fmla="*/ 54533 h 2824212"/>
              <a:gd name="connsiteX34" fmla="*/ 5620025 w 6064842"/>
              <a:gd name="connsiteY34" fmla="*/ 56644 h 2824212"/>
              <a:gd name="connsiteX35" fmla="*/ 5633401 w 6064842"/>
              <a:gd name="connsiteY35" fmla="*/ 63334 h 2824212"/>
              <a:gd name="connsiteX36" fmla="*/ 5660731 w 6064842"/>
              <a:gd name="connsiteY36" fmla="*/ 76066 h 2824212"/>
              <a:gd name="connsiteX37" fmla="*/ 5672267 w 6064842"/>
              <a:gd name="connsiteY37" fmla="*/ 82775 h 2824212"/>
              <a:gd name="connsiteX38" fmla="*/ 5678782 w 6064842"/>
              <a:gd name="connsiteY38" fmla="*/ 86034 h 2824212"/>
              <a:gd name="connsiteX39" fmla="*/ 5690493 w 6064842"/>
              <a:gd name="connsiteY39" fmla="*/ 93373 h 2824212"/>
              <a:gd name="connsiteX40" fmla="*/ 5713973 w 6064842"/>
              <a:gd name="connsiteY40" fmla="*/ 107025 h 2824212"/>
              <a:gd name="connsiteX41" fmla="*/ 5727208 w 6064842"/>
              <a:gd name="connsiteY41" fmla="*/ 116381 h 2824212"/>
              <a:gd name="connsiteX42" fmla="*/ 5734525 w 6064842"/>
              <a:gd name="connsiteY42" fmla="*/ 120966 h 2824212"/>
              <a:gd name="connsiteX43" fmla="*/ 5744491 w 6064842"/>
              <a:gd name="connsiteY43" fmla="*/ 128598 h 2824212"/>
              <a:gd name="connsiteX44" fmla="*/ 5764408 w 6064842"/>
              <a:gd name="connsiteY44" fmla="*/ 142676 h 2824212"/>
              <a:gd name="connsiteX45" fmla="*/ 5779061 w 6064842"/>
              <a:gd name="connsiteY45" fmla="*/ 155070 h 2824212"/>
              <a:gd name="connsiteX46" fmla="*/ 5786961 w 6064842"/>
              <a:gd name="connsiteY46" fmla="*/ 161118 h 2824212"/>
              <a:gd name="connsiteX47" fmla="*/ 5795200 w 6064842"/>
              <a:gd name="connsiteY47" fmla="*/ 168719 h 2824212"/>
              <a:gd name="connsiteX48" fmla="*/ 5811795 w 6064842"/>
              <a:gd name="connsiteY48" fmla="*/ 182754 h 2824212"/>
              <a:gd name="connsiteX49" fmla="*/ 5827557 w 6064842"/>
              <a:gd name="connsiteY49" fmla="*/ 198569 h 2824212"/>
              <a:gd name="connsiteX50" fmla="*/ 5835795 w 6064842"/>
              <a:gd name="connsiteY50" fmla="*/ 206168 h 2824212"/>
              <a:gd name="connsiteX51" fmla="*/ 5842384 w 6064842"/>
              <a:gd name="connsiteY51" fmla="*/ 213444 h 2824212"/>
              <a:gd name="connsiteX52" fmla="*/ 5855890 w 6064842"/>
              <a:gd name="connsiteY52" fmla="*/ 226994 h 2824212"/>
              <a:gd name="connsiteX53" fmla="*/ 5872433 w 6064842"/>
              <a:gd name="connsiteY53" fmla="*/ 246624 h 2824212"/>
              <a:gd name="connsiteX54" fmla="*/ 5880736 w 6064842"/>
              <a:gd name="connsiteY54" fmla="*/ 255793 h 2824212"/>
              <a:gd name="connsiteX55" fmla="*/ 5885792 w 6064842"/>
              <a:gd name="connsiteY55" fmla="*/ 262478 h 2824212"/>
              <a:gd name="connsiteX56" fmla="*/ 5896454 w 6064842"/>
              <a:gd name="connsiteY56" fmla="*/ 275129 h 2824212"/>
              <a:gd name="connsiteX57" fmla="*/ 5913427 w 6064842"/>
              <a:gd name="connsiteY57" fmla="*/ 299015 h 2824212"/>
              <a:gd name="connsiteX58" fmla="*/ 5921489 w 6064842"/>
              <a:gd name="connsiteY58" fmla="*/ 309671 h 2824212"/>
              <a:gd name="connsiteX59" fmla="*/ 5925161 w 6064842"/>
              <a:gd name="connsiteY59" fmla="*/ 315524 h 2824212"/>
              <a:gd name="connsiteX60" fmla="*/ 5933243 w 6064842"/>
              <a:gd name="connsiteY60" fmla="*/ 326896 h 2824212"/>
              <a:gd name="connsiteX61" fmla="*/ 5950304 w 6064842"/>
              <a:gd name="connsiteY61" fmla="*/ 355597 h 2824212"/>
              <a:gd name="connsiteX62" fmla="*/ 5957761 w 6064842"/>
              <a:gd name="connsiteY62" fmla="*/ 367482 h 2824212"/>
              <a:gd name="connsiteX63" fmla="*/ 5960223 w 6064842"/>
              <a:gd name="connsiteY63" fmla="*/ 372282 h 2824212"/>
              <a:gd name="connsiteX64" fmla="*/ 5966016 w 6064842"/>
              <a:gd name="connsiteY64" fmla="*/ 382028 h 2824212"/>
              <a:gd name="connsiteX65" fmla="*/ 5982857 w 6064842"/>
              <a:gd name="connsiteY65" fmla="*/ 416419 h 2824212"/>
              <a:gd name="connsiteX66" fmla="*/ 5989257 w 6064842"/>
              <a:gd name="connsiteY66" fmla="*/ 428899 h 2824212"/>
              <a:gd name="connsiteX67" fmla="*/ 5990707 w 6064842"/>
              <a:gd name="connsiteY67" fmla="*/ 432453 h 2824212"/>
              <a:gd name="connsiteX68" fmla="*/ 5994531 w 6064842"/>
              <a:gd name="connsiteY68" fmla="*/ 440261 h 2824212"/>
              <a:gd name="connsiteX69" fmla="*/ 6010987 w 6064842"/>
              <a:gd name="connsiteY69" fmla="*/ 482102 h 2824212"/>
              <a:gd name="connsiteX70" fmla="*/ 6015685 w 6064842"/>
              <a:gd name="connsiteY70" fmla="*/ 493604 h 2824212"/>
              <a:gd name="connsiteX71" fmla="*/ 6016347 w 6064842"/>
              <a:gd name="connsiteY71" fmla="*/ 495732 h 2824212"/>
              <a:gd name="connsiteX72" fmla="*/ 6018549 w 6064842"/>
              <a:gd name="connsiteY72" fmla="*/ 501331 h 2824212"/>
              <a:gd name="connsiteX73" fmla="*/ 6035067 w 6064842"/>
              <a:gd name="connsiteY73" fmla="*/ 555868 h 2824212"/>
              <a:gd name="connsiteX74" fmla="*/ 6036751 w 6064842"/>
              <a:gd name="connsiteY74" fmla="*/ 561273 h 2824212"/>
              <a:gd name="connsiteX75" fmla="*/ 6036869 w 6064842"/>
              <a:gd name="connsiteY75" fmla="*/ 561817 h 2824212"/>
              <a:gd name="connsiteX76" fmla="*/ 6037825 w 6064842"/>
              <a:gd name="connsiteY76" fmla="*/ 564967 h 2824212"/>
              <a:gd name="connsiteX77" fmla="*/ 6061185 w 6064842"/>
              <a:gd name="connsiteY77" fmla="*/ 698891 h 2824212"/>
              <a:gd name="connsiteX78" fmla="*/ 6061325 w 6064842"/>
              <a:gd name="connsiteY78" fmla="*/ 701933 h 2824212"/>
              <a:gd name="connsiteX79" fmla="*/ 6061623 w 6064842"/>
              <a:gd name="connsiteY79" fmla="*/ 704217 h 2824212"/>
              <a:gd name="connsiteX80" fmla="*/ 6063246 w 6064842"/>
              <a:gd name="connsiteY80" fmla="*/ 741856 h 2824212"/>
              <a:gd name="connsiteX81" fmla="*/ 6064842 w 6064842"/>
              <a:gd name="connsiteY81" fmla="*/ 741856 h 2824212"/>
              <a:gd name="connsiteX82" fmla="*/ 6064842 w 6064842"/>
              <a:gd name="connsiteY82" fmla="*/ 778373 h 2824212"/>
              <a:gd name="connsiteX83" fmla="*/ 6064842 w 6064842"/>
              <a:gd name="connsiteY83" fmla="*/ 778380 h 2824212"/>
              <a:gd name="connsiteX84" fmla="*/ 6064842 w 6064842"/>
              <a:gd name="connsiteY84" fmla="*/ 778388 h 2824212"/>
              <a:gd name="connsiteX85" fmla="*/ 6064842 w 6064842"/>
              <a:gd name="connsiteY85" fmla="*/ 778846 h 2824212"/>
              <a:gd name="connsiteX86" fmla="*/ 6064842 w 6064842"/>
              <a:gd name="connsiteY86" fmla="*/ 786226 h 2824212"/>
              <a:gd name="connsiteX87" fmla="*/ 6064842 w 6064842"/>
              <a:gd name="connsiteY87" fmla="*/ 1259616 h 2824212"/>
              <a:gd name="connsiteX88" fmla="*/ 6064842 w 6064842"/>
              <a:gd name="connsiteY88" fmla="*/ 1564605 h 2824212"/>
              <a:gd name="connsiteX89" fmla="*/ 6064842 w 6064842"/>
              <a:gd name="connsiteY89" fmla="*/ 2045841 h 2824212"/>
              <a:gd name="connsiteX90" fmla="*/ 6064842 w 6064842"/>
              <a:gd name="connsiteY90" fmla="*/ 2824212 h 2824212"/>
              <a:gd name="connsiteX91" fmla="*/ 5393896 w 6064842"/>
              <a:gd name="connsiteY91" fmla="*/ 2824212 h 2824212"/>
              <a:gd name="connsiteX92" fmla="*/ 5356361 w 6064842"/>
              <a:gd name="connsiteY92" fmla="*/ 2824212 h 2824212"/>
              <a:gd name="connsiteX93" fmla="*/ 4645577 w 6064842"/>
              <a:gd name="connsiteY93" fmla="*/ 2824212 h 2824212"/>
              <a:gd name="connsiteX94" fmla="*/ 4317372 w 6064842"/>
              <a:gd name="connsiteY94" fmla="*/ 2824212 h 2824212"/>
              <a:gd name="connsiteX95" fmla="*/ 4179707 w 6064842"/>
              <a:gd name="connsiteY95" fmla="*/ 2824212 h 2824212"/>
              <a:gd name="connsiteX96" fmla="*/ 3974631 w 6064842"/>
              <a:gd name="connsiteY96" fmla="*/ 2824212 h 2824212"/>
              <a:gd name="connsiteX97" fmla="*/ 3937096 w 6064842"/>
              <a:gd name="connsiteY97" fmla="*/ 2824212 h 2824212"/>
              <a:gd name="connsiteX98" fmla="*/ 3875217 w 6064842"/>
              <a:gd name="connsiteY98" fmla="*/ 2824212 h 2824212"/>
              <a:gd name="connsiteX99" fmla="*/ 3646426 w 6064842"/>
              <a:gd name="connsiteY99" fmla="*/ 2824212 h 2824212"/>
              <a:gd name="connsiteX100" fmla="*/ 3608891 w 6064842"/>
              <a:gd name="connsiteY100" fmla="*/ 2824212 h 2824212"/>
              <a:gd name="connsiteX101" fmla="*/ 2898107 w 6064842"/>
              <a:gd name="connsiteY101" fmla="*/ 2824212 h 2824212"/>
              <a:gd name="connsiteX102" fmla="*/ 2760442 w 6064842"/>
              <a:gd name="connsiteY102" fmla="*/ 2824212 h 2824212"/>
              <a:gd name="connsiteX103" fmla="*/ 2455952 w 6064842"/>
              <a:gd name="connsiteY103" fmla="*/ 2824212 h 2824212"/>
              <a:gd name="connsiteX104" fmla="*/ 2432237 w 6064842"/>
              <a:gd name="connsiteY104" fmla="*/ 2824212 h 2824212"/>
              <a:gd name="connsiteX105" fmla="*/ 2227161 w 6064842"/>
              <a:gd name="connsiteY105" fmla="*/ 2824212 h 2824212"/>
              <a:gd name="connsiteX106" fmla="*/ 2189626 w 6064842"/>
              <a:gd name="connsiteY106" fmla="*/ 2824212 h 2824212"/>
              <a:gd name="connsiteX107" fmla="*/ 2127747 w 6064842"/>
              <a:gd name="connsiteY107" fmla="*/ 2824212 h 2824212"/>
              <a:gd name="connsiteX108" fmla="*/ 1012971 w 6064842"/>
              <a:gd name="connsiteY108" fmla="*/ 2824212 h 2824212"/>
              <a:gd name="connsiteX109" fmla="*/ 708482 w 6064842"/>
              <a:gd name="connsiteY109" fmla="*/ 2824212 h 2824212"/>
              <a:gd name="connsiteX110" fmla="*/ 708482 w 6064842"/>
              <a:gd name="connsiteY110" fmla="*/ 2823282 h 2824212"/>
              <a:gd name="connsiteX111" fmla="*/ 708481 w 6064842"/>
              <a:gd name="connsiteY111" fmla="*/ 2823282 h 2824212"/>
              <a:gd name="connsiteX112" fmla="*/ 708269 w 6064842"/>
              <a:gd name="connsiteY112" fmla="*/ 2823282 h 2824212"/>
              <a:gd name="connsiteX113" fmla="*/ 699181 w 6064842"/>
              <a:gd name="connsiteY113" fmla="*/ 2823282 h 2824212"/>
              <a:gd name="connsiteX114" fmla="*/ 670946 w 6064842"/>
              <a:gd name="connsiteY114" fmla="*/ 2823282 h 2824212"/>
              <a:gd name="connsiteX115" fmla="*/ 670946 w 6064842"/>
              <a:gd name="connsiteY115" fmla="*/ 2821342 h 2824212"/>
              <a:gd name="connsiteX116" fmla="*/ 640321 w 6064842"/>
              <a:gd name="connsiteY116" fmla="*/ 2819751 h 2824212"/>
              <a:gd name="connsiteX117" fmla="*/ 637688 w 6064842"/>
              <a:gd name="connsiteY117" fmla="*/ 2819346 h 2824212"/>
              <a:gd name="connsiteX118" fmla="*/ 636234 w 6064842"/>
              <a:gd name="connsiteY118" fmla="*/ 2819266 h 2824212"/>
              <a:gd name="connsiteX119" fmla="*/ 622422 w 6064842"/>
              <a:gd name="connsiteY119" fmla="*/ 2817000 h 2824212"/>
              <a:gd name="connsiteX120" fmla="*/ 578267 w 6064842"/>
              <a:gd name="connsiteY120" fmla="*/ 2810215 h 2824212"/>
              <a:gd name="connsiteX121" fmla="*/ 573188 w 6064842"/>
              <a:gd name="connsiteY121" fmla="*/ 2808925 h 2824212"/>
              <a:gd name="connsiteX122" fmla="*/ 570198 w 6064842"/>
              <a:gd name="connsiteY122" fmla="*/ 2808435 h 2824212"/>
              <a:gd name="connsiteX123" fmla="*/ 554757 w 6064842"/>
              <a:gd name="connsiteY123" fmla="*/ 2804244 h 2824212"/>
              <a:gd name="connsiteX124" fmla="*/ 518052 w 6064842"/>
              <a:gd name="connsiteY124" fmla="*/ 2794925 h 2824212"/>
              <a:gd name="connsiteX125" fmla="*/ 510626 w 6064842"/>
              <a:gd name="connsiteY125" fmla="*/ 2792270 h 2824212"/>
              <a:gd name="connsiteX126" fmla="*/ 506294 w 6064842"/>
              <a:gd name="connsiteY126" fmla="*/ 2791095 h 2824212"/>
              <a:gd name="connsiteX127" fmla="*/ 491522 w 6064842"/>
              <a:gd name="connsiteY127" fmla="*/ 2785443 h 2824212"/>
              <a:gd name="connsiteX128" fmla="*/ 459920 w 6064842"/>
              <a:gd name="connsiteY128" fmla="*/ 2774146 h 2824212"/>
              <a:gd name="connsiteX129" fmla="*/ 450331 w 6064842"/>
              <a:gd name="connsiteY129" fmla="*/ 2769679 h 2824212"/>
              <a:gd name="connsiteX130" fmla="*/ 444817 w 6064842"/>
              <a:gd name="connsiteY130" fmla="*/ 2767568 h 2824212"/>
              <a:gd name="connsiteX131" fmla="*/ 431441 w 6064842"/>
              <a:gd name="connsiteY131" fmla="*/ 2760878 h 2824212"/>
              <a:gd name="connsiteX132" fmla="*/ 404112 w 6064842"/>
              <a:gd name="connsiteY132" fmla="*/ 2748146 h 2824212"/>
              <a:gd name="connsiteX133" fmla="*/ 392575 w 6064842"/>
              <a:gd name="connsiteY133" fmla="*/ 2741437 h 2824212"/>
              <a:gd name="connsiteX134" fmla="*/ 386060 w 6064842"/>
              <a:gd name="connsiteY134" fmla="*/ 2738178 h 2824212"/>
              <a:gd name="connsiteX135" fmla="*/ 374349 w 6064842"/>
              <a:gd name="connsiteY135" fmla="*/ 2730839 h 2824212"/>
              <a:gd name="connsiteX136" fmla="*/ 350870 w 6064842"/>
              <a:gd name="connsiteY136" fmla="*/ 2717187 h 2824212"/>
              <a:gd name="connsiteX137" fmla="*/ 337634 w 6064842"/>
              <a:gd name="connsiteY137" fmla="*/ 2707831 h 2824212"/>
              <a:gd name="connsiteX138" fmla="*/ 330317 w 6064842"/>
              <a:gd name="connsiteY138" fmla="*/ 2703246 h 2824212"/>
              <a:gd name="connsiteX139" fmla="*/ 320351 w 6064842"/>
              <a:gd name="connsiteY139" fmla="*/ 2695614 h 2824212"/>
              <a:gd name="connsiteX140" fmla="*/ 300434 w 6064842"/>
              <a:gd name="connsiteY140" fmla="*/ 2681536 h 2824212"/>
              <a:gd name="connsiteX141" fmla="*/ 285780 w 6064842"/>
              <a:gd name="connsiteY141" fmla="*/ 2669142 h 2824212"/>
              <a:gd name="connsiteX142" fmla="*/ 277881 w 6064842"/>
              <a:gd name="connsiteY142" fmla="*/ 2663094 h 2824212"/>
              <a:gd name="connsiteX143" fmla="*/ 269642 w 6064842"/>
              <a:gd name="connsiteY143" fmla="*/ 2655493 h 2824212"/>
              <a:gd name="connsiteX144" fmla="*/ 253047 w 6064842"/>
              <a:gd name="connsiteY144" fmla="*/ 2641458 h 2824212"/>
              <a:gd name="connsiteX145" fmla="*/ 237284 w 6064842"/>
              <a:gd name="connsiteY145" fmla="*/ 2625643 h 2824212"/>
              <a:gd name="connsiteX146" fmla="*/ 229047 w 6064842"/>
              <a:gd name="connsiteY146" fmla="*/ 2618044 h 2824212"/>
              <a:gd name="connsiteX147" fmla="*/ 222457 w 6064842"/>
              <a:gd name="connsiteY147" fmla="*/ 2610768 h 2824212"/>
              <a:gd name="connsiteX148" fmla="*/ 208952 w 6064842"/>
              <a:gd name="connsiteY148" fmla="*/ 2597218 h 2824212"/>
              <a:gd name="connsiteX149" fmla="*/ 192410 w 6064842"/>
              <a:gd name="connsiteY149" fmla="*/ 2577589 h 2824212"/>
              <a:gd name="connsiteX150" fmla="*/ 184106 w 6064842"/>
              <a:gd name="connsiteY150" fmla="*/ 2568419 h 2824212"/>
              <a:gd name="connsiteX151" fmla="*/ 179049 w 6064842"/>
              <a:gd name="connsiteY151" fmla="*/ 2561734 h 2824212"/>
              <a:gd name="connsiteX152" fmla="*/ 168389 w 6064842"/>
              <a:gd name="connsiteY152" fmla="*/ 2549083 h 2824212"/>
              <a:gd name="connsiteX153" fmla="*/ 151415 w 6064842"/>
              <a:gd name="connsiteY153" fmla="*/ 2525197 h 2824212"/>
              <a:gd name="connsiteX154" fmla="*/ 143353 w 6064842"/>
              <a:gd name="connsiteY154" fmla="*/ 2514541 h 2824212"/>
              <a:gd name="connsiteX155" fmla="*/ 139681 w 6064842"/>
              <a:gd name="connsiteY155" fmla="*/ 2508687 h 2824212"/>
              <a:gd name="connsiteX156" fmla="*/ 131599 w 6064842"/>
              <a:gd name="connsiteY156" fmla="*/ 2497316 h 2824212"/>
              <a:gd name="connsiteX157" fmla="*/ 114539 w 6064842"/>
              <a:gd name="connsiteY157" fmla="*/ 2468615 h 2824212"/>
              <a:gd name="connsiteX158" fmla="*/ 107082 w 6064842"/>
              <a:gd name="connsiteY158" fmla="*/ 2456730 h 2824212"/>
              <a:gd name="connsiteX159" fmla="*/ 104620 w 6064842"/>
              <a:gd name="connsiteY159" fmla="*/ 2451929 h 2824212"/>
              <a:gd name="connsiteX160" fmla="*/ 98826 w 6064842"/>
              <a:gd name="connsiteY160" fmla="*/ 2442184 h 2824212"/>
              <a:gd name="connsiteX161" fmla="*/ 81986 w 6064842"/>
              <a:gd name="connsiteY161" fmla="*/ 2407793 h 2824212"/>
              <a:gd name="connsiteX162" fmla="*/ 75586 w 6064842"/>
              <a:gd name="connsiteY162" fmla="*/ 2395313 h 2824212"/>
              <a:gd name="connsiteX163" fmla="*/ 74134 w 6064842"/>
              <a:gd name="connsiteY163" fmla="*/ 2391759 h 2824212"/>
              <a:gd name="connsiteX164" fmla="*/ 70310 w 6064842"/>
              <a:gd name="connsiteY164" fmla="*/ 2383951 h 2824212"/>
              <a:gd name="connsiteX165" fmla="*/ 53855 w 6064842"/>
              <a:gd name="connsiteY165" fmla="*/ 2342110 h 2824212"/>
              <a:gd name="connsiteX166" fmla="*/ 49158 w 6064842"/>
              <a:gd name="connsiteY166" fmla="*/ 2330608 h 2824212"/>
              <a:gd name="connsiteX167" fmla="*/ 48496 w 6064842"/>
              <a:gd name="connsiteY167" fmla="*/ 2328480 h 2824212"/>
              <a:gd name="connsiteX168" fmla="*/ 46294 w 6064842"/>
              <a:gd name="connsiteY168" fmla="*/ 2322881 h 2824212"/>
              <a:gd name="connsiteX169" fmla="*/ 29774 w 6064842"/>
              <a:gd name="connsiteY169" fmla="*/ 2268344 h 2824212"/>
              <a:gd name="connsiteX170" fmla="*/ 28091 w 6064842"/>
              <a:gd name="connsiteY170" fmla="*/ 2262939 h 2824212"/>
              <a:gd name="connsiteX171" fmla="*/ 27973 w 6064842"/>
              <a:gd name="connsiteY171" fmla="*/ 2262395 h 2824212"/>
              <a:gd name="connsiteX172" fmla="*/ 27018 w 6064842"/>
              <a:gd name="connsiteY172" fmla="*/ 2259244 h 2824212"/>
              <a:gd name="connsiteX173" fmla="*/ 3657 w 6064842"/>
              <a:gd name="connsiteY173" fmla="*/ 2125321 h 2824212"/>
              <a:gd name="connsiteX174" fmla="*/ 3517 w 6064842"/>
              <a:gd name="connsiteY174" fmla="*/ 2122278 h 2824212"/>
              <a:gd name="connsiteX175" fmla="*/ 3219 w 6064842"/>
              <a:gd name="connsiteY175" fmla="*/ 2119995 h 2824212"/>
              <a:gd name="connsiteX176" fmla="*/ 1596 w 6064842"/>
              <a:gd name="connsiteY176" fmla="*/ 2082356 h 2824212"/>
              <a:gd name="connsiteX177" fmla="*/ 1 w 6064842"/>
              <a:gd name="connsiteY177" fmla="*/ 2082356 h 2824212"/>
              <a:gd name="connsiteX178" fmla="*/ 1 w 6064842"/>
              <a:gd name="connsiteY178" fmla="*/ 2045838 h 2824212"/>
              <a:gd name="connsiteX179" fmla="*/ 0 w 6064842"/>
              <a:gd name="connsiteY179" fmla="*/ 2045832 h 2824212"/>
              <a:gd name="connsiteX180" fmla="*/ 1 w 6064842"/>
              <a:gd name="connsiteY180" fmla="*/ 2045824 h 2824212"/>
              <a:gd name="connsiteX181" fmla="*/ 1 w 6064842"/>
              <a:gd name="connsiteY181" fmla="*/ 2045366 h 2824212"/>
              <a:gd name="connsiteX182" fmla="*/ 1 w 6064842"/>
              <a:gd name="connsiteY182" fmla="*/ 2037986 h 2824212"/>
              <a:gd name="connsiteX183" fmla="*/ 0 w 6064842"/>
              <a:gd name="connsiteY183" fmla="*/ 2037986 h 2824212"/>
              <a:gd name="connsiteX184" fmla="*/ 0 w 6064842"/>
              <a:gd name="connsiteY184" fmla="*/ 1564597 h 2824212"/>
              <a:gd name="connsiteX185" fmla="*/ 0 w 6064842"/>
              <a:gd name="connsiteY185" fmla="*/ 1564596 h 2824212"/>
              <a:gd name="connsiteX186" fmla="*/ 0 w 6064842"/>
              <a:gd name="connsiteY186" fmla="*/ 1564595 h 2824212"/>
              <a:gd name="connsiteX187" fmla="*/ 0 w 6064842"/>
              <a:gd name="connsiteY187" fmla="*/ 1259607 h 2824212"/>
              <a:gd name="connsiteX188" fmla="*/ 0 w 6064842"/>
              <a:gd name="connsiteY188" fmla="*/ 778372 h 2824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6064842" h="2824212">
                <a:moveTo>
                  <a:pt x="0" y="0"/>
                </a:moveTo>
                <a:lnTo>
                  <a:pt x="670946" y="0"/>
                </a:lnTo>
                <a:lnTo>
                  <a:pt x="708481" y="0"/>
                </a:lnTo>
                <a:lnTo>
                  <a:pt x="1747470" y="0"/>
                </a:lnTo>
                <a:lnTo>
                  <a:pt x="1885136" y="0"/>
                </a:lnTo>
                <a:lnTo>
                  <a:pt x="2189625" y="0"/>
                </a:lnTo>
                <a:lnTo>
                  <a:pt x="2418416" y="0"/>
                </a:lnTo>
                <a:lnTo>
                  <a:pt x="2455951" y="0"/>
                </a:lnTo>
                <a:lnTo>
                  <a:pt x="3304400" y="0"/>
                </a:lnTo>
                <a:lnTo>
                  <a:pt x="3608890" y="0"/>
                </a:lnTo>
                <a:lnTo>
                  <a:pt x="3632605" y="0"/>
                </a:lnTo>
                <a:lnTo>
                  <a:pt x="3937095" y="0"/>
                </a:lnTo>
                <a:lnTo>
                  <a:pt x="5051870" y="0"/>
                </a:lnTo>
                <a:lnTo>
                  <a:pt x="5356360" y="0"/>
                </a:lnTo>
                <a:lnTo>
                  <a:pt x="5356360" y="930"/>
                </a:lnTo>
                <a:lnTo>
                  <a:pt x="5356361" y="930"/>
                </a:lnTo>
                <a:lnTo>
                  <a:pt x="5356573" y="930"/>
                </a:lnTo>
                <a:lnTo>
                  <a:pt x="5365661" y="930"/>
                </a:lnTo>
                <a:lnTo>
                  <a:pt x="5393896" y="930"/>
                </a:lnTo>
                <a:lnTo>
                  <a:pt x="5393896" y="2870"/>
                </a:lnTo>
                <a:lnTo>
                  <a:pt x="5424521" y="4461"/>
                </a:lnTo>
                <a:lnTo>
                  <a:pt x="5427155" y="4866"/>
                </a:lnTo>
                <a:lnTo>
                  <a:pt x="5428608" y="4946"/>
                </a:lnTo>
                <a:lnTo>
                  <a:pt x="5442420" y="7212"/>
                </a:lnTo>
                <a:lnTo>
                  <a:pt x="5486575" y="13997"/>
                </a:lnTo>
                <a:lnTo>
                  <a:pt x="5491653" y="15287"/>
                </a:lnTo>
                <a:lnTo>
                  <a:pt x="5494644" y="15777"/>
                </a:lnTo>
                <a:lnTo>
                  <a:pt x="5510085" y="19968"/>
                </a:lnTo>
                <a:lnTo>
                  <a:pt x="5546790" y="29287"/>
                </a:lnTo>
                <a:lnTo>
                  <a:pt x="5554216" y="31942"/>
                </a:lnTo>
                <a:lnTo>
                  <a:pt x="5558548" y="33117"/>
                </a:lnTo>
                <a:lnTo>
                  <a:pt x="5573320" y="38769"/>
                </a:lnTo>
                <a:lnTo>
                  <a:pt x="5604922" y="50066"/>
                </a:lnTo>
                <a:lnTo>
                  <a:pt x="5614512" y="54533"/>
                </a:lnTo>
                <a:lnTo>
                  <a:pt x="5620025" y="56644"/>
                </a:lnTo>
                <a:lnTo>
                  <a:pt x="5633401" y="63334"/>
                </a:lnTo>
                <a:lnTo>
                  <a:pt x="5660731" y="76066"/>
                </a:lnTo>
                <a:lnTo>
                  <a:pt x="5672267" y="82775"/>
                </a:lnTo>
                <a:lnTo>
                  <a:pt x="5678782" y="86034"/>
                </a:lnTo>
                <a:lnTo>
                  <a:pt x="5690493" y="93373"/>
                </a:lnTo>
                <a:lnTo>
                  <a:pt x="5713973" y="107025"/>
                </a:lnTo>
                <a:lnTo>
                  <a:pt x="5727208" y="116381"/>
                </a:lnTo>
                <a:lnTo>
                  <a:pt x="5734525" y="120966"/>
                </a:lnTo>
                <a:lnTo>
                  <a:pt x="5744491" y="128598"/>
                </a:lnTo>
                <a:lnTo>
                  <a:pt x="5764408" y="142676"/>
                </a:lnTo>
                <a:lnTo>
                  <a:pt x="5779061" y="155070"/>
                </a:lnTo>
                <a:lnTo>
                  <a:pt x="5786961" y="161118"/>
                </a:lnTo>
                <a:lnTo>
                  <a:pt x="5795200" y="168719"/>
                </a:lnTo>
                <a:lnTo>
                  <a:pt x="5811795" y="182754"/>
                </a:lnTo>
                <a:lnTo>
                  <a:pt x="5827557" y="198569"/>
                </a:lnTo>
                <a:lnTo>
                  <a:pt x="5835795" y="206168"/>
                </a:lnTo>
                <a:lnTo>
                  <a:pt x="5842384" y="213444"/>
                </a:lnTo>
                <a:lnTo>
                  <a:pt x="5855890" y="226994"/>
                </a:lnTo>
                <a:lnTo>
                  <a:pt x="5872433" y="246624"/>
                </a:lnTo>
                <a:lnTo>
                  <a:pt x="5880736" y="255793"/>
                </a:lnTo>
                <a:lnTo>
                  <a:pt x="5885792" y="262478"/>
                </a:lnTo>
                <a:lnTo>
                  <a:pt x="5896454" y="275129"/>
                </a:lnTo>
                <a:lnTo>
                  <a:pt x="5913427" y="299015"/>
                </a:lnTo>
                <a:lnTo>
                  <a:pt x="5921489" y="309671"/>
                </a:lnTo>
                <a:lnTo>
                  <a:pt x="5925161" y="315524"/>
                </a:lnTo>
                <a:lnTo>
                  <a:pt x="5933243" y="326896"/>
                </a:lnTo>
                <a:lnTo>
                  <a:pt x="5950304" y="355597"/>
                </a:lnTo>
                <a:lnTo>
                  <a:pt x="5957761" y="367482"/>
                </a:lnTo>
                <a:lnTo>
                  <a:pt x="5960223" y="372282"/>
                </a:lnTo>
                <a:lnTo>
                  <a:pt x="5966016" y="382028"/>
                </a:lnTo>
                <a:lnTo>
                  <a:pt x="5982857" y="416419"/>
                </a:lnTo>
                <a:lnTo>
                  <a:pt x="5989257" y="428899"/>
                </a:lnTo>
                <a:lnTo>
                  <a:pt x="5990707" y="432453"/>
                </a:lnTo>
                <a:lnTo>
                  <a:pt x="5994531" y="440261"/>
                </a:lnTo>
                <a:lnTo>
                  <a:pt x="6010987" y="482102"/>
                </a:lnTo>
                <a:lnTo>
                  <a:pt x="6015685" y="493604"/>
                </a:lnTo>
                <a:lnTo>
                  <a:pt x="6016347" y="495732"/>
                </a:lnTo>
                <a:lnTo>
                  <a:pt x="6018549" y="501331"/>
                </a:lnTo>
                <a:lnTo>
                  <a:pt x="6035067" y="555868"/>
                </a:lnTo>
                <a:lnTo>
                  <a:pt x="6036751" y="561273"/>
                </a:lnTo>
                <a:lnTo>
                  <a:pt x="6036869" y="561817"/>
                </a:lnTo>
                <a:lnTo>
                  <a:pt x="6037825" y="564967"/>
                </a:lnTo>
                <a:cubicBezTo>
                  <a:pt x="6049041" y="608191"/>
                  <a:pt x="6056935" y="652950"/>
                  <a:pt x="6061185" y="698891"/>
                </a:cubicBezTo>
                <a:lnTo>
                  <a:pt x="6061325" y="701933"/>
                </a:lnTo>
                <a:lnTo>
                  <a:pt x="6061623" y="704217"/>
                </a:lnTo>
                <a:lnTo>
                  <a:pt x="6063246" y="741856"/>
                </a:lnTo>
                <a:lnTo>
                  <a:pt x="6064842" y="741856"/>
                </a:lnTo>
                <a:lnTo>
                  <a:pt x="6064842" y="778373"/>
                </a:lnTo>
                <a:lnTo>
                  <a:pt x="6064842" y="778380"/>
                </a:lnTo>
                <a:lnTo>
                  <a:pt x="6064842" y="778388"/>
                </a:lnTo>
                <a:lnTo>
                  <a:pt x="6064842" y="778846"/>
                </a:lnTo>
                <a:lnTo>
                  <a:pt x="6064842" y="786226"/>
                </a:lnTo>
                <a:lnTo>
                  <a:pt x="6064842" y="1259616"/>
                </a:lnTo>
                <a:lnTo>
                  <a:pt x="6064842" y="1564605"/>
                </a:lnTo>
                <a:lnTo>
                  <a:pt x="6064842" y="2045841"/>
                </a:lnTo>
                <a:lnTo>
                  <a:pt x="6064842" y="2824212"/>
                </a:lnTo>
                <a:lnTo>
                  <a:pt x="5393896" y="2824212"/>
                </a:lnTo>
                <a:lnTo>
                  <a:pt x="5356361" y="2824212"/>
                </a:lnTo>
                <a:lnTo>
                  <a:pt x="4645577" y="2824212"/>
                </a:lnTo>
                <a:lnTo>
                  <a:pt x="4317372" y="2824212"/>
                </a:lnTo>
                <a:lnTo>
                  <a:pt x="4179707" y="2824212"/>
                </a:lnTo>
                <a:lnTo>
                  <a:pt x="3974631" y="2824212"/>
                </a:lnTo>
                <a:lnTo>
                  <a:pt x="3937096" y="2824212"/>
                </a:lnTo>
                <a:lnTo>
                  <a:pt x="3875217" y="2824212"/>
                </a:lnTo>
                <a:lnTo>
                  <a:pt x="3646426" y="2824212"/>
                </a:lnTo>
                <a:lnTo>
                  <a:pt x="3608891" y="2824212"/>
                </a:lnTo>
                <a:lnTo>
                  <a:pt x="2898107" y="2824212"/>
                </a:lnTo>
                <a:lnTo>
                  <a:pt x="2760442" y="2824212"/>
                </a:lnTo>
                <a:lnTo>
                  <a:pt x="2455952" y="2824212"/>
                </a:lnTo>
                <a:lnTo>
                  <a:pt x="2432237" y="2824212"/>
                </a:lnTo>
                <a:lnTo>
                  <a:pt x="2227161" y="2824212"/>
                </a:lnTo>
                <a:lnTo>
                  <a:pt x="2189626" y="2824212"/>
                </a:lnTo>
                <a:lnTo>
                  <a:pt x="2127747" y="2824212"/>
                </a:lnTo>
                <a:lnTo>
                  <a:pt x="1012971" y="2824212"/>
                </a:lnTo>
                <a:lnTo>
                  <a:pt x="708482" y="2824212"/>
                </a:lnTo>
                <a:lnTo>
                  <a:pt x="708482" y="2823282"/>
                </a:lnTo>
                <a:lnTo>
                  <a:pt x="708481" y="2823282"/>
                </a:lnTo>
                <a:lnTo>
                  <a:pt x="708269" y="2823282"/>
                </a:lnTo>
                <a:lnTo>
                  <a:pt x="699181" y="2823282"/>
                </a:lnTo>
                <a:lnTo>
                  <a:pt x="670946" y="2823282"/>
                </a:lnTo>
                <a:lnTo>
                  <a:pt x="670946" y="2821342"/>
                </a:lnTo>
                <a:lnTo>
                  <a:pt x="640321" y="2819751"/>
                </a:lnTo>
                <a:lnTo>
                  <a:pt x="637688" y="2819346"/>
                </a:lnTo>
                <a:lnTo>
                  <a:pt x="636234" y="2819266"/>
                </a:lnTo>
                <a:lnTo>
                  <a:pt x="622422" y="2817000"/>
                </a:lnTo>
                <a:lnTo>
                  <a:pt x="578267" y="2810215"/>
                </a:lnTo>
                <a:lnTo>
                  <a:pt x="573188" y="2808925"/>
                </a:lnTo>
                <a:lnTo>
                  <a:pt x="570198" y="2808435"/>
                </a:lnTo>
                <a:lnTo>
                  <a:pt x="554757" y="2804244"/>
                </a:lnTo>
                <a:lnTo>
                  <a:pt x="518052" y="2794925"/>
                </a:lnTo>
                <a:lnTo>
                  <a:pt x="510626" y="2792270"/>
                </a:lnTo>
                <a:lnTo>
                  <a:pt x="506294" y="2791095"/>
                </a:lnTo>
                <a:lnTo>
                  <a:pt x="491522" y="2785443"/>
                </a:lnTo>
                <a:lnTo>
                  <a:pt x="459920" y="2774146"/>
                </a:lnTo>
                <a:lnTo>
                  <a:pt x="450331" y="2769679"/>
                </a:lnTo>
                <a:lnTo>
                  <a:pt x="444817" y="2767568"/>
                </a:lnTo>
                <a:lnTo>
                  <a:pt x="431441" y="2760878"/>
                </a:lnTo>
                <a:lnTo>
                  <a:pt x="404112" y="2748146"/>
                </a:lnTo>
                <a:lnTo>
                  <a:pt x="392575" y="2741437"/>
                </a:lnTo>
                <a:lnTo>
                  <a:pt x="386060" y="2738178"/>
                </a:lnTo>
                <a:lnTo>
                  <a:pt x="374349" y="2730839"/>
                </a:lnTo>
                <a:lnTo>
                  <a:pt x="350870" y="2717187"/>
                </a:lnTo>
                <a:lnTo>
                  <a:pt x="337634" y="2707831"/>
                </a:lnTo>
                <a:lnTo>
                  <a:pt x="330317" y="2703246"/>
                </a:lnTo>
                <a:lnTo>
                  <a:pt x="320351" y="2695614"/>
                </a:lnTo>
                <a:lnTo>
                  <a:pt x="300434" y="2681536"/>
                </a:lnTo>
                <a:lnTo>
                  <a:pt x="285780" y="2669142"/>
                </a:lnTo>
                <a:lnTo>
                  <a:pt x="277881" y="2663094"/>
                </a:lnTo>
                <a:lnTo>
                  <a:pt x="269642" y="2655493"/>
                </a:lnTo>
                <a:lnTo>
                  <a:pt x="253047" y="2641458"/>
                </a:lnTo>
                <a:lnTo>
                  <a:pt x="237284" y="2625643"/>
                </a:lnTo>
                <a:lnTo>
                  <a:pt x="229047" y="2618044"/>
                </a:lnTo>
                <a:lnTo>
                  <a:pt x="222457" y="2610768"/>
                </a:lnTo>
                <a:lnTo>
                  <a:pt x="208952" y="2597218"/>
                </a:lnTo>
                <a:lnTo>
                  <a:pt x="192410" y="2577589"/>
                </a:lnTo>
                <a:lnTo>
                  <a:pt x="184106" y="2568419"/>
                </a:lnTo>
                <a:lnTo>
                  <a:pt x="179049" y="2561734"/>
                </a:lnTo>
                <a:lnTo>
                  <a:pt x="168389" y="2549083"/>
                </a:lnTo>
                <a:lnTo>
                  <a:pt x="151415" y="2525197"/>
                </a:lnTo>
                <a:lnTo>
                  <a:pt x="143353" y="2514541"/>
                </a:lnTo>
                <a:lnTo>
                  <a:pt x="139681" y="2508687"/>
                </a:lnTo>
                <a:lnTo>
                  <a:pt x="131599" y="2497316"/>
                </a:lnTo>
                <a:lnTo>
                  <a:pt x="114539" y="2468615"/>
                </a:lnTo>
                <a:lnTo>
                  <a:pt x="107082" y="2456730"/>
                </a:lnTo>
                <a:lnTo>
                  <a:pt x="104620" y="2451929"/>
                </a:lnTo>
                <a:lnTo>
                  <a:pt x="98826" y="2442184"/>
                </a:lnTo>
                <a:lnTo>
                  <a:pt x="81986" y="2407793"/>
                </a:lnTo>
                <a:lnTo>
                  <a:pt x="75586" y="2395313"/>
                </a:lnTo>
                <a:lnTo>
                  <a:pt x="74134" y="2391759"/>
                </a:lnTo>
                <a:lnTo>
                  <a:pt x="70310" y="2383951"/>
                </a:lnTo>
                <a:lnTo>
                  <a:pt x="53855" y="2342110"/>
                </a:lnTo>
                <a:lnTo>
                  <a:pt x="49158" y="2330608"/>
                </a:lnTo>
                <a:lnTo>
                  <a:pt x="48496" y="2328480"/>
                </a:lnTo>
                <a:lnTo>
                  <a:pt x="46294" y="2322881"/>
                </a:lnTo>
                <a:lnTo>
                  <a:pt x="29774" y="2268344"/>
                </a:lnTo>
                <a:lnTo>
                  <a:pt x="28091" y="2262939"/>
                </a:lnTo>
                <a:lnTo>
                  <a:pt x="27973" y="2262395"/>
                </a:lnTo>
                <a:lnTo>
                  <a:pt x="27018" y="2259244"/>
                </a:lnTo>
                <a:cubicBezTo>
                  <a:pt x="15802" y="2216021"/>
                  <a:pt x="7907" y="2171262"/>
                  <a:pt x="3657" y="2125321"/>
                </a:cubicBezTo>
                <a:lnTo>
                  <a:pt x="3517" y="2122278"/>
                </a:lnTo>
                <a:lnTo>
                  <a:pt x="3219" y="2119995"/>
                </a:lnTo>
                <a:lnTo>
                  <a:pt x="1596" y="2082356"/>
                </a:lnTo>
                <a:lnTo>
                  <a:pt x="1" y="2082356"/>
                </a:lnTo>
                <a:lnTo>
                  <a:pt x="1" y="2045838"/>
                </a:lnTo>
                <a:lnTo>
                  <a:pt x="0" y="2045832"/>
                </a:lnTo>
                <a:lnTo>
                  <a:pt x="1" y="2045824"/>
                </a:lnTo>
                <a:lnTo>
                  <a:pt x="1" y="2045366"/>
                </a:lnTo>
                <a:lnTo>
                  <a:pt x="1" y="2037986"/>
                </a:lnTo>
                <a:lnTo>
                  <a:pt x="0" y="2037986"/>
                </a:lnTo>
                <a:lnTo>
                  <a:pt x="0" y="1564597"/>
                </a:lnTo>
                <a:lnTo>
                  <a:pt x="0" y="1564596"/>
                </a:lnTo>
                <a:lnTo>
                  <a:pt x="0" y="1564595"/>
                </a:lnTo>
                <a:lnTo>
                  <a:pt x="0" y="1259607"/>
                </a:lnTo>
                <a:lnTo>
                  <a:pt x="0" y="77837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A510A09-F8B7-4CA9-87E5-01FC06B89F0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3749" y="351563"/>
            <a:ext cx="5058243" cy="3308853"/>
          </a:xfrm>
          <a:custGeom>
            <a:avLst/>
            <a:gdLst>
              <a:gd name="connsiteX0" fmla="*/ 0 w 5058243"/>
              <a:gd name="connsiteY0" fmla="*/ 0 h 3308853"/>
              <a:gd name="connsiteX1" fmla="*/ 786082 w 5058243"/>
              <a:gd name="connsiteY1" fmla="*/ 0 h 3308853"/>
              <a:gd name="connsiteX2" fmla="*/ 830058 w 5058243"/>
              <a:gd name="connsiteY2" fmla="*/ 0 h 3308853"/>
              <a:gd name="connsiteX3" fmla="*/ 2208629 w 5058243"/>
              <a:gd name="connsiteY3" fmla="*/ 0 h 3308853"/>
              <a:gd name="connsiteX4" fmla="*/ 2565370 w 5058243"/>
              <a:gd name="connsiteY4" fmla="*/ 0 h 3308853"/>
              <a:gd name="connsiteX5" fmla="*/ 3871443 w 5058243"/>
              <a:gd name="connsiteY5" fmla="*/ 0 h 3308853"/>
              <a:gd name="connsiteX6" fmla="*/ 4228184 w 5058243"/>
              <a:gd name="connsiteY6" fmla="*/ 0 h 3308853"/>
              <a:gd name="connsiteX7" fmla="*/ 4228184 w 5058243"/>
              <a:gd name="connsiteY7" fmla="*/ 1089 h 3308853"/>
              <a:gd name="connsiteX8" fmla="*/ 4228185 w 5058243"/>
              <a:gd name="connsiteY8" fmla="*/ 1089 h 3308853"/>
              <a:gd name="connsiteX9" fmla="*/ 4228433 w 5058243"/>
              <a:gd name="connsiteY9" fmla="*/ 1089 h 3308853"/>
              <a:gd name="connsiteX10" fmla="*/ 4239081 w 5058243"/>
              <a:gd name="connsiteY10" fmla="*/ 1089 h 3308853"/>
              <a:gd name="connsiteX11" fmla="*/ 4272161 w 5058243"/>
              <a:gd name="connsiteY11" fmla="*/ 1089 h 3308853"/>
              <a:gd name="connsiteX12" fmla="*/ 4272161 w 5058243"/>
              <a:gd name="connsiteY12" fmla="*/ 3362 h 3308853"/>
              <a:gd name="connsiteX13" fmla="*/ 4308041 w 5058243"/>
              <a:gd name="connsiteY13" fmla="*/ 5226 h 3308853"/>
              <a:gd name="connsiteX14" fmla="*/ 4311127 w 5058243"/>
              <a:gd name="connsiteY14" fmla="*/ 5701 h 3308853"/>
              <a:gd name="connsiteX15" fmla="*/ 4312830 w 5058243"/>
              <a:gd name="connsiteY15" fmla="*/ 5795 h 3308853"/>
              <a:gd name="connsiteX16" fmla="*/ 4329012 w 5058243"/>
              <a:gd name="connsiteY16" fmla="*/ 8449 h 3308853"/>
              <a:gd name="connsiteX17" fmla="*/ 4380744 w 5058243"/>
              <a:gd name="connsiteY17" fmla="*/ 16399 h 3308853"/>
              <a:gd name="connsiteX18" fmla="*/ 4386694 w 5058243"/>
              <a:gd name="connsiteY18" fmla="*/ 17910 h 3308853"/>
              <a:gd name="connsiteX19" fmla="*/ 4390198 w 5058243"/>
              <a:gd name="connsiteY19" fmla="*/ 18484 h 3308853"/>
              <a:gd name="connsiteX20" fmla="*/ 4408289 w 5058243"/>
              <a:gd name="connsiteY20" fmla="*/ 23394 h 3308853"/>
              <a:gd name="connsiteX21" fmla="*/ 4451292 w 5058243"/>
              <a:gd name="connsiteY21" fmla="*/ 34313 h 3308853"/>
              <a:gd name="connsiteX22" fmla="*/ 4459992 w 5058243"/>
              <a:gd name="connsiteY22" fmla="*/ 37423 h 3308853"/>
              <a:gd name="connsiteX23" fmla="*/ 4465068 w 5058243"/>
              <a:gd name="connsiteY23" fmla="*/ 38800 h 3308853"/>
              <a:gd name="connsiteX24" fmla="*/ 4482375 w 5058243"/>
              <a:gd name="connsiteY24" fmla="*/ 45422 h 3308853"/>
              <a:gd name="connsiteX25" fmla="*/ 4519400 w 5058243"/>
              <a:gd name="connsiteY25" fmla="*/ 58657 h 3308853"/>
              <a:gd name="connsiteX26" fmla="*/ 4530635 w 5058243"/>
              <a:gd name="connsiteY26" fmla="*/ 63891 h 3308853"/>
              <a:gd name="connsiteX27" fmla="*/ 4537095 w 5058243"/>
              <a:gd name="connsiteY27" fmla="*/ 66364 h 3308853"/>
              <a:gd name="connsiteX28" fmla="*/ 4552766 w 5058243"/>
              <a:gd name="connsiteY28" fmla="*/ 74202 h 3308853"/>
              <a:gd name="connsiteX29" fmla="*/ 4584785 w 5058243"/>
              <a:gd name="connsiteY29" fmla="*/ 89119 h 3308853"/>
              <a:gd name="connsiteX30" fmla="*/ 4598301 w 5058243"/>
              <a:gd name="connsiteY30" fmla="*/ 96979 h 3308853"/>
              <a:gd name="connsiteX31" fmla="*/ 4605934 w 5058243"/>
              <a:gd name="connsiteY31" fmla="*/ 100797 h 3308853"/>
              <a:gd name="connsiteX32" fmla="*/ 4619655 w 5058243"/>
              <a:gd name="connsiteY32" fmla="*/ 109396 h 3308853"/>
              <a:gd name="connsiteX33" fmla="*/ 4647164 w 5058243"/>
              <a:gd name="connsiteY33" fmla="*/ 125391 h 3308853"/>
              <a:gd name="connsiteX34" fmla="*/ 4662670 w 5058243"/>
              <a:gd name="connsiteY34" fmla="*/ 136352 h 3308853"/>
              <a:gd name="connsiteX35" fmla="*/ 4671243 w 5058243"/>
              <a:gd name="connsiteY35" fmla="*/ 141724 h 3308853"/>
              <a:gd name="connsiteX36" fmla="*/ 4682919 w 5058243"/>
              <a:gd name="connsiteY36" fmla="*/ 150665 h 3308853"/>
              <a:gd name="connsiteX37" fmla="*/ 4706254 w 5058243"/>
              <a:gd name="connsiteY37" fmla="*/ 167159 h 3308853"/>
              <a:gd name="connsiteX38" fmla="*/ 4723422 w 5058243"/>
              <a:gd name="connsiteY38" fmla="*/ 181680 h 3308853"/>
              <a:gd name="connsiteX39" fmla="*/ 4732677 w 5058243"/>
              <a:gd name="connsiteY39" fmla="*/ 188766 h 3308853"/>
              <a:gd name="connsiteX40" fmla="*/ 4742330 w 5058243"/>
              <a:gd name="connsiteY40" fmla="*/ 197671 h 3308853"/>
              <a:gd name="connsiteX41" fmla="*/ 4761772 w 5058243"/>
              <a:gd name="connsiteY41" fmla="*/ 214115 h 3308853"/>
              <a:gd name="connsiteX42" fmla="*/ 4780240 w 5058243"/>
              <a:gd name="connsiteY42" fmla="*/ 232644 h 3308853"/>
              <a:gd name="connsiteX43" fmla="*/ 4789891 w 5058243"/>
              <a:gd name="connsiteY43" fmla="*/ 241547 h 3308853"/>
              <a:gd name="connsiteX44" fmla="*/ 4797611 w 5058243"/>
              <a:gd name="connsiteY44" fmla="*/ 250071 h 3308853"/>
              <a:gd name="connsiteX45" fmla="*/ 4813434 w 5058243"/>
              <a:gd name="connsiteY45" fmla="*/ 265946 h 3308853"/>
              <a:gd name="connsiteX46" fmla="*/ 4832816 w 5058243"/>
              <a:gd name="connsiteY46" fmla="*/ 288945 h 3308853"/>
              <a:gd name="connsiteX47" fmla="*/ 4842544 w 5058243"/>
              <a:gd name="connsiteY47" fmla="*/ 299687 h 3308853"/>
              <a:gd name="connsiteX48" fmla="*/ 4848468 w 5058243"/>
              <a:gd name="connsiteY48" fmla="*/ 307520 h 3308853"/>
              <a:gd name="connsiteX49" fmla="*/ 4860959 w 5058243"/>
              <a:gd name="connsiteY49" fmla="*/ 322342 h 3308853"/>
              <a:gd name="connsiteX50" fmla="*/ 4880845 w 5058243"/>
              <a:gd name="connsiteY50" fmla="*/ 350326 h 3308853"/>
              <a:gd name="connsiteX51" fmla="*/ 4890290 w 5058243"/>
              <a:gd name="connsiteY51" fmla="*/ 362811 h 3308853"/>
              <a:gd name="connsiteX52" fmla="*/ 4894592 w 5058243"/>
              <a:gd name="connsiteY52" fmla="*/ 369669 h 3308853"/>
              <a:gd name="connsiteX53" fmla="*/ 4904061 w 5058243"/>
              <a:gd name="connsiteY53" fmla="*/ 382992 h 3308853"/>
              <a:gd name="connsiteX54" fmla="*/ 4924050 w 5058243"/>
              <a:gd name="connsiteY54" fmla="*/ 416618 h 3308853"/>
              <a:gd name="connsiteX55" fmla="*/ 4932786 w 5058243"/>
              <a:gd name="connsiteY55" fmla="*/ 430542 h 3308853"/>
              <a:gd name="connsiteX56" fmla="*/ 4935671 w 5058243"/>
              <a:gd name="connsiteY56" fmla="*/ 436166 h 3308853"/>
              <a:gd name="connsiteX57" fmla="*/ 4942458 w 5058243"/>
              <a:gd name="connsiteY57" fmla="*/ 447585 h 3308853"/>
              <a:gd name="connsiteX58" fmla="*/ 4962189 w 5058243"/>
              <a:gd name="connsiteY58" fmla="*/ 487877 h 3308853"/>
              <a:gd name="connsiteX59" fmla="*/ 4969687 w 5058243"/>
              <a:gd name="connsiteY59" fmla="*/ 502499 h 3308853"/>
              <a:gd name="connsiteX60" fmla="*/ 4971387 w 5058243"/>
              <a:gd name="connsiteY60" fmla="*/ 506663 h 3308853"/>
              <a:gd name="connsiteX61" fmla="*/ 4975867 w 5058243"/>
              <a:gd name="connsiteY61" fmla="*/ 515811 h 3308853"/>
              <a:gd name="connsiteX62" fmla="*/ 4995146 w 5058243"/>
              <a:gd name="connsiteY62" fmla="*/ 564832 h 3308853"/>
              <a:gd name="connsiteX63" fmla="*/ 5000650 w 5058243"/>
              <a:gd name="connsiteY63" fmla="*/ 578307 h 3308853"/>
              <a:gd name="connsiteX64" fmla="*/ 5001426 w 5058243"/>
              <a:gd name="connsiteY64" fmla="*/ 580801 h 3308853"/>
              <a:gd name="connsiteX65" fmla="*/ 5004006 w 5058243"/>
              <a:gd name="connsiteY65" fmla="*/ 587360 h 3308853"/>
              <a:gd name="connsiteX66" fmla="*/ 5023359 w 5058243"/>
              <a:gd name="connsiteY66" fmla="*/ 651256 h 3308853"/>
              <a:gd name="connsiteX67" fmla="*/ 5025331 w 5058243"/>
              <a:gd name="connsiteY67" fmla="*/ 657589 h 3308853"/>
              <a:gd name="connsiteX68" fmla="*/ 5025470 w 5058243"/>
              <a:gd name="connsiteY68" fmla="*/ 658226 h 3308853"/>
              <a:gd name="connsiteX69" fmla="*/ 5026589 w 5058243"/>
              <a:gd name="connsiteY69" fmla="*/ 661917 h 3308853"/>
              <a:gd name="connsiteX70" fmla="*/ 5053959 w 5058243"/>
              <a:gd name="connsiteY70" fmla="*/ 818822 h 3308853"/>
              <a:gd name="connsiteX71" fmla="*/ 5054122 w 5058243"/>
              <a:gd name="connsiteY71" fmla="*/ 822386 h 3308853"/>
              <a:gd name="connsiteX72" fmla="*/ 5054471 w 5058243"/>
              <a:gd name="connsiteY72" fmla="*/ 825062 h 3308853"/>
              <a:gd name="connsiteX73" fmla="*/ 5056373 w 5058243"/>
              <a:gd name="connsiteY73" fmla="*/ 869160 h 3308853"/>
              <a:gd name="connsiteX74" fmla="*/ 5058243 w 5058243"/>
              <a:gd name="connsiteY74" fmla="*/ 869160 h 3308853"/>
              <a:gd name="connsiteX75" fmla="*/ 5058243 w 5058243"/>
              <a:gd name="connsiteY75" fmla="*/ 911943 h 3308853"/>
              <a:gd name="connsiteX76" fmla="*/ 5058243 w 5058243"/>
              <a:gd name="connsiteY76" fmla="*/ 911952 h 3308853"/>
              <a:gd name="connsiteX77" fmla="*/ 5058243 w 5058243"/>
              <a:gd name="connsiteY77" fmla="*/ 911961 h 3308853"/>
              <a:gd name="connsiteX78" fmla="*/ 5058243 w 5058243"/>
              <a:gd name="connsiteY78" fmla="*/ 912498 h 3308853"/>
              <a:gd name="connsiteX79" fmla="*/ 5058243 w 5058243"/>
              <a:gd name="connsiteY79" fmla="*/ 921144 h 3308853"/>
              <a:gd name="connsiteX80" fmla="*/ 5058243 w 5058243"/>
              <a:gd name="connsiteY80" fmla="*/ 1475769 h 3308853"/>
              <a:gd name="connsiteX81" fmla="*/ 5058243 w 5058243"/>
              <a:gd name="connsiteY81" fmla="*/ 1833094 h 3308853"/>
              <a:gd name="connsiteX82" fmla="*/ 5058243 w 5058243"/>
              <a:gd name="connsiteY82" fmla="*/ 2396911 h 3308853"/>
              <a:gd name="connsiteX83" fmla="*/ 5058243 w 5058243"/>
              <a:gd name="connsiteY83" fmla="*/ 3308853 h 3308853"/>
              <a:gd name="connsiteX84" fmla="*/ 4272161 w 5058243"/>
              <a:gd name="connsiteY84" fmla="*/ 3308853 h 3308853"/>
              <a:gd name="connsiteX85" fmla="*/ 4228185 w 5058243"/>
              <a:gd name="connsiteY85" fmla="*/ 3308853 h 3308853"/>
              <a:gd name="connsiteX86" fmla="*/ 3395429 w 5058243"/>
              <a:gd name="connsiteY86" fmla="*/ 3308853 h 3308853"/>
              <a:gd name="connsiteX87" fmla="*/ 2849614 w 5058243"/>
              <a:gd name="connsiteY87" fmla="*/ 3308853 h 3308853"/>
              <a:gd name="connsiteX88" fmla="*/ 2609347 w 5058243"/>
              <a:gd name="connsiteY88" fmla="*/ 3308853 h 3308853"/>
              <a:gd name="connsiteX89" fmla="*/ 2565371 w 5058243"/>
              <a:gd name="connsiteY89" fmla="*/ 3308853 h 3308853"/>
              <a:gd name="connsiteX90" fmla="*/ 2492873 w 5058243"/>
              <a:gd name="connsiteY90" fmla="*/ 3308853 h 3308853"/>
              <a:gd name="connsiteX91" fmla="*/ 1186800 w 5058243"/>
              <a:gd name="connsiteY91" fmla="*/ 3308853 h 3308853"/>
              <a:gd name="connsiteX92" fmla="*/ 830059 w 5058243"/>
              <a:gd name="connsiteY92" fmla="*/ 3308853 h 3308853"/>
              <a:gd name="connsiteX93" fmla="*/ 830059 w 5058243"/>
              <a:gd name="connsiteY93" fmla="*/ 3307764 h 3308853"/>
              <a:gd name="connsiteX94" fmla="*/ 830058 w 5058243"/>
              <a:gd name="connsiteY94" fmla="*/ 3307764 h 3308853"/>
              <a:gd name="connsiteX95" fmla="*/ 829810 w 5058243"/>
              <a:gd name="connsiteY95" fmla="*/ 3307764 h 3308853"/>
              <a:gd name="connsiteX96" fmla="*/ 819162 w 5058243"/>
              <a:gd name="connsiteY96" fmla="*/ 3307764 h 3308853"/>
              <a:gd name="connsiteX97" fmla="*/ 786082 w 5058243"/>
              <a:gd name="connsiteY97" fmla="*/ 3307764 h 3308853"/>
              <a:gd name="connsiteX98" fmla="*/ 786082 w 5058243"/>
              <a:gd name="connsiteY98" fmla="*/ 3305491 h 3308853"/>
              <a:gd name="connsiteX99" fmla="*/ 750202 w 5058243"/>
              <a:gd name="connsiteY99" fmla="*/ 3303627 h 3308853"/>
              <a:gd name="connsiteX100" fmla="*/ 747117 w 5058243"/>
              <a:gd name="connsiteY100" fmla="*/ 3303152 h 3308853"/>
              <a:gd name="connsiteX101" fmla="*/ 745413 w 5058243"/>
              <a:gd name="connsiteY101" fmla="*/ 3303058 h 3308853"/>
              <a:gd name="connsiteX102" fmla="*/ 729231 w 5058243"/>
              <a:gd name="connsiteY102" fmla="*/ 3300404 h 3308853"/>
              <a:gd name="connsiteX103" fmla="*/ 677499 w 5058243"/>
              <a:gd name="connsiteY103" fmla="*/ 3292454 h 3308853"/>
              <a:gd name="connsiteX104" fmla="*/ 671549 w 5058243"/>
              <a:gd name="connsiteY104" fmla="*/ 3290943 h 3308853"/>
              <a:gd name="connsiteX105" fmla="*/ 668045 w 5058243"/>
              <a:gd name="connsiteY105" fmla="*/ 3290369 h 3308853"/>
              <a:gd name="connsiteX106" fmla="*/ 649955 w 5058243"/>
              <a:gd name="connsiteY106" fmla="*/ 3285459 h 3308853"/>
              <a:gd name="connsiteX107" fmla="*/ 606951 w 5058243"/>
              <a:gd name="connsiteY107" fmla="*/ 3274540 h 3308853"/>
              <a:gd name="connsiteX108" fmla="*/ 598251 w 5058243"/>
              <a:gd name="connsiteY108" fmla="*/ 3271430 h 3308853"/>
              <a:gd name="connsiteX109" fmla="*/ 593175 w 5058243"/>
              <a:gd name="connsiteY109" fmla="*/ 3270053 h 3308853"/>
              <a:gd name="connsiteX110" fmla="*/ 575868 w 5058243"/>
              <a:gd name="connsiteY110" fmla="*/ 3263431 h 3308853"/>
              <a:gd name="connsiteX111" fmla="*/ 538844 w 5058243"/>
              <a:gd name="connsiteY111" fmla="*/ 3250196 h 3308853"/>
              <a:gd name="connsiteX112" fmla="*/ 527609 w 5058243"/>
              <a:gd name="connsiteY112" fmla="*/ 3244962 h 3308853"/>
              <a:gd name="connsiteX113" fmla="*/ 521149 w 5058243"/>
              <a:gd name="connsiteY113" fmla="*/ 3242489 h 3308853"/>
              <a:gd name="connsiteX114" fmla="*/ 505478 w 5058243"/>
              <a:gd name="connsiteY114" fmla="*/ 3234651 h 3308853"/>
              <a:gd name="connsiteX115" fmla="*/ 473459 w 5058243"/>
              <a:gd name="connsiteY115" fmla="*/ 3219734 h 3308853"/>
              <a:gd name="connsiteX116" fmla="*/ 459942 w 5058243"/>
              <a:gd name="connsiteY116" fmla="*/ 3211874 h 3308853"/>
              <a:gd name="connsiteX117" fmla="*/ 452309 w 5058243"/>
              <a:gd name="connsiteY117" fmla="*/ 3208056 h 3308853"/>
              <a:gd name="connsiteX118" fmla="*/ 438588 w 5058243"/>
              <a:gd name="connsiteY118" fmla="*/ 3199457 h 3308853"/>
              <a:gd name="connsiteX119" fmla="*/ 411080 w 5058243"/>
              <a:gd name="connsiteY119" fmla="*/ 3183462 h 3308853"/>
              <a:gd name="connsiteX120" fmla="*/ 395573 w 5058243"/>
              <a:gd name="connsiteY120" fmla="*/ 3172501 h 3308853"/>
              <a:gd name="connsiteX121" fmla="*/ 387001 w 5058243"/>
              <a:gd name="connsiteY121" fmla="*/ 3167129 h 3308853"/>
              <a:gd name="connsiteX122" fmla="*/ 375324 w 5058243"/>
              <a:gd name="connsiteY122" fmla="*/ 3158188 h 3308853"/>
              <a:gd name="connsiteX123" fmla="*/ 351989 w 5058243"/>
              <a:gd name="connsiteY123" fmla="*/ 3141694 h 3308853"/>
              <a:gd name="connsiteX124" fmla="*/ 334821 w 5058243"/>
              <a:gd name="connsiteY124" fmla="*/ 3127173 h 3308853"/>
              <a:gd name="connsiteX125" fmla="*/ 325566 w 5058243"/>
              <a:gd name="connsiteY125" fmla="*/ 3120087 h 3308853"/>
              <a:gd name="connsiteX126" fmla="*/ 315914 w 5058243"/>
              <a:gd name="connsiteY126" fmla="*/ 3111182 h 3308853"/>
              <a:gd name="connsiteX127" fmla="*/ 296471 w 5058243"/>
              <a:gd name="connsiteY127" fmla="*/ 3094738 h 3308853"/>
              <a:gd name="connsiteX128" fmla="*/ 278003 w 5058243"/>
              <a:gd name="connsiteY128" fmla="*/ 3076209 h 3308853"/>
              <a:gd name="connsiteX129" fmla="*/ 268352 w 5058243"/>
              <a:gd name="connsiteY129" fmla="*/ 3067306 h 3308853"/>
              <a:gd name="connsiteX130" fmla="*/ 260632 w 5058243"/>
              <a:gd name="connsiteY130" fmla="*/ 3058782 h 3308853"/>
              <a:gd name="connsiteX131" fmla="*/ 244809 w 5058243"/>
              <a:gd name="connsiteY131" fmla="*/ 3042907 h 3308853"/>
              <a:gd name="connsiteX132" fmla="*/ 225428 w 5058243"/>
              <a:gd name="connsiteY132" fmla="*/ 3019909 h 3308853"/>
              <a:gd name="connsiteX133" fmla="*/ 215699 w 5058243"/>
              <a:gd name="connsiteY133" fmla="*/ 3009166 h 3308853"/>
              <a:gd name="connsiteX134" fmla="*/ 209775 w 5058243"/>
              <a:gd name="connsiteY134" fmla="*/ 3001333 h 3308853"/>
              <a:gd name="connsiteX135" fmla="*/ 197285 w 5058243"/>
              <a:gd name="connsiteY135" fmla="*/ 2986511 h 3308853"/>
              <a:gd name="connsiteX136" fmla="*/ 177398 w 5058243"/>
              <a:gd name="connsiteY136" fmla="*/ 2958527 h 3308853"/>
              <a:gd name="connsiteX137" fmla="*/ 167953 w 5058243"/>
              <a:gd name="connsiteY137" fmla="*/ 2946042 h 3308853"/>
              <a:gd name="connsiteX138" fmla="*/ 163651 w 5058243"/>
              <a:gd name="connsiteY138" fmla="*/ 2939184 h 3308853"/>
              <a:gd name="connsiteX139" fmla="*/ 154182 w 5058243"/>
              <a:gd name="connsiteY139" fmla="*/ 2925861 h 3308853"/>
              <a:gd name="connsiteX140" fmla="*/ 134194 w 5058243"/>
              <a:gd name="connsiteY140" fmla="*/ 2892235 h 3308853"/>
              <a:gd name="connsiteX141" fmla="*/ 125458 w 5058243"/>
              <a:gd name="connsiteY141" fmla="*/ 2878311 h 3308853"/>
              <a:gd name="connsiteX142" fmla="*/ 122573 w 5058243"/>
              <a:gd name="connsiteY142" fmla="*/ 2872686 h 3308853"/>
              <a:gd name="connsiteX143" fmla="*/ 115785 w 5058243"/>
              <a:gd name="connsiteY143" fmla="*/ 2861268 h 3308853"/>
              <a:gd name="connsiteX144" fmla="*/ 96055 w 5058243"/>
              <a:gd name="connsiteY144" fmla="*/ 2820976 h 3308853"/>
              <a:gd name="connsiteX145" fmla="*/ 88557 w 5058243"/>
              <a:gd name="connsiteY145" fmla="*/ 2806354 h 3308853"/>
              <a:gd name="connsiteX146" fmla="*/ 86856 w 5058243"/>
              <a:gd name="connsiteY146" fmla="*/ 2802190 h 3308853"/>
              <a:gd name="connsiteX147" fmla="*/ 82376 w 5058243"/>
              <a:gd name="connsiteY147" fmla="*/ 2793042 h 3308853"/>
              <a:gd name="connsiteX148" fmla="*/ 63097 w 5058243"/>
              <a:gd name="connsiteY148" fmla="*/ 2744021 h 3308853"/>
              <a:gd name="connsiteX149" fmla="*/ 57594 w 5058243"/>
              <a:gd name="connsiteY149" fmla="*/ 2730546 h 3308853"/>
              <a:gd name="connsiteX150" fmla="*/ 56818 w 5058243"/>
              <a:gd name="connsiteY150" fmla="*/ 2728052 h 3308853"/>
              <a:gd name="connsiteX151" fmla="*/ 54238 w 5058243"/>
              <a:gd name="connsiteY151" fmla="*/ 2721493 h 3308853"/>
              <a:gd name="connsiteX152" fmla="*/ 34884 w 5058243"/>
              <a:gd name="connsiteY152" fmla="*/ 2657597 h 3308853"/>
              <a:gd name="connsiteX153" fmla="*/ 32912 w 5058243"/>
              <a:gd name="connsiteY153" fmla="*/ 2651264 h 3308853"/>
              <a:gd name="connsiteX154" fmla="*/ 32773 w 5058243"/>
              <a:gd name="connsiteY154" fmla="*/ 2650627 h 3308853"/>
              <a:gd name="connsiteX155" fmla="*/ 31655 w 5058243"/>
              <a:gd name="connsiteY155" fmla="*/ 2646936 h 3308853"/>
              <a:gd name="connsiteX156" fmla="*/ 4285 w 5058243"/>
              <a:gd name="connsiteY156" fmla="*/ 2490031 h 3308853"/>
              <a:gd name="connsiteX157" fmla="*/ 4121 w 5058243"/>
              <a:gd name="connsiteY157" fmla="*/ 2486466 h 3308853"/>
              <a:gd name="connsiteX158" fmla="*/ 3772 w 5058243"/>
              <a:gd name="connsiteY158" fmla="*/ 2483791 h 3308853"/>
              <a:gd name="connsiteX159" fmla="*/ 1870 w 5058243"/>
              <a:gd name="connsiteY159" fmla="*/ 2439693 h 3308853"/>
              <a:gd name="connsiteX160" fmla="*/ 1 w 5058243"/>
              <a:gd name="connsiteY160" fmla="*/ 2439693 h 3308853"/>
              <a:gd name="connsiteX161" fmla="*/ 1 w 5058243"/>
              <a:gd name="connsiteY161" fmla="*/ 2396909 h 3308853"/>
              <a:gd name="connsiteX162" fmla="*/ 0 w 5058243"/>
              <a:gd name="connsiteY162" fmla="*/ 2396901 h 3308853"/>
              <a:gd name="connsiteX163" fmla="*/ 1 w 5058243"/>
              <a:gd name="connsiteY163" fmla="*/ 2396892 h 3308853"/>
              <a:gd name="connsiteX164" fmla="*/ 1 w 5058243"/>
              <a:gd name="connsiteY164" fmla="*/ 2396355 h 3308853"/>
              <a:gd name="connsiteX165" fmla="*/ 1 w 5058243"/>
              <a:gd name="connsiteY165" fmla="*/ 2387709 h 3308853"/>
              <a:gd name="connsiteX166" fmla="*/ 0 w 5058243"/>
              <a:gd name="connsiteY166" fmla="*/ 2387709 h 3308853"/>
              <a:gd name="connsiteX167" fmla="*/ 0 w 5058243"/>
              <a:gd name="connsiteY167" fmla="*/ 1833085 h 3308853"/>
              <a:gd name="connsiteX168" fmla="*/ 0 w 5058243"/>
              <a:gd name="connsiteY168" fmla="*/ 1833084 h 3308853"/>
              <a:gd name="connsiteX169" fmla="*/ 0 w 5058243"/>
              <a:gd name="connsiteY169" fmla="*/ 1833083 h 3308853"/>
              <a:gd name="connsiteX170" fmla="*/ 0 w 5058243"/>
              <a:gd name="connsiteY170" fmla="*/ 1475758 h 3308853"/>
              <a:gd name="connsiteX171" fmla="*/ 0 w 5058243"/>
              <a:gd name="connsiteY171" fmla="*/ 911942 h 3308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</a:cxnLst>
            <a:rect l="l" t="t" r="r" b="b"/>
            <a:pathLst>
              <a:path w="5058243" h="3308853">
                <a:moveTo>
                  <a:pt x="0" y="0"/>
                </a:moveTo>
                <a:lnTo>
                  <a:pt x="786082" y="0"/>
                </a:lnTo>
                <a:lnTo>
                  <a:pt x="830058" y="0"/>
                </a:lnTo>
                <a:lnTo>
                  <a:pt x="2208629" y="0"/>
                </a:lnTo>
                <a:lnTo>
                  <a:pt x="2565370" y="0"/>
                </a:lnTo>
                <a:lnTo>
                  <a:pt x="3871443" y="0"/>
                </a:lnTo>
                <a:lnTo>
                  <a:pt x="4228184" y="0"/>
                </a:lnTo>
                <a:lnTo>
                  <a:pt x="4228184" y="1089"/>
                </a:lnTo>
                <a:lnTo>
                  <a:pt x="4228185" y="1089"/>
                </a:lnTo>
                <a:lnTo>
                  <a:pt x="4228433" y="1089"/>
                </a:lnTo>
                <a:lnTo>
                  <a:pt x="4239081" y="1089"/>
                </a:lnTo>
                <a:lnTo>
                  <a:pt x="4272161" y="1089"/>
                </a:lnTo>
                <a:lnTo>
                  <a:pt x="4272161" y="3362"/>
                </a:lnTo>
                <a:lnTo>
                  <a:pt x="4308041" y="5226"/>
                </a:lnTo>
                <a:lnTo>
                  <a:pt x="4311127" y="5701"/>
                </a:lnTo>
                <a:lnTo>
                  <a:pt x="4312830" y="5795"/>
                </a:lnTo>
                <a:lnTo>
                  <a:pt x="4329012" y="8449"/>
                </a:lnTo>
                <a:lnTo>
                  <a:pt x="4380744" y="16399"/>
                </a:lnTo>
                <a:lnTo>
                  <a:pt x="4386694" y="17910"/>
                </a:lnTo>
                <a:lnTo>
                  <a:pt x="4390198" y="18484"/>
                </a:lnTo>
                <a:lnTo>
                  <a:pt x="4408289" y="23394"/>
                </a:lnTo>
                <a:lnTo>
                  <a:pt x="4451292" y="34313"/>
                </a:lnTo>
                <a:lnTo>
                  <a:pt x="4459992" y="37423"/>
                </a:lnTo>
                <a:lnTo>
                  <a:pt x="4465068" y="38800"/>
                </a:lnTo>
                <a:lnTo>
                  <a:pt x="4482375" y="45422"/>
                </a:lnTo>
                <a:lnTo>
                  <a:pt x="4519400" y="58657"/>
                </a:lnTo>
                <a:lnTo>
                  <a:pt x="4530635" y="63891"/>
                </a:lnTo>
                <a:lnTo>
                  <a:pt x="4537095" y="66364"/>
                </a:lnTo>
                <a:lnTo>
                  <a:pt x="4552766" y="74202"/>
                </a:lnTo>
                <a:lnTo>
                  <a:pt x="4584785" y="89119"/>
                </a:lnTo>
                <a:lnTo>
                  <a:pt x="4598301" y="96979"/>
                </a:lnTo>
                <a:lnTo>
                  <a:pt x="4605934" y="100797"/>
                </a:lnTo>
                <a:lnTo>
                  <a:pt x="4619655" y="109396"/>
                </a:lnTo>
                <a:lnTo>
                  <a:pt x="4647164" y="125391"/>
                </a:lnTo>
                <a:lnTo>
                  <a:pt x="4662670" y="136352"/>
                </a:lnTo>
                <a:lnTo>
                  <a:pt x="4671243" y="141724"/>
                </a:lnTo>
                <a:lnTo>
                  <a:pt x="4682919" y="150665"/>
                </a:lnTo>
                <a:lnTo>
                  <a:pt x="4706254" y="167159"/>
                </a:lnTo>
                <a:lnTo>
                  <a:pt x="4723422" y="181680"/>
                </a:lnTo>
                <a:lnTo>
                  <a:pt x="4732677" y="188766"/>
                </a:lnTo>
                <a:lnTo>
                  <a:pt x="4742330" y="197671"/>
                </a:lnTo>
                <a:lnTo>
                  <a:pt x="4761772" y="214115"/>
                </a:lnTo>
                <a:lnTo>
                  <a:pt x="4780240" y="232644"/>
                </a:lnTo>
                <a:lnTo>
                  <a:pt x="4789891" y="241547"/>
                </a:lnTo>
                <a:lnTo>
                  <a:pt x="4797611" y="250071"/>
                </a:lnTo>
                <a:lnTo>
                  <a:pt x="4813434" y="265946"/>
                </a:lnTo>
                <a:lnTo>
                  <a:pt x="4832816" y="288945"/>
                </a:lnTo>
                <a:lnTo>
                  <a:pt x="4842544" y="299687"/>
                </a:lnTo>
                <a:lnTo>
                  <a:pt x="4848468" y="307520"/>
                </a:lnTo>
                <a:lnTo>
                  <a:pt x="4860959" y="322342"/>
                </a:lnTo>
                <a:lnTo>
                  <a:pt x="4880845" y="350326"/>
                </a:lnTo>
                <a:lnTo>
                  <a:pt x="4890290" y="362811"/>
                </a:lnTo>
                <a:lnTo>
                  <a:pt x="4894592" y="369669"/>
                </a:lnTo>
                <a:lnTo>
                  <a:pt x="4904061" y="382992"/>
                </a:lnTo>
                <a:lnTo>
                  <a:pt x="4924050" y="416618"/>
                </a:lnTo>
                <a:lnTo>
                  <a:pt x="4932786" y="430542"/>
                </a:lnTo>
                <a:lnTo>
                  <a:pt x="4935671" y="436166"/>
                </a:lnTo>
                <a:lnTo>
                  <a:pt x="4942458" y="447585"/>
                </a:lnTo>
                <a:lnTo>
                  <a:pt x="4962189" y="487877"/>
                </a:lnTo>
                <a:lnTo>
                  <a:pt x="4969687" y="502499"/>
                </a:lnTo>
                <a:lnTo>
                  <a:pt x="4971387" y="506663"/>
                </a:lnTo>
                <a:lnTo>
                  <a:pt x="4975867" y="515811"/>
                </a:lnTo>
                <a:lnTo>
                  <a:pt x="4995146" y="564832"/>
                </a:lnTo>
                <a:lnTo>
                  <a:pt x="5000650" y="578307"/>
                </a:lnTo>
                <a:lnTo>
                  <a:pt x="5001426" y="580801"/>
                </a:lnTo>
                <a:lnTo>
                  <a:pt x="5004006" y="587360"/>
                </a:lnTo>
                <a:lnTo>
                  <a:pt x="5023359" y="651256"/>
                </a:lnTo>
                <a:lnTo>
                  <a:pt x="5025331" y="657589"/>
                </a:lnTo>
                <a:lnTo>
                  <a:pt x="5025470" y="658226"/>
                </a:lnTo>
                <a:lnTo>
                  <a:pt x="5026589" y="661917"/>
                </a:lnTo>
                <a:cubicBezTo>
                  <a:pt x="5039730" y="712558"/>
                  <a:pt x="5048979" y="764997"/>
                  <a:pt x="5053959" y="818822"/>
                </a:cubicBezTo>
                <a:lnTo>
                  <a:pt x="5054122" y="822386"/>
                </a:lnTo>
                <a:lnTo>
                  <a:pt x="5054471" y="825062"/>
                </a:lnTo>
                <a:lnTo>
                  <a:pt x="5056373" y="869160"/>
                </a:lnTo>
                <a:lnTo>
                  <a:pt x="5058243" y="869160"/>
                </a:lnTo>
                <a:lnTo>
                  <a:pt x="5058243" y="911943"/>
                </a:lnTo>
                <a:lnTo>
                  <a:pt x="5058243" y="911952"/>
                </a:lnTo>
                <a:lnTo>
                  <a:pt x="5058243" y="911961"/>
                </a:lnTo>
                <a:lnTo>
                  <a:pt x="5058243" y="912498"/>
                </a:lnTo>
                <a:lnTo>
                  <a:pt x="5058243" y="921144"/>
                </a:lnTo>
                <a:lnTo>
                  <a:pt x="5058243" y="1475769"/>
                </a:lnTo>
                <a:lnTo>
                  <a:pt x="5058243" y="1833094"/>
                </a:lnTo>
                <a:lnTo>
                  <a:pt x="5058243" y="2396911"/>
                </a:lnTo>
                <a:lnTo>
                  <a:pt x="5058243" y="3308853"/>
                </a:lnTo>
                <a:lnTo>
                  <a:pt x="4272161" y="3308853"/>
                </a:lnTo>
                <a:lnTo>
                  <a:pt x="4228185" y="3308853"/>
                </a:lnTo>
                <a:lnTo>
                  <a:pt x="3395429" y="3308853"/>
                </a:lnTo>
                <a:lnTo>
                  <a:pt x="2849614" y="3308853"/>
                </a:lnTo>
                <a:lnTo>
                  <a:pt x="2609347" y="3308853"/>
                </a:lnTo>
                <a:lnTo>
                  <a:pt x="2565371" y="3308853"/>
                </a:lnTo>
                <a:lnTo>
                  <a:pt x="2492873" y="3308853"/>
                </a:lnTo>
                <a:lnTo>
                  <a:pt x="1186800" y="3308853"/>
                </a:lnTo>
                <a:lnTo>
                  <a:pt x="830059" y="3308853"/>
                </a:lnTo>
                <a:lnTo>
                  <a:pt x="830059" y="3307764"/>
                </a:lnTo>
                <a:lnTo>
                  <a:pt x="830058" y="3307764"/>
                </a:lnTo>
                <a:lnTo>
                  <a:pt x="829810" y="3307764"/>
                </a:lnTo>
                <a:lnTo>
                  <a:pt x="819162" y="3307764"/>
                </a:lnTo>
                <a:lnTo>
                  <a:pt x="786082" y="3307764"/>
                </a:lnTo>
                <a:lnTo>
                  <a:pt x="786082" y="3305491"/>
                </a:lnTo>
                <a:lnTo>
                  <a:pt x="750202" y="3303627"/>
                </a:lnTo>
                <a:lnTo>
                  <a:pt x="747117" y="3303152"/>
                </a:lnTo>
                <a:lnTo>
                  <a:pt x="745413" y="3303058"/>
                </a:lnTo>
                <a:lnTo>
                  <a:pt x="729231" y="3300404"/>
                </a:lnTo>
                <a:lnTo>
                  <a:pt x="677499" y="3292454"/>
                </a:lnTo>
                <a:lnTo>
                  <a:pt x="671549" y="3290943"/>
                </a:lnTo>
                <a:lnTo>
                  <a:pt x="668045" y="3290369"/>
                </a:lnTo>
                <a:lnTo>
                  <a:pt x="649955" y="3285459"/>
                </a:lnTo>
                <a:lnTo>
                  <a:pt x="606951" y="3274540"/>
                </a:lnTo>
                <a:lnTo>
                  <a:pt x="598251" y="3271430"/>
                </a:lnTo>
                <a:lnTo>
                  <a:pt x="593175" y="3270053"/>
                </a:lnTo>
                <a:lnTo>
                  <a:pt x="575868" y="3263431"/>
                </a:lnTo>
                <a:lnTo>
                  <a:pt x="538844" y="3250196"/>
                </a:lnTo>
                <a:lnTo>
                  <a:pt x="527609" y="3244962"/>
                </a:lnTo>
                <a:lnTo>
                  <a:pt x="521149" y="3242489"/>
                </a:lnTo>
                <a:lnTo>
                  <a:pt x="505478" y="3234651"/>
                </a:lnTo>
                <a:lnTo>
                  <a:pt x="473459" y="3219734"/>
                </a:lnTo>
                <a:lnTo>
                  <a:pt x="459942" y="3211874"/>
                </a:lnTo>
                <a:lnTo>
                  <a:pt x="452309" y="3208056"/>
                </a:lnTo>
                <a:lnTo>
                  <a:pt x="438588" y="3199457"/>
                </a:lnTo>
                <a:lnTo>
                  <a:pt x="411080" y="3183462"/>
                </a:lnTo>
                <a:lnTo>
                  <a:pt x="395573" y="3172501"/>
                </a:lnTo>
                <a:lnTo>
                  <a:pt x="387001" y="3167129"/>
                </a:lnTo>
                <a:lnTo>
                  <a:pt x="375324" y="3158188"/>
                </a:lnTo>
                <a:lnTo>
                  <a:pt x="351989" y="3141694"/>
                </a:lnTo>
                <a:lnTo>
                  <a:pt x="334821" y="3127173"/>
                </a:lnTo>
                <a:lnTo>
                  <a:pt x="325566" y="3120087"/>
                </a:lnTo>
                <a:lnTo>
                  <a:pt x="315914" y="3111182"/>
                </a:lnTo>
                <a:lnTo>
                  <a:pt x="296471" y="3094738"/>
                </a:lnTo>
                <a:lnTo>
                  <a:pt x="278003" y="3076209"/>
                </a:lnTo>
                <a:lnTo>
                  <a:pt x="268352" y="3067306"/>
                </a:lnTo>
                <a:lnTo>
                  <a:pt x="260632" y="3058782"/>
                </a:lnTo>
                <a:lnTo>
                  <a:pt x="244809" y="3042907"/>
                </a:lnTo>
                <a:lnTo>
                  <a:pt x="225428" y="3019909"/>
                </a:lnTo>
                <a:lnTo>
                  <a:pt x="215699" y="3009166"/>
                </a:lnTo>
                <a:lnTo>
                  <a:pt x="209775" y="3001333"/>
                </a:lnTo>
                <a:lnTo>
                  <a:pt x="197285" y="2986511"/>
                </a:lnTo>
                <a:lnTo>
                  <a:pt x="177398" y="2958527"/>
                </a:lnTo>
                <a:lnTo>
                  <a:pt x="167953" y="2946042"/>
                </a:lnTo>
                <a:lnTo>
                  <a:pt x="163651" y="2939184"/>
                </a:lnTo>
                <a:lnTo>
                  <a:pt x="154182" y="2925861"/>
                </a:lnTo>
                <a:lnTo>
                  <a:pt x="134194" y="2892235"/>
                </a:lnTo>
                <a:lnTo>
                  <a:pt x="125458" y="2878311"/>
                </a:lnTo>
                <a:lnTo>
                  <a:pt x="122573" y="2872686"/>
                </a:lnTo>
                <a:lnTo>
                  <a:pt x="115785" y="2861268"/>
                </a:lnTo>
                <a:lnTo>
                  <a:pt x="96055" y="2820976"/>
                </a:lnTo>
                <a:lnTo>
                  <a:pt x="88557" y="2806354"/>
                </a:lnTo>
                <a:lnTo>
                  <a:pt x="86856" y="2802190"/>
                </a:lnTo>
                <a:lnTo>
                  <a:pt x="82376" y="2793042"/>
                </a:lnTo>
                <a:lnTo>
                  <a:pt x="63097" y="2744021"/>
                </a:lnTo>
                <a:lnTo>
                  <a:pt x="57594" y="2730546"/>
                </a:lnTo>
                <a:lnTo>
                  <a:pt x="56818" y="2728052"/>
                </a:lnTo>
                <a:lnTo>
                  <a:pt x="54238" y="2721493"/>
                </a:lnTo>
                <a:lnTo>
                  <a:pt x="34884" y="2657597"/>
                </a:lnTo>
                <a:lnTo>
                  <a:pt x="32912" y="2651264"/>
                </a:lnTo>
                <a:lnTo>
                  <a:pt x="32773" y="2650627"/>
                </a:lnTo>
                <a:lnTo>
                  <a:pt x="31655" y="2646936"/>
                </a:lnTo>
                <a:cubicBezTo>
                  <a:pt x="18514" y="2596295"/>
                  <a:pt x="9264" y="2543856"/>
                  <a:pt x="4285" y="2490031"/>
                </a:cubicBezTo>
                <a:lnTo>
                  <a:pt x="4121" y="2486466"/>
                </a:lnTo>
                <a:lnTo>
                  <a:pt x="3772" y="2483791"/>
                </a:lnTo>
                <a:lnTo>
                  <a:pt x="1870" y="2439693"/>
                </a:lnTo>
                <a:lnTo>
                  <a:pt x="1" y="2439693"/>
                </a:lnTo>
                <a:lnTo>
                  <a:pt x="1" y="2396909"/>
                </a:lnTo>
                <a:lnTo>
                  <a:pt x="0" y="2396901"/>
                </a:lnTo>
                <a:lnTo>
                  <a:pt x="1" y="2396892"/>
                </a:lnTo>
                <a:lnTo>
                  <a:pt x="1" y="2396355"/>
                </a:lnTo>
                <a:lnTo>
                  <a:pt x="1" y="2387709"/>
                </a:lnTo>
                <a:lnTo>
                  <a:pt x="0" y="2387709"/>
                </a:lnTo>
                <a:lnTo>
                  <a:pt x="0" y="1833085"/>
                </a:lnTo>
                <a:lnTo>
                  <a:pt x="0" y="1833084"/>
                </a:lnTo>
                <a:lnTo>
                  <a:pt x="0" y="1833083"/>
                </a:lnTo>
                <a:lnTo>
                  <a:pt x="0" y="1475758"/>
                </a:lnTo>
                <a:lnTo>
                  <a:pt x="0" y="91194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4059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5D3C7B6-CC75-401E-9787-A9ACE4C59D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77350" y="0"/>
            <a:ext cx="2933700" cy="2463507"/>
          </a:xfrm>
          <a:custGeom>
            <a:avLst/>
            <a:gdLst>
              <a:gd name="connsiteX0" fmla="*/ 677230 w 2933700"/>
              <a:gd name="connsiteY0" fmla="*/ 0 h 2463507"/>
              <a:gd name="connsiteX1" fmla="*/ 910198 w 2933700"/>
              <a:gd name="connsiteY1" fmla="*/ 0 h 2463507"/>
              <a:gd name="connsiteX2" fmla="*/ 938962 w 2933700"/>
              <a:gd name="connsiteY2" fmla="*/ 0 h 2463507"/>
              <a:gd name="connsiteX3" fmla="*/ 956411 w 2933700"/>
              <a:gd name="connsiteY3" fmla="*/ 0 h 2463507"/>
              <a:gd name="connsiteX4" fmla="*/ 1051743 w 2933700"/>
              <a:gd name="connsiteY4" fmla="*/ 0 h 2463507"/>
              <a:gd name="connsiteX5" fmla="*/ 1062768 w 2933700"/>
              <a:gd name="connsiteY5" fmla="*/ 0 h 2463507"/>
              <a:gd name="connsiteX6" fmla="*/ 1204313 w 2933700"/>
              <a:gd name="connsiteY6" fmla="*/ 0 h 2463507"/>
              <a:gd name="connsiteX7" fmla="*/ 1268308 w 2933700"/>
              <a:gd name="connsiteY7" fmla="*/ 0 h 2463507"/>
              <a:gd name="connsiteX8" fmla="*/ 1598724 w 2933700"/>
              <a:gd name="connsiteY8" fmla="*/ 0 h 2463507"/>
              <a:gd name="connsiteX9" fmla="*/ 1616172 w 2933700"/>
              <a:gd name="connsiteY9" fmla="*/ 0 h 2463507"/>
              <a:gd name="connsiteX10" fmla="*/ 1722529 w 2933700"/>
              <a:gd name="connsiteY10" fmla="*/ 0 h 2463507"/>
              <a:gd name="connsiteX11" fmla="*/ 1751294 w 2933700"/>
              <a:gd name="connsiteY11" fmla="*/ 0 h 2463507"/>
              <a:gd name="connsiteX12" fmla="*/ 1768742 w 2933700"/>
              <a:gd name="connsiteY12" fmla="*/ 0 h 2463507"/>
              <a:gd name="connsiteX13" fmla="*/ 1864074 w 2933700"/>
              <a:gd name="connsiteY13" fmla="*/ 0 h 2463507"/>
              <a:gd name="connsiteX14" fmla="*/ 1928069 w 2933700"/>
              <a:gd name="connsiteY14" fmla="*/ 0 h 2463507"/>
              <a:gd name="connsiteX15" fmla="*/ 2080639 w 2933700"/>
              <a:gd name="connsiteY15" fmla="*/ 0 h 2463507"/>
              <a:gd name="connsiteX16" fmla="*/ 2256470 w 2933700"/>
              <a:gd name="connsiteY16" fmla="*/ 0 h 2463507"/>
              <a:gd name="connsiteX17" fmla="*/ 2256470 w 2933700"/>
              <a:gd name="connsiteY17" fmla="*/ 1 h 2463507"/>
              <a:gd name="connsiteX18" fmla="*/ 2323152 w 2933700"/>
              <a:gd name="connsiteY18" fmla="*/ 1 h 2463507"/>
              <a:gd name="connsiteX19" fmla="*/ 2355498 w 2933700"/>
              <a:gd name="connsiteY19" fmla="*/ 1 h 2463507"/>
              <a:gd name="connsiteX20" fmla="*/ 2933700 w 2933700"/>
              <a:gd name="connsiteY20" fmla="*/ 1 h 2463507"/>
              <a:gd name="connsiteX21" fmla="*/ 2933700 w 2933700"/>
              <a:gd name="connsiteY21" fmla="*/ 678959 h 2463507"/>
              <a:gd name="connsiteX22" fmla="*/ 2933700 w 2933700"/>
              <a:gd name="connsiteY22" fmla="*/ 1098732 h 2463507"/>
              <a:gd name="connsiteX23" fmla="*/ 2933700 w 2933700"/>
              <a:gd name="connsiteY23" fmla="*/ 1364768 h 2463507"/>
              <a:gd name="connsiteX24" fmla="*/ 2933700 w 2933700"/>
              <a:gd name="connsiteY24" fmla="*/ 1777698 h 2463507"/>
              <a:gd name="connsiteX25" fmla="*/ 2933700 w 2933700"/>
              <a:gd name="connsiteY25" fmla="*/ 1784134 h 2463507"/>
              <a:gd name="connsiteX26" fmla="*/ 2933700 w 2933700"/>
              <a:gd name="connsiteY26" fmla="*/ 1784534 h 2463507"/>
              <a:gd name="connsiteX27" fmla="*/ 2933700 w 2933700"/>
              <a:gd name="connsiteY27" fmla="*/ 1784541 h 2463507"/>
              <a:gd name="connsiteX28" fmla="*/ 2933700 w 2933700"/>
              <a:gd name="connsiteY28" fmla="*/ 1784547 h 2463507"/>
              <a:gd name="connsiteX29" fmla="*/ 2933700 w 2933700"/>
              <a:gd name="connsiteY29" fmla="*/ 1816401 h 2463507"/>
              <a:gd name="connsiteX30" fmla="*/ 2932325 w 2933700"/>
              <a:gd name="connsiteY30" fmla="*/ 1816401 h 2463507"/>
              <a:gd name="connsiteX31" fmla="*/ 2930926 w 2933700"/>
              <a:gd name="connsiteY31" fmla="*/ 1849232 h 2463507"/>
              <a:gd name="connsiteX32" fmla="*/ 2930669 w 2933700"/>
              <a:gd name="connsiteY32" fmla="*/ 1851224 h 2463507"/>
              <a:gd name="connsiteX33" fmla="*/ 2930549 w 2933700"/>
              <a:gd name="connsiteY33" fmla="*/ 1853877 h 2463507"/>
              <a:gd name="connsiteX34" fmla="*/ 2910418 w 2933700"/>
              <a:gd name="connsiteY34" fmla="*/ 1970697 h 2463507"/>
              <a:gd name="connsiteX35" fmla="*/ 2909594 w 2933700"/>
              <a:gd name="connsiteY35" fmla="*/ 1973444 h 2463507"/>
              <a:gd name="connsiteX36" fmla="*/ 2909492 w 2933700"/>
              <a:gd name="connsiteY36" fmla="*/ 1973919 h 2463507"/>
              <a:gd name="connsiteX37" fmla="*/ 2908041 w 2933700"/>
              <a:gd name="connsiteY37" fmla="*/ 1978634 h 2463507"/>
              <a:gd name="connsiteX38" fmla="*/ 2893806 w 2933700"/>
              <a:gd name="connsiteY38" fmla="*/ 2026206 h 2463507"/>
              <a:gd name="connsiteX39" fmla="*/ 2891908 w 2933700"/>
              <a:gd name="connsiteY39" fmla="*/ 2031089 h 2463507"/>
              <a:gd name="connsiteX40" fmla="*/ 2891338 w 2933700"/>
              <a:gd name="connsiteY40" fmla="*/ 2032946 h 2463507"/>
              <a:gd name="connsiteX41" fmla="*/ 2887290 w 2933700"/>
              <a:gd name="connsiteY41" fmla="*/ 2042979 h 2463507"/>
              <a:gd name="connsiteX42" fmla="*/ 2873108 w 2933700"/>
              <a:gd name="connsiteY42" fmla="*/ 2079476 h 2463507"/>
              <a:gd name="connsiteX43" fmla="*/ 2869812 w 2933700"/>
              <a:gd name="connsiteY43" fmla="*/ 2086287 h 2463507"/>
              <a:gd name="connsiteX44" fmla="*/ 2868564 w 2933700"/>
              <a:gd name="connsiteY44" fmla="*/ 2089386 h 2463507"/>
              <a:gd name="connsiteX45" fmla="*/ 2863048 w 2933700"/>
              <a:gd name="connsiteY45" fmla="*/ 2100273 h 2463507"/>
              <a:gd name="connsiteX46" fmla="*/ 2848535 w 2933700"/>
              <a:gd name="connsiteY46" fmla="*/ 2130271 h 2463507"/>
              <a:gd name="connsiteX47" fmla="*/ 2843543 w 2933700"/>
              <a:gd name="connsiteY47" fmla="*/ 2138772 h 2463507"/>
              <a:gd name="connsiteX48" fmla="*/ 2841421 w 2933700"/>
              <a:gd name="connsiteY48" fmla="*/ 2142959 h 2463507"/>
              <a:gd name="connsiteX49" fmla="*/ 2834995 w 2933700"/>
              <a:gd name="connsiteY49" fmla="*/ 2153326 h 2463507"/>
              <a:gd name="connsiteX50" fmla="*/ 2820292 w 2933700"/>
              <a:gd name="connsiteY50" fmla="*/ 2178362 h 2463507"/>
              <a:gd name="connsiteX51" fmla="*/ 2813327 w 2933700"/>
              <a:gd name="connsiteY51" fmla="*/ 2188281 h 2463507"/>
              <a:gd name="connsiteX52" fmla="*/ 2810163 w 2933700"/>
              <a:gd name="connsiteY52" fmla="*/ 2193387 h 2463507"/>
              <a:gd name="connsiteX53" fmla="*/ 2803216 w 2933700"/>
              <a:gd name="connsiteY53" fmla="*/ 2202682 h 2463507"/>
              <a:gd name="connsiteX54" fmla="*/ 2788588 w 2933700"/>
              <a:gd name="connsiteY54" fmla="*/ 2223518 h 2463507"/>
              <a:gd name="connsiteX55" fmla="*/ 2779400 w 2933700"/>
              <a:gd name="connsiteY55" fmla="*/ 2234553 h 2463507"/>
              <a:gd name="connsiteX56" fmla="*/ 2775043 w 2933700"/>
              <a:gd name="connsiteY56" fmla="*/ 2240384 h 2463507"/>
              <a:gd name="connsiteX57" fmla="*/ 2767888 w 2933700"/>
              <a:gd name="connsiteY57" fmla="*/ 2248382 h 2463507"/>
              <a:gd name="connsiteX58" fmla="*/ 2753631 w 2933700"/>
              <a:gd name="connsiteY58" fmla="*/ 2265505 h 2463507"/>
              <a:gd name="connsiteX59" fmla="*/ 2741992 w 2933700"/>
              <a:gd name="connsiteY59" fmla="*/ 2277323 h 2463507"/>
              <a:gd name="connsiteX60" fmla="*/ 2736314 w 2933700"/>
              <a:gd name="connsiteY60" fmla="*/ 2283671 h 2463507"/>
              <a:gd name="connsiteX61" fmla="*/ 2729216 w 2933700"/>
              <a:gd name="connsiteY61" fmla="*/ 2290299 h 2463507"/>
              <a:gd name="connsiteX62" fmla="*/ 2715632 w 2933700"/>
              <a:gd name="connsiteY62" fmla="*/ 2304095 h 2463507"/>
              <a:gd name="connsiteX63" fmla="*/ 2701330 w 2933700"/>
              <a:gd name="connsiteY63" fmla="*/ 2316337 h 2463507"/>
              <a:gd name="connsiteX64" fmla="*/ 2694230 w 2933700"/>
              <a:gd name="connsiteY64" fmla="*/ 2322966 h 2463507"/>
              <a:gd name="connsiteX65" fmla="*/ 2687423 w 2933700"/>
              <a:gd name="connsiteY65" fmla="*/ 2328243 h 2463507"/>
              <a:gd name="connsiteX66" fmla="*/ 2674795 w 2933700"/>
              <a:gd name="connsiteY66" fmla="*/ 2339053 h 2463507"/>
              <a:gd name="connsiteX67" fmla="*/ 2657631 w 2933700"/>
              <a:gd name="connsiteY67" fmla="*/ 2351333 h 2463507"/>
              <a:gd name="connsiteX68" fmla="*/ 2649042 w 2933700"/>
              <a:gd name="connsiteY68" fmla="*/ 2357991 h 2463507"/>
              <a:gd name="connsiteX69" fmla="*/ 2642737 w 2933700"/>
              <a:gd name="connsiteY69" fmla="*/ 2361990 h 2463507"/>
              <a:gd name="connsiteX70" fmla="*/ 2631332 w 2933700"/>
              <a:gd name="connsiteY70" fmla="*/ 2370151 h 2463507"/>
              <a:gd name="connsiteX71" fmla="*/ 2611097 w 2933700"/>
              <a:gd name="connsiteY71" fmla="*/ 2382059 h 2463507"/>
              <a:gd name="connsiteX72" fmla="*/ 2601006 w 2933700"/>
              <a:gd name="connsiteY72" fmla="*/ 2388462 h 2463507"/>
              <a:gd name="connsiteX73" fmla="*/ 2595390 w 2933700"/>
              <a:gd name="connsiteY73" fmla="*/ 2391304 h 2463507"/>
              <a:gd name="connsiteX74" fmla="*/ 2585449 w 2933700"/>
              <a:gd name="connsiteY74" fmla="*/ 2397156 h 2463507"/>
              <a:gd name="connsiteX75" fmla="*/ 2561897 w 2933700"/>
              <a:gd name="connsiteY75" fmla="*/ 2408262 h 2463507"/>
              <a:gd name="connsiteX76" fmla="*/ 2550370 w 2933700"/>
              <a:gd name="connsiteY76" fmla="*/ 2414098 h 2463507"/>
              <a:gd name="connsiteX77" fmla="*/ 2545618 w 2933700"/>
              <a:gd name="connsiteY77" fmla="*/ 2415939 h 2463507"/>
              <a:gd name="connsiteX78" fmla="*/ 2537355 w 2933700"/>
              <a:gd name="connsiteY78" fmla="*/ 2419835 h 2463507"/>
              <a:gd name="connsiteX79" fmla="*/ 2510121 w 2933700"/>
              <a:gd name="connsiteY79" fmla="*/ 2429690 h 2463507"/>
              <a:gd name="connsiteX80" fmla="*/ 2497390 w 2933700"/>
              <a:gd name="connsiteY80" fmla="*/ 2434620 h 2463507"/>
              <a:gd name="connsiteX81" fmla="*/ 2493658 w 2933700"/>
              <a:gd name="connsiteY81" fmla="*/ 2435645 h 2463507"/>
              <a:gd name="connsiteX82" fmla="*/ 2487258 w 2933700"/>
              <a:gd name="connsiteY82" fmla="*/ 2437960 h 2463507"/>
              <a:gd name="connsiteX83" fmla="*/ 2455627 w 2933700"/>
              <a:gd name="connsiteY83" fmla="*/ 2446089 h 2463507"/>
              <a:gd name="connsiteX84" fmla="*/ 2442320 w 2933700"/>
              <a:gd name="connsiteY84" fmla="*/ 2449745 h 2463507"/>
              <a:gd name="connsiteX85" fmla="*/ 2439743 w 2933700"/>
              <a:gd name="connsiteY85" fmla="*/ 2450173 h 2463507"/>
              <a:gd name="connsiteX86" fmla="*/ 2435367 w 2933700"/>
              <a:gd name="connsiteY86" fmla="*/ 2451298 h 2463507"/>
              <a:gd name="connsiteX87" fmla="*/ 2397316 w 2933700"/>
              <a:gd name="connsiteY87" fmla="*/ 2457216 h 2463507"/>
              <a:gd name="connsiteX88" fmla="*/ 2385413 w 2933700"/>
              <a:gd name="connsiteY88" fmla="*/ 2459193 h 2463507"/>
              <a:gd name="connsiteX89" fmla="*/ 2384160 w 2933700"/>
              <a:gd name="connsiteY89" fmla="*/ 2459263 h 2463507"/>
              <a:gd name="connsiteX90" fmla="*/ 2381890 w 2933700"/>
              <a:gd name="connsiteY90" fmla="*/ 2459615 h 2463507"/>
              <a:gd name="connsiteX91" fmla="*/ 2355498 w 2933700"/>
              <a:gd name="connsiteY91" fmla="*/ 2461003 h 2463507"/>
              <a:gd name="connsiteX92" fmla="*/ 2355498 w 2933700"/>
              <a:gd name="connsiteY92" fmla="*/ 2462696 h 2463507"/>
              <a:gd name="connsiteX93" fmla="*/ 2331166 w 2933700"/>
              <a:gd name="connsiteY93" fmla="*/ 2462696 h 2463507"/>
              <a:gd name="connsiteX94" fmla="*/ 2323335 w 2933700"/>
              <a:gd name="connsiteY94" fmla="*/ 2462696 h 2463507"/>
              <a:gd name="connsiteX95" fmla="*/ 2323152 w 2933700"/>
              <a:gd name="connsiteY95" fmla="*/ 2462696 h 2463507"/>
              <a:gd name="connsiteX96" fmla="*/ 2323151 w 2933700"/>
              <a:gd name="connsiteY96" fmla="*/ 2462696 h 2463507"/>
              <a:gd name="connsiteX97" fmla="*/ 2323151 w 2933700"/>
              <a:gd name="connsiteY97" fmla="*/ 2463507 h 2463507"/>
              <a:gd name="connsiteX98" fmla="*/ 2060750 w 2933700"/>
              <a:gd name="connsiteY98" fmla="*/ 2463507 h 2463507"/>
              <a:gd name="connsiteX99" fmla="*/ 2036578 w 2933700"/>
              <a:gd name="connsiteY99" fmla="*/ 2463507 h 2463507"/>
              <a:gd name="connsiteX100" fmla="*/ 2036578 w 2933700"/>
              <a:gd name="connsiteY100" fmla="*/ 2463506 h 2463507"/>
              <a:gd name="connsiteX101" fmla="*/ 1751294 w 2933700"/>
              <a:gd name="connsiteY101" fmla="*/ 2463506 h 2463507"/>
              <a:gd name="connsiteX102" fmla="*/ 1609747 w 2933700"/>
              <a:gd name="connsiteY102" fmla="*/ 2463506 h 2463507"/>
              <a:gd name="connsiteX103" fmla="*/ 1598723 w 2933700"/>
              <a:gd name="connsiteY103" fmla="*/ 2463506 h 2463507"/>
              <a:gd name="connsiteX104" fmla="*/ 1457178 w 2933700"/>
              <a:gd name="connsiteY104" fmla="*/ 2463506 h 2463507"/>
              <a:gd name="connsiteX105" fmla="*/ 1401748 w 2933700"/>
              <a:gd name="connsiteY105" fmla="*/ 2463506 h 2463507"/>
              <a:gd name="connsiteX106" fmla="*/ 1401748 w 2933700"/>
              <a:gd name="connsiteY106" fmla="*/ 2463507 h 2463507"/>
              <a:gd name="connsiteX107" fmla="*/ 610548 w 2933700"/>
              <a:gd name="connsiteY107" fmla="*/ 2463507 h 2463507"/>
              <a:gd name="connsiteX108" fmla="*/ 578200 w 2933700"/>
              <a:gd name="connsiteY108" fmla="*/ 2463507 h 2463507"/>
              <a:gd name="connsiteX109" fmla="*/ 0 w 2933700"/>
              <a:gd name="connsiteY109" fmla="*/ 2463507 h 2463507"/>
              <a:gd name="connsiteX110" fmla="*/ 0 w 2933700"/>
              <a:gd name="connsiteY110" fmla="*/ 1784548 h 2463507"/>
              <a:gd name="connsiteX111" fmla="*/ 0 w 2933700"/>
              <a:gd name="connsiteY111" fmla="*/ 1364777 h 2463507"/>
              <a:gd name="connsiteX112" fmla="*/ 0 w 2933700"/>
              <a:gd name="connsiteY112" fmla="*/ 1098741 h 2463507"/>
              <a:gd name="connsiteX113" fmla="*/ 0 w 2933700"/>
              <a:gd name="connsiteY113" fmla="*/ 1098740 h 2463507"/>
              <a:gd name="connsiteX114" fmla="*/ 0 w 2933700"/>
              <a:gd name="connsiteY114" fmla="*/ 1098739 h 2463507"/>
              <a:gd name="connsiteX115" fmla="*/ 0 w 2933700"/>
              <a:gd name="connsiteY115" fmla="*/ 685811 h 2463507"/>
              <a:gd name="connsiteX116" fmla="*/ 0 w 2933700"/>
              <a:gd name="connsiteY116" fmla="*/ 679373 h 2463507"/>
              <a:gd name="connsiteX117" fmla="*/ 0 w 2933700"/>
              <a:gd name="connsiteY117" fmla="*/ 678974 h 2463507"/>
              <a:gd name="connsiteX118" fmla="*/ 0 w 2933700"/>
              <a:gd name="connsiteY118" fmla="*/ 678967 h 2463507"/>
              <a:gd name="connsiteX119" fmla="*/ 0 w 2933700"/>
              <a:gd name="connsiteY119" fmla="*/ 678962 h 2463507"/>
              <a:gd name="connsiteX120" fmla="*/ 0 w 2933700"/>
              <a:gd name="connsiteY120" fmla="*/ 647108 h 2463507"/>
              <a:gd name="connsiteX121" fmla="*/ 1375 w 2933700"/>
              <a:gd name="connsiteY121" fmla="*/ 647108 h 2463507"/>
              <a:gd name="connsiteX122" fmla="*/ 2774 w 2933700"/>
              <a:gd name="connsiteY122" fmla="*/ 614276 h 2463507"/>
              <a:gd name="connsiteX123" fmla="*/ 3031 w 2933700"/>
              <a:gd name="connsiteY123" fmla="*/ 612285 h 2463507"/>
              <a:gd name="connsiteX124" fmla="*/ 3151 w 2933700"/>
              <a:gd name="connsiteY124" fmla="*/ 609630 h 2463507"/>
              <a:gd name="connsiteX125" fmla="*/ 23283 w 2933700"/>
              <a:gd name="connsiteY125" fmla="*/ 492812 h 2463507"/>
              <a:gd name="connsiteX126" fmla="*/ 24106 w 2933700"/>
              <a:gd name="connsiteY126" fmla="*/ 490063 h 2463507"/>
              <a:gd name="connsiteX127" fmla="*/ 24208 w 2933700"/>
              <a:gd name="connsiteY127" fmla="*/ 489589 h 2463507"/>
              <a:gd name="connsiteX128" fmla="*/ 25658 w 2933700"/>
              <a:gd name="connsiteY128" fmla="*/ 484874 h 2463507"/>
              <a:gd name="connsiteX129" fmla="*/ 39895 w 2933700"/>
              <a:gd name="connsiteY129" fmla="*/ 437302 h 2463507"/>
              <a:gd name="connsiteX130" fmla="*/ 41793 w 2933700"/>
              <a:gd name="connsiteY130" fmla="*/ 432419 h 2463507"/>
              <a:gd name="connsiteX131" fmla="*/ 42363 w 2933700"/>
              <a:gd name="connsiteY131" fmla="*/ 430563 h 2463507"/>
              <a:gd name="connsiteX132" fmla="*/ 46410 w 2933700"/>
              <a:gd name="connsiteY132" fmla="*/ 420529 h 2463507"/>
              <a:gd name="connsiteX133" fmla="*/ 60591 w 2933700"/>
              <a:gd name="connsiteY133" fmla="*/ 384033 h 2463507"/>
              <a:gd name="connsiteX134" fmla="*/ 63886 w 2933700"/>
              <a:gd name="connsiteY134" fmla="*/ 377222 h 2463507"/>
              <a:gd name="connsiteX135" fmla="*/ 65138 w 2933700"/>
              <a:gd name="connsiteY135" fmla="*/ 374121 h 2463507"/>
              <a:gd name="connsiteX136" fmla="*/ 70652 w 2933700"/>
              <a:gd name="connsiteY136" fmla="*/ 363236 h 2463507"/>
              <a:gd name="connsiteX137" fmla="*/ 85165 w 2933700"/>
              <a:gd name="connsiteY137" fmla="*/ 333237 h 2463507"/>
              <a:gd name="connsiteX138" fmla="*/ 90158 w 2933700"/>
              <a:gd name="connsiteY138" fmla="*/ 324736 h 2463507"/>
              <a:gd name="connsiteX139" fmla="*/ 92280 w 2933700"/>
              <a:gd name="connsiteY139" fmla="*/ 320549 h 2463507"/>
              <a:gd name="connsiteX140" fmla="*/ 98706 w 2933700"/>
              <a:gd name="connsiteY140" fmla="*/ 310181 h 2463507"/>
              <a:gd name="connsiteX141" fmla="*/ 113408 w 2933700"/>
              <a:gd name="connsiteY141" fmla="*/ 285147 h 2463507"/>
              <a:gd name="connsiteX142" fmla="*/ 120373 w 2933700"/>
              <a:gd name="connsiteY142" fmla="*/ 275227 h 2463507"/>
              <a:gd name="connsiteX143" fmla="*/ 123537 w 2933700"/>
              <a:gd name="connsiteY143" fmla="*/ 270121 h 2463507"/>
              <a:gd name="connsiteX144" fmla="*/ 130484 w 2933700"/>
              <a:gd name="connsiteY144" fmla="*/ 260827 h 2463507"/>
              <a:gd name="connsiteX145" fmla="*/ 145113 w 2933700"/>
              <a:gd name="connsiteY145" fmla="*/ 239991 h 2463507"/>
              <a:gd name="connsiteX146" fmla="*/ 154299 w 2933700"/>
              <a:gd name="connsiteY146" fmla="*/ 228956 h 2463507"/>
              <a:gd name="connsiteX147" fmla="*/ 158657 w 2933700"/>
              <a:gd name="connsiteY147" fmla="*/ 223124 h 2463507"/>
              <a:gd name="connsiteX148" fmla="*/ 165813 w 2933700"/>
              <a:gd name="connsiteY148" fmla="*/ 215125 h 2463507"/>
              <a:gd name="connsiteX149" fmla="*/ 180069 w 2933700"/>
              <a:gd name="connsiteY149" fmla="*/ 198003 h 2463507"/>
              <a:gd name="connsiteX150" fmla="*/ 191707 w 2933700"/>
              <a:gd name="connsiteY150" fmla="*/ 186184 h 2463507"/>
              <a:gd name="connsiteX151" fmla="*/ 197386 w 2933700"/>
              <a:gd name="connsiteY151" fmla="*/ 179838 h 2463507"/>
              <a:gd name="connsiteX152" fmla="*/ 204483 w 2933700"/>
              <a:gd name="connsiteY152" fmla="*/ 173209 h 2463507"/>
              <a:gd name="connsiteX153" fmla="*/ 218069 w 2933700"/>
              <a:gd name="connsiteY153" fmla="*/ 159414 h 2463507"/>
              <a:gd name="connsiteX154" fmla="*/ 232369 w 2933700"/>
              <a:gd name="connsiteY154" fmla="*/ 147172 h 2463507"/>
              <a:gd name="connsiteX155" fmla="*/ 239470 w 2933700"/>
              <a:gd name="connsiteY155" fmla="*/ 140541 h 2463507"/>
              <a:gd name="connsiteX156" fmla="*/ 246276 w 2933700"/>
              <a:gd name="connsiteY156" fmla="*/ 135266 h 2463507"/>
              <a:gd name="connsiteX157" fmla="*/ 258905 w 2933700"/>
              <a:gd name="connsiteY157" fmla="*/ 124455 h 2463507"/>
              <a:gd name="connsiteX158" fmla="*/ 276069 w 2933700"/>
              <a:gd name="connsiteY158" fmla="*/ 112174 h 2463507"/>
              <a:gd name="connsiteX159" fmla="*/ 284657 w 2933700"/>
              <a:gd name="connsiteY159" fmla="*/ 105518 h 2463507"/>
              <a:gd name="connsiteX160" fmla="*/ 290963 w 2933700"/>
              <a:gd name="connsiteY160" fmla="*/ 101518 h 2463507"/>
              <a:gd name="connsiteX161" fmla="*/ 302368 w 2933700"/>
              <a:gd name="connsiteY161" fmla="*/ 93357 h 2463507"/>
              <a:gd name="connsiteX162" fmla="*/ 322603 w 2933700"/>
              <a:gd name="connsiteY162" fmla="*/ 81449 h 2463507"/>
              <a:gd name="connsiteX163" fmla="*/ 332694 w 2933700"/>
              <a:gd name="connsiteY163" fmla="*/ 75047 h 2463507"/>
              <a:gd name="connsiteX164" fmla="*/ 338309 w 2933700"/>
              <a:gd name="connsiteY164" fmla="*/ 72205 h 2463507"/>
              <a:gd name="connsiteX165" fmla="*/ 348251 w 2933700"/>
              <a:gd name="connsiteY165" fmla="*/ 66352 h 2463507"/>
              <a:gd name="connsiteX166" fmla="*/ 371803 w 2933700"/>
              <a:gd name="connsiteY166" fmla="*/ 55247 h 2463507"/>
              <a:gd name="connsiteX167" fmla="*/ 383330 w 2933700"/>
              <a:gd name="connsiteY167" fmla="*/ 49411 h 2463507"/>
              <a:gd name="connsiteX168" fmla="*/ 388082 w 2933700"/>
              <a:gd name="connsiteY168" fmla="*/ 47570 h 2463507"/>
              <a:gd name="connsiteX169" fmla="*/ 396345 w 2933700"/>
              <a:gd name="connsiteY169" fmla="*/ 43673 h 2463507"/>
              <a:gd name="connsiteX170" fmla="*/ 423579 w 2933700"/>
              <a:gd name="connsiteY170" fmla="*/ 33819 h 2463507"/>
              <a:gd name="connsiteX171" fmla="*/ 436308 w 2933700"/>
              <a:gd name="connsiteY171" fmla="*/ 28889 h 2463507"/>
              <a:gd name="connsiteX172" fmla="*/ 440042 w 2933700"/>
              <a:gd name="connsiteY172" fmla="*/ 27863 h 2463507"/>
              <a:gd name="connsiteX173" fmla="*/ 446442 w 2933700"/>
              <a:gd name="connsiteY173" fmla="*/ 25548 h 2463507"/>
              <a:gd name="connsiteX174" fmla="*/ 478073 w 2933700"/>
              <a:gd name="connsiteY174" fmla="*/ 17419 h 2463507"/>
              <a:gd name="connsiteX175" fmla="*/ 491380 w 2933700"/>
              <a:gd name="connsiteY175" fmla="*/ 13763 h 2463507"/>
              <a:gd name="connsiteX176" fmla="*/ 493956 w 2933700"/>
              <a:gd name="connsiteY176" fmla="*/ 13335 h 2463507"/>
              <a:gd name="connsiteX177" fmla="*/ 498333 w 2933700"/>
              <a:gd name="connsiteY177" fmla="*/ 12211 h 2463507"/>
              <a:gd name="connsiteX178" fmla="*/ 536385 w 2933700"/>
              <a:gd name="connsiteY178" fmla="*/ 6291 h 2463507"/>
              <a:gd name="connsiteX179" fmla="*/ 548287 w 2933700"/>
              <a:gd name="connsiteY179" fmla="*/ 4316 h 2463507"/>
              <a:gd name="connsiteX180" fmla="*/ 549541 w 2933700"/>
              <a:gd name="connsiteY180" fmla="*/ 4245 h 2463507"/>
              <a:gd name="connsiteX181" fmla="*/ 551810 w 2933700"/>
              <a:gd name="connsiteY181" fmla="*/ 3892 h 2463507"/>
              <a:gd name="connsiteX182" fmla="*/ 578200 w 2933700"/>
              <a:gd name="connsiteY182" fmla="*/ 2505 h 2463507"/>
              <a:gd name="connsiteX183" fmla="*/ 578200 w 2933700"/>
              <a:gd name="connsiteY183" fmla="*/ 812 h 2463507"/>
              <a:gd name="connsiteX184" fmla="*/ 602533 w 2933700"/>
              <a:gd name="connsiteY184" fmla="*/ 812 h 2463507"/>
              <a:gd name="connsiteX185" fmla="*/ 610365 w 2933700"/>
              <a:gd name="connsiteY185" fmla="*/ 812 h 2463507"/>
              <a:gd name="connsiteX186" fmla="*/ 610548 w 2933700"/>
              <a:gd name="connsiteY186" fmla="*/ 812 h 2463507"/>
              <a:gd name="connsiteX187" fmla="*/ 610548 w 2933700"/>
              <a:gd name="connsiteY187" fmla="*/ 1 h 2463507"/>
              <a:gd name="connsiteX188" fmla="*/ 677230 w 2933700"/>
              <a:gd name="connsiteY188" fmla="*/ 1 h 2463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2933700" h="2463507">
                <a:moveTo>
                  <a:pt x="677230" y="0"/>
                </a:moveTo>
                <a:lnTo>
                  <a:pt x="910198" y="0"/>
                </a:lnTo>
                <a:lnTo>
                  <a:pt x="938962" y="0"/>
                </a:lnTo>
                <a:lnTo>
                  <a:pt x="956411" y="0"/>
                </a:lnTo>
                <a:lnTo>
                  <a:pt x="1051743" y="0"/>
                </a:lnTo>
                <a:lnTo>
                  <a:pt x="1062768" y="0"/>
                </a:lnTo>
                <a:lnTo>
                  <a:pt x="1204313" y="0"/>
                </a:lnTo>
                <a:lnTo>
                  <a:pt x="1268308" y="0"/>
                </a:lnTo>
                <a:lnTo>
                  <a:pt x="1598724" y="0"/>
                </a:lnTo>
                <a:lnTo>
                  <a:pt x="1616172" y="0"/>
                </a:lnTo>
                <a:lnTo>
                  <a:pt x="1722529" y="0"/>
                </a:lnTo>
                <a:lnTo>
                  <a:pt x="1751294" y="0"/>
                </a:lnTo>
                <a:lnTo>
                  <a:pt x="1768742" y="0"/>
                </a:lnTo>
                <a:lnTo>
                  <a:pt x="1864074" y="0"/>
                </a:lnTo>
                <a:lnTo>
                  <a:pt x="1928069" y="0"/>
                </a:lnTo>
                <a:lnTo>
                  <a:pt x="2080639" y="0"/>
                </a:lnTo>
                <a:lnTo>
                  <a:pt x="2256470" y="0"/>
                </a:lnTo>
                <a:lnTo>
                  <a:pt x="2256470" y="1"/>
                </a:lnTo>
                <a:lnTo>
                  <a:pt x="2323152" y="1"/>
                </a:lnTo>
                <a:lnTo>
                  <a:pt x="2355498" y="1"/>
                </a:lnTo>
                <a:lnTo>
                  <a:pt x="2933700" y="1"/>
                </a:lnTo>
                <a:lnTo>
                  <a:pt x="2933700" y="678959"/>
                </a:lnTo>
                <a:lnTo>
                  <a:pt x="2933700" y="1098732"/>
                </a:lnTo>
                <a:lnTo>
                  <a:pt x="2933700" y="1364768"/>
                </a:lnTo>
                <a:lnTo>
                  <a:pt x="2933700" y="1777698"/>
                </a:lnTo>
                <a:lnTo>
                  <a:pt x="2933700" y="1784134"/>
                </a:lnTo>
                <a:lnTo>
                  <a:pt x="2933700" y="1784534"/>
                </a:lnTo>
                <a:lnTo>
                  <a:pt x="2933700" y="1784541"/>
                </a:lnTo>
                <a:lnTo>
                  <a:pt x="2933700" y="1784547"/>
                </a:lnTo>
                <a:lnTo>
                  <a:pt x="2933700" y="1816401"/>
                </a:lnTo>
                <a:lnTo>
                  <a:pt x="2932325" y="1816401"/>
                </a:lnTo>
                <a:lnTo>
                  <a:pt x="2930926" y="1849232"/>
                </a:lnTo>
                <a:lnTo>
                  <a:pt x="2930669" y="1851224"/>
                </a:lnTo>
                <a:lnTo>
                  <a:pt x="2930549" y="1853877"/>
                </a:lnTo>
                <a:cubicBezTo>
                  <a:pt x="2926886" y="1893951"/>
                  <a:pt x="2920084" y="1932994"/>
                  <a:pt x="2910418" y="1970697"/>
                </a:cubicBezTo>
                <a:lnTo>
                  <a:pt x="2909594" y="1973444"/>
                </a:lnTo>
                <a:lnTo>
                  <a:pt x="2909492" y="1973919"/>
                </a:lnTo>
                <a:lnTo>
                  <a:pt x="2908041" y="1978634"/>
                </a:lnTo>
                <a:lnTo>
                  <a:pt x="2893806" y="2026206"/>
                </a:lnTo>
                <a:lnTo>
                  <a:pt x="2891908" y="2031089"/>
                </a:lnTo>
                <a:lnTo>
                  <a:pt x="2891338" y="2032946"/>
                </a:lnTo>
                <a:lnTo>
                  <a:pt x="2887290" y="2042979"/>
                </a:lnTo>
                <a:lnTo>
                  <a:pt x="2873108" y="2079476"/>
                </a:lnTo>
                <a:lnTo>
                  <a:pt x="2869812" y="2086287"/>
                </a:lnTo>
                <a:lnTo>
                  <a:pt x="2868564" y="2089386"/>
                </a:lnTo>
                <a:lnTo>
                  <a:pt x="2863048" y="2100273"/>
                </a:lnTo>
                <a:lnTo>
                  <a:pt x="2848535" y="2130271"/>
                </a:lnTo>
                <a:lnTo>
                  <a:pt x="2843543" y="2138772"/>
                </a:lnTo>
                <a:lnTo>
                  <a:pt x="2841421" y="2142959"/>
                </a:lnTo>
                <a:lnTo>
                  <a:pt x="2834995" y="2153326"/>
                </a:lnTo>
                <a:lnTo>
                  <a:pt x="2820292" y="2178362"/>
                </a:lnTo>
                <a:lnTo>
                  <a:pt x="2813327" y="2188281"/>
                </a:lnTo>
                <a:lnTo>
                  <a:pt x="2810163" y="2193387"/>
                </a:lnTo>
                <a:lnTo>
                  <a:pt x="2803216" y="2202682"/>
                </a:lnTo>
                <a:lnTo>
                  <a:pt x="2788588" y="2223518"/>
                </a:lnTo>
                <a:lnTo>
                  <a:pt x="2779400" y="2234553"/>
                </a:lnTo>
                <a:lnTo>
                  <a:pt x="2775043" y="2240384"/>
                </a:lnTo>
                <a:lnTo>
                  <a:pt x="2767888" y="2248382"/>
                </a:lnTo>
                <a:lnTo>
                  <a:pt x="2753631" y="2265505"/>
                </a:lnTo>
                <a:lnTo>
                  <a:pt x="2741992" y="2277323"/>
                </a:lnTo>
                <a:lnTo>
                  <a:pt x="2736314" y="2283671"/>
                </a:lnTo>
                <a:lnTo>
                  <a:pt x="2729216" y="2290299"/>
                </a:lnTo>
                <a:lnTo>
                  <a:pt x="2715632" y="2304095"/>
                </a:lnTo>
                <a:lnTo>
                  <a:pt x="2701330" y="2316337"/>
                </a:lnTo>
                <a:lnTo>
                  <a:pt x="2694230" y="2322966"/>
                </a:lnTo>
                <a:lnTo>
                  <a:pt x="2687423" y="2328243"/>
                </a:lnTo>
                <a:lnTo>
                  <a:pt x="2674795" y="2339053"/>
                </a:lnTo>
                <a:lnTo>
                  <a:pt x="2657631" y="2351333"/>
                </a:lnTo>
                <a:lnTo>
                  <a:pt x="2649042" y="2357991"/>
                </a:lnTo>
                <a:lnTo>
                  <a:pt x="2642737" y="2361990"/>
                </a:lnTo>
                <a:lnTo>
                  <a:pt x="2631332" y="2370151"/>
                </a:lnTo>
                <a:lnTo>
                  <a:pt x="2611097" y="2382059"/>
                </a:lnTo>
                <a:lnTo>
                  <a:pt x="2601006" y="2388462"/>
                </a:lnTo>
                <a:lnTo>
                  <a:pt x="2595390" y="2391304"/>
                </a:lnTo>
                <a:lnTo>
                  <a:pt x="2585449" y="2397156"/>
                </a:lnTo>
                <a:lnTo>
                  <a:pt x="2561897" y="2408262"/>
                </a:lnTo>
                <a:lnTo>
                  <a:pt x="2550370" y="2414098"/>
                </a:lnTo>
                <a:lnTo>
                  <a:pt x="2545618" y="2415939"/>
                </a:lnTo>
                <a:lnTo>
                  <a:pt x="2537355" y="2419835"/>
                </a:lnTo>
                <a:lnTo>
                  <a:pt x="2510121" y="2429690"/>
                </a:lnTo>
                <a:lnTo>
                  <a:pt x="2497390" y="2434620"/>
                </a:lnTo>
                <a:lnTo>
                  <a:pt x="2493658" y="2435645"/>
                </a:lnTo>
                <a:lnTo>
                  <a:pt x="2487258" y="2437960"/>
                </a:lnTo>
                <a:lnTo>
                  <a:pt x="2455627" y="2446089"/>
                </a:lnTo>
                <a:lnTo>
                  <a:pt x="2442320" y="2449745"/>
                </a:lnTo>
                <a:lnTo>
                  <a:pt x="2439743" y="2450173"/>
                </a:lnTo>
                <a:lnTo>
                  <a:pt x="2435367" y="2451298"/>
                </a:lnTo>
                <a:lnTo>
                  <a:pt x="2397316" y="2457216"/>
                </a:lnTo>
                <a:lnTo>
                  <a:pt x="2385413" y="2459193"/>
                </a:lnTo>
                <a:lnTo>
                  <a:pt x="2384160" y="2459263"/>
                </a:lnTo>
                <a:lnTo>
                  <a:pt x="2381890" y="2459615"/>
                </a:lnTo>
                <a:lnTo>
                  <a:pt x="2355498" y="2461003"/>
                </a:lnTo>
                <a:lnTo>
                  <a:pt x="2355498" y="2462696"/>
                </a:lnTo>
                <a:lnTo>
                  <a:pt x="2331166" y="2462696"/>
                </a:lnTo>
                <a:lnTo>
                  <a:pt x="2323335" y="2462696"/>
                </a:lnTo>
                <a:lnTo>
                  <a:pt x="2323152" y="2462696"/>
                </a:lnTo>
                <a:lnTo>
                  <a:pt x="2323151" y="2462696"/>
                </a:lnTo>
                <a:lnTo>
                  <a:pt x="2323151" y="2463507"/>
                </a:lnTo>
                <a:lnTo>
                  <a:pt x="2060750" y="2463507"/>
                </a:lnTo>
                <a:lnTo>
                  <a:pt x="2036578" y="2463507"/>
                </a:lnTo>
                <a:lnTo>
                  <a:pt x="2036578" y="2463506"/>
                </a:lnTo>
                <a:lnTo>
                  <a:pt x="1751294" y="2463506"/>
                </a:lnTo>
                <a:lnTo>
                  <a:pt x="1609747" y="2463506"/>
                </a:lnTo>
                <a:lnTo>
                  <a:pt x="1598723" y="2463506"/>
                </a:lnTo>
                <a:lnTo>
                  <a:pt x="1457178" y="2463506"/>
                </a:lnTo>
                <a:lnTo>
                  <a:pt x="1401748" y="2463506"/>
                </a:lnTo>
                <a:lnTo>
                  <a:pt x="1401748" y="2463507"/>
                </a:lnTo>
                <a:lnTo>
                  <a:pt x="610548" y="2463507"/>
                </a:lnTo>
                <a:lnTo>
                  <a:pt x="578200" y="2463507"/>
                </a:lnTo>
                <a:lnTo>
                  <a:pt x="0" y="2463507"/>
                </a:lnTo>
                <a:lnTo>
                  <a:pt x="0" y="1784548"/>
                </a:lnTo>
                <a:lnTo>
                  <a:pt x="0" y="1364777"/>
                </a:lnTo>
                <a:lnTo>
                  <a:pt x="0" y="1098741"/>
                </a:lnTo>
                <a:lnTo>
                  <a:pt x="0" y="1098740"/>
                </a:lnTo>
                <a:lnTo>
                  <a:pt x="0" y="1098739"/>
                </a:lnTo>
                <a:lnTo>
                  <a:pt x="0" y="685811"/>
                </a:lnTo>
                <a:lnTo>
                  <a:pt x="0" y="679373"/>
                </a:lnTo>
                <a:lnTo>
                  <a:pt x="0" y="678974"/>
                </a:lnTo>
                <a:lnTo>
                  <a:pt x="0" y="678967"/>
                </a:lnTo>
                <a:lnTo>
                  <a:pt x="0" y="678962"/>
                </a:lnTo>
                <a:lnTo>
                  <a:pt x="0" y="647108"/>
                </a:lnTo>
                <a:lnTo>
                  <a:pt x="1375" y="647108"/>
                </a:lnTo>
                <a:lnTo>
                  <a:pt x="2774" y="614276"/>
                </a:lnTo>
                <a:lnTo>
                  <a:pt x="3031" y="612285"/>
                </a:lnTo>
                <a:lnTo>
                  <a:pt x="3151" y="609630"/>
                </a:lnTo>
                <a:cubicBezTo>
                  <a:pt x="6813" y="569557"/>
                  <a:pt x="13618" y="530515"/>
                  <a:pt x="23283" y="492812"/>
                </a:cubicBezTo>
                <a:lnTo>
                  <a:pt x="24106" y="490063"/>
                </a:lnTo>
                <a:lnTo>
                  <a:pt x="24208" y="489589"/>
                </a:lnTo>
                <a:lnTo>
                  <a:pt x="25658" y="484874"/>
                </a:lnTo>
                <a:lnTo>
                  <a:pt x="39895" y="437302"/>
                </a:lnTo>
                <a:lnTo>
                  <a:pt x="41793" y="432419"/>
                </a:lnTo>
                <a:lnTo>
                  <a:pt x="42363" y="430563"/>
                </a:lnTo>
                <a:lnTo>
                  <a:pt x="46410" y="420529"/>
                </a:lnTo>
                <a:lnTo>
                  <a:pt x="60591" y="384033"/>
                </a:lnTo>
                <a:lnTo>
                  <a:pt x="63886" y="377222"/>
                </a:lnTo>
                <a:lnTo>
                  <a:pt x="65138" y="374121"/>
                </a:lnTo>
                <a:lnTo>
                  <a:pt x="70652" y="363236"/>
                </a:lnTo>
                <a:lnTo>
                  <a:pt x="85165" y="333237"/>
                </a:lnTo>
                <a:lnTo>
                  <a:pt x="90158" y="324736"/>
                </a:lnTo>
                <a:lnTo>
                  <a:pt x="92280" y="320549"/>
                </a:lnTo>
                <a:lnTo>
                  <a:pt x="98706" y="310181"/>
                </a:lnTo>
                <a:lnTo>
                  <a:pt x="113408" y="285147"/>
                </a:lnTo>
                <a:lnTo>
                  <a:pt x="120373" y="275227"/>
                </a:lnTo>
                <a:lnTo>
                  <a:pt x="123537" y="270121"/>
                </a:lnTo>
                <a:lnTo>
                  <a:pt x="130484" y="260827"/>
                </a:lnTo>
                <a:lnTo>
                  <a:pt x="145113" y="239991"/>
                </a:lnTo>
                <a:lnTo>
                  <a:pt x="154299" y="228956"/>
                </a:lnTo>
                <a:lnTo>
                  <a:pt x="158657" y="223124"/>
                </a:lnTo>
                <a:lnTo>
                  <a:pt x="165813" y="215125"/>
                </a:lnTo>
                <a:lnTo>
                  <a:pt x="180069" y="198003"/>
                </a:lnTo>
                <a:lnTo>
                  <a:pt x="191707" y="186184"/>
                </a:lnTo>
                <a:lnTo>
                  <a:pt x="197386" y="179838"/>
                </a:lnTo>
                <a:lnTo>
                  <a:pt x="204483" y="173209"/>
                </a:lnTo>
                <a:lnTo>
                  <a:pt x="218069" y="159414"/>
                </a:lnTo>
                <a:lnTo>
                  <a:pt x="232369" y="147172"/>
                </a:lnTo>
                <a:lnTo>
                  <a:pt x="239470" y="140541"/>
                </a:lnTo>
                <a:lnTo>
                  <a:pt x="246276" y="135266"/>
                </a:lnTo>
                <a:lnTo>
                  <a:pt x="258905" y="124455"/>
                </a:lnTo>
                <a:lnTo>
                  <a:pt x="276069" y="112174"/>
                </a:lnTo>
                <a:lnTo>
                  <a:pt x="284657" y="105518"/>
                </a:lnTo>
                <a:lnTo>
                  <a:pt x="290963" y="101518"/>
                </a:lnTo>
                <a:lnTo>
                  <a:pt x="302368" y="93357"/>
                </a:lnTo>
                <a:lnTo>
                  <a:pt x="322603" y="81449"/>
                </a:lnTo>
                <a:lnTo>
                  <a:pt x="332694" y="75047"/>
                </a:lnTo>
                <a:lnTo>
                  <a:pt x="338309" y="72205"/>
                </a:lnTo>
                <a:lnTo>
                  <a:pt x="348251" y="66352"/>
                </a:lnTo>
                <a:lnTo>
                  <a:pt x="371803" y="55247"/>
                </a:lnTo>
                <a:lnTo>
                  <a:pt x="383330" y="49411"/>
                </a:lnTo>
                <a:lnTo>
                  <a:pt x="388082" y="47570"/>
                </a:lnTo>
                <a:lnTo>
                  <a:pt x="396345" y="43673"/>
                </a:lnTo>
                <a:lnTo>
                  <a:pt x="423579" y="33819"/>
                </a:lnTo>
                <a:lnTo>
                  <a:pt x="436308" y="28889"/>
                </a:lnTo>
                <a:lnTo>
                  <a:pt x="440042" y="27863"/>
                </a:lnTo>
                <a:lnTo>
                  <a:pt x="446442" y="25548"/>
                </a:lnTo>
                <a:lnTo>
                  <a:pt x="478073" y="17419"/>
                </a:lnTo>
                <a:lnTo>
                  <a:pt x="491380" y="13763"/>
                </a:lnTo>
                <a:lnTo>
                  <a:pt x="493956" y="13335"/>
                </a:lnTo>
                <a:lnTo>
                  <a:pt x="498333" y="12211"/>
                </a:lnTo>
                <a:lnTo>
                  <a:pt x="536385" y="6291"/>
                </a:lnTo>
                <a:lnTo>
                  <a:pt x="548287" y="4316"/>
                </a:lnTo>
                <a:lnTo>
                  <a:pt x="549541" y="4245"/>
                </a:lnTo>
                <a:lnTo>
                  <a:pt x="551810" y="3892"/>
                </a:lnTo>
                <a:lnTo>
                  <a:pt x="578200" y="2505"/>
                </a:lnTo>
                <a:lnTo>
                  <a:pt x="578200" y="812"/>
                </a:lnTo>
                <a:lnTo>
                  <a:pt x="602533" y="812"/>
                </a:lnTo>
                <a:lnTo>
                  <a:pt x="610365" y="812"/>
                </a:lnTo>
                <a:lnTo>
                  <a:pt x="610548" y="812"/>
                </a:lnTo>
                <a:lnTo>
                  <a:pt x="610548" y="1"/>
                </a:lnTo>
                <a:lnTo>
                  <a:pt x="677230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3D31FDA-CDE4-41E7-8D86-84A0549650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2457" y="353390"/>
            <a:ext cx="4443789" cy="2984238"/>
          </a:xfrm>
          <a:custGeom>
            <a:avLst/>
            <a:gdLst>
              <a:gd name="connsiteX0" fmla="*/ 0 w 4443789"/>
              <a:gd name="connsiteY0" fmla="*/ 0 h 2984238"/>
              <a:gd name="connsiteX1" fmla="*/ 600036 w 4443789"/>
              <a:gd name="connsiteY1" fmla="*/ 0 h 2984238"/>
              <a:gd name="connsiteX2" fmla="*/ 633604 w 4443789"/>
              <a:gd name="connsiteY2" fmla="*/ 0 h 2984238"/>
              <a:gd name="connsiteX3" fmla="*/ 1454682 w 4443789"/>
              <a:gd name="connsiteY3" fmla="*/ 0 h 2984238"/>
              <a:gd name="connsiteX4" fmla="*/ 2203288 w 4443789"/>
              <a:gd name="connsiteY4" fmla="*/ 0 h 2984238"/>
              <a:gd name="connsiteX5" fmla="*/ 2475597 w 4443789"/>
              <a:gd name="connsiteY5" fmla="*/ 0 h 2984238"/>
              <a:gd name="connsiteX6" fmla="*/ 2496805 w 4443789"/>
              <a:gd name="connsiteY6" fmla="*/ 0 h 2984238"/>
              <a:gd name="connsiteX7" fmla="*/ 2769115 w 4443789"/>
              <a:gd name="connsiteY7" fmla="*/ 0 h 2984238"/>
              <a:gd name="connsiteX8" fmla="*/ 3512790 w 4443789"/>
              <a:gd name="connsiteY8" fmla="*/ 0 h 2984238"/>
              <a:gd name="connsiteX9" fmla="*/ 3537876 w 4443789"/>
              <a:gd name="connsiteY9" fmla="*/ 0 h 2984238"/>
              <a:gd name="connsiteX10" fmla="*/ 3740986 w 4443789"/>
              <a:gd name="connsiteY10" fmla="*/ 0 h 2984238"/>
              <a:gd name="connsiteX11" fmla="*/ 3810185 w 4443789"/>
              <a:gd name="connsiteY11" fmla="*/ 0 h 2984238"/>
              <a:gd name="connsiteX12" fmla="*/ 3810185 w 4443789"/>
              <a:gd name="connsiteY12" fmla="*/ 832 h 2984238"/>
              <a:gd name="connsiteX13" fmla="*/ 3810186 w 4443789"/>
              <a:gd name="connsiteY13" fmla="*/ 832 h 2984238"/>
              <a:gd name="connsiteX14" fmla="*/ 3810375 w 4443789"/>
              <a:gd name="connsiteY14" fmla="*/ 832 h 2984238"/>
              <a:gd name="connsiteX15" fmla="*/ 3818503 w 4443789"/>
              <a:gd name="connsiteY15" fmla="*/ 832 h 2984238"/>
              <a:gd name="connsiteX16" fmla="*/ 3843754 w 4443789"/>
              <a:gd name="connsiteY16" fmla="*/ 832 h 2984238"/>
              <a:gd name="connsiteX17" fmla="*/ 3843754 w 4443789"/>
              <a:gd name="connsiteY17" fmla="*/ 2567 h 2984238"/>
              <a:gd name="connsiteX18" fmla="*/ 3871142 w 4443789"/>
              <a:gd name="connsiteY18" fmla="*/ 3990 h 2984238"/>
              <a:gd name="connsiteX19" fmla="*/ 3873498 w 4443789"/>
              <a:gd name="connsiteY19" fmla="*/ 4352 h 2984238"/>
              <a:gd name="connsiteX20" fmla="*/ 3874797 w 4443789"/>
              <a:gd name="connsiteY20" fmla="*/ 4423 h 2984238"/>
              <a:gd name="connsiteX21" fmla="*/ 3887149 w 4443789"/>
              <a:gd name="connsiteY21" fmla="*/ 6450 h 2984238"/>
              <a:gd name="connsiteX22" fmla="*/ 3926638 w 4443789"/>
              <a:gd name="connsiteY22" fmla="*/ 12518 h 2984238"/>
              <a:gd name="connsiteX23" fmla="*/ 3931179 w 4443789"/>
              <a:gd name="connsiteY23" fmla="*/ 13671 h 2984238"/>
              <a:gd name="connsiteX24" fmla="*/ 3933854 w 4443789"/>
              <a:gd name="connsiteY24" fmla="*/ 14110 h 2984238"/>
              <a:gd name="connsiteX25" fmla="*/ 3947663 w 4443789"/>
              <a:gd name="connsiteY25" fmla="*/ 17858 h 2984238"/>
              <a:gd name="connsiteX26" fmla="*/ 3980488 w 4443789"/>
              <a:gd name="connsiteY26" fmla="*/ 26192 h 2984238"/>
              <a:gd name="connsiteX27" fmla="*/ 3987130 w 4443789"/>
              <a:gd name="connsiteY27" fmla="*/ 28566 h 2984238"/>
              <a:gd name="connsiteX28" fmla="*/ 3991004 w 4443789"/>
              <a:gd name="connsiteY28" fmla="*/ 29617 h 2984238"/>
              <a:gd name="connsiteX29" fmla="*/ 4004215 w 4443789"/>
              <a:gd name="connsiteY29" fmla="*/ 34672 h 2984238"/>
              <a:gd name="connsiteX30" fmla="*/ 4032477 w 4443789"/>
              <a:gd name="connsiteY30" fmla="*/ 44775 h 2984238"/>
              <a:gd name="connsiteX31" fmla="*/ 4041053 w 4443789"/>
              <a:gd name="connsiteY31" fmla="*/ 48770 h 2984238"/>
              <a:gd name="connsiteX32" fmla="*/ 4045984 w 4443789"/>
              <a:gd name="connsiteY32" fmla="*/ 50657 h 2984238"/>
              <a:gd name="connsiteX33" fmla="*/ 4057946 w 4443789"/>
              <a:gd name="connsiteY33" fmla="*/ 56640 h 2984238"/>
              <a:gd name="connsiteX34" fmla="*/ 4082388 w 4443789"/>
              <a:gd name="connsiteY34" fmla="*/ 68027 h 2984238"/>
              <a:gd name="connsiteX35" fmla="*/ 4092704 w 4443789"/>
              <a:gd name="connsiteY35" fmla="*/ 74027 h 2984238"/>
              <a:gd name="connsiteX36" fmla="*/ 4098531 w 4443789"/>
              <a:gd name="connsiteY36" fmla="*/ 76941 h 2984238"/>
              <a:gd name="connsiteX37" fmla="*/ 4109004 w 4443789"/>
              <a:gd name="connsiteY37" fmla="*/ 83505 h 2984238"/>
              <a:gd name="connsiteX38" fmla="*/ 4130002 w 4443789"/>
              <a:gd name="connsiteY38" fmla="*/ 95714 h 2984238"/>
              <a:gd name="connsiteX39" fmla="*/ 4141839 w 4443789"/>
              <a:gd name="connsiteY39" fmla="*/ 104081 h 2984238"/>
              <a:gd name="connsiteX40" fmla="*/ 4148382 w 4443789"/>
              <a:gd name="connsiteY40" fmla="*/ 108181 h 2984238"/>
              <a:gd name="connsiteX41" fmla="*/ 4157295 w 4443789"/>
              <a:gd name="connsiteY41" fmla="*/ 115007 h 2984238"/>
              <a:gd name="connsiteX42" fmla="*/ 4175107 w 4443789"/>
              <a:gd name="connsiteY42" fmla="*/ 127597 h 2984238"/>
              <a:gd name="connsiteX43" fmla="*/ 4188212 w 4443789"/>
              <a:gd name="connsiteY43" fmla="*/ 138681 h 2984238"/>
              <a:gd name="connsiteX44" fmla="*/ 4195276 w 4443789"/>
              <a:gd name="connsiteY44" fmla="*/ 144090 h 2984238"/>
              <a:gd name="connsiteX45" fmla="*/ 4202645 w 4443789"/>
              <a:gd name="connsiteY45" fmla="*/ 150888 h 2984238"/>
              <a:gd name="connsiteX46" fmla="*/ 4217486 w 4443789"/>
              <a:gd name="connsiteY46" fmla="*/ 163439 h 2984238"/>
              <a:gd name="connsiteX47" fmla="*/ 4231582 w 4443789"/>
              <a:gd name="connsiteY47" fmla="*/ 177583 h 2984238"/>
              <a:gd name="connsiteX48" fmla="*/ 4238950 w 4443789"/>
              <a:gd name="connsiteY48" fmla="*/ 184379 h 2984238"/>
              <a:gd name="connsiteX49" fmla="*/ 4244842 w 4443789"/>
              <a:gd name="connsiteY49" fmla="*/ 190886 h 2984238"/>
              <a:gd name="connsiteX50" fmla="*/ 4256920 w 4443789"/>
              <a:gd name="connsiteY50" fmla="*/ 203004 h 2984238"/>
              <a:gd name="connsiteX51" fmla="*/ 4271715 w 4443789"/>
              <a:gd name="connsiteY51" fmla="*/ 220559 h 2984238"/>
              <a:gd name="connsiteX52" fmla="*/ 4279140 w 4443789"/>
              <a:gd name="connsiteY52" fmla="*/ 228759 h 2984238"/>
              <a:gd name="connsiteX53" fmla="*/ 4283662 w 4443789"/>
              <a:gd name="connsiteY53" fmla="*/ 234737 h 2984238"/>
              <a:gd name="connsiteX54" fmla="*/ 4293198 w 4443789"/>
              <a:gd name="connsiteY54" fmla="*/ 246051 h 2984238"/>
              <a:gd name="connsiteX55" fmla="*/ 4308376 w 4443789"/>
              <a:gd name="connsiteY55" fmla="*/ 267413 h 2984238"/>
              <a:gd name="connsiteX56" fmla="*/ 4315586 w 4443789"/>
              <a:gd name="connsiteY56" fmla="*/ 276943 h 2984238"/>
              <a:gd name="connsiteX57" fmla="*/ 4318870 w 4443789"/>
              <a:gd name="connsiteY57" fmla="*/ 282177 h 2984238"/>
              <a:gd name="connsiteX58" fmla="*/ 4326098 w 4443789"/>
              <a:gd name="connsiteY58" fmla="*/ 292347 h 2984238"/>
              <a:gd name="connsiteX59" fmla="*/ 4341356 w 4443789"/>
              <a:gd name="connsiteY59" fmla="*/ 318015 h 2984238"/>
              <a:gd name="connsiteX60" fmla="*/ 4348025 w 4443789"/>
              <a:gd name="connsiteY60" fmla="*/ 328644 h 2984238"/>
              <a:gd name="connsiteX61" fmla="*/ 4350227 w 4443789"/>
              <a:gd name="connsiteY61" fmla="*/ 332936 h 2984238"/>
              <a:gd name="connsiteX62" fmla="*/ 4355408 w 4443789"/>
              <a:gd name="connsiteY62" fmla="*/ 341652 h 2984238"/>
              <a:gd name="connsiteX63" fmla="*/ 4370469 w 4443789"/>
              <a:gd name="connsiteY63" fmla="*/ 372409 h 2984238"/>
              <a:gd name="connsiteX64" fmla="*/ 4376192 w 4443789"/>
              <a:gd name="connsiteY64" fmla="*/ 383570 h 2984238"/>
              <a:gd name="connsiteX65" fmla="*/ 4377489 w 4443789"/>
              <a:gd name="connsiteY65" fmla="*/ 386748 h 2984238"/>
              <a:gd name="connsiteX66" fmla="*/ 4380909 w 4443789"/>
              <a:gd name="connsiteY66" fmla="*/ 393731 h 2984238"/>
              <a:gd name="connsiteX67" fmla="*/ 4395626 w 4443789"/>
              <a:gd name="connsiteY67" fmla="*/ 431150 h 2984238"/>
              <a:gd name="connsiteX68" fmla="*/ 4399828 w 4443789"/>
              <a:gd name="connsiteY68" fmla="*/ 441436 h 2984238"/>
              <a:gd name="connsiteX69" fmla="*/ 4400420 w 4443789"/>
              <a:gd name="connsiteY69" fmla="*/ 443339 h 2984238"/>
              <a:gd name="connsiteX70" fmla="*/ 4402388 w 4443789"/>
              <a:gd name="connsiteY70" fmla="*/ 448347 h 2984238"/>
              <a:gd name="connsiteX71" fmla="*/ 4417161 w 4443789"/>
              <a:gd name="connsiteY71" fmla="*/ 497120 h 2984238"/>
              <a:gd name="connsiteX72" fmla="*/ 4418667 w 4443789"/>
              <a:gd name="connsiteY72" fmla="*/ 501954 h 2984238"/>
              <a:gd name="connsiteX73" fmla="*/ 4418772 w 4443789"/>
              <a:gd name="connsiteY73" fmla="*/ 502440 h 2984238"/>
              <a:gd name="connsiteX74" fmla="*/ 4419628 w 4443789"/>
              <a:gd name="connsiteY74" fmla="*/ 505257 h 2984238"/>
              <a:gd name="connsiteX75" fmla="*/ 4440518 w 4443789"/>
              <a:gd name="connsiteY75" fmla="*/ 625027 h 2984238"/>
              <a:gd name="connsiteX76" fmla="*/ 4440644 w 4443789"/>
              <a:gd name="connsiteY76" fmla="*/ 627748 h 2984238"/>
              <a:gd name="connsiteX77" fmla="*/ 4440910 w 4443789"/>
              <a:gd name="connsiteY77" fmla="*/ 629790 h 2984238"/>
              <a:gd name="connsiteX78" fmla="*/ 4442362 w 4443789"/>
              <a:gd name="connsiteY78" fmla="*/ 663451 h 2984238"/>
              <a:gd name="connsiteX79" fmla="*/ 4443789 w 4443789"/>
              <a:gd name="connsiteY79" fmla="*/ 663451 h 2984238"/>
              <a:gd name="connsiteX80" fmla="*/ 4443789 w 4443789"/>
              <a:gd name="connsiteY80" fmla="*/ 696109 h 2984238"/>
              <a:gd name="connsiteX81" fmla="*/ 4443789 w 4443789"/>
              <a:gd name="connsiteY81" fmla="*/ 696115 h 2984238"/>
              <a:gd name="connsiteX82" fmla="*/ 4443789 w 4443789"/>
              <a:gd name="connsiteY82" fmla="*/ 696122 h 2984238"/>
              <a:gd name="connsiteX83" fmla="*/ 4443789 w 4443789"/>
              <a:gd name="connsiteY83" fmla="*/ 696532 h 2984238"/>
              <a:gd name="connsiteX84" fmla="*/ 4443789 w 4443789"/>
              <a:gd name="connsiteY84" fmla="*/ 703132 h 2984238"/>
              <a:gd name="connsiteX85" fmla="*/ 4443789 w 4443789"/>
              <a:gd name="connsiteY85" fmla="*/ 1121961 h 2984238"/>
              <a:gd name="connsiteX86" fmla="*/ 4443789 w 4443789"/>
              <a:gd name="connsiteY86" fmla="*/ 1126490 h 2984238"/>
              <a:gd name="connsiteX87" fmla="*/ 4443789 w 4443789"/>
              <a:gd name="connsiteY87" fmla="*/ 1154619 h 2984238"/>
              <a:gd name="connsiteX88" fmla="*/ 4443789 w 4443789"/>
              <a:gd name="connsiteY88" fmla="*/ 1154625 h 2984238"/>
              <a:gd name="connsiteX89" fmla="*/ 4443789 w 4443789"/>
              <a:gd name="connsiteY89" fmla="*/ 1154632 h 2984238"/>
              <a:gd name="connsiteX90" fmla="*/ 4443789 w 4443789"/>
              <a:gd name="connsiteY90" fmla="*/ 1155042 h 2984238"/>
              <a:gd name="connsiteX91" fmla="*/ 4443789 w 4443789"/>
              <a:gd name="connsiteY91" fmla="*/ 1161642 h 2984238"/>
              <a:gd name="connsiteX92" fmla="*/ 4443789 w 4443789"/>
              <a:gd name="connsiteY92" fmla="*/ 1399246 h 2984238"/>
              <a:gd name="connsiteX93" fmla="*/ 4443789 w 4443789"/>
              <a:gd name="connsiteY93" fmla="*/ 1585000 h 2984238"/>
              <a:gd name="connsiteX94" fmla="*/ 4443789 w 4443789"/>
              <a:gd name="connsiteY94" fmla="*/ 1829621 h 2984238"/>
              <a:gd name="connsiteX95" fmla="*/ 4443789 w 4443789"/>
              <a:gd name="connsiteY95" fmla="*/ 1857756 h 2984238"/>
              <a:gd name="connsiteX96" fmla="*/ 4443789 w 4443789"/>
              <a:gd name="connsiteY96" fmla="*/ 2288131 h 2984238"/>
              <a:gd name="connsiteX97" fmla="*/ 4443789 w 4443789"/>
              <a:gd name="connsiteY97" fmla="*/ 2525728 h 2984238"/>
              <a:gd name="connsiteX98" fmla="*/ 4443789 w 4443789"/>
              <a:gd name="connsiteY98" fmla="*/ 2984238 h 2984238"/>
              <a:gd name="connsiteX99" fmla="*/ 3843754 w 4443789"/>
              <a:gd name="connsiteY99" fmla="*/ 2984238 h 2984238"/>
              <a:gd name="connsiteX100" fmla="*/ 3810186 w 4443789"/>
              <a:gd name="connsiteY100" fmla="*/ 2984238 h 2984238"/>
              <a:gd name="connsiteX101" fmla="*/ 3740986 w 4443789"/>
              <a:gd name="connsiteY101" fmla="*/ 2984238 h 2984238"/>
              <a:gd name="connsiteX102" fmla="*/ 3512790 w 4443789"/>
              <a:gd name="connsiteY102" fmla="*/ 2984238 h 2984238"/>
              <a:gd name="connsiteX103" fmla="*/ 3402719 w 4443789"/>
              <a:gd name="connsiteY103" fmla="*/ 2984238 h 2984238"/>
              <a:gd name="connsiteX104" fmla="*/ 3109201 w 4443789"/>
              <a:gd name="connsiteY104" fmla="*/ 2984238 h 2984238"/>
              <a:gd name="connsiteX105" fmla="*/ 2986086 w 4443789"/>
              <a:gd name="connsiteY105" fmla="*/ 2984238 h 2984238"/>
              <a:gd name="connsiteX106" fmla="*/ 2802684 w 4443789"/>
              <a:gd name="connsiteY106" fmla="*/ 2984238 h 2984238"/>
              <a:gd name="connsiteX107" fmla="*/ 2769116 w 4443789"/>
              <a:gd name="connsiteY107" fmla="*/ 2984238 h 2984238"/>
              <a:gd name="connsiteX108" fmla="*/ 2713776 w 4443789"/>
              <a:gd name="connsiteY108" fmla="*/ 2984238 h 2984238"/>
              <a:gd name="connsiteX109" fmla="*/ 2509166 w 4443789"/>
              <a:gd name="connsiteY109" fmla="*/ 2984238 h 2984238"/>
              <a:gd name="connsiteX110" fmla="*/ 2475598 w 4443789"/>
              <a:gd name="connsiteY110" fmla="*/ 2984238 h 2984238"/>
              <a:gd name="connsiteX111" fmla="*/ 1839935 w 4443789"/>
              <a:gd name="connsiteY111" fmla="*/ 2984238 h 2984238"/>
              <a:gd name="connsiteX112" fmla="*/ 1716819 w 4443789"/>
              <a:gd name="connsiteY112" fmla="*/ 2984238 h 2984238"/>
              <a:gd name="connsiteX113" fmla="*/ 1454682 w 4443789"/>
              <a:gd name="connsiteY113" fmla="*/ 2984238 h 2984238"/>
              <a:gd name="connsiteX114" fmla="*/ 1444510 w 4443789"/>
              <a:gd name="connsiteY114" fmla="*/ 2984238 h 2984238"/>
              <a:gd name="connsiteX115" fmla="*/ 1423301 w 4443789"/>
              <a:gd name="connsiteY115" fmla="*/ 2984238 h 2984238"/>
              <a:gd name="connsiteX116" fmla="*/ 1239899 w 4443789"/>
              <a:gd name="connsiteY116" fmla="*/ 2984238 h 2984238"/>
              <a:gd name="connsiteX117" fmla="*/ 1206331 w 4443789"/>
              <a:gd name="connsiteY117" fmla="*/ 2984238 h 2984238"/>
              <a:gd name="connsiteX118" fmla="*/ 1150992 w 4443789"/>
              <a:gd name="connsiteY118" fmla="*/ 2984238 h 2984238"/>
              <a:gd name="connsiteX119" fmla="*/ 905913 w 4443789"/>
              <a:gd name="connsiteY119" fmla="*/ 2984238 h 2984238"/>
              <a:gd name="connsiteX120" fmla="*/ 702803 w 4443789"/>
              <a:gd name="connsiteY120" fmla="*/ 2984238 h 2984238"/>
              <a:gd name="connsiteX121" fmla="*/ 633605 w 4443789"/>
              <a:gd name="connsiteY121" fmla="*/ 2984238 h 2984238"/>
              <a:gd name="connsiteX122" fmla="*/ 633605 w 4443789"/>
              <a:gd name="connsiteY122" fmla="*/ 2983406 h 2984238"/>
              <a:gd name="connsiteX123" fmla="*/ 633604 w 4443789"/>
              <a:gd name="connsiteY123" fmla="*/ 2983406 h 2984238"/>
              <a:gd name="connsiteX124" fmla="*/ 633414 w 4443789"/>
              <a:gd name="connsiteY124" fmla="*/ 2983406 h 2984238"/>
              <a:gd name="connsiteX125" fmla="*/ 625287 w 4443789"/>
              <a:gd name="connsiteY125" fmla="*/ 2983406 h 2984238"/>
              <a:gd name="connsiteX126" fmla="*/ 600036 w 4443789"/>
              <a:gd name="connsiteY126" fmla="*/ 2983406 h 2984238"/>
              <a:gd name="connsiteX127" fmla="*/ 600036 w 4443789"/>
              <a:gd name="connsiteY127" fmla="*/ 2981671 h 2984238"/>
              <a:gd name="connsiteX128" fmla="*/ 572647 w 4443789"/>
              <a:gd name="connsiteY128" fmla="*/ 2980249 h 2984238"/>
              <a:gd name="connsiteX129" fmla="*/ 570293 w 4443789"/>
              <a:gd name="connsiteY129" fmla="*/ 2979886 h 2984238"/>
              <a:gd name="connsiteX130" fmla="*/ 568992 w 4443789"/>
              <a:gd name="connsiteY130" fmla="*/ 2979815 h 2984238"/>
              <a:gd name="connsiteX131" fmla="*/ 556640 w 4443789"/>
              <a:gd name="connsiteY131" fmla="*/ 2977788 h 2984238"/>
              <a:gd name="connsiteX132" fmla="*/ 517152 w 4443789"/>
              <a:gd name="connsiteY132" fmla="*/ 2971720 h 2984238"/>
              <a:gd name="connsiteX133" fmla="*/ 512609 w 4443789"/>
              <a:gd name="connsiteY133" fmla="*/ 2970567 h 2984238"/>
              <a:gd name="connsiteX134" fmla="*/ 509935 w 4443789"/>
              <a:gd name="connsiteY134" fmla="*/ 2970129 h 2984238"/>
              <a:gd name="connsiteX135" fmla="*/ 496126 w 4443789"/>
              <a:gd name="connsiteY135" fmla="*/ 2966380 h 2984238"/>
              <a:gd name="connsiteX136" fmla="*/ 463301 w 4443789"/>
              <a:gd name="connsiteY136" fmla="*/ 2958046 h 2984238"/>
              <a:gd name="connsiteX137" fmla="*/ 456659 w 4443789"/>
              <a:gd name="connsiteY137" fmla="*/ 2955672 h 2984238"/>
              <a:gd name="connsiteX138" fmla="*/ 452785 w 4443789"/>
              <a:gd name="connsiteY138" fmla="*/ 2954621 h 2984238"/>
              <a:gd name="connsiteX139" fmla="*/ 439575 w 4443789"/>
              <a:gd name="connsiteY139" fmla="*/ 2949567 h 2984238"/>
              <a:gd name="connsiteX140" fmla="*/ 411312 w 4443789"/>
              <a:gd name="connsiteY140" fmla="*/ 2939463 h 2984238"/>
              <a:gd name="connsiteX141" fmla="*/ 402737 w 4443789"/>
              <a:gd name="connsiteY141" fmla="*/ 2935469 h 2984238"/>
              <a:gd name="connsiteX142" fmla="*/ 397806 w 4443789"/>
              <a:gd name="connsiteY142" fmla="*/ 2933581 h 2984238"/>
              <a:gd name="connsiteX143" fmla="*/ 385843 w 4443789"/>
              <a:gd name="connsiteY143" fmla="*/ 2927598 h 2984238"/>
              <a:gd name="connsiteX144" fmla="*/ 361403 w 4443789"/>
              <a:gd name="connsiteY144" fmla="*/ 2916211 h 2984238"/>
              <a:gd name="connsiteX145" fmla="*/ 351085 w 4443789"/>
              <a:gd name="connsiteY145" fmla="*/ 2910211 h 2984238"/>
              <a:gd name="connsiteX146" fmla="*/ 345259 w 4443789"/>
              <a:gd name="connsiteY146" fmla="*/ 2907297 h 2984238"/>
              <a:gd name="connsiteX147" fmla="*/ 334785 w 4443789"/>
              <a:gd name="connsiteY147" fmla="*/ 2900733 h 2984238"/>
              <a:gd name="connsiteX148" fmla="*/ 313788 w 4443789"/>
              <a:gd name="connsiteY148" fmla="*/ 2888524 h 2984238"/>
              <a:gd name="connsiteX149" fmla="*/ 301951 w 4443789"/>
              <a:gd name="connsiteY149" fmla="*/ 2880157 h 2984238"/>
              <a:gd name="connsiteX150" fmla="*/ 295407 w 4443789"/>
              <a:gd name="connsiteY150" fmla="*/ 2876057 h 2984238"/>
              <a:gd name="connsiteX151" fmla="*/ 286494 w 4443789"/>
              <a:gd name="connsiteY151" fmla="*/ 2869231 h 2984238"/>
              <a:gd name="connsiteX152" fmla="*/ 268682 w 4443789"/>
              <a:gd name="connsiteY152" fmla="*/ 2856641 h 2984238"/>
              <a:gd name="connsiteX153" fmla="*/ 255577 w 4443789"/>
              <a:gd name="connsiteY153" fmla="*/ 2845557 h 2984238"/>
              <a:gd name="connsiteX154" fmla="*/ 248513 w 4443789"/>
              <a:gd name="connsiteY154" fmla="*/ 2840148 h 2984238"/>
              <a:gd name="connsiteX155" fmla="*/ 241144 w 4443789"/>
              <a:gd name="connsiteY155" fmla="*/ 2833351 h 2984238"/>
              <a:gd name="connsiteX156" fmla="*/ 226303 w 4443789"/>
              <a:gd name="connsiteY156" fmla="*/ 2820799 h 2984238"/>
              <a:gd name="connsiteX157" fmla="*/ 212206 w 4443789"/>
              <a:gd name="connsiteY157" fmla="*/ 2806655 h 2984238"/>
              <a:gd name="connsiteX158" fmla="*/ 204840 w 4443789"/>
              <a:gd name="connsiteY158" fmla="*/ 2799860 h 2984238"/>
              <a:gd name="connsiteX159" fmla="*/ 198946 w 4443789"/>
              <a:gd name="connsiteY159" fmla="*/ 2793352 h 2984238"/>
              <a:gd name="connsiteX160" fmla="*/ 186869 w 4443789"/>
              <a:gd name="connsiteY160" fmla="*/ 2781235 h 2984238"/>
              <a:gd name="connsiteX161" fmla="*/ 172075 w 4443789"/>
              <a:gd name="connsiteY161" fmla="*/ 2763680 h 2984238"/>
              <a:gd name="connsiteX162" fmla="*/ 164649 w 4443789"/>
              <a:gd name="connsiteY162" fmla="*/ 2755479 h 2984238"/>
              <a:gd name="connsiteX163" fmla="*/ 160126 w 4443789"/>
              <a:gd name="connsiteY163" fmla="*/ 2749501 h 2984238"/>
              <a:gd name="connsiteX164" fmla="*/ 150593 w 4443789"/>
              <a:gd name="connsiteY164" fmla="*/ 2738187 h 2984238"/>
              <a:gd name="connsiteX165" fmla="*/ 135413 w 4443789"/>
              <a:gd name="connsiteY165" fmla="*/ 2716825 h 2984238"/>
              <a:gd name="connsiteX166" fmla="*/ 128203 w 4443789"/>
              <a:gd name="connsiteY166" fmla="*/ 2707295 h 2984238"/>
              <a:gd name="connsiteX167" fmla="*/ 124919 w 4443789"/>
              <a:gd name="connsiteY167" fmla="*/ 2702060 h 2984238"/>
              <a:gd name="connsiteX168" fmla="*/ 117691 w 4443789"/>
              <a:gd name="connsiteY168" fmla="*/ 2691891 h 2984238"/>
              <a:gd name="connsiteX169" fmla="*/ 102434 w 4443789"/>
              <a:gd name="connsiteY169" fmla="*/ 2666223 h 2984238"/>
              <a:gd name="connsiteX170" fmla="*/ 95765 w 4443789"/>
              <a:gd name="connsiteY170" fmla="*/ 2655594 h 2984238"/>
              <a:gd name="connsiteX171" fmla="*/ 93563 w 4443789"/>
              <a:gd name="connsiteY171" fmla="*/ 2651301 h 2984238"/>
              <a:gd name="connsiteX172" fmla="*/ 88382 w 4443789"/>
              <a:gd name="connsiteY172" fmla="*/ 2642586 h 2984238"/>
              <a:gd name="connsiteX173" fmla="*/ 73321 w 4443789"/>
              <a:gd name="connsiteY173" fmla="*/ 2611829 h 2984238"/>
              <a:gd name="connsiteX174" fmla="*/ 67598 w 4443789"/>
              <a:gd name="connsiteY174" fmla="*/ 2600668 h 2984238"/>
              <a:gd name="connsiteX175" fmla="*/ 66299 w 4443789"/>
              <a:gd name="connsiteY175" fmla="*/ 2597490 h 2984238"/>
              <a:gd name="connsiteX176" fmla="*/ 62879 w 4443789"/>
              <a:gd name="connsiteY176" fmla="*/ 2590507 h 2984238"/>
              <a:gd name="connsiteX177" fmla="*/ 48163 w 4443789"/>
              <a:gd name="connsiteY177" fmla="*/ 2553088 h 2984238"/>
              <a:gd name="connsiteX178" fmla="*/ 43963 w 4443789"/>
              <a:gd name="connsiteY178" fmla="*/ 2542802 h 2984238"/>
              <a:gd name="connsiteX179" fmla="*/ 43371 w 4443789"/>
              <a:gd name="connsiteY179" fmla="*/ 2540899 h 2984238"/>
              <a:gd name="connsiteX180" fmla="*/ 41402 w 4443789"/>
              <a:gd name="connsiteY180" fmla="*/ 2535892 h 2984238"/>
              <a:gd name="connsiteX181" fmla="*/ 26628 w 4443789"/>
              <a:gd name="connsiteY181" fmla="*/ 2487119 h 2984238"/>
              <a:gd name="connsiteX182" fmla="*/ 25122 w 4443789"/>
              <a:gd name="connsiteY182" fmla="*/ 2482285 h 2984238"/>
              <a:gd name="connsiteX183" fmla="*/ 25017 w 4443789"/>
              <a:gd name="connsiteY183" fmla="*/ 2481798 h 2984238"/>
              <a:gd name="connsiteX184" fmla="*/ 24163 w 4443789"/>
              <a:gd name="connsiteY184" fmla="*/ 2478980 h 2984238"/>
              <a:gd name="connsiteX185" fmla="*/ 3271 w 4443789"/>
              <a:gd name="connsiteY185" fmla="*/ 2359211 h 2984238"/>
              <a:gd name="connsiteX186" fmla="*/ 3146 w 4443789"/>
              <a:gd name="connsiteY186" fmla="*/ 2356490 h 2984238"/>
              <a:gd name="connsiteX187" fmla="*/ 2879 w 4443789"/>
              <a:gd name="connsiteY187" fmla="*/ 2354448 h 2984238"/>
              <a:gd name="connsiteX188" fmla="*/ 1428 w 4443789"/>
              <a:gd name="connsiteY188" fmla="*/ 2320787 h 2984238"/>
              <a:gd name="connsiteX189" fmla="*/ 1 w 4443789"/>
              <a:gd name="connsiteY189" fmla="*/ 2320787 h 2984238"/>
              <a:gd name="connsiteX190" fmla="*/ 1 w 4443789"/>
              <a:gd name="connsiteY190" fmla="*/ 2288129 h 2984238"/>
              <a:gd name="connsiteX191" fmla="*/ 0 w 4443789"/>
              <a:gd name="connsiteY191" fmla="*/ 2288123 h 2984238"/>
              <a:gd name="connsiteX192" fmla="*/ 1 w 4443789"/>
              <a:gd name="connsiteY192" fmla="*/ 2288116 h 2984238"/>
              <a:gd name="connsiteX193" fmla="*/ 1 w 4443789"/>
              <a:gd name="connsiteY193" fmla="*/ 2287707 h 2984238"/>
              <a:gd name="connsiteX194" fmla="*/ 1 w 4443789"/>
              <a:gd name="connsiteY194" fmla="*/ 2281106 h 2984238"/>
              <a:gd name="connsiteX195" fmla="*/ 0 w 4443789"/>
              <a:gd name="connsiteY195" fmla="*/ 2281106 h 2984238"/>
              <a:gd name="connsiteX196" fmla="*/ 0 w 4443789"/>
              <a:gd name="connsiteY196" fmla="*/ 1857749 h 2984238"/>
              <a:gd name="connsiteX197" fmla="*/ 0 w 4443789"/>
              <a:gd name="connsiteY197" fmla="*/ 1857748 h 2984238"/>
              <a:gd name="connsiteX198" fmla="*/ 0 w 4443789"/>
              <a:gd name="connsiteY198" fmla="*/ 1857747 h 2984238"/>
              <a:gd name="connsiteX199" fmla="*/ 0 w 4443789"/>
              <a:gd name="connsiteY199" fmla="*/ 1829613 h 2984238"/>
              <a:gd name="connsiteX200" fmla="*/ 0 w 4443789"/>
              <a:gd name="connsiteY200" fmla="*/ 1822596 h 2984238"/>
              <a:gd name="connsiteX201" fmla="*/ 0 w 4443789"/>
              <a:gd name="connsiteY201" fmla="*/ 1584992 h 2984238"/>
              <a:gd name="connsiteX202" fmla="*/ 0 w 4443789"/>
              <a:gd name="connsiteY202" fmla="*/ 1399239 h 2984238"/>
              <a:gd name="connsiteX203" fmla="*/ 0 w 4443789"/>
              <a:gd name="connsiteY203" fmla="*/ 1399238 h 2984238"/>
              <a:gd name="connsiteX204" fmla="*/ 0 w 4443789"/>
              <a:gd name="connsiteY204" fmla="*/ 1399237 h 2984238"/>
              <a:gd name="connsiteX205" fmla="*/ 0 w 4443789"/>
              <a:gd name="connsiteY205" fmla="*/ 1154618 h 2984238"/>
              <a:gd name="connsiteX206" fmla="*/ 0 w 4443789"/>
              <a:gd name="connsiteY206" fmla="*/ 1126482 h 2984238"/>
              <a:gd name="connsiteX207" fmla="*/ 0 w 4443789"/>
              <a:gd name="connsiteY207" fmla="*/ 696108 h 2984238"/>
              <a:gd name="connsiteX208" fmla="*/ 0 w 4443789"/>
              <a:gd name="connsiteY208" fmla="*/ 458510 h 2984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</a:cxnLst>
            <a:rect l="l" t="t" r="r" b="b"/>
            <a:pathLst>
              <a:path w="4443789" h="2984238">
                <a:moveTo>
                  <a:pt x="0" y="0"/>
                </a:moveTo>
                <a:lnTo>
                  <a:pt x="600036" y="0"/>
                </a:lnTo>
                <a:lnTo>
                  <a:pt x="633604" y="0"/>
                </a:lnTo>
                <a:lnTo>
                  <a:pt x="1454682" y="0"/>
                </a:lnTo>
                <a:lnTo>
                  <a:pt x="2203288" y="0"/>
                </a:lnTo>
                <a:lnTo>
                  <a:pt x="2475597" y="0"/>
                </a:lnTo>
                <a:lnTo>
                  <a:pt x="2496805" y="0"/>
                </a:lnTo>
                <a:lnTo>
                  <a:pt x="2769115" y="0"/>
                </a:lnTo>
                <a:lnTo>
                  <a:pt x="3512790" y="0"/>
                </a:lnTo>
                <a:lnTo>
                  <a:pt x="3537876" y="0"/>
                </a:lnTo>
                <a:lnTo>
                  <a:pt x="3740986" y="0"/>
                </a:lnTo>
                <a:lnTo>
                  <a:pt x="3810185" y="0"/>
                </a:lnTo>
                <a:lnTo>
                  <a:pt x="3810185" y="832"/>
                </a:lnTo>
                <a:lnTo>
                  <a:pt x="3810186" y="832"/>
                </a:lnTo>
                <a:lnTo>
                  <a:pt x="3810375" y="832"/>
                </a:lnTo>
                <a:lnTo>
                  <a:pt x="3818503" y="832"/>
                </a:lnTo>
                <a:lnTo>
                  <a:pt x="3843754" y="832"/>
                </a:lnTo>
                <a:lnTo>
                  <a:pt x="3843754" y="2567"/>
                </a:lnTo>
                <a:lnTo>
                  <a:pt x="3871142" y="3990"/>
                </a:lnTo>
                <a:lnTo>
                  <a:pt x="3873498" y="4352"/>
                </a:lnTo>
                <a:lnTo>
                  <a:pt x="3874797" y="4423"/>
                </a:lnTo>
                <a:lnTo>
                  <a:pt x="3887149" y="6450"/>
                </a:lnTo>
                <a:lnTo>
                  <a:pt x="3926638" y="12518"/>
                </a:lnTo>
                <a:lnTo>
                  <a:pt x="3931179" y="13671"/>
                </a:lnTo>
                <a:lnTo>
                  <a:pt x="3933854" y="14110"/>
                </a:lnTo>
                <a:lnTo>
                  <a:pt x="3947663" y="17858"/>
                </a:lnTo>
                <a:lnTo>
                  <a:pt x="3980488" y="26192"/>
                </a:lnTo>
                <a:lnTo>
                  <a:pt x="3987130" y="28566"/>
                </a:lnTo>
                <a:lnTo>
                  <a:pt x="3991004" y="29617"/>
                </a:lnTo>
                <a:lnTo>
                  <a:pt x="4004215" y="34672"/>
                </a:lnTo>
                <a:lnTo>
                  <a:pt x="4032477" y="44775"/>
                </a:lnTo>
                <a:lnTo>
                  <a:pt x="4041053" y="48770"/>
                </a:lnTo>
                <a:lnTo>
                  <a:pt x="4045984" y="50657"/>
                </a:lnTo>
                <a:lnTo>
                  <a:pt x="4057946" y="56640"/>
                </a:lnTo>
                <a:lnTo>
                  <a:pt x="4082388" y="68027"/>
                </a:lnTo>
                <a:lnTo>
                  <a:pt x="4092704" y="74027"/>
                </a:lnTo>
                <a:lnTo>
                  <a:pt x="4098531" y="76941"/>
                </a:lnTo>
                <a:lnTo>
                  <a:pt x="4109004" y="83505"/>
                </a:lnTo>
                <a:lnTo>
                  <a:pt x="4130002" y="95714"/>
                </a:lnTo>
                <a:lnTo>
                  <a:pt x="4141839" y="104081"/>
                </a:lnTo>
                <a:lnTo>
                  <a:pt x="4148382" y="108181"/>
                </a:lnTo>
                <a:lnTo>
                  <a:pt x="4157295" y="115007"/>
                </a:lnTo>
                <a:lnTo>
                  <a:pt x="4175107" y="127597"/>
                </a:lnTo>
                <a:lnTo>
                  <a:pt x="4188212" y="138681"/>
                </a:lnTo>
                <a:lnTo>
                  <a:pt x="4195276" y="144090"/>
                </a:lnTo>
                <a:lnTo>
                  <a:pt x="4202645" y="150888"/>
                </a:lnTo>
                <a:lnTo>
                  <a:pt x="4217486" y="163439"/>
                </a:lnTo>
                <a:lnTo>
                  <a:pt x="4231582" y="177583"/>
                </a:lnTo>
                <a:lnTo>
                  <a:pt x="4238950" y="184379"/>
                </a:lnTo>
                <a:lnTo>
                  <a:pt x="4244842" y="190886"/>
                </a:lnTo>
                <a:lnTo>
                  <a:pt x="4256920" y="203004"/>
                </a:lnTo>
                <a:lnTo>
                  <a:pt x="4271715" y="220559"/>
                </a:lnTo>
                <a:lnTo>
                  <a:pt x="4279140" y="228759"/>
                </a:lnTo>
                <a:lnTo>
                  <a:pt x="4283662" y="234737"/>
                </a:lnTo>
                <a:lnTo>
                  <a:pt x="4293198" y="246051"/>
                </a:lnTo>
                <a:lnTo>
                  <a:pt x="4308376" y="267413"/>
                </a:lnTo>
                <a:lnTo>
                  <a:pt x="4315586" y="276943"/>
                </a:lnTo>
                <a:lnTo>
                  <a:pt x="4318870" y="282177"/>
                </a:lnTo>
                <a:lnTo>
                  <a:pt x="4326098" y="292347"/>
                </a:lnTo>
                <a:lnTo>
                  <a:pt x="4341356" y="318015"/>
                </a:lnTo>
                <a:lnTo>
                  <a:pt x="4348025" y="328644"/>
                </a:lnTo>
                <a:lnTo>
                  <a:pt x="4350227" y="332936"/>
                </a:lnTo>
                <a:lnTo>
                  <a:pt x="4355408" y="341652"/>
                </a:lnTo>
                <a:lnTo>
                  <a:pt x="4370469" y="372409"/>
                </a:lnTo>
                <a:lnTo>
                  <a:pt x="4376192" y="383570"/>
                </a:lnTo>
                <a:lnTo>
                  <a:pt x="4377489" y="386748"/>
                </a:lnTo>
                <a:lnTo>
                  <a:pt x="4380909" y="393731"/>
                </a:lnTo>
                <a:lnTo>
                  <a:pt x="4395626" y="431150"/>
                </a:lnTo>
                <a:lnTo>
                  <a:pt x="4399828" y="441436"/>
                </a:lnTo>
                <a:lnTo>
                  <a:pt x="4400420" y="443339"/>
                </a:lnTo>
                <a:lnTo>
                  <a:pt x="4402388" y="448347"/>
                </a:lnTo>
                <a:lnTo>
                  <a:pt x="4417161" y="497120"/>
                </a:lnTo>
                <a:lnTo>
                  <a:pt x="4418667" y="501954"/>
                </a:lnTo>
                <a:lnTo>
                  <a:pt x="4418772" y="502440"/>
                </a:lnTo>
                <a:lnTo>
                  <a:pt x="4419628" y="505257"/>
                </a:lnTo>
                <a:cubicBezTo>
                  <a:pt x="4429658" y="543913"/>
                  <a:pt x="4436718" y="583941"/>
                  <a:pt x="4440518" y="625027"/>
                </a:cubicBezTo>
                <a:lnTo>
                  <a:pt x="4440644" y="627748"/>
                </a:lnTo>
                <a:lnTo>
                  <a:pt x="4440910" y="629790"/>
                </a:lnTo>
                <a:lnTo>
                  <a:pt x="4442362" y="663451"/>
                </a:lnTo>
                <a:lnTo>
                  <a:pt x="4443789" y="663451"/>
                </a:lnTo>
                <a:lnTo>
                  <a:pt x="4443789" y="696109"/>
                </a:lnTo>
                <a:lnTo>
                  <a:pt x="4443789" y="696115"/>
                </a:lnTo>
                <a:lnTo>
                  <a:pt x="4443789" y="696122"/>
                </a:lnTo>
                <a:lnTo>
                  <a:pt x="4443789" y="696532"/>
                </a:lnTo>
                <a:lnTo>
                  <a:pt x="4443789" y="703132"/>
                </a:lnTo>
                <a:lnTo>
                  <a:pt x="4443789" y="1121961"/>
                </a:lnTo>
                <a:lnTo>
                  <a:pt x="4443789" y="1126490"/>
                </a:lnTo>
                <a:lnTo>
                  <a:pt x="4443789" y="1154619"/>
                </a:lnTo>
                <a:lnTo>
                  <a:pt x="4443789" y="1154625"/>
                </a:lnTo>
                <a:lnTo>
                  <a:pt x="4443789" y="1154632"/>
                </a:lnTo>
                <a:lnTo>
                  <a:pt x="4443789" y="1155042"/>
                </a:lnTo>
                <a:lnTo>
                  <a:pt x="4443789" y="1161642"/>
                </a:lnTo>
                <a:lnTo>
                  <a:pt x="4443789" y="1399246"/>
                </a:lnTo>
                <a:lnTo>
                  <a:pt x="4443789" y="1585000"/>
                </a:lnTo>
                <a:lnTo>
                  <a:pt x="4443789" y="1829621"/>
                </a:lnTo>
                <a:lnTo>
                  <a:pt x="4443789" y="1857756"/>
                </a:lnTo>
                <a:lnTo>
                  <a:pt x="4443789" y="2288131"/>
                </a:lnTo>
                <a:lnTo>
                  <a:pt x="4443789" y="2525728"/>
                </a:lnTo>
                <a:lnTo>
                  <a:pt x="4443789" y="2984238"/>
                </a:lnTo>
                <a:lnTo>
                  <a:pt x="3843754" y="2984238"/>
                </a:lnTo>
                <a:lnTo>
                  <a:pt x="3810186" y="2984238"/>
                </a:lnTo>
                <a:lnTo>
                  <a:pt x="3740986" y="2984238"/>
                </a:lnTo>
                <a:lnTo>
                  <a:pt x="3512790" y="2984238"/>
                </a:lnTo>
                <a:lnTo>
                  <a:pt x="3402719" y="2984238"/>
                </a:lnTo>
                <a:lnTo>
                  <a:pt x="3109201" y="2984238"/>
                </a:lnTo>
                <a:lnTo>
                  <a:pt x="2986086" y="2984238"/>
                </a:lnTo>
                <a:lnTo>
                  <a:pt x="2802684" y="2984238"/>
                </a:lnTo>
                <a:lnTo>
                  <a:pt x="2769116" y="2984238"/>
                </a:lnTo>
                <a:lnTo>
                  <a:pt x="2713776" y="2984238"/>
                </a:lnTo>
                <a:lnTo>
                  <a:pt x="2509166" y="2984238"/>
                </a:lnTo>
                <a:lnTo>
                  <a:pt x="2475598" y="2984238"/>
                </a:lnTo>
                <a:lnTo>
                  <a:pt x="1839935" y="2984238"/>
                </a:lnTo>
                <a:lnTo>
                  <a:pt x="1716819" y="2984238"/>
                </a:lnTo>
                <a:lnTo>
                  <a:pt x="1454682" y="2984238"/>
                </a:lnTo>
                <a:lnTo>
                  <a:pt x="1444510" y="2984238"/>
                </a:lnTo>
                <a:lnTo>
                  <a:pt x="1423301" y="2984238"/>
                </a:lnTo>
                <a:lnTo>
                  <a:pt x="1239899" y="2984238"/>
                </a:lnTo>
                <a:lnTo>
                  <a:pt x="1206331" y="2984238"/>
                </a:lnTo>
                <a:lnTo>
                  <a:pt x="1150992" y="2984238"/>
                </a:lnTo>
                <a:lnTo>
                  <a:pt x="905913" y="2984238"/>
                </a:lnTo>
                <a:lnTo>
                  <a:pt x="702803" y="2984238"/>
                </a:lnTo>
                <a:lnTo>
                  <a:pt x="633605" y="2984238"/>
                </a:lnTo>
                <a:lnTo>
                  <a:pt x="633605" y="2983406"/>
                </a:lnTo>
                <a:lnTo>
                  <a:pt x="633604" y="2983406"/>
                </a:lnTo>
                <a:lnTo>
                  <a:pt x="633414" y="2983406"/>
                </a:lnTo>
                <a:lnTo>
                  <a:pt x="625287" y="2983406"/>
                </a:lnTo>
                <a:lnTo>
                  <a:pt x="600036" y="2983406"/>
                </a:lnTo>
                <a:lnTo>
                  <a:pt x="600036" y="2981671"/>
                </a:lnTo>
                <a:lnTo>
                  <a:pt x="572647" y="2980249"/>
                </a:lnTo>
                <a:lnTo>
                  <a:pt x="570293" y="2979886"/>
                </a:lnTo>
                <a:lnTo>
                  <a:pt x="568992" y="2979815"/>
                </a:lnTo>
                <a:lnTo>
                  <a:pt x="556640" y="2977788"/>
                </a:lnTo>
                <a:lnTo>
                  <a:pt x="517152" y="2971720"/>
                </a:lnTo>
                <a:lnTo>
                  <a:pt x="512609" y="2970567"/>
                </a:lnTo>
                <a:lnTo>
                  <a:pt x="509935" y="2970129"/>
                </a:lnTo>
                <a:lnTo>
                  <a:pt x="496126" y="2966380"/>
                </a:lnTo>
                <a:lnTo>
                  <a:pt x="463301" y="2958046"/>
                </a:lnTo>
                <a:lnTo>
                  <a:pt x="456659" y="2955672"/>
                </a:lnTo>
                <a:lnTo>
                  <a:pt x="452785" y="2954621"/>
                </a:lnTo>
                <a:lnTo>
                  <a:pt x="439575" y="2949567"/>
                </a:lnTo>
                <a:lnTo>
                  <a:pt x="411312" y="2939463"/>
                </a:lnTo>
                <a:lnTo>
                  <a:pt x="402737" y="2935469"/>
                </a:lnTo>
                <a:lnTo>
                  <a:pt x="397806" y="2933581"/>
                </a:lnTo>
                <a:lnTo>
                  <a:pt x="385843" y="2927598"/>
                </a:lnTo>
                <a:lnTo>
                  <a:pt x="361403" y="2916211"/>
                </a:lnTo>
                <a:lnTo>
                  <a:pt x="351085" y="2910211"/>
                </a:lnTo>
                <a:lnTo>
                  <a:pt x="345259" y="2907297"/>
                </a:lnTo>
                <a:lnTo>
                  <a:pt x="334785" y="2900733"/>
                </a:lnTo>
                <a:lnTo>
                  <a:pt x="313788" y="2888524"/>
                </a:lnTo>
                <a:lnTo>
                  <a:pt x="301951" y="2880157"/>
                </a:lnTo>
                <a:lnTo>
                  <a:pt x="295407" y="2876057"/>
                </a:lnTo>
                <a:lnTo>
                  <a:pt x="286494" y="2869231"/>
                </a:lnTo>
                <a:lnTo>
                  <a:pt x="268682" y="2856641"/>
                </a:lnTo>
                <a:lnTo>
                  <a:pt x="255577" y="2845557"/>
                </a:lnTo>
                <a:lnTo>
                  <a:pt x="248513" y="2840148"/>
                </a:lnTo>
                <a:lnTo>
                  <a:pt x="241144" y="2833351"/>
                </a:lnTo>
                <a:lnTo>
                  <a:pt x="226303" y="2820799"/>
                </a:lnTo>
                <a:lnTo>
                  <a:pt x="212206" y="2806655"/>
                </a:lnTo>
                <a:lnTo>
                  <a:pt x="204840" y="2799860"/>
                </a:lnTo>
                <a:lnTo>
                  <a:pt x="198946" y="2793352"/>
                </a:lnTo>
                <a:lnTo>
                  <a:pt x="186869" y="2781235"/>
                </a:lnTo>
                <a:lnTo>
                  <a:pt x="172075" y="2763680"/>
                </a:lnTo>
                <a:lnTo>
                  <a:pt x="164649" y="2755479"/>
                </a:lnTo>
                <a:lnTo>
                  <a:pt x="160126" y="2749501"/>
                </a:lnTo>
                <a:lnTo>
                  <a:pt x="150593" y="2738187"/>
                </a:lnTo>
                <a:lnTo>
                  <a:pt x="135413" y="2716825"/>
                </a:lnTo>
                <a:lnTo>
                  <a:pt x="128203" y="2707295"/>
                </a:lnTo>
                <a:lnTo>
                  <a:pt x="124919" y="2702060"/>
                </a:lnTo>
                <a:lnTo>
                  <a:pt x="117691" y="2691891"/>
                </a:lnTo>
                <a:lnTo>
                  <a:pt x="102434" y="2666223"/>
                </a:lnTo>
                <a:lnTo>
                  <a:pt x="95765" y="2655594"/>
                </a:lnTo>
                <a:lnTo>
                  <a:pt x="93563" y="2651301"/>
                </a:lnTo>
                <a:lnTo>
                  <a:pt x="88382" y="2642586"/>
                </a:lnTo>
                <a:lnTo>
                  <a:pt x="73321" y="2611829"/>
                </a:lnTo>
                <a:lnTo>
                  <a:pt x="67598" y="2600668"/>
                </a:lnTo>
                <a:lnTo>
                  <a:pt x="66299" y="2597490"/>
                </a:lnTo>
                <a:lnTo>
                  <a:pt x="62879" y="2590507"/>
                </a:lnTo>
                <a:lnTo>
                  <a:pt x="48163" y="2553088"/>
                </a:lnTo>
                <a:lnTo>
                  <a:pt x="43963" y="2542802"/>
                </a:lnTo>
                <a:lnTo>
                  <a:pt x="43371" y="2540899"/>
                </a:lnTo>
                <a:lnTo>
                  <a:pt x="41402" y="2535892"/>
                </a:lnTo>
                <a:lnTo>
                  <a:pt x="26628" y="2487119"/>
                </a:lnTo>
                <a:lnTo>
                  <a:pt x="25122" y="2482285"/>
                </a:lnTo>
                <a:lnTo>
                  <a:pt x="25017" y="2481798"/>
                </a:lnTo>
                <a:lnTo>
                  <a:pt x="24163" y="2478980"/>
                </a:lnTo>
                <a:cubicBezTo>
                  <a:pt x="14132" y="2440325"/>
                  <a:pt x="7072" y="2400297"/>
                  <a:pt x="3271" y="2359211"/>
                </a:cubicBezTo>
                <a:lnTo>
                  <a:pt x="3146" y="2356490"/>
                </a:lnTo>
                <a:lnTo>
                  <a:pt x="2879" y="2354448"/>
                </a:lnTo>
                <a:lnTo>
                  <a:pt x="1428" y="2320787"/>
                </a:lnTo>
                <a:lnTo>
                  <a:pt x="1" y="2320787"/>
                </a:lnTo>
                <a:lnTo>
                  <a:pt x="1" y="2288129"/>
                </a:lnTo>
                <a:lnTo>
                  <a:pt x="0" y="2288123"/>
                </a:lnTo>
                <a:lnTo>
                  <a:pt x="1" y="2288116"/>
                </a:lnTo>
                <a:lnTo>
                  <a:pt x="1" y="2287707"/>
                </a:lnTo>
                <a:lnTo>
                  <a:pt x="1" y="2281106"/>
                </a:lnTo>
                <a:lnTo>
                  <a:pt x="0" y="2281106"/>
                </a:lnTo>
                <a:lnTo>
                  <a:pt x="0" y="1857749"/>
                </a:lnTo>
                <a:lnTo>
                  <a:pt x="0" y="1857748"/>
                </a:lnTo>
                <a:lnTo>
                  <a:pt x="0" y="1857747"/>
                </a:lnTo>
                <a:lnTo>
                  <a:pt x="0" y="1829613"/>
                </a:lnTo>
                <a:lnTo>
                  <a:pt x="0" y="1822596"/>
                </a:lnTo>
                <a:lnTo>
                  <a:pt x="0" y="1584992"/>
                </a:lnTo>
                <a:lnTo>
                  <a:pt x="0" y="1399239"/>
                </a:lnTo>
                <a:lnTo>
                  <a:pt x="0" y="1399238"/>
                </a:lnTo>
                <a:lnTo>
                  <a:pt x="0" y="1399237"/>
                </a:lnTo>
                <a:lnTo>
                  <a:pt x="0" y="1154618"/>
                </a:lnTo>
                <a:lnTo>
                  <a:pt x="0" y="1126482"/>
                </a:lnTo>
                <a:lnTo>
                  <a:pt x="0" y="696108"/>
                </a:lnTo>
                <a:lnTo>
                  <a:pt x="0" y="45851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0555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BC4832D-2254-4A9F-8429-7952279A15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42718" y="490698"/>
            <a:ext cx="4891380" cy="5751788"/>
          </a:xfrm>
          <a:custGeom>
            <a:avLst/>
            <a:gdLst>
              <a:gd name="connsiteX0" fmla="*/ 0 w 4891380"/>
              <a:gd name="connsiteY0" fmla="*/ 0 h 5751788"/>
              <a:gd name="connsiteX1" fmla="*/ 1471669 w 4891380"/>
              <a:gd name="connsiteY1" fmla="*/ 0 h 5751788"/>
              <a:gd name="connsiteX2" fmla="*/ 1960808 w 4891380"/>
              <a:gd name="connsiteY2" fmla="*/ 0 h 5751788"/>
              <a:gd name="connsiteX3" fmla="*/ 2930558 w 4891380"/>
              <a:gd name="connsiteY3" fmla="*/ 0 h 5751788"/>
              <a:gd name="connsiteX4" fmla="*/ 3419696 w 4891380"/>
              <a:gd name="connsiteY4" fmla="*/ 0 h 5751788"/>
              <a:gd name="connsiteX5" fmla="*/ 3458648 w 4891380"/>
              <a:gd name="connsiteY5" fmla="*/ 0 h 5751788"/>
              <a:gd name="connsiteX6" fmla="*/ 3458648 w 4891380"/>
              <a:gd name="connsiteY6" fmla="*/ 1 h 5751788"/>
              <a:gd name="connsiteX7" fmla="*/ 3488752 w 4891380"/>
              <a:gd name="connsiteY7" fmla="*/ 1 h 5751788"/>
              <a:gd name="connsiteX8" fmla="*/ 3488752 w 4891380"/>
              <a:gd name="connsiteY8" fmla="*/ 3335 h 5751788"/>
              <a:gd name="connsiteX9" fmla="*/ 3559916 w 4891380"/>
              <a:gd name="connsiteY9" fmla="*/ 6728 h 5751788"/>
              <a:gd name="connsiteX10" fmla="*/ 3564234 w 4891380"/>
              <a:gd name="connsiteY10" fmla="*/ 7350 h 5751788"/>
              <a:gd name="connsiteX11" fmla="*/ 3569987 w 4891380"/>
              <a:gd name="connsiteY11" fmla="*/ 7641 h 5751788"/>
              <a:gd name="connsiteX12" fmla="*/ 3823196 w 4891380"/>
              <a:gd name="connsiteY12" fmla="*/ 56454 h 5751788"/>
              <a:gd name="connsiteX13" fmla="*/ 3829154 w 4891380"/>
              <a:gd name="connsiteY13" fmla="*/ 58447 h 5751788"/>
              <a:gd name="connsiteX14" fmla="*/ 3830180 w 4891380"/>
              <a:gd name="connsiteY14" fmla="*/ 58696 h 5751788"/>
              <a:gd name="connsiteX15" fmla="*/ 3840400 w 4891380"/>
              <a:gd name="connsiteY15" fmla="*/ 62213 h 5751788"/>
              <a:gd name="connsiteX16" fmla="*/ 3943517 w 4891380"/>
              <a:gd name="connsiteY16" fmla="*/ 96729 h 5751788"/>
              <a:gd name="connsiteX17" fmla="*/ 3954101 w 4891380"/>
              <a:gd name="connsiteY17" fmla="*/ 101328 h 5751788"/>
              <a:gd name="connsiteX18" fmla="*/ 3958123 w 4891380"/>
              <a:gd name="connsiteY18" fmla="*/ 102713 h 5751788"/>
              <a:gd name="connsiteX19" fmla="*/ 3979869 w 4891380"/>
              <a:gd name="connsiteY19" fmla="*/ 112529 h 5751788"/>
              <a:gd name="connsiteX20" fmla="*/ 4058977 w 4891380"/>
              <a:gd name="connsiteY20" fmla="*/ 146909 h 5751788"/>
              <a:gd name="connsiteX21" fmla="*/ 4073742 w 4891380"/>
              <a:gd name="connsiteY21" fmla="*/ 154899 h 5751788"/>
              <a:gd name="connsiteX22" fmla="*/ 4080462 w 4891380"/>
              <a:gd name="connsiteY22" fmla="*/ 157932 h 5751788"/>
              <a:gd name="connsiteX23" fmla="*/ 4104058 w 4891380"/>
              <a:gd name="connsiteY23" fmla="*/ 171305 h 5751788"/>
              <a:gd name="connsiteX24" fmla="*/ 4169078 w 4891380"/>
              <a:gd name="connsiteY24" fmla="*/ 206492 h 5751788"/>
              <a:gd name="connsiteX25" fmla="*/ 4187505 w 4891380"/>
              <a:gd name="connsiteY25" fmla="*/ 218597 h 5751788"/>
              <a:gd name="connsiteX26" fmla="*/ 4196586 w 4891380"/>
              <a:gd name="connsiteY26" fmla="*/ 223742 h 5751788"/>
              <a:gd name="connsiteX27" fmla="*/ 4219053 w 4891380"/>
              <a:gd name="connsiteY27" fmla="*/ 239321 h 5751788"/>
              <a:gd name="connsiteX28" fmla="*/ 4273318 w 4891380"/>
              <a:gd name="connsiteY28" fmla="*/ 274969 h 5751788"/>
              <a:gd name="connsiteX29" fmla="*/ 4294820 w 4891380"/>
              <a:gd name="connsiteY29" fmla="*/ 291856 h 5751788"/>
              <a:gd name="connsiteX30" fmla="*/ 4305886 w 4891380"/>
              <a:gd name="connsiteY30" fmla="*/ 299528 h 5751788"/>
              <a:gd name="connsiteX31" fmla="*/ 4326035 w 4891380"/>
              <a:gd name="connsiteY31" fmla="*/ 316371 h 5751788"/>
              <a:gd name="connsiteX32" fmla="*/ 4371194 w 4891380"/>
              <a:gd name="connsiteY32" fmla="*/ 351838 h 5751788"/>
              <a:gd name="connsiteX33" fmla="*/ 4395115 w 4891380"/>
              <a:gd name="connsiteY33" fmla="*/ 374115 h 5751788"/>
              <a:gd name="connsiteX34" fmla="*/ 4407752 w 4891380"/>
              <a:gd name="connsiteY34" fmla="*/ 384678 h 5751788"/>
              <a:gd name="connsiteX35" fmla="*/ 4425090 w 4891380"/>
              <a:gd name="connsiteY35" fmla="*/ 402029 h 5751788"/>
              <a:gd name="connsiteX36" fmla="*/ 4462206 w 4891380"/>
              <a:gd name="connsiteY36" fmla="*/ 436592 h 5751788"/>
              <a:gd name="connsiteX37" fmla="*/ 4487824 w 4891380"/>
              <a:gd name="connsiteY37" fmla="*/ 464813 h 5751788"/>
              <a:gd name="connsiteX38" fmla="*/ 4501580 w 4891380"/>
              <a:gd name="connsiteY38" fmla="*/ 478579 h 5751788"/>
              <a:gd name="connsiteX39" fmla="*/ 4515948 w 4891380"/>
              <a:gd name="connsiteY39" fmla="*/ 495792 h 5751788"/>
              <a:gd name="connsiteX40" fmla="*/ 4545848 w 4891380"/>
              <a:gd name="connsiteY40" fmla="*/ 528727 h 5751788"/>
              <a:gd name="connsiteX41" fmla="*/ 4572386 w 4891380"/>
              <a:gd name="connsiteY41" fmla="*/ 563402 h 5751788"/>
              <a:gd name="connsiteX42" fmla="*/ 4586756 w 4891380"/>
              <a:gd name="connsiteY42" fmla="*/ 580617 h 5751788"/>
              <a:gd name="connsiteX43" fmla="*/ 4598192 w 4891380"/>
              <a:gd name="connsiteY43" fmla="*/ 597122 h 5751788"/>
              <a:gd name="connsiteX44" fmla="*/ 4621624 w 4891380"/>
              <a:gd name="connsiteY44" fmla="*/ 627739 h 5751788"/>
              <a:gd name="connsiteX45" fmla="*/ 4648242 w 4891380"/>
              <a:gd name="connsiteY45" fmla="*/ 669353 h 5751788"/>
              <a:gd name="connsiteX46" fmla="*/ 4662670 w 4891380"/>
              <a:gd name="connsiteY46" fmla="*/ 690177 h 5751788"/>
              <a:gd name="connsiteX47" fmla="*/ 4671340 w 4891380"/>
              <a:gd name="connsiteY47" fmla="*/ 705466 h 5751788"/>
              <a:gd name="connsiteX48" fmla="*/ 4689030 w 4891380"/>
              <a:gd name="connsiteY48" fmla="*/ 733120 h 5751788"/>
              <a:gd name="connsiteX49" fmla="*/ 4714840 w 4891380"/>
              <a:gd name="connsiteY49" fmla="*/ 782179 h 5751788"/>
              <a:gd name="connsiteX50" fmla="*/ 4728718 w 4891380"/>
              <a:gd name="connsiteY50" fmla="*/ 806649 h 5751788"/>
              <a:gd name="connsiteX51" fmla="*/ 4734878 w 4891380"/>
              <a:gd name="connsiteY51" fmla="*/ 820262 h 5751788"/>
              <a:gd name="connsiteX52" fmla="*/ 4747562 w 4891380"/>
              <a:gd name="connsiteY52" fmla="*/ 844366 h 5751788"/>
              <a:gd name="connsiteX53" fmla="*/ 4771636 w 4891380"/>
              <a:gd name="connsiteY53" fmla="*/ 901470 h 5751788"/>
              <a:gd name="connsiteX54" fmla="*/ 4784286 w 4891380"/>
              <a:gd name="connsiteY54" fmla="*/ 929419 h 5751788"/>
              <a:gd name="connsiteX55" fmla="*/ 4788276 w 4891380"/>
              <a:gd name="connsiteY55" fmla="*/ 940938 h 5751788"/>
              <a:gd name="connsiteX56" fmla="*/ 4796723 w 4891380"/>
              <a:gd name="connsiteY56" fmla="*/ 960976 h 5751788"/>
              <a:gd name="connsiteX57" fmla="*/ 4818080 w 4891380"/>
              <a:gd name="connsiteY57" fmla="*/ 1027005 h 5751788"/>
              <a:gd name="connsiteX58" fmla="*/ 4828768 w 4891380"/>
              <a:gd name="connsiteY58" fmla="*/ 1057869 h 5751788"/>
              <a:gd name="connsiteX59" fmla="*/ 4830991 w 4891380"/>
              <a:gd name="connsiteY59" fmla="*/ 1066923 h 5751788"/>
              <a:gd name="connsiteX60" fmla="*/ 4836008 w 4891380"/>
              <a:gd name="connsiteY60" fmla="*/ 1082438 h 5751788"/>
              <a:gd name="connsiteX61" fmla="*/ 4853630 w 4891380"/>
              <a:gd name="connsiteY61" fmla="*/ 1159131 h 5751788"/>
              <a:gd name="connsiteX62" fmla="*/ 4861552 w 4891380"/>
              <a:gd name="connsiteY62" fmla="*/ 1191393 h 5751788"/>
              <a:gd name="connsiteX63" fmla="*/ 4862478 w 4891380"/>
              <a:gd name="connsiteY63" fmla="*/ 1197643 h 5751788"/>
              <a:gd name="connsiteX64" fmla="*/ 4864917 w 4891380"/>
              <a:gd name="connsiteY64" fmla="*/ 1208252 h 5751788"/>
              <a:gd name="connsiteX65" fmla="*/ 4877746 w 4891380"/>
              <a:gd name="connsiteY65" fmla="*/ 1300513 h 5751788"/>
              <a:gd name="connsiteX66" fmla="*/ 4882030 w 4891380"/>
              <a:gd name="connsiteY66" fmla="*/ 1329371 h 5751788"/>
              <a:gd name="connsiteX67" fmla="*/ 4882182 w 4891380"/>
              <a:gd name="connsiteY67" fmla="*/ 1332410 h 5751788"/>
              <a:gd name="connsiteX68" fmla="*/ 4882946 w 4891380"/>
              <a:gd name="connsiteY68" fmla="*/ 1337912 h 5751788"/>
              <a:gd name="connsiteX69" fmla="*/ 4885957 w 4891380"/>
              <a:gd name="connsiteY69" fmla="*/ 1401901 h 5751788"/>
              <a:gd name="connsiteX70" fmla="*/ 4889624 w 4891380"/>
              <a:gd name="connsiteY70" fmla="*/ 1401901 h 5751788"/>
              <a:gd name="connsiteX71" fmla="*/ 4889624 w 4891380"/>
              <a:gd name="connsiteY71" fmla="*/ 1460895 h 5751788"/>
              <a:gd name="connsiteX72" fmla="*/ 4889624 w 4891380"/>
              <a:gd name="connsiteY72" fmla="*/ 1479885 h 5751788"/>
              <a:gd name="connsiteX73" fmla="*/ 4889624 w 4891380"/>
              <a:gd name="connsiteY73" fmla="*/ 1480329 h 5751788"/>
              <a:gd name="connsiteX74" fmla="*/ 4891380 w 4891380"/>
              <a:gd name="connsiteY74" fmla="*/ 1480329 h 5751788"/>
              <a:gd name="connsiteX75" fmla="*/ 4891380 w 4891380"/>
              <a:gd name="connsiteY75" fmla="*/ 1630791 h 5751788"/>
              <a:gd name="connsiteX76" fmla="*/ 3458648 w 4891380"/>
              <a:gd name="connsiteY76" fmla="*/ 1630791 h 5751788"/>
              <a:gd name="connsiteX77" fmla="*/ 3458648 w 4891380"/>
              <a:gd name="connsiteY77" fmla="*/ 1630792 h 5751788"/>
              <a:gd name="connsiteX78" fmla="*/ 3488751 w 4891380"/>
              <a:gd name="connsiteY78" fmla="*/ 1630792 h 5751788"/>
              <a:gd name="connsiteX79" fmla="*/ 3488751 w 4891380"/>
              <a:gd name="connsiteY79" fmla="*/ 1634126 h 5751788"/>
              <a:gd name="connsiteX80" fmla="*/ 3559916 w 4891380"/>
              <a:gd name="connsiteY80" fmla="*/ 1637518 h 5751788"/>
              <a:gd name="connsiteX81" fmla="*/ 3564234 w 4891380"/>
              <a:gd name="connsiteY81" fmla="*/ 1638140 h 5751788"/>
              <a:gd name="connsiteX82" fmla="*/ 3569986 w 4891380"/>
              <a:gd name="connsiteY82" fmla="*/ 1638433 h 5751788"/>
              <a:gd name="connsiteX83" fmla="*/ 3823196 w 4891380"/>
              <a:gd name="connsiteY83" fmla="*/ 1687245 h 5751788"/>
              <a:gd name="connsiteX84" fmla="*/ 3829153 w 4891380"/>
              <a:gd name="connsiteY84" fmla="*/ 1689237 h 5751788"/>
              <a:gd name="connsiteX85" fmla="*/ 3830180 w 4891380"/>
              <a:gd name="connsiteY85" fmla="*/ 1689487 h 5751788"/>
              <a:gd name="connsiteX86" fmla="*/ 3840400 w 4891380"/>
              <a:gd name="connsiteY86" fmla="*/ 1693004 h 5751788"/>
              <a:gd name="connsiteX87" fmla="*/ 3943516 w 4891380"/>
              <a:gd name="connsiteY87" fmla="*/ 1727519 h 5751788"/>
              <a:gd name="connsiteX88" fmla="*/ 3954100 w 4891380"/>
              <a:gd name="connsiteY88" fmla="*/ 1732119 h 5751788"/>
              <a:gd name="connsiteX89" fmla="*/ 3958122 w 4891380"/>
              <a:gd name="connsiteY89" fmla="*/ 1733503 h 5751788"/>
              <a:gd name="connsiteX90" fmla="*/ 3979868 w 4891380"/>
              <a:gd name="connsiteY90" fmla="*/ 1743320 h 5751788"/>
              <a:gd name="connsiteX91" fmla="*/ 4058976 w 4891380"/>
              <a:gd name="connsiteY91" fmla="*/ 1777700 h 5751788"/>
              <a:gd name="connsiteX92" fmla="*/ 4073741 w 4891380"/>
              <a:gd name="connsiteY92" fmla="*/ 1785690 h 5751788"/>
              <a:gd name="connsiteX93" fmla="*/ 4080461 w 4891380"/>
              <a:gd name="connsiteY93" fmla="*/ 1788723 h 5751788"/>
              <a:gd name="connsiteX94" fmla="*/ 4104057 w 4891380"/>
              <a:gd name="connsiteY94" fmla="*/ 1802096 h 5751788"/>
              <a:gd name="connsiteX95" fmla="*/ 4169078 w 4891380"/>
              <a:gd name="connsiteY95" fmla="*/ 1837283 h 5751788"/>
              <a:gd name="connsiteX96" fmla="*/ 4187505 w 4891380"/>
              <a:gd name="connsiteY96" fmla="*/ 1849388 h 5751788"/>
              <a:gd name="connsiteX97" fmla="*/ 4196584 w 4891380"/>
              <a:gd name="connsiteY97" fmla="*/ 1854532 h 5751788"/>
              <a:gd name="connsiteX98" fmla="*/ 4219053 w 4891380"/>
              <a:gd name="connsiteY98" fmla="*/ 1870112 h 5751788"/>
              <a:gd name="connsiteX99" fmla="*/ 4273316 w 4891380"/>
              <a:gd name="connsiteY99" fmla="*/ 1905760 h 5751788"/>
              <a:gd name="connsiteX100" fmla="*/ 4294820 w 4891380"/>
              <a:gd name="connsiteY100" fmla="*/ 1922647 h 5751788"/>
              <a:gd name="connsiteX101" fmla="*/ 4305884 w 4891380"/>
              <a:gd name="connsiteY101" fmla="*/ 1930319 h 5751788"/>
              <a:gd name="connsiteX102" fmla="*/ 4326034 w 4891380"/>
              <a:gd name="connsiteY102" fmla="*/ 1947163 h 5751788"/>
              <a:gd name="connsiteX103" fmla="*/ 4371194 w 4891380"/>
              <a:gd name="connsiteY103" fmla="*/ 1982629 h 5751788"/>
              <a:gd name="connsiteX104" fmla="*/ 4395114 w 4891380"/>
              <a:gd name="connsiteY104" fmla="*/ 2004906 h 5751788"/>
              <a:gd name="connsiteX105" fmla="*/ 4407752 w 4891380"/>
              <a:gd name="connsiteY105" fmla="*/ 2015469 h 5751788"/>
              <a:gd name="connsiteX106" fmla="*/ 4425088 w 4891380"/>
              <a:gd name="connsiteY106" fmla="*/ 2032820 h 5751788"/>
              <a:gd name="connsiteX107" fmla="*/ 4462204 w 4891380"/>
              <a:gd name="connsiteY107" fmla="*/ 2067383 h 5751788"/>
              <a:gd name="connsiteX108" fmla="*/ 4487823 w 4891380"/>
              <a:gd name="connsiteY108" fmla="*/ 2095602 h 5751788"/>
              <a:gd name="connsiteX109" fmla="*/ 4501580 w 4891380"/>
              <a:gd name="connsiteY109" fmla="*/ 2109370 h 5751788"/>
              <a:gd name="connsiteX110" fmla="*/ 4515948 w 4891380"/>
              <a:gd name="connsiteY110" fmla="*/ 2126583 h 5751788"/>
              <a:gd name="connsiteX111" fmla="*/ 4545846 w 4891380"/>
              <a:gd name="connsiteY111" fmla="*/ 2159517 h 5751788"/>
              <a:gd name="connsiteX112" fmla="*/ 4572383 w 4891380"/>
              <a:gd name="connsiteY112" fmla="*/ 2194191 h 5751788"/>
              <a:gd name="connsiteX113" fmla="*/ 4586756 w 4891380"/>
              <a:gd name="connsiteY113" fmla="*/ 2211408 h 5751788"/>
              <a:gd name="connsiteX114" fmla="*/ 4598190 w 4891380"/>
              <a:gd name="connsiteY114" fmla="*/ 2227912 h 5751788"/>
              <a:gd name="connsiteX115" fmla="*/ 4621623 w 4891380"/>
              <a:gd name="connsiteY115" fmla="*/ 2258530 h 5751788"/>
              <a:gd name="connsiteX116" fmla="*/ 4648242 w 4891380"/>
              <a:gd name="connsiteY116" fmla="*/ 2300144 h 5751788"/>
              <a:gd name="connsiteX117" fmla="*/ 4662670 w 4891380"/>
              <a:gd name="connsiteY117" fmla="*/ 2320968 h 5751788"/>
              <a:gd name="connsiteX118" fmla="*/ 4671340 w 4891380"/>
              <a:gd name="connsiteY118" fmla="*/ 2336257 h 5751788"/>
              <a:gd name="connsiteX119" fmla="*/ 4689028 w 4891380"/>
              <a:gd name="connsiteY119" fmla="*/ 2363911 h 5751788"/>
              <a:gd name="connsiteX120" fmla="*/ 4714840 w 4891380"/>
              <a:gd name="connsiteY120" fmla="*/ 2412970 h 5751788"/>
              <a:gd name="connsiteX121" fmla="*/ 4728716 w 4891380"/>
              <a:gd name="connsiteY121" fmla="*/ 2437439 h 5751788"/>
              <a:gd name="connsiteX122" fmla="*/ 4734877 w 4891380"/>
              <a:gd name="connsiteY122" fmla="*/ 2451053 h 5751788"/>
              <a:gd name="connsiteX123" fmla="*/ 4747562 w 4891380"/>
              <a:gd name="connsiteY123" fmla="*/ 2475157 h 5751788"/>
              <a:gd name="connsiteX124" fmla="*/ 4771636 w 4891380"/>
              <a:gd name="connsiteY124" fmla="*/ 2532261 h 5751788"/>
              <a:gd name="connsiteX125" fmla="*/ 4784286 w 4891380"/>
              <a:gd name="connsiteY125" fmla="*/ 2560208 h 5751788"/>
              <a:gd name="connsiteX126" fmla="*/ 4788274 w 4891380"/>
              <a:gd name="connsiteY126" fmla="*/ 2571729 h 5751788"/>
              <a:gd name="connsiteX127" fmla="*/ 4796723 w 4891380"/>
              <a:gd name="connsiteY127" fmla="*/ 2591766 h 5751788"/>
              <a:gd name="connsiteX128" fmla="*/ 4818078 w 4891380"/>
              <a:gd name="connsiteY128" fmla="*/ 2657796 h 5751788"/>
              <a:gd name="connsiteX129" fmla="*/ 4828766 w 4891380"/>
              <a:gd name="connsiteY129" fmla="*/ 2688660 h 5751788"/>
              <a:gd name="connsiteX130" fmla="*/ 4830988 w 4891380"/>
              <a:gd name="connsiteY130" fmla="*/ 2697714 h 5751788"/>
              <a:gd name="connsiteX131" fmla="*/ 4836008 w 4891380"/>
              <a:gd name="connsiteY131" fmla="*/ 2713229 h 5751788"/>
              <a:gd name="connsiteX132" fmla="*/ 4853629 w 4891380"/>
              <a:gd name="connsiteY132" fmla="*/ 2789921 h 5751788"/>
              <a:gd name="connsiteX133" fmla="*/ 4861550 w 4891380"/>
              <a:gd name="connsiteY133" fmla="*/ 2822183 h 5751788"/>
              <a:gd name="connsiteX134" fmla="*/ 4862477 w 4891380"/>
              <a:gd name="connsiteY134" fmla="*/ 2828433 h 5751788"/>
              <a:gd name="connsiteX135" fmla="*/ 4864917 w 4891380"/>
              <a:gd name="connsiteY135" fmla="*/ 2839043 h 5751788"/>
              <a:gd name="connsiteX136" fmla="*/ 4877746 w 4891380"/>
              <a:gd name="connsiteY136" fmla="*/ 2931303 h 5751788"/>
              <a:gd name="connsiteX137" fmla="*/ 4882029 w 4891380"/>
              <a:gd name="connsiteY137" fmla="*/ 2960161 h 5751788"/>
              <a:gd name="connsiteX138" fmla="*/ 4882180 w 4891380"/>
              <a:gd name="connsiteY138" fmla="*/ 2963200 h 5751788"/>
              <a:gd name="connsiteX139" fmla="*/ 4882946 w 4891380"/>
              <a:gd name="connsiteY139" fmla="*/ 2968703 h 5751788"/>
              <a:gd name="connsiteX140" fmla="*/ 4885956 w 4891380"/>
              <a:gd name="connsiteY140" fmla="*/ 3032692 h 5751788"/>
              <a:gd name="connsiteX141" fmla="*/ 4889624 w 4891380"/>
              <a:gd name="connsiteY141" fmla="*/ 3032692 h 5751788"/>
              <a:gd name="connsiteX142" fmla="*/ 4889624 w 4891380"/>
              <a:gd name="connsiteY142" fmla="*/ 3091686 h 5751788"/>
              <a:gd name="connsiteX143" fmla="*/ 4889624 w 4891380"/>
              <a:gd name="connsiteY143" fmla="*/ 3110675 h 5751788"/>
              <a:gd name="connsiteX144" fmla="*/ 4889624 w 4891380"/>
              <a:gd name="connsiteY144" fmla="*/ 3111118 h 5751788"/>
              <a:gd name="connsiteX145" fmla="*/ 4891379 w 4891380"/>
              <a:gd name="connsiteY145" fmla="*/ 3111118 h 5751788"/>
              <a:gd name="connsiteX146" fmla="*/ 4891379 w 4891380"/>
              <a:gd name="connsiteY146" fmla="*/ 3394564 h 5751788"/>
              <a:gd name="connsiteX147" fmla="*/ 4891379 w 4891380"/>
              <a:gd name="connsiteY147" fmla="*/ 3988016 h 5751788"/>
              <a:gd name="connsiteX148" fmla="*/ 4891379 w 4891380"/>
              <a:gd name="connsiteY148" fmla="*/ 4271461 h 5751788"/>
              <a:gd name="connsiteX149" fmla="*/ 4891379 w 4891380"/>
              <a:gd name="connsiteY149" fmla="*/ 4349890 h 5751788"/>
              <a:gd name="connsiteX150" fmla="*/ 4889640 w 4891380"/>
              <a:gd name="connsiteY150" fmla="*/ 4349890 h 5751788"/>
              <a:gd name="connsiteX151" fmla="*/ 4889640 w 4891380"/>
              <a:gd name="connsiteY151" fmla="*/ 5751787 h 5751788"/>
              <a:gd name="connsiteX152" fmla="*/ 4400501 w 4891380"/>
              <a:gd name="connsiteY152" fmla="*/ 5751787 h 5751788"/>
              <a:gd name="connsiteX153" fmla="*/ 3430753 w 4891380"/>
              <a:gd name="connsiteY153" fmla="*/ 5751787 h 5751788"/>
              <a:gd name="connsiteX154" fmla="*/ 3420593 w 4891380"/>
              <a:gd name="connsiteY154" fmla="*/ 5751787 h 5751788"/>
              <a:gd name="connsiteX155" fmla="*/ 3419727 w 4891380"/>
              <a:gd name="connsiteY155" fmla="*/ 5751787 h 5751788"/>
              <a:gd name="connsiteX156" fmla="*/ 3419712 w 4891380"/>
              <a:gd name="connsiteY156" fmla="*/ 5751788 h 5751788"/>
              <a:gd name="connsiteX157" fmla="*/ 3419699 w 4891380"/>
              <a:gd name="connsiteY157" fmla="*/ 5751787 h 5751788"/>
              <a:gd name="connsiteX158" fmla="*/ 3350656 w 4891380"/>
              <a:gd name="connsiteY158" fmla="*/ 5751787 h 5751788"/>
              <a:gd name="connsiteX159" fmla="*/ 2941613 w 4891380"/>
              <a:gd name="connsiteY159" fmla="*/ 5751787 h 5751788"/>
              <a:gd name="connsiteX160" fmla="*/ 2931453 w 4891380"/>
              <a:gd name="connsiteY160" fmla="*/ 5751787 h 5751788"/>
              <a:gd name="connsiteX161" fmla="*/ 2930587 w 4891380"/>
              <a:gd name="connsiteY161" fmla="*/ 5751787 h 5751788"/>
              <a:gd name="connsiteX162" fmla="*/ 2930574 w 4891380"/>
              <a:gd name="connsiteY162" fmla="*/ 5751788 h 5751788"/>
              <a:gd name="connsiteX163" fmla="*/ 2930558 w 4891380"/>
              <a:gd name="connsiteY163" fmla="*/ 5751787 h 5751788"/>
              <a:gd name="connsiteX164" fmla="*/ 2861517 w 4891380"/>
              <a:gd name="connsiteY164" fmla="*/ 5751787 h 5751788"/>
              <a:gd name="connsiteX165" fmla="*/ 1961706 w 4891380"/>
              <a:gd name="connsiteY165" fmla="*/ 5751787 h 5751788"/>
              <a:gd name="connsiteX166" fmla="*/ 1960839 w 4891380"/>
              <a:gd name="connsiteY166" fmla="*/ 5751787 h 5751788"/>
              <a:gd name="connsiteX167" fmla="*/ 1960824 w 4891380"/>
              <a:gd name="connsiteY167" fmla="*/ 5751788 h 5751788"/>
              <a:gd name="connsiteX168" fmla="*/ 1960810 w 4891380"/>
              <a:gd name="connsiteY168" fmla="*/ 5751787 h 5751788"/>
              <a:gd name="connsiteX169" fmla="*/ 1891768 w 4891380"/>
              <a:gd name="connsiteY169" fmla="*/ 5751787 h 5751788"/>
              <a:gd name="connsiteX170" fmla="*/ 1472566 w 4891380"/>
              <a:gd name="connsiteY170" fmla="*/ 5751787 h 5751788"/>
              <a:gd name="connsiteX171" fmla="*/ 1471699 w 4891380"/>
              <a:gd name="connsiteY171" fmla="*/ 5751787 h 5751788"/>
              <a:gd name="connsiteX172" fmla="*/ 1471686 w 4891380"/>
              <a:gd name="connsiteY172" fmla="*/ 5751788 h 5751788"/>
              <a:gd name="connsiteX173" fmla="*/ 1471671 w 4891380"/>
              <a:gd name="connsiteY173" fmla="*/ 5751787 h 5751788"/>
              <a:gd name="connsiteX174" fmla="*/ 1402630 w 4891380"/>
              <a:gd name="connsiteY174" fmla="*/ 5751787 h 5751788"/>
              <a:gd name="connsiteX175" fmla="*/ 1402630 w 4891380"/>
              <a:gd name="connsiteY175" fmla="*/ 5748454 h 5751788"/>
              <a:gd name="connsiteX176" fmla="*/ 1331464 w 4891380"/>
              <a:gd name="connsiteY176" fmla="*/ 5745061 h 5751788"/>
              <a:gd name="connsiteX177" fmla="*/ 1327146 w 4891380"/>
              <a:gd name="connsiteY177" fmla="*/ 5744440 h 5751788"/>
              <a:gd name="connsiteX178" fmla="*/ 1321394 w 4891380"/>
              <a:gd name="connsiteY178" fmla="*/ 5744149 h 5751788"/>
              <a:gd name="connsiteX179" fmla="*/ 1068185 w 4891380"/>
              <a:gd name="connsiteY179" fmla="*/ 5695337 h 5751788"/>
              <a:gd name="connsiteX180" fmla="*/ 1062227 w 4891380"/>
              <a:gd name="connsiteY180" fmla="*/ 5693342 h 5751788"/>
              <a:gd name="connsiteX181" fmla="*/ 1061200 w 4891380"/>
              <a:gd name="connsiteY181" fmla="*/ 5693093 h 5751788"/>
              <a:gd name="connsiteX182" fmla="*/ 1050981 w 4891380"/>
              <a:gd name="connsiteY182" fmla="*/ 5689577 h 5751788"/>
              <a:gd name="connsiteX183" fmla="*/ 947864 w 4891380"/>
              <a:gd name="connsiteY183" fmla="*/ 5655061 h 5751788"/>
              <a:gd name="connsiteX184" fmla="*/ 937281 w 4891380"/>
              <a:gd name="connsiteY184" fmla="*/ 5650461 h 5751788"/>
              <a:gd name="connsiteX185" fmla="*/ 933258 w 4891380"/>
              <a:gd name="connsiteY185" fmla="*/ 5649077 h 5751788"/>
              <a:gd name="connsiteX186" fmla="*/ 911512 w 4891380"/>
              <a:gd name="connsiteY186" fmla="*/ 5639261 h 5751788"/>
              <a:gd name="connsiteX187" fmla="*/ 832403 w 4891380"/>
              <a:gd name="connsiteY187" fmla="*/ 5604881 h 5751788"/>
              <a:gd name="connsiteX188" fmla="*/ 817638 w 4891380"/>
              <a:gd name="connsiteY188" fmla="*/ 5596891 h 5751788"/>
              <a:gd name="connsiteX189" fmla="*/ 810920 w 4891380"/>
              <a:gd name="connsiteY189" fmla="*/ 5593857 h 5751788"/>
              <a:gd name="connsiteX190" fmla="*/ 787324 w 4891380"/>
              <a:gd name="connsiteY190" fmla="*/ 5580484 h 5751788"/>
              <a:gd name="connsiteX191" fmla="*/ 722302 w 4891380"/>
              <a:gd name="connsiteY191" fmla="*/ 5545298 h 5751788"/>
              <a:gd name="connsiteX192" fmla="*/ 703875 w 4891380"/>
              <a:gd name="connsiteY192" fmla="*/ 5533192 h 5751788"/>
              <a:gd name="connsiteX193" fmla="*/ 694796 w 4891380"/>
              <a:gd name="connsiteY193" fmla="*/ 5528048 h 5751788"/>
              <a:gd name="connsiteX194" fmla="*/ 672327 w 4891380"/>
              <a:gd name="connsiteY194" fmla="*/ 5512468 h 5751788"/>
              <a:gd name="connsiteX195" fmla="*/ 618064 w 4891380"/>
              <a:gd name="connsiteY195" fmla="*/ 5476820 h 5751788"/>
              <a:gd name="connsiteX196" fmla="*/ 596562 w 4891380"/>
              <a:gd name="connsiteY196" fmla="*/ 5459933 h 5751788"/>
              <a:gd name="connsiteX197" fmla="*/ 585496 w 4891380"/>
              <a:gd name="connsiteY197" fmla="*/ 5452261 h 5751788"/>
              <a:gd name="connsiteX198" fmla="*/ 565345 w 4891380"/>
              <a:gd name="connsiteY198" fmla="*/ 5435418 h 5751788"/>
              <a:gd name="connsiteX199" fmla="*/ 520187 w 4891380"/>
              <a:gd name="connsiteY199" fmla="*/ 5399950 h 5751788"/>
              <a:gd name="connsiteX200" fmla="*/ 496267 w 4891380"/>
              <a:gd name="connsiteY200" fmla="*/ 5377676 h 5751788"/>
              <a:gd name="connsiteX201" fmla="*/ 483628 w 4891380"/>
              <a:gd name="connsiteY201" fmla="*/ 5367110 h 5751788"/>
              <a:gd name="connsiteX202" fmla="*/ 466291 w 4891380"/>
              <a:gd name="connsiteY202" fmla="*/ 5349761 h 5751788"/>
              <a:gd name="connsiteX203" fmla="*/ 429176 w 4891380"/>
              <a:gd name="connsiteY203" fmla="*/ 5315197 h 5751788"/>
              <a:gd name="connsiteX204" fmla="*/ 403557 w 4891380"/>
              <a:gd name="connsiteY204" fmla="*/ 5286978 h 5751788"/>
              <a:gd name="connsiteX205" fmla="*/ 389801 w 4891380"/>
              <a:gd name="connsiteY205" fmla="*/ 5273210 h 5751788"/>
              <a:gd name="connsiteX206" fmla="*/ 375432 w 4891380"/>
              <a:gd name="connsiteY206" fmla="*/ 5255998 h 5751788"/>
              <a:gd name="connsiteX207" fmla="*/ 345533 w 4891380"/>
              <a:gd name="connsiteY207" fmla="*/ 5223062 h 5751788"/>
              <a:gd name="connsiteX208" fmla="*/ 318997 w 4891380"/>
              <a:gd name="connsiteY208" fmla="*/ 5188388 h 5751788"/>
              <a:gd name="connsiteX209" fmla="*/ 304626 w 4891380"/>
              <a:gd name="connsiteY209" fmla="*/ 5171174 h 5751788"/>
              <a:gd name="connsiteX210" fmla="*/ 293189 w 4891380"/>
              <a:gd name="connsiteY210" fmla="*/ 5154668 h 5751788"/>
              <a:gd name="connsiteX211" fmla="*/ 269757 w 4891380"/>
              <a:gd name="connsiteY211" fmla="*/ 5124051 h 5751788"/>
              <a:gd name="connsiteX212" fmla="*/ 243139 w 4891380"/>
              <a:gd name="connsiteY212" fmla="*/ 5082435 h 5751788"/>
              <a:gd name="connsiteX213" fmla="*/ 228710 w 4891380"/>
              <a:gd name="connsiteY213" fmla="*/ 5061612 h 5751788"/>
              <a:gd name="connsiteX214" fmla="*/ 220040 w 4891380"/>
              <a:gd name="connsiteY214" fmla="*/ 5046323 h 5751788"/>
              <a:gd name="connsiteX215" fmla="*/ 202353 w 4891380"/>
              <a:gd name="connsiteY215" fmla="*/ 5018669 h 5751788"/>
              <a:gd name="connsiteX216" fmla="*/ 176540 w 4891380"/>
              <a:gd name="connsiteY216" fmla="*/ 4969611 h 5751788"/>
              <a:gd name="connsiteX217" fmla="*/ 162664 w 4891380"/>
              <a:gd name="connsiteY217" fmla="*/ 4945140 h 5751788"/>
              <a:gd name="connsiteX218" fmla="*/ 156502 w 4891380"/>
              <a:gd name="connsiteY218" fmla="*/ 4931527 h 5751788"/>
              <a:gd name="connsiteX219" fmla="*/ 143819 w 4891380"/>
              <a:gd name="connsiteY219" fmla="*/ 4907422 h 5751788"/>
              <a:gd name="connsiteX220" fmla="*/ 119746 w 4891380"/>
              <a:gd name="connsiteY220" fmla="*/ 4850319 h 5751788"/>
              <a:gd name="connsiteX221" fmla="*/ 107095 w 4891380"/>
              <a:gd name="connsiteY221" fmla="*/ 4822372 h 5751788"/>
              <a:gd name="connsiteX222" fmla="*/ 103107 w 4891380"/>
              <a:gd name="connsiteY222" fmla="*/ 4810852 h 5751788"/>
              <a:gd name="connsiteX223" fmla="*/ 94658 w 4891380"/>
              <a:gd name="connsiteY223" fmla="*/ 4790814 h 5751788"/>
              <a:gd name="connsiteX224" fmla="*/ 73303 w 4891380"/>
              <a:gd name="connsiteY224" fmla="*/ 4724785 h 5751788"/>
              <a:gd name="connsiteX225" fmla="*/ 62615 w 4891380"/>
              <a:gd name="connsiteY225" fmla="*/ 4693921 h 5751788"/>
              <a:gd name="connsiteX226" fmla="*/ 60392 w 4891380"/>
              <a:gd name="connsiteY226" fmla="*/ 4684865 h 5751788"/>
              <a:gd name="connsiteX227" fmla="*/ 55373 w 4891380"/>
              <a:gd name="connsiteY227" fmla="*/ 4669350 h 5751788"/>
              <a:gd name="connsiteX228" fmla="*/ 37752 w 4891380"/>
              <a:gd name="connsiteY228" fmla="*/ 4592660 h 5751788"/>
              <a:gd name="connsiteX229" fmla="*/ 29830 w 4891380"/>
              <a:gd name="connsiteY229" fmla="*/ 4560396 h 5751788"/>
              <a:gd name="connsiteX230" fmla="*/ 28902 w 4891380"/>
              <a:gd name="connsiteY230" fmla="*/ 4554148 h 5751788"/>
              <a:gd name="connsiteX231" fmla="*/ 26465 w 4891380"/>
              <a:gd name="connsiteY231" fmla="*/ 4543536 h 5751788"/>
              <a:gd name="connsiteX232" fmla="*/ 13636 w 4891380"/>
              <a:gd name="connsiteY232" fmla="*/ 4451278 h 5751788"/>
              <a:gd name="connsiteX233" fmla="*/ 9352 w 4891380"/>
              <a:gd name="connsiteY233" fmla="*/ 4422418 h 5751788"/>
              <a:gd name="connsiteX234" fmla="*/ 9200 w 4891380"/>
              <a:gd name="connsiteY234" fmla="*/ 4419380 h 5751788"/>
              <a:gd name="connsiteX235" fmla="*/ 8434 w 4891380"/>
              <a:gd name="connsiteY235" fmla="*/ 4413877 h 5751788"/>
              <a:gd name="connsiteX236" fmla="*/ 5426 w 4891380"/>
              <a:gd name="connsiteY236" fmla="*/ 4349890 h 5751788"/>
              <a:gd name="connsiteX237" fmla="*/ 1757 w 4891380"/>
              <a:gd name="connsiteY237" fmla="*/ 4349890 h 5751788"/>
              <a:gd name="connsiteX238" fmla="*/ 1757 w 4891380"/>
              <a:gd name="connsiteY238" fmla="*/ 4290894 h 5751788"/>
              <a:gd name="connsiteX239" fmla="*/ 1757 w 4891380"/>
              <a:gd name="connsiteY239" fmla="*/ 4271904 h 5751788"/>
              <a:gd name="connsiteX240" fmla="*/ 1757 w 4891380"/>
              <a:gd name="connsiteY240" fmla="*/ 4271461 h 5751788"/>
              <a:gd name="connsiteX241" fmla="*/ 0 w 4891380"/>
              <a:gd name="connsiteY241" fmla="*/ 4271461 h 5751788"/>
              <a:gd name="connsiteX242" fmla="*/ 0 w 4891380"/>
              <a:gd name="connsiteY242" fmla="*/ 3988016 h 5751788"/>
              <a:gd name="connsiteX243" fmla="*/ 0 w 4891380"/>
              <a:gd name="connsiteY243" fmla="*/ 3394564 h 5751788"/>
              <a:gd name="connsiteX244" fmla="*/ 0 w 4891380"/>
              <a:gd name="connsiteY244" fmla="*/ 3111118 h 5751788"/>
              <a:gd name="connsiteX245" fmla="*/ 0 w 4891380"/>
              <a:gd name="connsiteY245" fmla="*/ 3032692 h 5751788"/>
              <a:gd name="connsiteX246" fmla="*/ 1740 w 4891380"/>
              <a:gd name="connsiteY246" fmla="*/ 3032692 h 5751788"/>
              <a:gd name="connsiteX247" fmla="*/ 1740 w 4891380"/>
              <a:gd name="connsiteY247" fmla="*/ 3022121 h 5751788"/>
              <a:gd name="connsiteX248" fmla="*/ 0 w 4891380"/>
              <a:gd name="connsiteY248" fmla="*/ 3022121 h 575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4891380" h="5751788">
                <a:moveTo>
                  <a:pt x="0" y="0"/>
                </a:moveTo>
                <a:lnTo>
                  <a:pt x="1471669" y="0"/>
                </a:lnTo>
                <a:lnTo>
                  <a:pt x="1960808" y="0"/>
                </a:lnTo>
                <a:lnTo>
                  <a:pt x="2930558" y="0"/>
                </a:lnTo>
                <a:lnTo>
                  <a:pt x="3419696" y="0"/>
                </a:lnTo>
                <a:lnTo>
                  <a:pt x="3458648" y="0"/>
                </a:lnTo>
                <a:lnTo>
                  <a:pt x="3458648" y="1"/>
                </a:lnTo>
                <a:lnTo>
                  <a:pt x="3488752" y="1"/>
                </a:lnTo>
                <a:lnTo>
                  <a:pt x="3488752" y="3335"/>
                </a:lnTo>
                <a:lnTo>
                  <a:pt x="3559916" y="6728"/>
                </a:lnTo>
                <a:lnTo>
                  <a:pt x="3564234" y="7350"/>
                </a:lnTo>
                <a:lnTo>
                  <a:pt x="3569987" y="7641"/>
                </a:lnTo>
                <a:cubicBezTo>
                  <a:pt x="3656849" y="16522"/>
                  <a:pt x="3741475" y="33018"/>
                  <a:pt x="3823196" y="56454"/>
                </a:cubicBezTo>
                <a:lnTo>
                  <a:pt x="3829154" y="58447"/>
                </a:lnTo>
                <a:lnTo>
                  <a:pt x="3830180" y="58696"/>
                </a:lnTo>
                <a:lnTo>
                  <a:pt x="3840400" y="62213"/>
                </a:lnTo>
                <a:lnTo>
                  <a:pt x="3943517" y="96729"/>
                </a:lnTo>
                <a:lnTo>
                  <a:pt x="3954101" y="101328"/>
                </a:lnTo>
                <a:lnTo>
                  <a:pt x="3958123" y="102713"/>
                </a:lnTo>
                <a:lnTo>
                  <a:pt x="3979869" y="112529"/>
                </a:lnTo>
                <a:lnTo>
                  <a:pt x="4058977" y="146909"/>
                </a:lnTo>
                <a:lnTo>
                  <a:pt x="4073742" y="154899"/>
                </a:lnTo>
                <a:lnTo>
                  <a:pt x="4080462" y="157932"/>
                </a:lnTo>
                <a:lnTo>
                  <a:pt x="4104058" y="171305"/>
                </a:lnTo>
                <a:lnTo>
                  <a:pt x="4169078" y="206492"/>
                </a:lnTo>
                <a:lnTo>
                  <a:pt x="4187505" y="218597"/>
                </a:lnTo>
                <a:lnTo>
                  <a:pt x="4196586" y="223742"/>
                </a:lnTo>
                <a:lnTo>
                  <a:pt x="4219053" y="239321"/>
                </a:lnTo>
                <a:lnTo>
                  <a:pt x="4273318" y="274969"/>
                </a:lnTo>
                <a:lnTo>
                  <a:pt x="4294820" y="291856"/>
                </a:lnTo>
                <a:lnTo>
                  <a:pt x="4305886" y="299528"/>
                </a:lnTo>
                <a:lnTo>
                  <a:pt x="4326035" y="316371"/>
                </a:lnTo>
                <a:lnTo>
                  <a:pt x="4371194" y="351838"/>
                </a:lnTo>
                <a:lnTo>
                  <a:pt x="4395115" y="374115"/>
                </a:lnTo>
                <a:lnTo>
                  <a:pt x="4407752" y="384678"/>
                </a:lnTo>
                <a:lnTo>
                  <a:pt x="4425090" y="402029"/>
                </a:lnTo>
                <a:lnTo>
                  <a:pt x="4462206" y="436592"/>
                </a:lnTo>
                <a:lnTo>
                  <a:pt x="4487824" y="464813"/>
                </a:lnTo>
                <a:lnTo>
                  <a:pt x="4501580" y="478579"/>
                </a:lnTo>
                <a:lnTo>
                  <a:pt x="4515948" y="495792"/>
                </a:lnTo>
                <a:lnTo>
                  <a:pt x="4545848" y="528727"/>
                </a:lnTo>
                <a:lnTo>
                  <a:pt x="4572386" y="563402"/>
                </a:lnTo>
                <a:lnTo>
                  <a:pt x="4586756" y="580617"/>
                </a:lnTo>
                <a:lnTo>
                  <a:pt x="4598192" y="597122"/>
                </a:lnTo>
                <a:lnTo>
                  <a:pt x="4621624" y="627739"/>
                </a:lnTo>
                <a:lnTo>
                  <a:pt x="4648242" y="669353"/>
                </a:lnTo>
                <a:lnTo>
                  <a:pt x="4662670" y="690177"/>
                </a:lnTo>
                <a:lnTo>
                  <a:pt x="4671340" y="705466"/>
                </a:lnTo>
                <a:lnTo>
                  <a:pt x="4689030" y="733120"/>
                </a:lnTo>
                <a:lnTo>
                  <a:pt x="4714840" y="782179"/>
                </a:lnTo>
                <a:lnTo>
                  <a:pt x="4728718" y="806649"/>
                </a:lnTo>
                <a:lnTo>
                  <a:pt x="4734878" y="820262"/>
                </a:lnTo>
                <a:lnTo>
                  <a:pt x="4747562" y="844366"/>
                </a:lnTo>
                <a:lnTo>
                  <a:pt x="4771636" y="901470"/>
                </a:lnTo>
                <a:lnTo>
                  <a:pt x="4784286" y="929419"/>
                </a:lnTo>
                <a:lnTo>
                  <a:pt x="4788276" y="940938"/>
                </a:lnTo>
                <a:lnTo>
                  <a:pt x="4796723" y="960976"/>
                </a:lnTo>
                <a:lnTo>
                  <a:pt x="4818080" y="1027005"/>
                </a:lnTo>
                <a:lnTo>
                  <a:pt x="4828768" y="1057869"/>
                </a:lnTo>
                <a:lnTo>
                  <a:pt x="4830991" y="1066923"/>
                </a:lnTo>
                <a:lnTo>
                  <a:pt x="4836008" y="1082438"/>
                </a:lnTo>
                <a:lnTo>
                  <a:pt x="4853630" y="1159131"/>
                </a:lnTo>
                <a:lnTo>
                  <a:pt x="4861552" y="1191393"/>
                </a:lnTo>
                <a:lnTo>
                  <a:pt x="4862478" y="1197643"/>
                </a:lnTo>
                <a:lnTo>
                  <a:pt x="4864917" y="1208252"/>
                </a:lnTo>
                <a:lnTo>
                  <a:pt x="4877746" y="1300513"/>
                </a:lnTo>
                <a:lnTo>
                  <a:pt x="4882030" y="1329371"/>
                </a:lnTo>
                <a:lnTo>
                  <a:pt x="4882182" y="1332410"/>
                </a:lnTo>
                <a:lnTo>
                  <a:pt x="4882946" y="1337912"/>
                </a:lnTo>
                <a:lnTo>
                  <a:pt x="4885957" y="1401901"/>
                </a:lnTo>
                <a:lnTo>
                  <a:pt x="4889624" y="1401901"/>
                </a:lnTo>
                <a:lnTo>
                  <a:pt x="4889624" y="1460895"/>
                </a:lnTo>
                <a:lnTo>
                  <a:pt x="4889624" y="1479885"/>
                </a:lnTo>
                <a:lnTo>
                  <a:pt x="4889624" y="1480329"/>
                </a:lnTo>
                <a:lnTo>
                  <a:pt x="4891380" y="1480329"/>
                </a:lnTo>
                <a:lnTo>
                  <a:pt x="4891380" y="1630791"/>
                </a:lnTo>
                <a:lnTo>
                  <a:pt x="3458648" y="1630791"/>
                </a:lnTo>
                <a:lnTo>
                  <a:pt x="3458648" y="1630792"/>
                </a:lnTo>
                <a:lnTo>
                  <a:pt x="3488751" y="1630792"/>
                </a:lnTo>
                <a:lnTo>
                  <a:pt x="3488751" y="1634126"/>
                </a:lnTo>
                <a:lnTo>
                  <a:pt x="3559916" y="1637518"/>
                </a:lnTo>
                <a:lnTo>
                  <a:pt x="3564234" y="1638140"/>
                </a:lnTo>
                <a:lnTo>
                  <a:pt x="3569986" y="1638433"/>
                </a:lnTo>
                <a:cubicBezTo>
                  <a:pt x="3656848" y="1647313"/>
                  <a:pt x="3741475" y="1663807"/>
                  <a:pt x="3823196" y="1687245"/>
                </a:cubicBezTo>
                <a:lnTo>
                  <a:pt x="3829153" y="1689237"/>
                </a:lnTo>
                <a:lnTo>
                  <a:pt x="3830180" y="1689487"/>
                </a:lnTo>
                <a:lnTo>
                  <a:pt x="3840400" y="1693004"/>
                </a:lnTo>
                <a:lnTo>
                  <a:pt x="3943516" y="1727519"/>
                </a:lnTo>
                <a:lnTo>
                  <a:pt x="3954100" y="1732119"/>
                </a:lnTo>
                <a:lnTo>
                  <a:pt x="3958122" y="1733503"/>
                </a:lnTo>
                <a:lnTo>
                  <a:pt x="3979868" y="1743320"/>
                </a:lnTo>
                <a:lnTo>
                  <a:pt x="4058976" y="1777700"/>
                </a:lnTo>
                <a:lnTo>
                  <a:pt x="4073741" y="1785690"/>
                </a:lnTo>
                <a:lnTo>
                  <a:pt x="4080461" y="1788723"/>
                </a:lnTo>
                <a:lnTo>
                  <a:pt x="4104057" y="1802096"/>
                </a:lnTo>
                <a:lnTo>
                  <a:pt x="4169078" y="1837283"/>
                </a:lnTo>
                <a:lnTo>
                  <a:pt x="4187505" y="1849388"/>
                </a:lnTo>
                <a:lnTo>
                  <a:pt x="4196584" y="1854532"/>
                </a:lnTo>
                <a:lnTo>
                  <a:pt x="4219053" y="1870112"/>
                </a:lnTo>
                <a:lnTo>
                  <a:pt x="4273316" y="1905760"/>
                </a:lnTo>
                <a:lnTo>
                  <a:pt x="4294820" y="1922647"/>
                </a:lnTo>
                <a:lnTo>
                  <a:pt x="4305884" y="1930319"/>
                </a:lnTo>
                <a:lnTo>
                  <a:pt x="4326034" y="1947163"/>
                </a:lnTo>
                <a:lnTo>
                  <a:pt x="4371194" y="1982629"/>
                </a:lnTo>
                <a:lnTo>
                  <a:pt x="4395114" y="2004906"/>
                </a:lnTo>
                <a:lnTo>
                  <a:pt x="4407752" y="2015469"/>
                </a:lnTo>
                <a:lnTo>
                  <a:pt x="4425088" y="2032820"/>
                </a:lnTo>
                <a:lnTo>
                  <a:pt x="4462204" y="2067383"/>
                </a:lnTo>
                <a:lnTo>
                  <a:pt x="4487823" y="2095602"/>
                </a:lnTo>
                <a:lnTo>
                  <a:pt x="4501580" y="2109370"/>
                </a:lnTo>
                <a:lnTo>
                  <a:pt x="4515948" y="2126583"/>
                </a:lnTo>
                <a:lnTo>
                  <a:pt x="4545846" y="2159517"/>
                </a:lnTo>
                <a:lnTo>
                  <a:pt x="4572383" y="2194191"/>
                </a:lnTo>
                <a:lnTo>
                  <a:pt x="4586756" y="2211408"/>
                </a:lnTo>
                <a:lnTo>
                  <a:pt x="4598190" y="2227912"/>
                </a:lnTo>
                <a:lnTo>
                  <a:pt x="4621623" y="2258530"/>
                </a:lnTo>
                <a:lnTo>
                  <a:pt x="4648242" y="2300144"/>
                </a:lnTo>
                <a:lnTo>
                  <a:pt x="4662670" y="2320968"/>
                </a:lnTo>
                <a:lnTo>
                  <a:pt x="4671340" y="2336257"/>
                </a:lnTo>
                <a:lnTo>
                  <a:pt x="4689028" y="2363911"/>
                </a:lnTo>
                <a:lnTo>
                  <a:pt x="4714840" y="2412970"/>
                </a:lnTo>
                <a:lnTo>
                  <a:pt x="4728716" y="2437439"/>
                </a:lnTo>
                <a:lnTo>
                  <a:pt x="4734877" y="2451053"/>
                </a:lnTo>
                <a:lnTo>
                  <a:pt x="4747562" y="2475157"/>
                </a:lnTo>
                <a:lnTo>
                  <a:pt x="4771636" y="2532261"/>
                </a:lnTo>
                <a:lnTo>
                  <a:pt x="4784286" y="2560208"/>
                </a:lnTo>
                <a:lnTo>
                  <a:pt x="4788274" y="2571729"/>
                </a:lnTo>
                <a:lnTo>
                  <a:pt x="4796723" y="2591766"/>
                </a:lnTo>
                <a:lnTo>
                  <a:pt x="4818078" y="2657796"/>
                </a:lnTo>
                <a:lnTo>
                  <a:pt x="4828766" y="2688660"/>
                </a:lnTo>
                <a:lnTo>
                  <a:pt x="4830988" y="2697714"/>
                </a:lnTo>
                <a:lnTo>
                  <a:pt x="4836008" y="2713229"/>
                </a:lnTo>
                <a:lnTo>
                  <a:pt x="4853629" y="2789921"/>
                </a:lnTo>
                <a:lnTo>
                  <a:pt x="4861550" y="2822183"/>
                </a:lnTo>
                <a:lnTo>
                  <a:pt x="4862477" y="2828433"/>
                </a:lnTo>
                <a:lnTo>
                  <a:pt x="4864917" y="2839043"/>
                </a:lnTo>
                <a:lnTo>
                  <a:pt x="4877746" y="2931303"/>
                </a:lnTo>
                <a:lnTo>
                  <a:pt x="4882029" y="2960161"/>
                </a:lnTo>
                <a:lnTo>
                  <a:pt x="4882180" y="2963200"/>
                </a:lnTo>
                <a:lnTo>
                  <a:pt x="4882946" y="2968703"/>
                </a:lnTo>
                <a:lnTo>
                  <a:pt x="4885956" y="3032692"/>
                </a:lnTo>
                <a:lnTo>
                  <a:pt x="4889624" y="3032692"/>
                </a:lnTo>
                <a:lnTo>
                  <a:pt x="4889624" y="3091686"/>
                </a:lnTo>
                <a:lnTo>
                  <a:pt x="4889624" y="3110675"/>
                </a:lnTo>
                <a:lnTo>
                  <a:pt x="4889624" y="3111118"/>
                </a:lnTo>
                <a:lnTo>
                  <a:pt x="4891379" y="3111118"/>
                </a:lnTo>
                <a:lnTo>
                  <a:pt x="4891379" y="3394564"/>
                </a:lnTo>
                <a:lnTo>
                  <a:pt x="4891379" y="3988016"/>
                </a:lnTo>
                <a:lnTo>
                  <a:pt x="4891379" y="4271461"/>
                </a:lnTo>
                <a:lnTo>
                  <a:pt x="4891379" y="4349890"/>
                </a:lnTo>
                <a:lnTo>
                  <a:pt x="4889640" y="4349890"/>
                </a:lnTo>
                <a:lnTo>
                  <a:pt x="4889640" y="5751787"/>
                </a:lnTo>
                <a:lnTo>
                  <a:pt x="4400501" y="5751787"/>
                </a:lnTo>
                <a:lnTo>
                  <a:pt x="3430753" y="5751787"/>
                </a:lnTo>
                <a:lnTo>
                  <a:pt x="3420593" y="5751787"/>
                </a:lnTo>
                <a:lnTo>
                  <a:pt x="3419727" y="5751787"/>
                </a:lnTo>
                <a:lnTo>
                  <a:pt x="3419712" y="5751788"/>
                </a:lnTo>
                <a:lnTo>
                  <a:pt x="3419699" y="5751787"/>
                </a:lnTo>
                <a:lnTo>
                  <a:pt x="3350656" y="5751787"/>
                </a:lnTo>
                <a:lnTo>
                  <a:pt x="2941613" y="5751787"/>
                </a:lnTo>
                <a:lnTo>
                  <a:pt x="2931453" y="5751787"/>
                </a:lnTo>
                <a:lnTo>
                  <a:pt x="2930587" y="5751787"/>
                </a:lnTo>
                <a:lnTo>
                  <a:pt x="2930574" y="5751788"/>
                </a:lnTo>
                <a:lnTo>
                  <a:pt x="2930558" y="5751787"/>
                </a:lnTo>
                <a:lnTo>
                  <a:pt x="2861517" y="5751787"/>
                </a:lnTo>
                <a:lnTo>
                  <a:pt x="1961706" y="5751787"/>
                </a:lnTo>
                <a:lnTo>
                  <a:pt x="1960839" y="5751787"/>
                </a:lnTo>
                <a:lnTo>
                  <a:pt x="1960824" y="5751788"/>
                </a:lnTo>
                <a:lnTo>
                  <a:pt x="1960810" y="5751787"/>
                </a:lnTo>
                <a:lnTo>
                  <a:pt x="1891768" y="5751787"/>
                </a:lnTo>
                <a:lnTo>
                  <a:pt x="1472566" y="5751787"/>
                </a:lnTo>
                <a:lnTo>
                  <a:pt x="1471699" y="5751787"/>
                </a:lnTo>
                <a:lnTo>
                  <a:pt x="1471686" y="5751788"/>
                </a:lnTo>
                <a:lnTo>
                  <a:pt x="1471671" y="5751787"/>
                </a:lnTo>
                <a:lnTo>
                  <a:pt x="1402630" y="5751787"/>
                </a:lnTo>
                <a:lnTo>
                  <a:pt x="1402630" y="5748454"/>
                </a:lnTo>
                <a:lnTo>
                  <a:pt x="1331464" y="5745061"/>
                </a:lnTo>
                <a:lnTo>
                  <a:pt x="1327146" y="5744440"/>
                </a:lnTo>
                <a:lnTo>
                  <a:pt x="1321394" y="5744149"/>
                </a:lnTo>
                <a:cubicBezTo>
                  <a:pt x="1234532" y="5735266"/>
                  <a:pt x="1149908" y="5718772"/>
                  <a:pt x="1068185" y="5695337"/>
                </a:cubicBezTo>
                <a:lnTo>
                  <a:pt x="1062227" y="5693342"/>
                </a:lnTo>
                <a:lnTo>
                  <a:pt x="1061200" y="5693093"/>
                </a:lnTo>
                <a:lnTo>
                  <a:pt x="1050981" y="5689577"/>
                </a:lnTo>
                <a:lnTo>
                  <a:pt x="947864" y="5655061"/>
                </a:lnTo>
                <a:lnTo>
                  <a:pt x="937281" y="5650461"/>
                </a:lnTo>
                <a:lnTo>
                  <a:pt x="933258" y="5649077"/>
                </a:lnTo>
                <a:lnTo>
                  <a:pt x="911512" y="5639261"/>
                </a:lnTo>
                <a:lnTo>
                  <a:pt x="832403" y="5604881"/>
                </a:lnTo>
                <a:lnTo>
                  <a:pt x="817638" y="5596891"/>
                </a:lnTo>
                <a:lnTo>
                  <a:pt x="810920" y="5593857"/>
                </a:lnTo>
                <a:lnTo>
                  <a:pt x="787324" y="5580484"/>
                </a:lnTo>
                <a:lnTo>
                  <a:pt x="722302" y="5545298"/>
                </a:lnTo>
                <a:lnTo>
                  <a:pt x="703875" y="5533192"/>
                </a:lnTo>
                <a:lnTo>
                  <a:pt x="694796" y="5528048"/>
                </a:lnTo>
                <a:lnTo>
                  <a:pt x="672327" y="5512468"/>
                </a:lnTo>
                <a:lnTo>
                  <a:pt x="618064" y="5476820"/>
                </a:lnTo>
                <a:lnTo>
                  <a:pt x="596562" y="5459933"/>
                </a:lnTo>
                <a:lnTo>
                  <a:pt x="585496" y="5452261"/>
                </a:lnTo>
                <a:lnTo>
                  <a:pt x="565345" y="5435418"/>
                </a:lnTo>
                <a:lnTo>
                  <a:pt x="520187" y="5399950"/>
                </a:lnTo>
                <a:lnTo>
                  <a:pt x="496267" y="5377676"/>
                </a:lnTo>
                <a:lnTo>
                  <a:pt x="483628" y="5367110"/>
                </a:lnTo>
                <a:lnTo>
                  <a:pt x="466291" y="5349761"/>
                </a:lnTo>
                <a:lnTo>
                  <a:pt x="429176" y="5315197"/>
                </a:lnTo>
                <a:lnTo>
                  <a:pt x="403557" y="5286978"/>
                </a:lnTo>
                <a:lnTo>
                  <a:pt x="389801" y="5273210"/>
                </a:lnTo>
                <a:lnTo>
                  <a:pt x="375432" y="5255998"/>
                </a:lnTo>
                <a:lnTo>
                  <a:pt x="345533" y="5223062"/>
                </a:lnTo>
                <a:lnTo>
                  <a:pt x="318997" y="5188388"/>
                </a:lnTo>
                <a:lnTo>
                  <a:pt x="304626" y="5171174"/>
                </a:lnTo>
                <a:lnTo>
                  <a:pt x="293189" y="5154668"/>
                </a:lnTo>
                <a:lnTo>
                  <a:pt x="269757" y="5124051"/>
                </a:lnTo>
                <a:lnTo>
                  <a:pt x="243139" y="5082435"/>
                </a:lnTo>
                <a:lnTo>
                  <a:pt x="228710" y="5061612"/>
                </a:lnTo>
                <a:lnTo>
                  <a:pt x="220040" y="5046323"/>
                </a:lnTo>
                <a:lnTo>
                  <a:pt x="202353" y="5018669"/>
                </a:lnTo>
                <a:lnTo>
                  <a:pt x="176540" y="4969611"/>
                </a:lnTo>
                <a:lnTo>
                  <a:pt x="162664" y="4945140"/>
                </a:lnTo>
                <a:lnTo>
                  <a:pt x="156502" y="4931527"/>
                </a:lnTo>
                <a:lnTo>
                  <a:pt x="143819" y="4907422"/>
                </a:lnTo>
                <a:lnTo>
                  <a:pt x="119746" y="4850319"/>
                </a:lnTo>
                <a:lnTo>
                  <a:pt x="107095" y="4822372"/>
                </a:lnTo>
                <a:lnTo>
                  <a:pt x="103107" y="4810852"/>
                </a:lnTo>
                <a:lnTo>
                  <a:pt x="94658" y="4790814"/>
                </a:lnTo>
                <a:lnTo>
                  <a:pt x="73303" y="4724785"/>
                </a:lnTo>
                <a:lnTo>
                  <a:pt x="62615" y="4693921"/>
                </a:lnTo>
                <a:lnTo>
                  <a:pt x="60392" y="4684865"/>
                </a:lnTo>
                <a:lnTo>
                  <a:pt x="55373" y="4669350"/>
                </a:lnTo>
                <a:lnTo>
                  <a:pt x="37752" y="4592660"/>
                </a:lnTo>
                <a:lnTo>
                  <a:pt x="29830" y="4560396"/>
                </a:lnTo>
                <a:lnTo>
                  <a:pt x="28902" y="4554148"/>
                </a:lnTo>
                <a:lnTo>
                  <a:pt x="26465" y="4543536"/>
                </a:lnTo>
                <a:lnTo>
                  <a:pt x="13636" y="4451278"/>
                </a:lnTo>
                <a:lnTo>
                  <a:pt x="9352" y="4422418"/>
                </a:lnTo>
                <a:lnTo>
                  <a:pt x="9200" y="4419380"/>
                </a:lnTo>
                <a:lnTo>
                  <a:pt x="8434" y="4413877"/>
                </a:lnTo>
                <a:lnTo>
                  <a:pt x="5426" y="4349890"/>
                </a:lnTo>
                <a:lnTo>
                  <a:pt x="1757" y="4349890"/>
                </a:lnTo>
                <a:lnTo>
                  <a:pt x="1757" y="4290894"/>
                </a:lnTo>
                <a:lnTo>
                  <a:pt x="1757" y="4271904"/>
                </a:lnTo>
                <a:lnTo>
                  <a:pt x="1757" y="4271461"/>
                </a:lnTo>
                <a:lnTo>
                  <a:pt x="0" y="4271461"/>
                </a:lnTo>
                <a:lnTo>
                  <a:pt x="0" y="3988016"/>
                </a:lnTo>
                <a:lnTo>
                  <a:pt x="0" y="3394564"/>
                </a:lnTo>
                <a:lnTo>
                  <a:pt x="0" y="3111118"/>
                </a:lnTo>
                <a:lnTo>
                  <a:pt x="0" y="3032692"/>
                </a:lnTo>
                <a:lnTo>
                  <a:pt x="1740" y="3032692"/>
                </a:lnTo>
                <a:lnTo>
                  <a:pt x="1740" y="3022121"/>
                </a:lnTo>
                <a:lnTo>
                  <a:pt x="0" y="302212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458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75BDB38-C6FF-44C2-A529-8B55DC13093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A81D4AD-B3AA-46C8-8EE5-4753744EB46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0488" y="1686665"/>
            <a:ext cx="4920143" cy="4409314"/>
          </a:xfrm>
          <a:custGeom>
            <a:avLst/>
            <a:gdLst>
              <a:gd name="connsiteX0" fmla="*/ 1341763 w 4920143"/>
              <a:gd name="connsiteY0" fmla="*/ 1689277 h 4409314"/>
              <a:gd name="connsiteX1" fmla="*/ 1360019 w 4920143"/>
              <a:gd name="connsiteY1" fmla="*/ 1689277 h 4409314"/>
              <a:gd name="connsiteX2" fmla="*/ 2720036 w 4920143"/>
              <a:gd name="connsiteY2" fmla="*/ 1689277 h 4409314"/>
              <a:gd name="connsiteX3" fmla="*/ 2720036 w 4920143"/>
              <a:gd name="connsiteY3" fmla="*/ 3049283 h 4409314"/>
              <a:gd name="connsiteX4" fmla="*/ 2720037 w 4920143"/>
              <a:gd name="connsiteY4" fmla="*/ 3049296 h 4409314"/>
              <a:gd name="connsiteX5" fmla="*/ 2720036 w 4920143"/>
              <a:gd name="connsiteY5" fmla="*/ 3049309 h 4409314"/>
              <a:gd name="connsiteX6" fmla="*/ 2720036 w 4920143"/>
              <a:gd name="connsiteY6" fmla="*/ 3113189 h 4409314"/>
              <a:gd name="connsiteX7" fmla="*/ 2716811 w 4920143"/>
              <a:gd name="connsiteY7" fmla="*/ 3113189 h 4409314"/>
              <a:gd name="connsiteX8" fmla="*/ 2713016 w 4920143"/>
              <a:gd name="connsiteY8" fmla="*/ 3188350 h 4409314"/>
              <a:gd name="connsiteX9" fmla="*/ 1360019 w 4920143"/>
              <a:gd name="connsiteY9" fmla="*/ 4409314 h 4409314"/>
              <a:gd name="connsiteX10" fmla="*/ 0 w 4920143"/>
              <a:gd name="connsiteY10" fmla="*/ 3049296 h 4409314"/>
              <a:gd name="connsiteX11" fmla="*/ 1220965 w 4920143"/>
              <a:gd name="connsiteY11" fmla="*/ 1696299 h 4409314"/>
              <a:gd name="connsiteX12" fmla="*/ 1341763 w 4920143"/>
              <a:gd name="connsiteY12" fmla="*/ 1690199 h 4409314"/>
              <a:gd name="connsiteX13" fmla="*/ 3889525 w 4920143"/>
              <a:gd name="connsiteY13" fmla="*/ 242287 h 4409314"/>
              <a:gd name="connsiteX14" fmla="*/ 3889535 w 4920143"/>
              <a:gd name="connsiteY14" fmla="*/ 242288 h 4409314"/>
              <a:gd name="connsiteX15" fmla="*/ 3890141 w 4920143"/>
              <a:gd name="connsiteY15" fmla="*/ 242288 h 4409314"/>
              <a:gd name="connsiteX16" fmla="*/ 4918926 w 4920143"/>
              <a:gd name="connsiteY16" fmla="*/ 242288 h 4409314"/>
              <a:gd name="connsiteX17" fmla="*/ 4918926 w 4920143"/>
              <a:gd name="connsiteY17" fmla="*/ 1217442 h 4409314"/>
              <a:gd name="connsiteX18" fmla="*/ 4920143 w 4920143"/>
              <a:gd name="connsiteY18" fmla="*/ 1217442 h 4409314"/>
              <a:gd name="connsiteX19" fmla="*/ 4920143 w 4920143"/>
              <a:gd name="connsiteY19" fmla="*/ 1271995 h 4409314"/>
              <a:gd name="connsiteX20" fmla="*/ 4920143 w 4920143"/>
              <a:gd name="connsiteY20" fmla="*/ 1469159 h 4409314"/>
              <a:gd name="connsiteX21" fmla="*/ 4920143 w 4920143"/>
              <a:gd name="connsiteY21" fmla="*/ 1881961 h 4409314"/>
              <a:gd name="connsiteX22" fmla="*/ 4920143 w 4920143"/>
              <a:gd name="connsiteY22" fmla="*/ 2079124 h 4409314"/>
              <a:gd name="connsiteX23" fmla="*/ 4918913 w 4920143"/>
              <a:gd name="connsiteY23" fmla="*/ 2079124 h 4409314"/>
              <a:gd name="connsiteX24" fmla="*/ 4918913 w 4920143"/>
              <a:gd name="connsiteY24" fmla="*/ 2079125 h 4409314"/>
              <a:gd name="connsiteX25" fmla="*/ 4918913 w 4920143"/>
              <a:gd name="connsiteY25" fmla="*/ 2079432 h 4409314"/>
              <a:gd name="connsiteX26" fmla="*/ 4918913 w 4920143"/>
              <a:gd name="connsiteY26" fmla="*/ 2092642 h 4409314"/>
              <a:gd name="connsiteX27" fmla="*/ 4918913 w 4920143"/>
              <a:gd name="connsiteY27" fmla="*/ 2133678 h 4409314"/>
              <a:gd name="connsiteX28" fmla="*/ 4916345 w 4920143"/>
              <a:gd name="connsiteY28" fmla="*/ 2133678 h 4409314"/>
              <a:gd name="connsiteX29" fmla="*/ 4914238 w 4920143"/>
              <a:gd name="connsiteY29" fmla="*/ 2178188 h 4409314"/>
              <a:gd name="connsiteX30" fmla="*/ 4913701 w 4920143"/>
              <a:gd name="connsiteY30" fmla="*/ 2182015 h 4409314"/>
              <a:gd name="connsiteX31" fmla="*/ 4913595 w 4920143"/>
              <a:gd name="connsiteY31" fmla="*/ 2184129 h 4409314"/>
              <a:gd name="connsiteX32" fmla="*/ 4910595 w 4920143"/>
              <a:gd name="connsiteY32" fmla="*/ 2204203 h 4409314"/>
              <a:gd name="connsiteX33" fmla="*/ 4901610 w 4920143"/>
              <a:gd name="connsiteY33" fmla="*/ 2268379 h 4409314"/>
              <a:gd name="connsiteX34" fmla="*/ 4899903 w 4920143"/>
              <a:gd name="connsiteY34" fmla="*/ 2275759 h 4409314"/>
              <a:gd name="connsiteX35" fmla="*/ 4899254 w 4920143"/>
              <a:gd name="connsiteY35" fmla="*/ 2280107 h 4409314"/>
              <a:gd name="connsiteX36" fmla="*/ 4893706 w 4920143"/>
              <a:gd name="connsiteY36" fmla="*/ 2302548 h 4409314"/>
              <a:gd name="connsiteX37" fmla="*/ 4881366 w 4920143"/>
              <a:gd name="connsiteY37" fmla="*/ 2355894 h 4409314"/>
              <a:gd name="connsiteX38" fmla="*/ 4877851 w 4920143"/>
              <a:gd name="connsiteY38" fmla="*/ 2366687 h 4409314"/>
              <a:gd name="connsiteX39" fmla="*/ 4876295 w 4920143"/>
              <a:gd name="connsiteY39" fmla="*/ 2372985 h 4409314"/>
              <a:gd name="connsiteX40" fmla="*/ 4868810 w 4920143"/>
              <a:gd name="connsiteY40" fmla="*/ 2394454 h 4409314"/>
              <a:gd name="connsiteX41" fmla="*/ 4853854 w 4920143"/>
              <a:gd name="connsiteY41" fmla="*/ 2440384 h 4409314"/>
              <a:gd name="connsiteX42" fmla="*/ 4847938 w 4920143"/>
              <a:gd name="connsiteY42" fmla="*/ 2454322 h 4409314"/>
              <a:gd name="connsiteX43" fmla="*/ 4845145 w 4920143"/>
              <a:gd name="connsiteY43" fmla="*/ 2462335 h 4409314"/>
              <a:gd name="connsiteX44" fmla="*/ 4836286 w 4920143"/>
              <a:gd name="connsiteY44" fmla="*/ 2481775 h 4409314"/>
              <a:gd name="connsiteX45" fmla="*/ 4819427 w 4920143"/>
              <a:gd name="connsiteY45" fmla="*/ 2521496 h 4409314"/>
              <a:gd name="connsiteX46" fmla="*/ 4810544 w 4920143"/>
              <a:gd name="connsiteY46" fmla="*/ 2538263 h 4409314"/>
              <a:gd name="connsiteX47" fmla="*/ 4806229 w 4920143"/>
              <a:gd name="connsiteY47" fmla="*/ 2547733 h 4409314"/>
              <a:gd name="connsiteX48" fmla="*/ 4796511 w 4920143"/>
              <a:gd name="connsiteY48" fmla="*/ 2564754 h 4409314"/>
              <a:gd name="connsiteX49" fmla="*/ 4778435 w 4920143"/>
              <a:gd name="connsiteY49" fmla="*/ 2598879 h 4409314"/>
              <a:gd name="connsiteX50" fmla="*/ 4766048 w 4920143"/>
              <a:gd name="connsiteY50" fmla="*/ 2618115 h 4409314"/>
              <a:gd name="connsiteX51" fmla="*/ 4759977 w 4920143"/>
              <a:gd name="connsiteY51" fmla="*/ 2628749 h 4409314"/>
              <a:gd name="connsiteX52" fmla="*/ 4749872 w 4920143"/>
              <a:gd name="connsiteY52" fmla="*/ 2643234 h 4409314"/>
              <a:gd name="connsiteX53" fmla="*/ 4731231 w 4920143"/>
              <a:gd name="connsiteY53" fmla="*/ 2672182 h 4409314"/>
              <a:gd name="connsiteX54" fmla="*/ 4714821 w 4920143"/>
              <a:gd name="connsiteY54" fmla="*/ 2693479 h 4409314"/>
              <a:gd name="connsiteX55" fmla="*/ 4706813 w 4920143"/>
              <a:gd name="connsiteY55" fmla="*/ 2704960 h 4409314"/>
              <a:gd name="connsiteX56" fmla="*/ 4696748 w 4920143"/>
              <a:gd name="connsiteY56" fmla="*/ 2716934 h 4409314"/>
              <a:gd name="connsiteX57" fmla="*/ 4678165 w 4920143"/>
              <a:gd name="connsiteY57" fmla="*/ 2741053 h 4409314"/>
              <a:gd name="connsiteX58" fmla="*/ 4657225 w 4920143"/>
              <a:gd name="connsiteY58" fmla="*/ 2763963 h 4409314"/>
              <a:gd name="connsiteX59" fmla="*/ 4647164 w 4920143"/>
              <a:gd name="connsiteY59" fmla="*/ 2775936 h 4409314"/>
              <a:gd name="connsiteX60" fmla="*/ 4637529 w 4920143"/>
              <a:gd name="connsiteY60" fmla="*/ 2785513 h 4409314"/>
              <a:gd name="connsiteX61" fmla="*/ 4619589 w 4920143"/>
              <a:gd name="connsiteY61" fmla="*/ 2805142 h 4409314"/>
              <a:gd name="connsiteX62" fmla="*/ 4593597 w 4920143"/>
              <a:gd name="connsiteY62" fmla="*/ 2829184 h 4409314"/>
              <a:gd name="connsiteX63" fmla="*/ 4581456 w 4920143"/>
              <a:gd name="connsiteY63" fmla="*/ 2841253 h 4409314"/>
              <a:gd name="connsiteX64" fmla="*/ 4572605 w 4920143"/>
              <a:gd name="connsiteY64" fmla="*/ 2848601 h 4409314"/>
              <a:gd name="connsiteX65" fmla="*/ 4555853 w 4920143"/>
              <a:gd name="connsiteY65" fmla="*/ 2864096 h 4409314"/>
              <a:gd name="connsiteX66" fmla="*/ 4524228 w 4920143"/>
              <a:gd name="connsiteY66" fmla="*/ 2888767 h 4409314"/>
              <a:gd name="connsiteX67" fmla="*/ 4510117 w 4920143"/>
              <a:gd name="connsiteY67" fmla="*/ 2900483 h 4409314"/>
              <a:gd name="connsiteX68" fmla="*/ 4502368 w 4920143"/>
              <a:gd name="connsiteY68" fmla="*/ 2905820 h 4409314"/>
              <a:gd name="connsiteX69" fmla="*/ 4487310 w 4920143"/>
              <a:gd name="connsiteY69" fmla="*/ 2917566 h 4409314"/>
              <a:gd name="connsiteX70" fmla="*/ 4449308 w 4920143"/>
              <a:gd name="connsiteY70" fmla="*/ 2942363 h 4409314"/>
              <a:gd name="connsiteX71" fmla="*/ 4433574 w 4920143"/>
              <a:gd name="connsiteY71" fmla="*/ 2953200 h 4409314"/>
              <a:gd name="connsiteX72" fmla="*/ 4427215 w 4920143"/>
              <a:gd name="connsiteY72" fmla="*/ 2956778 h 4409314"/>
              <a:gd name="connsiteX73" fmla="*/ 4414311 w 4920143"/>
              <a:gd name="connsiteY73" fmla="*/ 2965199 h 4409314"/>
              <a:gd name="connsiteX74" fmla="*/ 4368776 w 4920143"/>
              <a:gd name="connsiteY74" fmla="*/ 2989675 h 4409314"/>
              <a:gd name="connsiteX75" fmla="*/ 4352251 w 4920143"/>
              <a:gd name="connsiteY75" fmla="*/ 2998977 h 4409314"/>
              <a:gd name="connsiteX76" fmla="*/ 4347546 w 4920143"/>
              <a:gd name="connsiteY76" fmla="*/ 3001086 h 4409314"/>
              <a:gd name="connsiteX77" fmla="*/ 4337206 w 4920143"/>
              <a:gd name="connsiteY77" fmla="*/ 3006644 h 4409314"/>
              <a:gd name="connsiteX78" fmla="*/ 4281806 w 4920143"/>
              <a:gd name="connsiteY78" fmla="*/ 3030559 h 4409314"/>
              <a:gd name="connsiteX79" fmla="*/ 4266577 w 4920143"/>
              <a:gd name="connsiteY79" fmla="*/ 3037387 h 4409314"/>
              <a:gd name="connsiteX80" fmla="*/ 4263760 w 4920143"/>
              <a:gd name="connsiteY80" fmla="*/ 3038350 h 4409314"/>
              <a:gd name="connsiteX81" fmla="*/ 4256348 w 4920143"/>
              <a:gd name="connsiteY81" fmla="*/ 3041550 h 4409314"/>
              <a:gd name="connsiteX82" fmla="*/ 4184135 w 4920143"/>
              <a:gd name="connsiteY82" fmla="*/ 3065558 h 4409314"/>
              <a:gd name="connsiteX83" fmla="*/ 4176978 w 4920143"/>
              <a:gd name="connsiteY83" fmla="*/ 3068005 h 4409314"/>
              <a:gd name="connsiteX84" fmla="*/ 4176259 w 4920143"/>
              <a:gd name="connsiteY84" fmla="*/ 3068178 h 4409314"/>
              <a:gd name="connsiteX85" fmla="*/ 4172087 w 4920143"/>
              <a:gd name="connsiteY85" fmla="*/ 3069565 h 4409314"/>
              <a:gd name="connsiteX86" fmla="*/ 3994762 w 4920143"/>
              <a:gd name="connsiteY86" fmla="*/ 3103519 h 4409314"/>
              <a:gd name="connsiteX87" fmla="*/ 3990734 w 4920143"/>
              <a:gd name="connsiteY87" fmla="*/ 3103721 h 4409314"/>
              <a:gd name="connsiteX88" fmla="*/ 3987710 w 4920143"/>
              <a:gd name="connsiteY88" fmla="*/ 3104154 h 4409314"/>
              <a:gd name="connsiteX89" fmla="*/ 3937873 w 4920143"/>
              <a:gd name="connsiteY89" fmla="*/ 3106514 h 4409314"/>
              <a:gd name="connsiteX90" fmla="*/ 3937873 w 4920143"/>
              <a:gd name="connsiteY90" fmla="*/ 3108833 h 4409314"/>
              <a:gd name="connsiteX91" fmla="*/ 3889523 w 4920143"/>
              <a:gd name="connsiteY91" fmla="*/ 3108833 h 4409314"/>
              <a:gd name="connsiteX92" fmla="*/ 3889512 w 4920143"/>
              <a:gd name="connsiteY92" fmla="*/ 3108833 h 4409314"/>
              <a:gd name="connsiteX93" fmla="*/ 3889503 w 4920143"/>
              <a:gd name="connsiteY93" fmla="*/ 3108833 h 4409314"/>
              <a:gd name="connsiteX94" fmla="*/ 3888896 w 4920143"/>
              <a:gd name="connsiteY94" fmla="*/ 3108833 h 4409314"/>
              <a:gd name="connsiteX95" fmla="*/ 2860112 w 4920143"/>
              <a:gd name="connsiteY95" fmla="*/ 3108833 h 4409314"/>
              <a:gd name="connsiteX96" fmla="*/ 2860112 w 4920143"/>
              <a:gd name="connsiteY96" fmla="*/ 2133678 h 4409314"/>
              <a:gd name="connsiteX97" fmla="*/ 2858894 w 4920143"/>
              <a:gd name="connsiteY97" fmla="*/ 2133678 h 4409314"/>
              <a:gd name="connsiteX98" fmla="*/ 2858894 w 4920143"/>
              <a:gd name="connsiteY98" fmla="*/ 2079125 h 4409314"/>
              <a:gd name="connsiteX99" fmla="*/ 2858894 w 4920143"/>
              <a:gd name="connsiteY99" fmla="*/ 1881961 h 4409314"/>
              <a:gd name="connsiteX100" fmla="*/ 2858894 w 4920143"/>
              <a:gd name="connsiteY100" fmla="*/ 1469159 h 4409314"/>
              <a:gd name="connsiteX101" fmla="*/ 2858894 w 4920143"/>
              <a:gd name="connsiteY101" fmla="*/ 1271996 h 4409314"/>
              <a:gd name="connsiteX102" fmla="*/ 2860124 w 4920143"/>
              <a:gd name="connsiteY102" fmla="*/ 1271996 h 4409314"/>
              <a:gd name="connsiteX103" fmla="*/ 2860124 w 4920143"/>
              <a:gd name="connsiteY103" fmla="*/ 1271995 h 4409314"/>
              <a:gd name="connsiteX104" fmla="*/ 2860124 w 4920143"/>
              <a:gd name="connsiteY104" fmla="*/ 1271687 h 4409314"/>
              <a:gd name="connsiteX105" fmla="*/ 2860124 w 4920143"/>
              <a:gd name="connsiteY105" fmla="*/ 1258478 h 4409314"/>
              <a:gd name="connsiteX106" fmla="*/ 2860124 w 4920143"/>
              <a:gd name="connsiteY106" fmla="*/ 1217442 h 4409314"/>
              <a:gd name="connsiteX107" fmla="*/ 2862693 w 4920143"/>
              <a:gd name="connsiteY107" fmla="*/ 1217442 h 4409314"/>
              <a:gd name="connsiteX108" fmla="*/ 2864800 w 4920143"/>
              <a:gd name="connsiteY108" fmla="*/ 1172932 h 4409314"/>
              <a:gd name="connsiteX109" fmla="*/ 2865336 w 4920143"/>
              <a:gd name="connsiteY109" fmla="*/ 1169104 h 4409314"/>
              <a:gd name="connsiteX110" fmla="*/ 2865443 w 4920143"/>
              <a:gd name="connsiteY110" fmla="*/ 1166991 h 4409314"/>
              <a:gd name="connsiteX111" fmla="*/ 2868442 w 4920143"/>
              <a:gd name="connsiteY111" fmla="*/ 1146917 h 4409314"/>
              <a:gd name="connsiteX112" fmla="*/ 2877427 w 4920143"/>
              <a:gd name="connsiteY112" fmla="*/ 1082741 h 4409314"/>
              <a:gd name="connsiteX113" fmla="*/ 2879134 w 4920143"/>
              <a:gd name="connsiteY113" fmla="*/ 1075360 h 4409314"/>
              <a:gd name="connsiteX114" fmla="*/ 2879784 w 4920143"/>
              <a:gd name="connsiteY114" fmla="*/ 1071013 h 4409314"/>
              <a:gd name="connsiteX115" fmla="*/ 2885331 w 4920143"/>
              <a:gd name="connsiteY115" fmla="*/ 1048572 h 4409314"/>
              <a:gd name="connsiteX116" fmla="*/ 2897672 w 4920143"/>
              <a:gd name="connsiteY116" fmla="*/ 995225 h 4409314"/>
              <a:gd name="connsiteX117" fmla="*/ 2901186 w 4920143"/>
              <a:gd name="connsiteY117" fmla="*/ 984433 h 4409314"/>
              <a:gd name="connsiteX118" fmla="*/ 2902743 w 4920143"/>
              <a:gd name="connsiteY118" fmla="*/ 978135 h 4409314"/>
              <a:gd name="connsiteX119" fmla="*/ 2910227 w 4920143"/>
              <a:gd name="connsiteY119" fmla="*/ 956666 h 4409314"/>
              <a:gd name="connsiteX120" fmla="*/ 2925183 w 4920143"/>
              <a:gd name="connsiteY120" fmla="*/ 910736 h 4409314"/>
              <a:gd name="connsiteX121" fmla="*/ 2931099 w 4920143"/>
              <a:gd name="connsiteY121" fmla="*/ 896798 h 4409314"/>
              <a:gd name="connsiteX122" fmla="*/ 2933893 w 4920143"/>
              <a:gd name="connsiteY122" fmla="*/ 888785 h 4409314"/>
              <a:gd name="connsiteX123" fmla="*/ 2942752 w 4920143"/>
              <a:gd name="connsiteY123" fmla="*/ 869345 h 4409314"/>
              <a:gd name="connsiteX124" fmla="*/ 2959611 w 4920143"/>
              <a:gd name="connsiteY124" fmla="*/ 829624 h 4409314"/>
              <a:gd name="connsiteX125" fmla="*/ 2968493 w 4920143"/>
              <a:gd name="connsiteY125" fmla="*/ 812857 h 4409314"/>
              <a:gd name="connsiteX126" fmla="*/ 2972808 w 4920143"/>
              <a:gd name="connsiteY126" fmla="*/ 803388 h 4409314"/>
              <a:gd name="connsiteX127" fmla="*/ 2982526 w 4920143"/>
              <a:gd name="connsiteY127" fmla="*/ 786366 h 4409314"/>
              <a:gd name="connsiteX128" fmla="*/ 3000602 w 4920143"/>
              <a:gd name="connsiteY128" fmla="*/ 752241 h 4409314"/>
              <a:gd name="connsiteX129" fmla="*/ 3012989 w 4920143"/>
              <a:gd name="connsiteY129" fmla="*/ 733005 h 4409314"/>
              <a:gd name="connsiteX130" fmla="*/ 3019061 w 4920143"/>
              <a:gd name="connsiteY130" fmla="*/ 722370 h 4409314"/>
              <a:gd name="connsiteX131" fmla="*/ 3029166 w 4920143"/>
              <a:gd name="connsiteY131" fmla="*/ 707885 h 4409314"/>
              <a:gd name="connsiteX132" fmla="*/ 3047806 w 4920143"/>
              <a:gd name="connsiteY132" fmla="*/ 678938 h 4409314"/>
              <a:gd name="connsiteX133" fmla="*/ 3064216 w 4920143"/>
              <a:gd name="connsiteY133" fmla="*/ 657642 h 4409314"/>
              <a:gd name="connsiteX134" fmla="*/ 3072225 w 4920143"/>
              <a:gd name="connsiteY134" fmla="*/ 646160 h 4409314"/>
              <a:gd name="connsiteX135" fmla="*/ 3082289 w 4920143"/>
              <a:gd name="connsiteY135" fmla="*/ 634186 h 4409314"/>
              <a:gd name="connsiteX136" fmla="*/ 3100873 w 4920143"/>
              <a:gd name="connsiteY136" fmla="*/ 610067 h 4409314"/>
              <a:gd name="connsiteX137" fmla="*/ 3121812 w 4920143"/>
              <a:gd name="connsiteY137" fmla="*/ 587157 h 4409314"/>
              <a:gd name="connsiteX138" fmla="*/ 3131874 w 4920143"/>
              <a:gd name="connsiteY138" fmla="*/ 575184 h 4409314"/>
              <a:gd name="connsiteX139" fmla="*/ 3141508 w 4920143"/>
              <a:gd name="connsiteY139" fmla="*/ 565607 h 4409314"/>
              <a:gd name="connsiteX140" fmla="*/ 3159449 w 4920143"/>
              <a:gd name="connsiteY140" fmla="*/ 545978 h 4409314"/>
              <a:gd name="connsiteX141" fmla="*/ 3185440 w 4920143"/>
              <a:gd name="connsiteY141" fmla="*/ 521936 h 4409314"/>
              <a:gd name="connsiteX142" fmla="*/ 3197581 w 4920143"/>
              <a:gd name="connsiteY142" fmla="*/ 509867 h 4409314"/>
              <a:gd name="connsiteX143" fmla="*/ 3206432 w 4920143"/>
              <a:gd name="connsiteY143" fmla="*/ 502518 h 4409314"/>
              <a:gd name="connsiteX144" fmla="*/ 3223184 w 4920143"/>
              <a:gd name="connsiteY144" fmla="*/ 487023 h 4409314"/>
              <a:gd name="connsiteX145" fmla="*/ 3254809 w 4920143"/>
              <a:gd name="connsiteY145" fmla="*/ 462354 h 4409314"/>
              <a:gd name="connsiteX146" fmla="*/ 3268920 w 4920143"/>
              <a:gd name="connsiteY146" fmla="*/ 450637 h 4409314"/>
              <a:gd name="connsiteX147" fmla="*/ 3276669 w 4920143"/>
              <a:gd name="connsiteY147" fmla="*/ 445300 h 4409314"/>
              <a:gd name="connsiteX148" fmla="*/ 3291727 w 4920143"/>
              <a:gd name="connsiteY148" fmla="*/ 433554 h 4409314"/>
              <a:gd name="connsiteX149" fmla="*/ 3329729 w 4920143"/>
              <a:gd name="connsiteY149" fmla="*/ 408757 h 4409314"/>
              <a:gd name="connsiteX150" fmla="*/ 3345464 w 4920143"/>
              <a:gd name="connsiteY150" fmla="*/ 397920 h 4409314"/>
              <a:gd name="connsiteX151" fmla="*/ 3351822 w 4920143"/>
              <a:gd name="connsiteY151" fmla="*/ 394342 h 4409314"/>
              <a:gd name="connsiteX152" fmla="*/ 3364727 w 4920143"/>
              <a:gd name="connsiteY152" fmla="*/ 385921 h 4409314"/>
              <a:gd name="connsiteX153" fmla="*/ 3410262 w 4920143"/>
              <a:gd name="connsiteY153" fmla="*/ 361445 h 4409314"/>
              <a:gd name="connsiteX154" fmla="*/ 3426786 w 4920143"/>
              <a:gd name="connsiteY154" fmla="*/ 352143 h 4409314"/>
              <a:gd name="connsiteX155" fmla="*/ 3431491 w 4920143"/>
              <a:gd name="connsiteY155" fmla="*/ 350034 h 4409314"/>
              <a:gd name="connsiteX156" fmla="*/ 3441831 w 4920143"/>
              <a:gd name="connsiteY156" fmla="*/ 344476 h 4409314"/>
              <a:gd name="connsiteX157" fmla="*/ 3497231 w 4920143"/>
              <a:gd name="connsiteY157" fmla="*/ 320561 h 4409314"/>
              <a:gd name="connsiteX158" fmla="*/ 3512460 w 4920143"/>
              <a:gd name="connsiteY158" fmla="*/ 313733 h 4409314"/>
              <a:gd name="connsiteX159" fmla="*/ 3515277 w 4920143"/>
              <a:gd name="connsiteY159" fmla="*/ 312771 h 4409314"/>
              <a:gd name="connsiteX160" fmla="*/ 3522689 w 4920143"/>
              <a:gd name="connsiteY160" fmla="*/ 309570 h 4409314"/>
              <a:gd name="connsiteX161" fmla="*/ 3594903 w 4920143"/>
              <a:gd name="connsiteY161" fmla="*/ 285562 h 4409314"/>
              <a:gd name="connsiteX162" fmla="*/ 3602059 w 4920143"/>
              <a:gd name="connsiteY162" fmla="*/ 283116 h 4409314"/>
              <a:gd name="connsiteX163" fmla="*/ 3602778 w 4920143"/>
              <a:gd name="connsiteY163" fmla="*/ 282942 h 4409314"/>
              <a:gd name="connsiteX164" fmla="*/ 3606950 w 4920143"/>
              <a:gd name="connsiteY164" fmla="*/ 281556 h 4409314"/>
              <a:gd name="connsiteX165" fmla="*/ 3784274 w 4920143"/>
              <a:gd name="connsiteY165" fmla="*/ 247602 h 4409314"/>
              <a:gd name="connsiteX166" fmla="*/ 3788303 w 4920143"/>
              <a:gd name="connsiteY166" fmla="*/ 247399 h 4409314"/>
              <a:gd name="connsiteX167" fmla="*/ 3791327 w 4920143"/>
              <a:gd name="connsiteY167" fmla="*/ 246966 h 4409314"/>
              <a:gd name="connsiteX168" fmla="*/ 3841164 w 4920143"/>
              <a:gd name="connsiteY168" fmla="*/ 244606 h 4409314"/>
              <a:gd name="connsiteX169" fmla="*/ 3841164 w 4920143"/>
              <a:gd name="connsiteY169" fmla="*/ 242288 h 4409314"/>
              <a:gd name="connsiteX170" fmla="*/ 3889515 w 4920143"/>
              <a:gd name="connsiteY170" fmla="*/ 242288 h 4409314"/>
              <a:gd name="connsiteX171" fmla="*/ 1951529 w 4920143"/>
              <a:gd name="connsiteY171" fmla="*/ 0 h 4409314"/>
              <a:gd name="connsiteX172" fmla="*/ 2716068 w 4920143"/>
              <a:gd name="connsiteY172" fmla="*/ 689931 h 4409314"/>
              <a:gd name="connsiteX173" fmla="*/ 2718212 w 4920143"/>
              <a:gd name="connsiteY173" fmla="*/ 732402 h 4409314"/>
              <a:gd name="connsiteX174" fmla="*/ 2720035 w 4920143"/>
              <a:gd name="connsiteY174" fmla="*/ 732402 h 4409314"/>
              <a:gd name="connsiteX175" fmla="*/ 2720035 w 4920143"/>
              <a:gd name="connsiteY175" fmla="*/ 768498 h 4409314"/>
              <a:gd name="connsiteX176" fmla="*/ 2720035 w 4920143"/>
              <a:gd name="connsiteY176" fmla="*/ 768506 h 4409314"/>
              <a:gd name="connsiteX177" fmla="*/ 2720035 w 4920143"/>
              <a:gd name="connsiteY177" fmla="*/ 768513 h 4409314"/>
              <a:gd name="connsiteX178" fmla="*/ 2720035 w 4920143"/>
              <a:gd name="connsiteY178" fmla="*/ 1537012 h 4409314"/>
              <a:gd name="connsiteX179" fmla="*/ 1951529 w 4920143"/>
              <a:gd name="connsiteY179" fmla="*/ 1537012 h 4409314"/>
              <a:gd name="connsiteX180" fmla="*/ 1941213 w 4920143"/>
              <a:gd name="connsiteY180" fmla="*/ 1537012 h 4409314"/>
              <a:gd name="connsiteX181" fmla="*/ 1941213 w 4920143"/>
              <a:gd name="connsiteY181" fmla="*/ 1536491 h 4409314"/>
              <a:gd name="connsiteX182" fmla="*/ 1872954 w 4920143"/>
              <a:gd name="connsiteY182" fmla="*/ 1533044 h 4409314"/>
              <a:gd name="connsiteX183" fmla="*/ 1183023 w 4920143"/>
              <a:gd name="connsiteY183" fmla="*/ 768506 h 4409314"/>
              <a:gd name="connsiteX184" fmla="*/ 1951529 w 4920143"/>
              <a:gd name="connsiteY184" fmla="*/ 0 h 4409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</a:cxnLst>
            <a:rect l="l" t="t" r="r" b="b"/>
            <a:pathLst>
              <a:path w="4920143" h="4409314">
                <a:moveTo>
                  <a:pt x="1341763" y="1689277"/>
                </a:moveTo>
                <a:lnTo>
                  <a:pt x="1360019" y="1689277"/>
                </a:lnTo>
                <a:lnTo>
                  <a:pt x="2720036" y="1689277"/>
                </a:lnTo>
                <a:lnTo>
                  <a:pt x="2720036" y="3049283"/>
                </a:lnTo>
                <a:lnTo>
                  <a:pt x="2720037" y="3049296"/>
                </a:lnTo>
                <a:lnTo>
                  <a:pt x="2720036" y="3049309"/>
                </a:lnTo>
                <a:lnTo>
                  <a:pt x="2720036" y="3113189"/>
                </a:lnTo>
                <a:lnTo>
                  <a:pt x="2716811" y="3113189"/>
                </a:lnTo>
                <a:lnTo>
                  <a:pt x="2713016" y="3188350"/>
                </a:lnTo>
                <a:cubicBezTo>
                  <a:pt x="2643369" y="3874147"/>
                  <a:pt x="2064191" y="4409314"/>
                  <a:pt x="1360019" y="4409314"/>
                </a:cubicBezTo>
                <a:cubicBezTo>
                  <a:pt x="608901" y="4409314"/>
                  <a:pt x="0" y="3800413"/>
                  <a:pt x="0" y="3049296"/>
                </a:cubicBezTo>
                <a:cubicBezTo>
                  <a:pt x="0" y="2345123"/>
                  <a:pt x="535167" y="1765946"/>
                  <a:pt x="1220965" y="1696299"/>
                </a:cubicBezTo>
                <a:lnTo>
                  <a:pt x="1341763" y="1690199"/>
                </a:lnTo>
                <a:close/>
                <a:moveTo>
                  <a:pt x="3889525" y="242287"/>
                </a:moveTo>
                <a:lnTo>
                  <a:pt x="3889535" y="242288"/>
                </a:lnTo>
                <a:lnTo>
                  <a:pt x="3890141" y="242288"/>
                </a:lnTo>
                <a:lnTo>
                  <a:pt x="4918926" y="242288"/>
                </a:lnTo>
                <a:lnTo>
                  <a:pt x="4918926" y="1217442"/>
                </a:lnTo>
                <a:lnTo>
                  <a:pt x="4920143" y="1217442"/>
                </a:lnTo>
                <a:lnTo>
                  <a:pt x="4920143" y="1271995"/>
                </a:lnTo>
                <a:lnTo>
                  <a:pt x="4920143" y="1469159"/>
                </a:lnTo>
                <a:lnTo>
                  <a:pt x="4920143" y="1881961"/>
                </a:lnTo>
                <a:lnTo>
                  <a:pt x="4920143" y="2079124"/>
                </a:lnTo>
                <a:lnTo>
                  <a:pt x="4918913" y="2079124"/>
                </a:lnTo>
                <a:lnTo>
                  <a:pt x="4918913" y="2079125"/>
                </a:lnTo>
                <a:lnTo>
                  <a:pt x="4918913" y="2079432"/>
                </a:lnTo>
                <a:lnTo>
                  <a:pt x="4918913" y="2092642"/>
                </a:lnTo>
                <a:lnTo>
                  <a:pt x="4918913" y="2133678"/>
                </a:lnTo>
                <a:lnTo>
                  <a:pt x="4916345" y="2133678"/>
                </a:lnTo>
                <a:lnTo>
                  <a:pt x="4914238" y="2178188"/>
                </a:lnTo>
                <a:lnTo>
                  <a:pt x="4913701" y="2182015"/>
                </a:lnTo>
                <a:lnTo>
                  <a:pt x="4913595" y="2184129"/>
                </a:lnTo>
                <a:lnTo>
                  <a:pt x="4910595" y="2204203"/>
                </a:lnTo>
                <a:lnTo>
                  <a:pt x="4901610" y="2268379"/>
                </a:lnTo>
                <a:lnTo>
                  <a:pt x="4899903" y="2275759"/>
                </a:lnTo>
                <a:lnTo>
                  <a:pt x="4899254" y="2280107"/>
                </a:lnTo>
                <a:lnTo>
                  <a:pt x="4893706" y="2302548"/>
                </a:lnTo>
                <a:lnTo>
                  <a:pt x="4881366" y="2355894"/>
                </a:lnTo>
                <a:lnTo>
                  <a:pt x="4877851" y="2366687"/>
                </a:lnTo>
                <a:lnTo>
                  <a:pt x="4876295" y="2372985"/>
                </a:lnTo>
                <a:lnTo>
                  <a:pt x="4868810" y="2394454"/>
                </a:lnTo>
                <a:lnTo>
                  <a:pt x="4853854" y="2440384"/>
                </a:lnTo>
                <a:lnTo>
                  <a:pt x="4847938" y="2454322"/>
                </a:lnTo>
                <a:lnTo>
                  <a:pt x="4845145" y="2462335"/>
                </a:lnTo>
                <a:lnTo>
                  <a:pt x="4836286" y="2481775"/>
                </a:lnTo>
                <a:lnTo>
                  <a:pt x="4819427" y="2521496"/>
                </a:lnTo>
                <a:lnTo>
                  <a:pt x="4810544" y="2538263"/>
                </a:lnTo>
                <a:lnTo>
                  <a:pt x="4806229" y="2547733"/>
                </a:lnTo>
                <a:lnTo>
                  <a:pt x="4796511" y="2564754"/>
                </a:lnTo>
                <a:lnTo>
                  <a:pt x="4778435" y="2598879"/>
                </a:lnTo>
                <a:lnTo>
                  <a:pt x="4766048" y="2618115"/>
                </a:lnTo>
                <a:lnTo>
                  <a:pt x="4759977" y="2628749"/>
                </a:lnTo>
                <a:lnTo>
                  <a:pt x="4749872" y="2643234"/>
                </a:lnTo>
                <a:lnTo>
                  <a:pt x="4731231" y="2672182"/>
                </a:lnTo>
                <a:lnTo>
                  <a:pt x="4714821" y="2693479"/>
                </a:lnTo>
                <a:lnTo>
                  <a:pt x="4706813" y="2704960"/>
                </a:lnTo>
                <a:lnTo>
                  <a:pt x="4696748" y="2716934"/>
                </a:lnTo>
                <a:lnTo>
                  <a:pt x="4678165" y="2741053"/>
                </a:lnTo>
                <a:lnTo>
                  <a:pt x="4657225" y="2763963"/>
                </a:lnTo>
                <a:lnTo>
                  <a:pt x="4647164" y="2775936"/>
                </a:lnTo>
                <a:lnTo>
                  <a:pt x="4637529" y="2785513"/>
                </a:lnTo>
                <a:lnTo>
                  <a:pt x="4619589" y="2805142"/>
                </a:lnTo>
                <a:lnTo>
                  <a:pt x="4593597" y="2829184"/>
                </a:lnTo>
                <a:lnTo>
                  <a:pt x="4581456" y="2841253"/>
                </a:lnTo>
                <a:lnTo>
                  <a:pt x="4572605" y="2848601"/>
                </a:lnTo>
                <a:lnTo>
                  <a:pt x="4555853" y="2864096"/>
                </a:lnTo>
                <a:lnTo>
                  <a:pt x="4524228" y="2888767"/>
                </a:lnTo>
                <a:lnTo>
                  <a:pt x="4510117" y="2900483"/>
                </a:lnTo>
                <a:lnTo>
                  <a:pt x="4502368" y="2905820"/>
                </a:lnTo>
                <a:lnTo>
                  <a:pt x="4487310" y="2917566"/>
                </a:lnTo>
                <a:lnTo>
                  <a:pt x="4449308" y="2942363"/>
                </a:lnTo>
                <a:lnTo>
                  <a:pt x="4433574" y="2953200"/>
                </a:lnTo>
                <a:lnTo>
                  <a:pt x="4427215" y="2956778"/>
                </a:lnTo>
                <a:lnTo>
                  <a:pt x="4414311" y="2965199"/>
                </a:lnTo>
                <a:lnTo>
                  <a:pt x="4368776" y="2989675"/>
                </a:lnTo>
                <a:lnTo>
                  <a:pt x="4352251" y="2998977"/>
                </a:lnTo>
                <a:lnTo>
                  <a:pt x="4347546" y="3001086"/>
                </a:lnTo>
                <a:lnTo>
                  <a:pt x="4337206" y="3006644"/>
                </a:lnTo>
                <a:lnTo>
                  <a:pt x="4281806" y="3030559"/>
                </a:lnTo>
                <a:lnTo>
                  <a:pt x="4266577" y="3037387"/>
                </a:lnTo>
                <a:lnTo>
                  <a:pt x="4263760" y="3038350"/>
                </a:lnTo>
                <a:lnTo>
                  <a:pt x="4256348" y="3041550"/>
                </a:lnTo>
                <a:lnTo>
                  <a:pt x="4184135" y="3065558"/>
                </a:lnTo>
                <a:lnTo>
                  <a:pt x="4176978" y="3068005"/>
                </a:lnTo>
                <a:lnTo>
                  <a:pt x="4176259" y="3068178"/>
                </a:lnTo>
                <a:lnTo>
                  <a:pt x="4172087" y="3069565"/>
                </a:lnTo>
                <a:cubicBezTo>
                  <a:pt x="4114856" y="3085867"/>
                  <a:pt x="4055593" y="3097340"/>
                  <a:pt x="3994762" y="3103519"/>
                </a:cubicBezTo>
                <a:lnTo>
                  <a:pt x="3990734" y="3103721"/>
                </a:lnTo>
                <a:lnTo>
                  <a:pt x="3987710" y="3104154"/>
                </a:lnTo>
                <a:lnTo>
                  <a:pt x="3937873" y="3106514"/>
                </a:lnTo>
                <a:lnTo>
                  <a:pt x="3937873" y="3108833"/>
                </a:lnTo>
                <a:lnTo>
                  <a:pt x="3889523" y="3108833"/>
                </a:lnTo>
                <a:lnTo>
                  <a:pt x="3889512" y="3108833"/>
                </a:lnTo>
                <a:lnTo>
                  <a:pt x="3889503" y="3108833"/>
                </a:lnTo>
                <a:lnTo>
                  <a:pt x="3888896" y="3108833"/>
                </a:lnTo>
                <a:lnTo>
                  <a:pt x="2860112" y="3108833"/>
                </a:lnTo>
                <a:lnTo>
                  <a:pt x="2860112" y="2133678"/>
                </a:lnTo>
                <a:lnTo>
                  <a:pt x="2858894" y="2133678"/>
                </a:lnTo>
                <a:lnTo>
                  <a:pt x="2858894" y="2079125"/>
                </a:lnTo>
                <a:lnTo>
                  <a:pt x="2858894" y="1881961"/>
                </a:lnTo>
                <a:lnTo>
                  <a:pt x="2858894" y="1469159"/>
                </a:lnTo>
                <a:lnTo>
                  <a:pt x="2858894" y="1271996"/>
                </a:lnTo>
                <a:lnTo>
                  <a:pt x="2860124" y="1271996"/>
                </a:lnTo>
                <a:lnTo>
                  <a:pt x="2860124" y="1271995"/>
                </a:lnTo>
                <a:lnTo>
                  <a:pt x="2860124" y="1271687"/>
                </a:lnTo>
                <a:lnTo>
                  <a:pt x="2860124" y="1258478"/>
                </a:lnTo>
                <a:lnTo>
                  <a:pt x="2860124" y="1217442"/>
                </a:lnTo>
                <a:lnTo>
                  <a:pt x="2862693" y="1217442"/>
                </a:lnTo>
                <a:lnTo>
                  <a:pt x="2864800" y="1172932"/>
                </a:lnTo>
                <a:lnTo>
                  <a:pt x="2865336" y="1169104"/>
                </a:lnTo>
                <a:lnTo>
                  <a:pt x="2865443" y="1166991"/>
                </a:lnTo>
                <a:lnTo>
                  <a:pt x="2868442" y="1146917"/>
                </a:lnTo>
                <a:lnTo>
                  <a:pt x="2877427" y="1082741"/>
                </a:lnTo>
                <a:lnTo>
                  <a:pt x="2879134" y="1075360"/>
                </a:lnTo>
                <a:lnTo>
                  <a:pt x="2879784" y="1071013"/>
                </a:lnTo>
                <a:lnTo>
                  <a:pt x="2885331" y="1048572"/>
                </a:lnTo>
                <a:lnTo>
                  <a:pt x="2897672" y="995225"/>
                </a:lnTo>
                <a:lnTo>
                  <a:pt x="2901186" y="984433"/>
                </a:lnTo>
                <a:lnTo>
                  <a:pt x="2902743" y="978135"/>
                </a:lnTo>
                <a:lnTo>
                  <a:pt x="2910227" y="956666"/>
                </a:lnTo>
                <a:lnTo>
                  <a:pt x="2925183" y="910736"/>
                </a:lnTo>
                <a:lnTo>
                  <a:pt x="2931099" y="896798"/>
                </a:lnTo>
                <a:lnTo>
                  <a:pt x="2933893" y="888785"/>
                </a:lnTo>
                <a:lnTo>
                  <a:pt x="2942752" y="869345"/>
                </a:lnTo>
                <a:lnTo>
                  <a:pt x="2959611" y="829624"/>
                </a:lnTo>
                <a:lnTo>
                  <a:pt x="2968493" y="812857"/>
                </a:lnTo>
                <a:lnTo>
                  <a:pt x="2972808" y="803388"/>
                </a:lnTo>
                <a:lnTo>
                  <a:pt x="2982526" y="786366"/>
                </a:lnTo>
                <a:lnTo>
                  <a:pt x="3000602" y="752241"/>
                </a:lnTo>
                <a:lnTo>
                  <a:pt x="3012989" y="733005"/>
                </a:lnTo>
                <a:lnTo>
                  <a:pt x="3019061" y="722370"/>
                </a:lnTo>
                <a:lnTo>
                  <a:pt x="3029166" y="707885"/>
                </a:lnTo>
                <a:lnTo>
                  <a:pt x="3047806" y="678938"/>
                </a:lnTo>
                <a:lnTo>
                  <a:pt x="3064216" y="657642"/>
                </a:lnTo>
                <a:lnTo>
                  <a:pt x="3072225" y="646160"/>
                </a:lnTo>
                <a:lnTo>
                  <a:pt x="3082289" y="634186"/>
                </a:lnTo>
                <a:lnTo>
                  <a:pt x="3100873" y="610067"/>
                </a:lnTo>
                <a:lnTo>
                  <a:pt x="3121812" y="587157"/>
                </a:lnTo>
                <a:lnTo>
                  <a:pt x="3131874" y="575184"/>
                </a:lnTo>
                <a:lnTo>
                  <a:pt x="3141508" y="565607"/>
                </a:lnTo>
                <a:lnTo>
                  <a:pt x="3159449" y="545978"/>
                </a:lnTo>
                <a:lnTo>
                  <a:pt x="3185440" y="521936"/>
                </a:lnTo>
                <a:lnTo>
                  <a:pt x="3197581" y="509867"/>
                </a:lnTo>
                <a:lnTo>
                  <a:pt x="3206432" y="502518"/>
                </a:lnTo>
                <a:lnTo>
                  <a:pt x="3223184" y="487023"/>
                </a:lnTo>
                <a:lnTo>
                  <a:pt x="3254809" y="462354"/>
                </a:lnTo>
                <a:lnTo>
                  <a:pt x="3268920" y="450637"/>
                </a:lnTo>
                <a:lnTo>
                  <a:pt x="3276669" y="445300"/>
                </a:lnTo>
                <a:lnTo>
                  <a:pt x="3291727" y="433554"/>
                </a:lnTo>
                <a:lnTo>
                  <a:pt x="3329729" y="408757"/>
                </a:lnTo>
                <a:lnTo>
                  <a:pt x="3345464" y="397920"/>
                </a:lnTo>
                <a:lnTo>
                  <a:pt x="3351822" y="394342"/>
                </a:lnTo>
                <a:lnTo>
                  <a:pt x="3364727" y="385921"/>
                </a:lnTo>
                <a:lnTo>
                  <a:pt x="3410262" y="361445"/>
                </a:lnTo>
                <a:lnTo>
                  <a:pt x="3426786" y="352143"/>
                </a:lnTo>
                <a:lnTo>
                  <a:pt x="3431491" y="350034"/>
                </a:lnTo>
                <a:lnTo>
                  <a:pt x="3441831" y="344476"/>
                </a:lnTo>
                <a:lnTo>
                  <a:pt x="3497231" y="320561"/>
                </a:lnTo>
                <a:lnTo>
                  <a:pt x="3512460" y="313733"/>
                </a:lnTo>
                <a:lnTo>
                  <a:pt x="3515277" y="312771"/>
                </a:lnTo>
                <a:lnTo>
                  <a:pt x="3522689" y="309570"/>
                </a:lnTo>
                <a:lnTo>
                  <a:pt x="3594903" y="285562"/>
                </a:lnTo>
                <a:lnTo>
                  <a:pt x="3602059" y="283116"/>
                </a:lnTo>
                <a:lnTo>
                  <a:pt x="3602778" y="282942"/>
                </a:lnTo>
                <a:lnTo>
                  <a:pt x="3606950" y="281556"/>
                </a:lnTo>
                <a:cubicBezTo>
                  <a:pt x="3664181" y="265254"/>
                  <a:pt x="3723445" y="253780"/>
                  <a:pt x="3784274" y="247602"/>
                </a:cubicBezTo>
                <a:lnTo>
                  <a:pt x="3788303" y="247399"/>
                </a:lnTo>
                <a:lnTo>
                  <a:pt x="3791327" y="246966"/>
                </a:lnTo>
                <a:lnTo>
                  <a:pt x="3841164" y="244606"/>
                </a:lnTo>
                <a:lnTo>
                  <a:pt x="3841164" y="242288"/>
                </a:lnTo>
                <a:lnTo>
                  <a:pt x="3889515" y="242288"/>
                </a:lnTo>
                <a:close/>
                <a:moveTo>
                  <a:pt x="1951529" y="0"/>
                </a:moveTo>
                <a:cubicBezTo>
                  <a:pt x="2349436" y="0"/>
                  <a:pt x="2676712" y="302407"/>
                  <a:pt x="2716068" y="689931"/>
                </a:cubicBezTo>
                <a:lnTo>
                  <a:pt x="2718212" y="732402"/>
                </a:lnTo>
                <a:lnTo>
                  <a:pt x="2720035" y="732402"/>
                </a:lnTo>
                <a:lnTo>
                  <a:pt x="2720035" y="768498"/>
                </a:lnTo>
                <a:lnTo>
                  <a:pt x="2720035" y="768506"/>
                </a:lnTo>
                <a:lnTo>
                  <a:pt x="2720035" y="768513"/>
                </a:lnTo>
                <a:lnTo>
                  <a:pt x="2720035" y="1537012"/>
                </a:lnTo>
                <a:lnTo>
                  <a:pt x="1951529" y="1537012"/>
                </a:lnTo>
                <a:lnTo>
                  <a:pt x="1941213" y="1537012"/>
                </a:lnTo>
                <a:lnTo>
                  <a:pt x="1941213" y="1536491"/>
                </a:lnTo>
                <a:lnTo>
                  <a:pt x="1872954" y="1533044"/>
                </a:lnTo>
                <a:cubicBezTo>
                  <a:pt x="1485430" y="1493689"/>
                  <a:pt x="1183023" y="1166413"/>
                  <a:pt x="1183023" y="768506"/>
                </a:cubicBezTo>
                <a:cubicBezTo>
                  <a:pt x="1183023" y="344072"/>
                  <a:pt x="1527095" y="0"/>
                  <a:pt x="19515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03141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74D766E-C329-4E8E-9BE7-5A9155152C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1521" y="421903"/>
            <a:ext cx="4276338" cy="6031595"/>
          </a:xfrm>
          <a:custGeom>
            <a:avLst/>
            <a:gdLst>
              <a:gd name="connsiteX0" fmla="*/ 2781255 w 4276338"/>
              <a:gd name="connsiteY0" fmla="*/ 0 h 6031595"/>
              <a:gd name="connsiteX1" fmla="*/ 2781270 w 4276338"/>
              <a:gd name="connsiteY1" fmla="*/ 1 h 6031595"/>
              <a:gd name="connsiteX2" fmla="*/ 2851409 w 4276338"/>
              <a:gd name="connsiteY2" fmla="*/ 1 h 6031595"/>
              <a:gd name="connsiteX3" fmla="*/ 2851409 w 4276338"/>
              <a:gd name="connsiteY3" fmla="*/ 3435 h 6031595"/>
              <a:gd name="connsiteX4" fmla="*/ 2923707 w 4276338"/>
              <a:gd name="connsiteY4" fmla="*/ 6932 h 6031595"/>
              <a:gd name="connsiteX5" fmla="*/ 2928093 w 4276338"/>
              <a:gd name="connsiteY5" fmla="*/ 7572 h 6031595"/>
              <a:gd name="connsiteX6" fmla="*/ 2933936 w 4276338"/>
              <a:gd name="connsiteY6" fmla="*/ 7873 h 6031595"/>
              <a:gd name="connsiteX7" fmla="*/ 3191171 w 4276338"/>
              <a:gd name="connsiteY7" fmla="*/ 58173 h 6031595"/>
              <a:gd name="connsiteX8" fmla="*/ 3197224 w 4276338"/>
              <a:gd name="connsiteY8" fmla="*/ 60227 h 6031595"/>
              <a:gd name="connsiteX9" fmla="*/ 3198266 w 4276338"/>
              <a:gd name="connsiteY9" fmla="*/ 60485 h 6031595"/>
              <a:gd name="connsiteX10" fmla="*/ 3208649 w 4276338"/>
              <a:gd name="connsiteY10" fmla="*/ 64107 h 6031595"/>
              <a:gd name="connsiteX11" fmla="*/ 3313404 w 4276338"/>
              <a:gd name="connsiteY11" fmla="*/ 99675 h 6031595"/>
              <a:gd name="connsiteX12" fmla="*/ 3324157 w 4276338"/>
              <a:gd name="connsiteY12" fmla="*/ 104416 h 6031595"/>
              <a:gd name="connsiteX13" fmla="*/ 3328243 w 4276338"/>
              <a:gd name="connsiteY13" fmla="*/ 105842 h 6031595"/>
              <a:gd name="connsiteX14" fmla="*/ 3350335 w 4276338"/>
              <a:gd name="connsiteY14" fmla="*/ 115957 h 6031595"/>
              <a:gd name="connsiteX15" fmla="*/ 3430701 w 4276338"/>
              <a:gd name="connsiteY15" fmla="*/ 151385 h 6031595"/>
              <a:gd name="connsiteX16" fmla="*/ 3445700 w 4276338"/>
              <a:gd name="connsiteY16" fmla="*/ 159618 h 6031595"/>
              <a:gd name="connsiteX17" fmla="*/ 3452526 w 4276338"/>
              <a:gd name="connsiteY17" fmla="*/ 162743 h 6031595"/>
              <a:gd name="connsiteX18" fmla="*/ 3476498 w 4276338"/>
              <a:gd name="connsiteY18" fmla="*/ 176524 h 6031595"/>
              <a:gd name="connsiteX19" fmla="*/ 3542552 w 4276338"/>
              <a:gd name="connsiteY19" fmla="*/ 212783 h 6031595"/>
              <a:gd name="connsiteX20" fmla="*/ 3561272 w 4276338"/>
              <a:gd name="connsiteY20" fmla="*/ 225258 h 6031595"/>
              <a:gd name="connsiteX21" fmla="*/ 3570497 w 4276338"/>
              <a:gd name="connsiteY21" fmla="*/ 230558 h 6031595"/>
              <a:gd name="connsiteX22" fmla="*/ 3593322 w 4276338"/>
              <a:gd name="connsiteY22" fmla="*/ 246613 h 6031595"/>
              <a:gd name="connsiteX23" fmla="*/ 3648450 w 4276338"/>
              <a:gd name="connsiteY23" fmla="*/ 283348 h 6031595"/>
              <a:gd name="connsiteX24" fmla="*/ 3670293 w 4276338"/>
              <a:gd name="connsiteY24" fmla="*/ 300749 h 6031595"/>
              <a:gd name="connsiteX25" fmla="*/ 3681535 w 4276338"/>
              <a:gd name="connsiteY25" fmla="*/ 308654 h 6031595"/>
              <a:gd name="connsiteX26" fmla="*/ 3702004 w 4276338"/>
              <a:gd name="connsiteY26" fmla="*/ 326011 h 6031595"/>
              <a:gd name="connsiteX27" fmla="*/ 3747882 w 4276338"/>
              <a:gd name="connsiteY27" fmla="*/ 362560 h 6031595"/>
              <a:gd name="connsiteX28" fmla="*/ 3772182 w 4276338"/>
              <a:gd name="connsiteY28" fmla="*/ 385514 h 6031595"/>
              <a:gd name="connsiteX29" fmla="*/ 3785022 w 4276338"/>
              <a:gd name="connsiteY29" fmla="*/ 396400 h 6031595"/>
              <a:gd name="connsiteX30" fmla="*/ 3802634 w 4276338"/>
              <a:gd name="connsiteY30" fmla="*/ 414279 h 6031595"/>
              <a:gd name="connsiteX31" fmla="*/ 3840339 w 4276338"/>
              <a:gd name="connsiteY31" fmla="*/ 449896 h 6031595"/>
              <a:gd name="connsiteX32" fmla="*/ 3866365 w 4276338"/>
              <a:gd name="connsiteY32" fmla="*/ 478975 h 6031595"/>
              <a:gd name="connsiteX33" fmla="*/ 3880341 w 4276338"/>
              <a:gd name="connsiteY33" fmla="*/ 493162 h 6031595"/>
              <a:gd name="connsiteX34" fmla="*/ 3894937 w 4276338"/>
              <a:gd name="connsiteY34" fmla="*/ 510898 h 6031595"/>
              <a:gd name="connsiteX35" fmla="*/ 3925313 w 4276338"/>
              <a:gd name="connsiteY35" fmla="*/ 544839 h 6031595"/>
              <a:gd name="connsiteX36" fmla="*/ 3952271 w 4276338"/>
              <a:gd name="connsiteY36" fmla="*/ 580568 h 6031595"/>
              <a:gd name="connsiteX37" fmla="*/ 3966871 w 4276338"/>
              <a:gd name="connsiteY37" fmla="*/ 598307 h 6031595"/>
              <a:gd name="connsiteX38" fmla="*/ 3978488 w 4276338"/>
              <a:gd name="connsiteY38" fmla="*/ 615316 h 6031595"/>
              <a:gd name="connsiteX39" fmla="*/ 4002293 w 4276338"/>
              <a:gd name="connsiteY39" fmla="*/ 646866 h 6031595"/>
              <a:gd name="connsiteX40" fmla="*/ 4029333 w 4276338"/>
              <a:gd name="connsiteY40" fmla="*/ 689750 h 6031595"/>
              <a:gd name="connsiteX41" fmla="*/ 4043994 w 4276338"/>
              <a:gd name="connsiteY41" fmla="*/ 711208 h 6031595"/>
              <a:gd name="connsiteX42" fmla="*/ 4052801 w 4276338"/>
              <a:gd name="connsiteY42" fmla="*/ 726962 h 6031595"/>
              <a:gd name="connsiteX43" fmla="*/ 4070770 w 4276338"/>
              <a:gd name="connsiteY43" fmla="*/ 755459 h 6031595"/>
              <a:gd name="connsiteX44" fmla="*/ 4096992 w 4276338"/>
              <a:gd name="connsiteY44" fmla="*/ 806012 h 6031595"/>
              <a:gd name="connsiteX45" fmla="*/ 4111089 w 4276338"/>
              <a:gd name="connsiteY45" fmla="*/ 831229 h 6031595"/>
              <a:gd name="connsiteX46" fmla="*/ 4117349 w 4276338"/>
              <a:gd name="connsiteY46" fmla="*/ 845256 h 6031595"/>
              <a:gd name="connsiteX47" fmla="*/ 4130234 w 4276338"/>
              <a:gd name="connsiteY47" fmla="*/ 870096 h 6031595"/>
              <a:gd name="connsiteX48" fmla="*/ 4154690 w 4276338"/>
              <a:gd name="connsiteY48" fmla="*/ 928939 h 6031595"/>
              <a:gd name="connsiteX49" fmla="*/ 4167542 w 4276338"/>
              <a:gd name="connsiteY49" fmla="*/ 957739 h 6031595"/>
              <a:gd name="connsiteX50" fmla="*/ 4171594 w 4276338"/>
              <a:gd name="connsiteY50" fmla="*/ 969609 h 6031595"/>
              <a:gd name="connsiteX51" fmla="*/ 4180176 w 4276338"/>
              <a:gd name="connsiteY51" fmla="*/ 990257 h 6031595"/>
              <a:gd name="connsiteX52" fmla="*/ 4201872 w 4276338"/>
              <a:gd name="connsiteY52" fmla="*/ 1058299 h 6031595"/>
              <a:gd name="connsiteX53" fmla="*/ 4212729 w 4276338"/>
              <a:gd name="connsiteY53" fmla="*/ 1090104 h 6031595"/>
              <a:gd name="connsiteX54" fmla="*/ 4214988 w 4276338"/>
              <a:gd name="connsiteY54" fmla="*/ 1099433 h 6031595"/>
              <a:gd name="connsiteX55" fmla="*/ 4220085 w 4276338"/>
              <a:gd name="connsiteY55" fmla="*/ 1115422 h 6031595"/>
              <a:gd name="connsiteX56" fmla="*/ 4237987 w 4276338"/>
              <a:gd name="connsiteY56" fmla="*/ 1194451 h 6031595"/>
              <a:gd name="connsiteX57" fmla="*/ 4246035 w 4276338"/>
              <a:gd name="connsiteY57" fmla="*/ 1227696 h 6031595"/>
              <a:gd name="connsiteX58" fmla="*/ 4246977 w 4276338"/>
              <a:gd name="connsiteY58" fmla="*/ 1234136 h 6031595"/>
              <a:gd name="connsiteX59" fmla="*/ 4249454 w 4276338"/>
              <a:gd name="connsiteY59" fmla="*/ 1245070 h 6031595"/>
              <a:gd name="connsiteX60" fmla="*/ 4262487 w 4276338"/>
              <a:gd name="connsiteY60" fmla="*/ 1340141 h 6031595"/>
              <a:gd name="connsiteX61" fmla="*/ 4266839 w 4276338"/>
              <a:gd name="connsiteY61" fmla="*/ 1369879 h 6031595"/>
              <a:gd name="connsiteX62" fmla="*/ 4266994 w 4276338"/>
              <a:gd name="connsiteY62" fmla="*/ 1373011 h 6031595"/>
              <a:gd name="connsiteX63" fmla="*/ 4267770 w 4276338"/>
              <a:gd name="connsiteY63" fmla="*/ 1378680 h 6031595"/>
              <a:gd name="connsiteX64" fmla="*/ 4270828 w 4276338"/>
              <a:gd name="connsiteY64" fmla="*/ 1444619 h 6031595"/>
              <a:gd name="connsiteX65" fmla="*/ 4274554 w 4276338"/>
              <a:gd name="connsiteY65" fmla="*/ 1444619 h 6031595"/>
              <a:gd name="connsiteX66" fmla="*/ 4274554 w 4276338"/>
              <a:gd name="connsiteY66" fmla="*/ 1505411 h 6031595"/>
              <a:gd name="connsiteX67" fmla="*/ 4274554 w 4276338"/>
              <a:gd name="connsiteY67" fmla="*/ 1524979 h 6031595"/>
              <a:gd name="connsiteX68" fmla="*/ 4274554 w 4276338"/>
              <a:gd name="connsiteY68" fmla="*/ 1525435 h 6031595"/>
              <a:gd name="connsiteX69" fmla="*/ 4274554 w 4276338"/>
              <a:gd name="connsiteY69" fmla="*/ 1525436 h 6031595"/>
              <a:gd name="connsiteX70" fmla="*/ 4276338 w 4276338"/>
              <a:gd name="connsiteY70" fmla="*/ 1525436 h 6031595"/>
              <a:gd name="connsiteX71" fmla="*/ 4276338 w 4276338"/>
              <a:gd name="connsiteY71" fmla="*/ 1724345 h 6031595"/>
              <a:gd name="connsiteX72" fmla="*/ 4276338 w 4276338"/>
              <a:gd name="connsiteY72" fmla="*/ 1817518 h 6031595"/>
              <a:gd name="connsiteX73" fmla="*/ 4276338 w 4276338"/>
              <a:gd name="connsiteY73" fmla="*/ 1983152 h 6031595"/>
              <a:gd name="connsiteX74" fmla="*/ 4276338 w 4276338"/>
              <a:gd name="connsiteY74" fmla="*/ 2006218 h 6031595"/>
              <a:gd name="connsiteX75" fmla="*/ 4276338 w 4276338"/>
              <a:gd name="connsiteY75" fmla="*/ 2087036 h 6031595"/>
              <a:gd name="connsiteX76" fmla="*/ 4274572 w 4276338"/>
              <a:gd name="connsiteY76" fmla="*/ 2087036 h 6031595"/>
              <a:gd name="connsiteX77" fmla="*/ 4274572 w 4276338"/>
              <a:gd name="connsiteY77" fmla="*/ 2117837 h 6031595"/>
              <a:gd name="connsiteX78" fmla="*/ 3339497 w 4276338"/>
              <a:gd name="connsiteY78" fmla="*/ 2117837 h 6031595"/>
              <a:gd name="connsiteX79" fmla="*/ 3427735 w 4276338"/>
              <a:gd name="connsiteY79" fmla="*/ 2178609 h 6031595"/>
              <a:gd name="connsiteX80" fmla="*/ 4265298 w 4276338"/>
              <a:gd name="connsiteY80" fmla="*/ 3665658 h 6031595"/>
              <a:gd name="connsiteX81" fmla="*/ 4274888 w 4276338"/>
              <a:gd name="connsiteY81" fmla="*/ 3855572 h 6031595"/>
              <a:gd name="connsiteX82" fmla="*/ 4276337 w 4276338"/>
              <a:gd name="connsiteY82" fmla="*/ 3855572 h 6031595"/>
              <a:gd name="connsiteX83" fmla="*/ 4276337 w 4276338"/>
              <a:gd name="connsiteY83" fmla="*/ 3884273 h 6031595"/>
              <a:gd name="connsiteX84" fmla="*/ 4276337 w 4276338"/>
              <a:gd name="connsiteY84" fmla="*/ 4511467 h 6031595"/>
              <a:gd name="connsiteX85" fmla="*/ 4276338 w 4276338"/>
              <a:gd name="connsiteY85" fmla="*/ 4511467 h 6031595"/>
              <a:gd name="connsiteX86" fmla="*/ 4276338 w 4276338"/>
              <a:gd name="connsiteY86" fmla="*/ 4586977 h 6031595"/>
              <a:gd name="connsiteX87" fmla="*/ 4276337 w 4276338"/>
              <a:gd name="connsiteY87" fmla="*/ 4586977 h 6031595"/>
              <a:gd name="connsiteX88" fmla="*/ 4276337 w 4276338"/>
              <a:gd name="connsiteY88" fmla="*/ 6022440 h 6031595"/>
              <a:gd name="connsiteX89" fmla="*/ 4274571 w 4276338"/>
              <a:gd name="connsiteY89" fmla="*/ 6022440 h 6031595"/>
              <a:gd name="connsiteX90" fmla="*/ 4274571 w 4276338"/>
              <a:gd name="connsiteY90" fmla="*/ 6031594 h 6031595"/>
              <a:gd name="connsiteX91" fmla="*/ 2782168 w 4276338"/>
              <a:gd name="connsiteY91" fmla="*/ 6031594 h 6031595"/>
              <a:gd name="connsiteX92" fmla="*/ 2781288 w 4276338"/>
              <a:gd name="connsiteY92" fmla="*/ 6031594 h 6031595"/>
              <a:gd name="connsiteX93" fmla="*/ 2781274 w 4276338"/>
              <a:gd name="connsiteY93" fmla="*/ 6031595 h 6031595"/>
              <a:gd name="connsiteX94" fmla="*/ 2781260 w 4276338"/>
              <a:gd name="connsiteY94" fmla="*/ 6031594 h 6031595"/>
              <a:gd name="connsiteX95" fmla="*/ 2711119 w 4276338"/>
              <a:gd name="connsiteY95" fmla="*/ 6031594 h 6031595"/>
              <a:gd name="connsiteX96" fmla="*/ 2711119 w 4276338"/>
              <a:gd name="connsiteY96" fmla="*/ 6028160 h 6031595"/>
              <a:gd name="connsiteX97" fmla="*/ 2638822 w 4276338"/>
              <a:gd name="connsiteY97" fmla="*/ 6024663 h 6031595"/>
              <a:gd name="connsiteX98" fmla="*/ 2634436 w 4276338"/>
              <a:gd name="connsiteY98" fmla="*/ 6024023 h 6031595"/>
              <a:gd name="connsiteX99" fmla="*/ 2628593 w 4276338"/>
              <a:gd name="connsiteY99" fmla="*/ 6023723 h 6031595"/>
              <a:gd name="connsiteX100" fmla="*/ 2620014 w 4276338"/>
              <a:gd name="connsiteY100" fmla="*/ 6022440 h 6031595"/>
              <a:gd name="connsiteX101" fmla="*/ 2138188 w 4276338"/>
              <a:gd name="connsiteY101" fmla="*/ 6022440 h 6031595"/>
              <a:gd name="connsiteX102" fmla="*/ 2138169 w 4276338"/>
              <a:gd name="connsiteY102" fmla="*/ 6022441 h 6031595"/>
              <a:gd name="connsiteX103" fmla="*/ 2138148 w 4276338"/>
              <a:gd name="connsiteY103" fmla="*/ 6022440 h 6031595"/>
              <a:gd name="connsiteX104" fmla="*/ 2037719 w 4276338"/>
              <a:gd name="connsiteY104" fmla="*/ 6022440 h 6031595"/>
              <a:gd name="connsiteX105" fmla="*/ 2037719 w 4276338"/>
              <a:gd name="connsiteY105" fmla="*/ 6017369 h 6031595"/>
              <a:gd name="connsiteX106" fmla="*/ 1919554 w 4276338"/>
              <a:gd name="connsiteY106" fmla="*/ 6011403 h 6031595"/>
              <a:gd name="connsiteX107" fmla="*/ 0 w 4276338"/>
              <a:gd name="connsiteY107" fmla="*/ 3884273 h 6031595"/>
              <a:gd name="connsiteX108" fmla="*/ 1118990 w 4276338"/>
              <a:gd name="connsiteY108" fmla="*/ 2004170 h 6031595"/>
              <a:gd name="connsiteX109" fmla="*/ 1286191 w 4276338"/>
              <a:gd name="connsiteY109" fmla="*/ 1923625 h 6031595"/>
              <a:gd name="connsiteX110" fmla="*/ 1286191 w 4276338"/>
              <a:gd name="connsiteY110" fmla="*/ 1817518 h 6031595"/>
              <a:gd name="connsiteX111" fmla="*/ 1286191 w 4276338"/>
              <a:gd name="connsiteY111" fmla="*/ 1724345 h 6031595"/>
              <a:gd name="connsiteX112" fmla="*/ 1286191 w 4276338"/>
              <a:gd name="connsiteY112" fmla="*/ 1525435 h 6031595"/>
              <a:gd name="connsiteX113" fmla="*/ 1286191 w 4276338"/>
              <a:gd name="connsiteY113" fmla="*/ 1444619 h 6031595"/>
              <a:gd name="connsiteX114" fmla="*/ 1287958 w 4276338"/>
              <a:gd name="connsiteY114" fmla="*/ 1444619 h 6031595"/>
              <a:gd name="connsiteX115" fmla="*/ 1287958 w 4276338"/>
              <a:gd name="connsiteY115" fmla="*/ 1 h 6031595"/>
              <a:gd name="connsiteX116" fmla="*/ 2780361 w 4276338"/>
              <a:gd name="connsiteY116" fmla="*/ 1 h 6031595"/>
              <a:gd name="connsiteX117" fmla="*/ 2781241 w 4276338"/>
              <a:gd name="connsiteY117" fmla="*/ 1 h 6031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4276338" h="6031595">
                <a:moveTo>
                  <a:pt x="2781255" y="0"/>
                </a:moveTo>
                <a:lnTo>
                  <a:pt x="2781270" y="1"/>
                </a:lnTo>
                <a:lnTo>
                  <a:pt x="2851409" y="1"/>
                </a:lnTo>
                <a:lnTo>
                  <a:pt x="2851409" y="3435"/>
                </a:lnTo>
                <a:lnTo>
                  <a:pt x="2923707" y="6932"/>
                </a:lnTo>
                <a:lnTo>
                  <a:pt x="2928093" y="7572"/>
                </a:lnTo>
                <a:lnTo>
                  <a:pt x="2933936" y="7873"/>
                </a:lnTo>
                <a:cubicBezTo>
                  <a:pt x="3022179" y="17025"/>
                  <a:pt x="3108150" y="34023"/>
                  <a:pt x="3191171" y="58173"/>
                </a:cubicBezTo>
                <a:lnTo>
                  <a:pt x="3197224" y="60227"/>
                </a:lnTo>
                <a:lnTo>
                  <a:pt x="3198266" y="60485"/>
                </a:lnTo>
                <a:lnTo>
                  <a:pt x="3208649" y="64107"/>
                </a:lnTo>
                <a:lnTo>
                  <a:pt x="3313404" y="99675"/>
                </a:lnTo>
                <a:lnTo>
                  <a:pt x="3324157" y="104416"/>
                </a:lnTo>
                <a:lnTo>
                  <a:pt x="3328243" y="105842"/>
                </a:lnTo>
                <a:lnTo>
                  <a:pt x="3350335" y="115957"/>
                </a:lnTo>
                <a:lnTo>
                  <a:pt x="3430701" y="151385"/>
                </a:lnTo>
                <a:lnTo>
                  <a:pt x="3445700" y="159618"/>
                </a:lnTo>
                <a:lnTo>
                  <a:pt x="3452526" y="162743"/>
                </a:lnTo>
                <a:lnTo>
                  <a:pt x="3476498" y="176524"/>
                </a:lnTo>
                <a:lnTo>
                  <a:pt x="3542552" y="212783"/>
                </a:lnTo>
                <a:lnTo>
                  <a:pt x="3561272" y="225258"/>
                </a:lnTo>
                <a:lnTo>
                  <a:pt x="3570497" y="230558"/>
                </a:lnTo>
                <a:lnTo>
                  <a:pt x="3593322" y="246613"/>
                </a:lnTo>
                <a:lnTo>
                  <a:pt x="3648450" y="283348"/>
                </a:lnTo>
                <a:lnTo>
                  <a:pt x="3670293" y="300749"/>
                </a:lnTo>
                <a:lnTo>
                  <a:pt x="3681535" y="308654"/>
                </a:lnTo>
                <a:lnTo>
                  <a:pt x="3702004" y="326011"/>
                </a:lnTo>
                <a:lnTo>
                  <a:pt x="3747882" y="362560"/>
                </a:lnTo>
                <a:lnTo>
                  <a:pt x="3772182" y="385514"/>
                </a:lnTo>
                <a:lnTo>
                  <a:pt x="3785022" y="396400"/>
                </a:lnTo>
                <a:lnTo>
                  <a:pt x="3802634" y="414279"/>
                </a:lnTo>
                <a:lnTo>
                  <a:pt x="3840339" y="449896"/>
                </a:lnTo>
                <a:lnTo>
                  <a:pt x="3866365" y="478975"/>
                </a:lnTo>
                <a:lnTo>
                  <a:pt x="3880341" y="493162"/>
                </a:lnTo>
                <a:lnTo>
                  <a:pt x="3894937" y="510898"/>
                </a:lnTo>
                <a:lnTo>
                  <a:pt x="3925313" y="544839"/>
                </a:lnTo>
                <a:lnTo>
                  <a:pt x="3952271" y="580568"/>
                </a:lnTo>
                <a:lnTo>
                  <a:pt x="3966871" y="598307"/>
                </a:lnTo>
                <a:lnTo>
                  <a:pt x="3978488" y="615316"/>
                </a:lnTo>
                <a:lnTo>
                  <a:pt x="4002293" y="646866"/>
                </a:lnTo>
                <a:lnTo>
                  <a:pt x="4029333" y="689750"/>
                </a:lnTo>
                <a:lnTo>
                  <a:pt x="4043994" y="711208"/>
                </a:lnTo>
                <a:lnTo>
                  <a:pt x="4052801" y="726962"/>
                </a:lnTo>
                <a:lnTo>
                  <a:pt x="4070770" y="755459"/>
                </a:lnTo>
                <a:lnTo>
                  <a:pt x="4096992" y="806012"/>
                </a:lnTo>
                <a:lnTo>
                  <a:pt x="4111089" y="831229"/>
                </a:lnTo>
                <a:lnTo>
                  <a:pt x="4117349" y="845256"/>
                </a:lnTo>
                <a:lnTo>
                  <a:pt x="4130234" y="870096"/>
                </a:lnTo>
                <a:lnTo>
                  <a:pt x="4154690" y="928939"/>
                </a:lnTo>
                <a:lnTo>
                  <a:pt x="4167542" y="957739"/>
                </a:lnTo>
                <a:lnTo>
                  <a:pt x="4171594" y="969609"/>
                </a:lnTo>
                <a:lnTo>
                  <a:pt x="4180176" y="990257"/>
                </a:lnTo>
                <a:lnTo>
                  <a:pt x="4201872" y="1058299"/>
                </a:lnTo>
                <a:lnTo>
                  <a:pt x="4212729" y="1090104"/>
                </a:lnTo>
                <a:lnTo>
                  <a:pt x="4214988" y="1099433"/>
                </a:lnTo>
                <a:lnTo>
                  <a:pt x="4220085" y="1115422"/>
                </a:lnTo>
                <a:lnTo>
                  <a:pt x="4237987" y="1194451"/>
                </a:lnTo>
                <a:lnTo>
                  <a:pt x="4246035" y="1227696"/>
                </a:lnTo>
                <a:lnTo>
                  <a:pt x="4246977" y="1234136"/>
                </a:lnTo>
                <a:lnTo>
                  <a:pt x="4249454" y="1245070"/>
                </a:lnTo>
                <a:lnTo>
                  <a:pt x="4262487" y="1340141"/>
                </a:lnTo>
                <a:lnTo>
                  <a:pt x="4266839" y="1369879"/>
                </a:lnTo>
                <a:lnTo>
                  <a:pt x="4266994" y="1373011"/>
                </a:lnTo>
                <a:lnTo>
                  <a:pt x="4267770" y="1378680"/>
                </a:lnTo>
                <a:lnTo>
                  <a:pt x="4270828" y="1444619"/>
                </a:lnTo>
                <a:lnTo>
                  <a:pt x="4274554" y="1444619"/>
                </a:lnTo>
                <a:lnTo>
                  <a:pt x="4274554" y="1505411"/>
                </a:lnTo>
                <a:lnTo>
                  <a:pt x="4274554" y="1524979"/>
                </a:lnTo>
                <a:lnTo>
                  <a:pt x="4274554" y="1525435"/>
                </a:lnTo>
                <a:lnTo>
                  <a:pt x="4274554" y="1525436"/>
                </a:lnTo>
                <a:lnTo>
                  <a:pt x="4276338" y="1525436"/>
                </a:lnTo>
                <a:lnTo>
                  <a:pt x="4276338" y="1724345"/>
                </a:lnTo>
                <a:lnTo>
                  <a:pt x="4276338" y="1817518"/>
                </a:lnTo>
                <a:lnTo>
                  <a:pt x="4276338" y="1983152"/>
                </a:lnTo>
                <a:lnTo>
                  <a:pt x="4276338" y="2006218"/>
                </a:lnTo>
                <a:lnTo>
                  <a:pt x="4276338" y="2087036"/>
                </a:lnTo>
                <a:lnTo>
                  <a:pt x="4274572" y="2087036"/>
                </a:lnTo>
                <a:lnTo>
                  <a:pt x="4274572" y="2117837"/>
                </a:lnTo>
                <a:lnTo>
                  <a:pt x="3339497" y="2117837"/>
                </a:lnTo>
                <a:lnTo>
                  <a:pt x="3427735" y="2178609"/>
                </a:lnTo>
                <a:cubicBezTo>
                  <a:pt x="3888653" y="2527630"/>
                  <a:pt x="4203707" y="3059179"/>
                  <a:pt x="4265298" y="3665658"/>
                </a:cubicBezTo>
                <a:lnTo>
                  <a:pt x="4274888" y="3855572"/>
                </a:lnTo>
                <a:lnTo>
                  <a:pt x="4276337" y="3855572"/>
                </a:lnTo>
                <a:lnTo>
                  <a:pt x="4276337" y="3884273"/>
                </a:lnTo>
                <a:lnTo>
                  <a:pt x="4276337" y="4511467"/>
                </a:lnTo>
                <a:lnTo>
                  <a:pt x="4276338" y="4511467"/>
                </a:lnTo>
                <a:lnTo>
                  <a:pt x="4276338" y="4586977"/>
                </a:lnTo>
                <a:lnTo>
                  <a:pt x="4276337" y="4586977"/>
                </a:lnTo>
                <a:lnTo>
                  <a:pt x="4276337" y="6022440"/>
                </a:lnTo>
                <a:lnTo>
                  <a:pt x="4274571" y="6022440"/>
                </a:lnTo>
                <a:lnTo>
                  <a:pt x="4274571" y="6031594"/>
                </a:lnTo>
                <a:lnTo>
                  <a:pt x="2782168" y="6031594"/>
                </a:lnTo>
                <a:lnTo>
                  <a:pt x="2781288" y="6031594"/>
                </a:lnTo>
                <a:lnTo>
                  <a:pt x="2781274" y="6031595"/>
                </a:lnTo>
                <a:lnTo>
                  <a:pt x="2781260" y="6031594"/>
                </a:lnTo>
                <a:lnTo>
                  <a:pt x="2711119" y="6031594"/>
                </a:lnTo>
                <a:lnTo>
                  <a:pt x="2711119" y="6028160"/>
                </a:lnTo>
                <a:lnTo>
                  <a:pt x="2638822" y="6024663"/>
                </a:lnTo>
                <a:lnTo>
                  <a:pt x="2634436" y="6024023"/>
                </a:lnTo>
                <a:lnTo>
                  <a:pt x="2628593" y="6023723"/>
                </a:lnTo>
                <a:lnTo>
                  <a:pt x="2620014" y="6022440"/>
                </a:lnTo>
                <a:lnTo>
                  <a:pt x="2138188" y="6022440"/>
                </a:lnTo>
                <a:lnTo>
                  <a:pt x="2138169" y="6022441"/>
                </a:lnTo>
                <a:lnTo>
                  <a:pt x="2138148" y="6022440"/>
                </a:lnTo>
                <a:lnTo>
                  <a:pt x="2037719" y="6022440"/>
                </a:lnTo>
                <a:lnTo>
                  <a:pt x="2037719" y="6017369"/>
                </a:lnTo>
                <a:lnTo>
                  <a:pt x="1919554" y="6011403"/>
                </a:lnTo>
                <a:cubicBezTo>
                  <a:pt x="841369" y="5901906"/>
                  <a:pt x="0" y="4991346"/>
                  <a:pt x="0" y="3884273"/>
                </a:cubicBezTo>
                <a:cubicBezTo>
                  <a:pt x="0" y="3072419"/>
                  <a:pt x="452469" y="2366246"/>
                  <a:pt x="1118990" y="2004170"/>
                </a:cubicBezTo>
                <a:lnTo>
                  <a:pt x="1286191" y="1923625"/>
                </a:lnTo>
                <a:lnTo>
                  <a:pt x="1286191" y="1817518"/>
                </a:lnTo>
                <a:lnTo>
                  <a:pt x="1286191" y="1724345"/>
                </a:lnTo>
                <a:lnTo>
                  <a:pt x="1286191" y="1525435"/>
                </a:lnTo>
                <a:lnTo>
                  <a:pt x="1286191" y="1444619"/>
                </a:lnTo>
                <a:lnTo>
                  <a:pt x="1287958" y="1444619"/>
                </a:lnTo>
                <a:lnTo>
                  <a:pt x="1287958" y="1"/>
                </a:lnTo>
                <a:lnTo>
                  <a:pt x="2780361" y="1"/>
                </a:lnTo>
                <a:lnTo>
                  <a:pt x="2781241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7247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35AA4D9-8E71-425F-B709-FFF07857CF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65546" y="502816"/>
            <a:ext cx="3545964" cy="5948510"/>
          </a:xfrm>
          <a:custGeom>
            <a:avLst/>
            <a:gdLst>
              <a:gd name="connsiteX0" fmla="*/ 2388888 w 3545964"/>
              <a:gd name="connsiteY0" fmla="*/ 3738199 h 5948510"/>
              <a:gd name="connsiteX1" fmla="*/ 2440798 w 3545964"/>
              <a:gd name="connsiteY1" fmla="*/ 3738199 h 5948510"/>
              <a:gd name="connsiteX2" fmla="*/ 2440808 w 3545964"/>
              <a:gd name="connsiteY2" fmla="*/ 3738199 h 5948510"/>
              <a:gd name="connsiteX3" fmla="*/ 2440818 w 3545964"/>
              <a:gd name="connsiteY3" fmla="*/ 3738199 h 5948510"/>
              <a:gd name="connsiteX4" fmla="*/ 3545964 w 3545964"/>
              <a:gd name="connsiteY4" fmla="*/ 3738199 h 5948510"/>
              <a:gd name="connsiteX5" fmla="*/ 3545964 w 3545964"/>
              <a:gd name="connsiteY5" fmla="*/ 4843354 h 5948510"/>
              <a:gd name="connsiteX6" fmla="*/ 3545964 w 3545964"/>
              <a:gd name="connsiteY6" fmla="*/ 4858189 h 5948510"/>
              <a:gd name="connsiteX7" fmla="*/ 3545214 w 3545964"/>
              <a:gd name="connsiteY7" fmla="*/ 4858189 h 5948510"/>
              <a:gd name="connsiteX8" fmla="*/ 3540258 w 3545964"/>
              <a:gd name="connsiteY8" fmla="*/ 4956350 h 5948510"/>
              <a:gd name="connsiteX9" fmla="*/ 2440808 w 3545964"/>
              <a:gd name="connsiteY9" fmla="*/ 5948510 h 5948510"/>
              <a:gd name="connsiteX10" fmla="*/ 1335652 w 3545964"/>
              <a:gd name="connsiteY10" fmla="*/ 4843354 h 5948510"/>
              <a:gd name="connsiteX11" fmla="*/ 2327812 w 3545964"/>
              <a:gd name="connsiteY11" fmla="*/ 3743904 h 5948510"/>
              <a:gd name="connsiteX12" fmla="*/ 2388888 w 3545964"/>
              <a:gd name="connsiteY12" fmla="*/ 3740820 h 5948510"/>
              <a:gd name="connsiteX13" fmla="*/ 1772981 w 3545964"/>
              <a:gd name="connsiteY13" fmla="*/ 0 h 5948510"/>
              <a:gd name="connsiteX14" fmla="*/ 3536810 w 3545964"/>
              <a:gd name="connsiteY14" fmla="*/ 1591706 h 5948510"/>
              <a:gd name="connsiteX15" fmla="*/ 3544762 w 3545964"/>
              <a:gd name="connsiteY15" fmla="*/ 1749184 h 5948510"/>
              <a:gd name="connsiteX16" fmla="*/ 3545964 w 3545964"/>
              <a:gd name="connsiteY16" fmla="*/ 1749184 h 5948510"/>
              <a:gd name="connsiteX17" fmla="*/ 3545964 w 3545964"/>
              <a:gd name="connsiteY17" fmla="*/ 1772983 h 5948510"/>
              <a:gd name="connsiteX18" fmla="*/ 3545964 w 3545964"/>
              <a:gd name="connsiteY18" fmla="*/ 3545964 h 5948510"/>
              <a:gd name="connsiteX19" fmla="*/ 1772998 w 3545964"/>
              <a:gd name="connsiteY19" fmla="*/ 3545964 h 5948510"/>
              <a:gd name="connsiteX20" fmla="*/ 1772982 w 3545964"/>
              <a:gd name="connsiteY20" fmla="*/ 3545965 h 5948510"/>
              <a:gd name="connsiteX21" fmla="*/ 1772964 w 3545964"/>
              <a:gd name="connsiteY21" fmla="*/ 3545964 h 5948510"/>
              <a:gd name="connsiteX22" fmla="*/ 1689688 w 3545964"/>
              <a:gd name="connsiteY22" fmla="*/ 3545964 h 5948510"/>
              <a:gd name="connsiteX23" fmla="*/ 1689688 w 3545964"/>
              <a:gd name="connsiteY23" fmla="*/ 3541759 h 5948510"/>
              <a:gd name="connsiteX24" fmla="*/ 1591706 w 3545964"/>
              <a:gd name="connsiteY24" fmla="*/ 3536812 h 5948510"/>
              <a:gd name="connsiteX25" fmla="*/ 0 w 3545964"/>
              <a:gd name="connsiteY25" fmla="*/ 1772982 h 5948510"/>
              <a:gd name="connsiteX26" fmla="*/ 1772981 w 3545964"/>
              <a:gd name="connsiteY26" fmla="*/ 0 h 5948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545964" h="5948510">
                <a:moveTo>
                  <a:pt x="2388888" y="3738199"/>
                </a:moveTo>
                <a:lnTo>
                  <a:pt x="2440798" y="3738199"/>
                </a:lnTo>
                <a:lnTo>
                  <a:pt x="2440808" y="3738199"/>
                </a:lnTo>
                <a:lnTo>
                  <a:pt x="2440818" y="3738199"/>
                </a:lnTo>
                <a:lnTo>
                  <a:pt x="3545964" y="3738199"/>
                </a:lnTo>
                <a:lnTo>
                  <a:pt x="3545964" y="4843354"/>
                </a:lnTo>
                <a:lnTo>
                  <a:pt x="3545964" y="4858189"/>
                </a:lnTo>
                <a:lnTo>
                  <a:pt x="3545214" y="4858189"/>
                </a:lnTo>
                <a:lnTo>
                  <a:pt x="3540258" y="4956350"/>
                </a:lnTo>
                <a:cubicBezTo>
                  <a:pt x="3483662" y="5513631"/>
                  <a:pt x="3013022" y="5948510"/>
                  <a:pt x="2440808" y="5948510"/>
                </a:cubicBezTo>
                <a:cubicBezTo>
                  <a:pt x="1830448" y="5948510"/>
                  <a:pt x="1335652" y="5453715"/>
                  <a:pt x="1335652" y="4843354"/>
                </a:cubicBezTo>
                <a:cubicBezTo>
                  <a:pt x="1335652" y="4271141"/>
                  <a:pt x="1770530" y="3800500"/>
                  <a:pt x="2327812" y="3743904"/>
                </a:cubicBezTo>
                <a:lnTo>
                  <a:pt x="2388888" y="3740820"/>
                </a:lnTo>
                <a:close/>
                <a:moveTo>
                  <a:pt x="1772981" y="0"/>
                </a:moveTo>
                <a:cubicBezTo>
                  <a:pt x="2690973" y="0"/>
                  <a:pt x="3446016" y="697668"/>
                  <a:pt x="3536810" y="1591706"/>
                </a:cubicBezTo>
                <a:lnTo>
                  <a:pt x="3544762" y="1749184"/>
                </a:lnTo>
                <a:lnTo>
                  <a:pt x="3545964" y="1749184"/>
                </a:lnTo>
                <a:lnTo>
                  <a:pt x="3545964" y="1772983"/>
                </a:lnTo>
                <a:lnTo>
                  <a:pt x="3545964" y="3545964"/>
                </a:lnTo>
                <a:lnTo>
                  <a:pt x="1772998" y="3545964"/>
                </a:lnTo>
                <a:lnTo>
                  <a:pt x="1772982" y="3545965"/>
                </a:lnTo>
                <a:lnTo>
                  <a:pt x="1772964" y="3545964"/>
                </a:lnTo>
                <a:lnTo>
                  <a:pt x="1689688" y="3545964"/>
                </a:lnTo>
                <a:lnTo>
                  <a:pt x="1689688" y="3541759"/>
                </a:lnTo>
                <a:lnTo>
                  <a:pt x="1591706" y="3536812"/>
                </a:lnTo>
                <a:cubicBezTo>
                  <a:pt x="697668" y="3446016"/>
                  <a:pt x="0" y="2690974"/>
                  <a:pt x="0" y="1772982"/>
                </a:cubicBezTo>
                <a:cubicBezTo>
                  <a:pt x="0" y="793791"/>
                  <a:pt x="793790" y="0"/>
                  <a:pt x="17729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852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06DD4E-27C3-4172-A5EA-06A4687DE2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0BBF47-3956-48BE-85E0-38281F50D8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9A47F-C029-426F-BBB9-96835C664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85C33E-01C1-4C4C-A27C-76F8A1BFF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18F9C-22E6-4486-9013-3CC0AA32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01709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BB16BA-0155-46A1-9874-9AB1FD5526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21007" y="1269833"/>
            <a:ext cx="3418030" cy="4878949"/>
          </a:xfrm>
          <a:custGeom>
            <a:avLst/>
            <a:gdLst>
              <a:gd name="connsiteX0" fmla="*/ 1191331 w 3418030"/>
              <a:gd name="connsiteY0" fmla="*/ 0 h 4878949"/>
              <a:gd name="connsiteX1" fmla="*/ 1294432 w 3418030"/>
              <a:gd name="connsiteY1" fmla="*/ 0 h 4878949"/>
              <a:gd name="connsiteX2" fmla="*/ 1457098 w 3418030"/>
              <a:gd name="connsiteY2" fmla="*/ 0 h 4878949"/>
              <a:gd name="connsiteX3" fmla="*/ 1564784 w 3418030"/>
              <a:gd name="connsiteY3" fmla="*/ 0 h 4878949"/>
              <a:gd name="connsiteX4" fmla="*/ 2013538 w 3418030"/>
              <a:gd name="connsiteY4" fmla="*/ 0 h 4878949"/>
              <a:gd name="connsiteX5" fmla="*/ 2038520 w 3418030"/>
              <a:gd name="connsiteY5" fmla="*/ 0 h 4878949"/>
              <a:gd name="connsiteX6" fmla="*/ 2130825 w 3418030"/>
              <a:gd name="connsiteY6" fmla="*/ 0 h 4878949"/>
              <a:gd name="connsiteX7" fmla="*/ 2156238 w 3418030"/>
              <a:gd name="connsiteY7" fmla="*/ 0 h 4878949"/>
              <a:gd name="connsiteX8" fmla="*/ 2221889 w 3418030"/>
              <a:gd name="connsiteY8" fmla="*/ 0 h 4878949"/>
              <a:gd name="connsiteX9" fmla="*/ 2277890 w 3418030"/>
              <a:gd name="connsiteY9" fmla="*/ 0 h 4878949"/>
              <a:gd name="connsiteX10" fmla="*/ 2342770 w 3418030"/>
              <a:gd name="connsiteY10" fmla="*/ 0 h 4878949"/>
              <a:gd name="connsiteX11" fmla="*/ 2399737 w 3418030"/>
              <a:gd name="connsiteY11" fmla="*/ 0 h 4878949"/>
              <a:gd name="connsiteX12" fmla="*/ 2399737 w 3418030"/>
              <a:gd name="connsiteY12" fmla="*/ 1224 h 4878949"/>
              <a:gd name="connsiteX13" fmla="*/ 3278911 w 3418030"/>
              <a:gd name="connsiteY13" fmla="*/ 1224 h 4878949"/>
              <a:gd name="connsiteX14" fmla="*/ 3418030 w 3418030"/>
              <a:gd name="connsiteY14" fmla="*/ 1224 h 4878949"/>
              <a:gd name="connsiteX15" fmla="*/ 3418030 w 3418030"/>
              <a:gd name="connsiteY15" fmla="*/ 70784 h 4878949"/>
              <a:gd name="connsiteX16" fmla="*/ 3418030 w 3418030"/>
              <a:gd name="connsiteY16" fmla="*/ 685938 h 4878949"/>
              <a:gd name="connsiteX17" fmla="*/ 3418030 w 3418030"/>
              <a:gd name="connsiteY17" fmla="*/ 732837 h 4878949"/>
              <a:gd name="connsiteX18" fmla="*/ 3418030 w 3418030"/>
              <a:gd name="connsiteY18" fmla="*/ 755498 h 4878949"/>
              <a:gd name="connsiteX19" fmla="*/ 3418030 w 3418030"/>
              <a:gd name="connsiteY19" fmla="*/ 802397 h 4878949"/>
              <a:gd name="connsiteX20" fmla="*/ 3418030 w 3418030"/>
              <a:gd name="connsiteY20" fmla="*/ 1036312 h 4878949"/>
              <a:gd name="connsiteX21" fmla="*/ 3418030 w 3418030"/>
              <a:gd name="connsiteY21" fmla="*/ 1036923 h 4878949"/>
              <a:gd name="connsiteX22" fmla="*/ 3418030 w 3418030"/>
              <a:gd name="connsiteY22" fmla="*/ 1036933 h 4878949"/>
              <a:gd name="connsiteX23" fmla="*/ 3418030 w 3418030"/>
              <a:gd name="connsiteY23" fmla="*/ 1036943 h 4878949"/>
              <a:gd name="connsiteX24" fmla="*/ 3418030 w 3418030"/>
              <a:gd name="connsiteY24" fmla="*/ 1085589 h 4878949"/>
              <a:gd name="connsiteX25" fmla="*/ 3418030 w 3418030"/>
              <a:gd name="connsiteY25" fmla="*/ 1105871 h 4878949"/>
              <a:gd name="connsiteX26" fmla="*/ 3418030 w 3418030"/>
              <a:gd name="connsiteY26" fmla="*/ 1106482 h 4878949"/>
              <a:gd name="connsiteX27" fmla="*/ 3418030 w 3418030"/>
              <a:gd name="connsiteY27" fmla="*/ 1106491 h 4878949"/>
              <a:gd name="connsiteX28" fmla="*/ 3418030 w 3418030"/>
              <a:gd name="connsiteY28" fmla="*/ 1106501 h 4878949"/>
              <a:gd name="connsiteX29" fmla="*/ 3418030 w 3418030"/>
              <a:gd name="connsiteY29" fmla="*/ 1155149 h 4878949"/>
              <a:gd name="connsiteX30" fmla="*/ 3418030 w 3418030"/>
              <a:gd name="connsiteY30" fmla="*/ 1417551 h 4878949"/>
              <a:gd name="connsiteX31" fmla="*/ 3418030 w 3418030"/>
              <a:gd name="connsiteY31" fmla="*/ 1487111 h 4878949"/>
              <a:gd name="connsiteX32" fmla="*/ 3418030 w 3418030"/>
              <a:gd name="connsiteY32" fmla="*/ 1721026 h 4878949"/>
              <a:gd name="connsiteX33" fmla="*/ 3418030 w 3418030"/>
              <a:gd name="connsiteY33" fmla="*/ 1721637 h 4878949"/>
              <a:gd name="connsiteX34" fmla="*/ 3418030 w 3418030"/>
              <a:gd name="connsiteY34" fmla="*/ 1721646 h 4878949"/>
              <a:gd name="connsiteX35" fmla="*/ 3418030 w 3418030"/>
              <a:gd name="connsiteY35" fmla="*/ 1721657 h 4878949"/>
              <a:gd name="connsiteX36" fmla="*/ 3418030 w 3418030"/>
              <a:gd name="connsiteY36" fmla="*/ 1767925 h 4878949"/>
              <a:gd name="connsiteX37" fmla="*/ 3418030 w 3418030"/>
              <a:gd name="connsiteY37" fmla="*/ 1768536 h 4878949"/>
              <a:gd name="connsiteX38" fmla="*/ 3418030 w 3418030"/>
              <a:gd name="connsiteY38" fmla="*/ 1768546 h 4878949"/>
              <a:gd name="connsiteX39" fmla="*/ 3418030 w 3418030"/>
              <a:gd name="connsiteY39" fmla="*/ 1768556 h 4878949"/>
              <a:gd name="connsiteX40" fmla="*/ 3418030 w 3418030"/>
              <a:gd name="connsiteY40" fmla="*/ 1770303 h 4878949"/>
              <a:gd name="connsiteX41" fmla="*/ 3418030 w 3418030"/>
              <a:gd name="connsiteY41" fmla="*/ 1790585 h 4878949"/>
              <a:gd name="connsiteX42" fmla="*/ 3418030 w 3418030"/>
              <a:gd name="connsiteY42" fmla="*/ 1791196 h 4878949"/>
              <a:gd name="connsiteX43" fmla="*/ 3418030 w 3418030"/>
              <a:gd name="connsiteY43" fmla="*/ 1791205 h 4878949"/>
              <a:gd name="connsiteX44" fmla="*/ 3418030 w 3418030"/>
              <a:gd name="connsiteY44" fmla="*/ 1791215 h 4878949"/>
              <a:gd name="connsiteX45" fmla="*/ 3418030 w 3418030"/>
              <a:gd name="connsiteY45" fmla="*/ 1817203 h 4878949"/>
              <a:gd name="connsiteX46" fmla="*/ 3418030 w 3418030"/>
              <a:gd name="connsiteY46" fmla="*/ 1837484 h 4878949"/>
              <a:gd name="connsiteX47" fmla="*/ 3418030 w 3418030"/>
              <a:gd name="connsiteY47" fmla="*/ 1838095 h 4878949"/>
              <a:gd name="connsiteX48" fmla="*/ 3418030 w 3418030"/>
              <a:gd name="connsiteY48" fmla="*/ 1838105 h 4878949"/>
              <a:gd name="connsiteX49" fmla="*/ 3418030 w 3418030"/>
              <a:gd name="connsiteY49" fmla="*/ 1838115 h 4878949"/>
              <a:gd name="connsiteX50" fmla="*/ 3418030 w 3418030"/>
              <a:gd name="connsiteY50" fmla="*/ 1839863 h 4878949"/>
              <a:gd name="connsiteX51" fmla="*/ 3418030 w 3418030"/>
              <a:gd name="connsiteY51" fmla="*/ 1886762 h 4878949"/>
              <a:gd name="connsiteX52" fmla="*/ 3418030 w 3418030"/>
              <a:gd name="connsiteY52" fmla="*/ 2452639 h 4878949"/>
              <a:gd name="connsiteX53" fmla="*/ 3418030 w 3418030"/>
              <a:gd name="connsiteY53" fmla="*/ 2453250 h 4878949"/>
              <a:gd name="connsiteX54" fmla="*/ 3418030 w 3418030"/>
              <a:gd name="connsiteY54" fmla="*/ 2453260 h 4878949"/>
              <a:gd name="connsiteX55" fmla="*/ 3418030 w 3418030"/>
              <a:gd name="connsiteY55" fmla="*/ 2453270 h 4878949"/>
              <a:gd name="connsiteX56" fmla="*/ 3418030 w 3418030"/>
              <a:gd name="connsiteY56" fmla="*/ 2501917 h 4878949"/>
              <a:gd name="connsiteX57" fmla="*/ 3418030 w 3418030"/>
              <a:gd name="connsiteY57" fmla="*/ 2522198 h 4878949"/>
              <a:gd name="connsiteX58" fmla="*/ 3418030 w 3418030"/>
              <a:gd name="connsiteY58" fmla="*/ 2522809 h 4878949"/>
              <a:gd name="connsiteX59" fmla="*/ 3418030 w 3418030"/>
              <a:gd name="connsiteY59" fmla="*/ 2522819 h 4878949"/>
              <a:gd name="connsiteX60" fmla="*/ 3418030 w 3418030"/>
              <a:gd name="connsiteY60" fmla="*/ 2522830 h 4878949"/>
              <a:gd name="connsiteX61" fmla="*/ 3418030 w 3418030"/>
              <a:gd name="connsiteY61" fmla="*/ 2571476 h 4878949"/>
              <a:gd name="connsiteX62" fmla="*/ 3415609 w 3418030"/>
              <a:gd name="connsiteY62" fmla="*/ 2571476 h 4878949"/>
              <a:gd name="connsiteX63" fmla="*/ 3413143 w 3418030"/>
              <a:gd name="connsiteY63" fmla="*/ 2621619 h 4878949"/>
              <a:gd name="connsiteX64" fmla="*/ 3412693 w 3418030"/>
              <a:gd name="connsiteY64" fmla="*/ 2624661 h 4878949"/>
              <a:gd name="connsiteX65" fmla="*/ 3412480 w 3418030"/>
              <a:gd name="connsiteY65" fmla="*/ 2628713 h 4878949"/>
              <a:gd name="connsiteX66" fmla="*/ 3377025 w 3418030"/>
              <a:gd name="connsiteY66" fmla="*/ 2807125 h 4878949"/>
              <a:gd name="connsiteX67" fmla="*/ 3375576 w 3418030"/>
              <a:gd name="connsiteY67" fmla="*/ 2811322 h 4878949"/>
              <a:gd name="connsiteX68" fmla="*/ 3375395 w 3418030"/>
              <a:gd name="connsiteY68" fmla="*/ 2812045 h 4878949"/>
              <a:gd name="connsiteX69" fmla="*/ 3372842 w 3418030"/>
              <a:gd name="connsiteY69" fmla="*/ 2819247 h 4878949"/>
              <a:gd name="connsiteX70" fmla="*/ 3347771 w 3418030"/>
              <a:gd name="connsiteY70" fmla="*/ 2891903 h 4878949"/>
              <a:gd name="connsiteX71" fmla="*/ 3344429 w 3418030"/>
              <a:gd name="connsiteY71" fmla="*/ 2899360 h 4878949"/>
              <a:gd name="connsiteX72" fmla="*/ 3343424 w 3418030"/>
              <a:gd name="connsiteY72" fmla="*/ 2902194 h 4878949"/>
              <a:gd name="connsiteX73" fmla="*/ 3336294 w 3418030"/>
              <a:gd name="connsiteY73" fmla="*/ 2917516 h 4878949"/>
              <a:gd name="connsiteX74" fmla="*/ 3311321 w 3418030"/>
              <a:gd name="connsiteY74" fmla="*/ 2973257 h 4878949"/>
              <a:gd name="connsiteX75" fmla="*/ 3305517 w 3418030"/>
              <a:gd name="connsiteY75" fmla="*/ 2983659 h 4878949"/>
              <a:gd name="connsiteX76" fmla="*/ 3303314 w 3418030"/>
              <a:gd name="connsiteY76" fmla="*/ 2988394 h 4878949"/>
              <a:gd name="connsiteX77" fmla="*/ 3293601 w 3418030"/>
              <a:gd name="connsiteY77" fmla="*/ 3005019 h 4878949"/>
              <a:gd name="connsiteX78" fmla="*/ 3268042 w 3418030"/>
              <a:gd name="connsiteY78" fmla="*/ 3050833 h 4878949"/>
              <a:gd name="connsiteX79" fmla="*/ 3259248 w 3418030"/>
              <a:gd name="connsiteY79" fmla="*/ 3063817 h 4878949"/>
              <a:gd name="connsiteX80" fmla="*/ 3255513 w 3418030"/>
              <a:gd name="connsiteY80" fmla="*/ 3070215 h 4878949"/>
              <a:gd name="connsiteX81" fmla="*/ 3244196 w 3418030"/>
              <a:gd name="connsiteY81" fmla="*/ 3086045 h 4878949"/>
              <a:gd name="connsiteX82" fmla="*/ 3218302 w 3418030"/>
              <a:gd name="connsiteY82" fmla="*/ 3124280 h 4878949"/>
              <a:gd name="connsiteX83" fmla="*/ 3206037 w 3418030"/>
              <a:gd name="connsiteY83" fmla="*/ 3139430 h 4878949"/>
              <a:gd name="connsiteX84" fmla="*/ 3200464 w 3418030"/>
              <a:gd name="connsiteY84" fmla="*/ 3147227 h 4878949"/>
              <a:gd name="connsiteX85" fmla="*/ 3188229 w 3418030"/>
              <a:gd name="connsiteY85" fmla="*/ 3161424 h 4878949"/>
              <a:gd name="connsiteX86" fmla="*/ 3162468 w 3418030"/>
              <a:gd name="connsiteY86" fmla="*/ 3193243 h 4878949"/>
              <a:gd name="connsiteX87" fmla="*/ 3146287 w 3418030"/>
              <a:gd name="connsiteY87" fmla="*/ 3210097 h 4878949"/>
              <a:gd name="connsiteX88" fmla="*/ 3138613 w 3418030"/>
              <a:gd name="connsiteY88" fmla="*/ 3219003 h 4878949"/>
              <a:gd name="connsiteX89" fmla="*/ 3126010 w 3418030"/>
              <a:gd name="connsiteY89" fmla="*/ 3231219 h 4878949"/>
              <a:gd name="connsiteX90" fmla="*/ 3100905 w 3418030"/>
              <a:gd name="connsiteY90" fmla="*/ 3257369 h 4878949"/>
              <a:gd name="connsiteX91" fmla="*/ 3080407 w 3418030"/>
              <a:gd name="connsiteY91" fmla="*/ 3275420 h 4878949"/>
              <a:gd name="connsiteX92" fmla="*/ 3070407 w 3418030"/>
              <a:gd name="connsiteY92" fmla="*/ 3285113 h 4878949"/>
              <a:gd name="connsiteX93" fmla="*/ 3057904 w 3418030"/>
              <a:gd name="connsiteY93" fmla="*/ 3295236 h 4878949"/>
              <a:gd name="connsiteX94" fmla="*/ 3033981 w 3418030"/>
              <a:gd name="connsiteY94" fmla="*/ 3316304 h 4878949"/>
              <a:gd name="connsiteX95" fmla="*/ 3008795 w 3418030"/>
              <a:gd name="connsiteY95" fmla="*/ 3335002 h 4878949"/>
              <a:gd name="connsiteX96" fmla="*/ 2996290 w 3418030"/>
              <a:gd name="connsiteY96" fmla="*/ 3345128 h 4878949"/>
              <a:gd name="connsiteX97" fmla="*/ 2984301 w 3418030"/>
              <a:gd name="connsiteY97" fmla="*/ 3353185 h 4878949"/>
              <a:gd name="connsiteX98" fmla="*/ 2962062 w 3418030"/>
              <a:gd name="connsiteY98" fmla="*/ 3369695 h 4878949"/>
              <a:gd name="connsiteX99" fmla="*/ 2931835 w 3418030"/>
              <a:gd name="connsiteY99" fmla="*/ 3388450 h 4878949"/>
              <a:gd name="connsiteX100" fmla="*/ 2916709 w 3418030"/>
              <a:gd name="connsiteY100" fmla="*/ 3398618 h 4878949"/>
              <a:gd name="connsiteX101" fmla="*/ 2905603 w 3418030"/>
              <a:gd name="connsiteY101" fmla="*/ 3404726 h 4878949"/>
              <a:gd name="connsiteX102" fmla="*/ 2885517 w 3418030"/>
              <a:gd name="connsiteY102" fmla="*/ 3417189 h 4878949"/>
              <a:gd name="connsiteX103" fmla="*/ 2849882 w 3418030"/>
              <a:gd name="connsiteY103" fmla="*/ 3435375 h 4878949"/>
              <a:gd name="connsiteX104" fmla="*/ 2832108 w 3418030"/>
              <a:gd name="connsiteY104" fmla="*/ 3445153 h 4878949"/>
              <a:gd name="connsiteX105" fmla="*/ 2822219 w 3418030"/>
              <a:gd name="connsiteY105" fmla="*/ 3449494 h 4878949"/>
              <a:gd name="connsiteX106" fmla="*/ 2804710 w 3418030"/>
              <a:gd name="connsiteY106" fmla="*/ 3458432 h 4878949"/>
              <a:gd name="connsiteX107" fmla="*/ 2763233 w 3418030"/>
              <a:gd name="connsiteY107" fmla="*/ 3475393 h 4878949"/>
              <a:gd name="connsiteX108" fmla="*/ 2742933 w 3418030"/>
              <a:gd name="connsiteY108" fmla="*/ 3484308 h 4878949"/>
              <a:gd name="connsiteX109" fmla="*/ 2734565 w 3418030"/>
              <a:gd name="connsiteY109" fmla="*/ 3487117 h 4878949"/>
              <a:gd name="connsiteX110" fmla="*/ 2720010 w 3418030"/>
              <a:gd name="connsiteY110" fmla="*/ 3493070 h 4878949"/>
              <a:gd name="connsiteX111" fmla="*/ 2672049 w 3418030"/>
              <a:gd name="connsiteY111" fmla="*/ 3508117 h 4878949"/>
              <a:gd name="connsiteX112" fmla="*/ 2649630 w 3418030"/>
              <a:gd name="connsiteY112" fmla="*/ 3515648 h 4878949"/>
              <a:gd name="connsiteX113" fmla="*/ 2643052 w 3418030"/>
              <a:gd name="connsiteY113" fmla="*/ 3517214 h 4878949"/>
              <a:gd name="connsiteX114" fmla="*/ 2631783 w 3418030"/>
              <a:gd name="connsiteY114" fmla="*/ 3520749 h 4878949"/>
              <a:gd name="connsiteX115" fmla="*/ 2576079 w 3418030"/>
              <a:gd name="connsiteY115" fmla="*/ 3533167 h 4878949"/>
              <a:gd name="connsiteX116" fmla="*/ 2552643 w 3418030"/>
              <a:gd name="connsiteY116" fmla="*/ 3538747 h 4878949"/>
              <a:gd name="connsiteX117" fmla="*/ 2548104 w 3418030"/>
              <a:gd name="connsiteY117" fmla="*/ 3539401 h 4878949"/>
              <a:gd name="connsiteX118" fmla="*/ 2540397 w 3418030"/>
              <a:gd name="connsiteY118" fmla="*/ 3541118 h 4878949"/>
              <a:gd name="connsiteX119" fmla="*/ 2473383 w 3418030"/>
              <a:gd name="connsiteY119" fmla="*/ 3550158 h 4878949"/>
              <a:gd name="connsiteX120" fmla="*/ 2452420 w 3418030"/>
              <a:gd name="connsiteY120" fmla="*/ 3553176 h 4878949"/>
              <a:gd name="connsiteX121" fmla="*/ 2450212 w 3418030"/>
              <a:gd name="connsiteY121" fmla="*/ 3553284 h 4878949"/>
              <a:gd name="connsiteX122" fmla="*/ 2446216 w 3418030"/>
              <a:gd name="connsiteY122" fmla="*/ 3553824 h 4878949"/>
              <a:gd name="connsiteX123" fmla="*/ 2399737 w 3418030"/>
              <a:gd name="connsiteY123" fmla="*/ 3555943 h 4878949"/>
              <a:gd name="connsiteX124" fmla="*/ 2399737 w 3418030"/>
              <a:gd name="connsiteY124" fmla="*/ 3558529 h 4878949"/>
              <a:gd name="connsiteX125" fmla="*/ 2366297 w 3418030"/>
              <a:gd name="connsiteY125" fmla="*/ 3558529 h 4878949"/>
              <a:gd name="connsiteX126" fmla="*/ 2350286 w 3418030"/>
              <a:gd name="connsiteY126" fmla="*/ 3560726 h 4878949"/>
              <a:gd name="connsiteX127" fmla="*/ 2329679 w 3418030"/>
              <a:gd name="connsiteY127" fmla="*/ 3563743 h 4878949"/>
              <a:gd name="connsiteX128" fmla="*/ 2327509 w 3418030"/>
              <a:gd name="connsiteY128" fmla="*/ 3563851 h 4878949"/>
              <a:gd name="connsiteX129" fmla="*/ 2323580 w 3418030"/>
              <a:gd name="connsiteY129" fmla="*/ 3564391 h 4878949"/>
              <a:gd name="connsiteX130" fmla="*/ 2277890 w 3418030"/>
              <a:gd name="connsiteY130" fmla="*/ 3566510 h 4878949"/>
              <a:gd name="connsiteX131" fmla="*/ 2277890 w 3418030"/>
              <a:gd name="connsiteY131" fmla="*/ 3569096 h 4878949"/>
              <a:gd name="connsiteX132" fmla="*/ 2235765 w 3418030"/>
              <a:gd name="connsiteY132" fmla="*/ 3569096 h 4878949"/>
              <a:gd name="connsiteX133" fmla="*/ 2222205 w 3418030"/>
              <a:gd name="connsiteY133" fmla="*/ 3569096 h 4878949"/>
              <a:gd name="connsiteX134" fmla="*/ 2221889 w 3418030"/>
              <a:gd name="connsiteY134" fmla="*/ 3569096 h 4878949"/>
              <a:gd name="connsiteX135" fmla="*/ 2221889 w 3418030"/>
              <a:gd name="connsiteY135" fmla="*/ 3570333 h 4878949"/>
              <a:gd name="connsiteX136" fmla="*/ 2038520 w 3418030"/>
              <a:gd name="connsiteY136" fmla="*/ 3570333 h 4878949"/>
              <a:gd name="connsiteX137" fmla="*/ 2013539 w 3418030"/>
              <a:gd name="connsiteY137" fmla="*/ 3570333 h 4878949"/>
              <a:gd name="connsiteX138" fmla="*/ 1650818 w 3418030"/>
              <a:gd name="connsiteY138" fmla="*/ 3570333 h 4878949"/>
              <a:gd name="connsiteX139" fmla="*/ 1650818 w 3418030"/>
              <a:gd name="connsiteY139" fmla="*/ 3570744 h 4878949"/>
              <a:gd name="connsiteX140" fmla="*/ 1652012 w 3418030"/>
              <a:gd name="connsiteY140" fmla="*/ 3570744 h 4878949"/>
              <a:gd name="connsiteX141" fmla="*/ 1652012 w 3418030"/>
              <a:gd name="connsiteY141" fmla="*/ 3571721 h 4878949"/>
              <a:gd name="connsiteX142" fmla="*/ 1671221 w 3418030"/>
              <a:gd name="connsiteY142" fmla="*/ 3572716 h 4878949"/>
              <a:gd name="connsiteX143" fmla="*/ 1672387 w 3418030"/>
              <a:gd name="connsiteY143" fmla="*/ 3572898 h 4878949"/>
              <a:gd name="connsiteX144" fmla="*/ 1673940 w 3418030"/>
              <a:gd name="connsiteY144" fmla="*/ 3572984 h 4878949"/>
              <a:gd name="connsiteX145" fmla="*/ 1742290 w 3418030"/>
              <a:gd name="connsiteY145" fmla="*/ 3587296 h 4878949"/>
              <a:gd name="connsiteX146" fmla="*/ 1743898 w 3418030"/>
              <a:gd name="connsiteY146" fmla="*/ 3587880 h 4878949"/>
              <a:gd name="connsiteX147" fmla="*/ 1744176 w 3418030"/>
              <a:gd name="connsiteY147" fmla="*/ 3587953 h 4878949"/>
              <a:gd name="connsiteX148" fmla="*/ 1746934 w 3418030"/>
              <a:gd name="connsiteY148" fmla="*/ 3588984 h 4878949"/>
              <a:gd name="connsiteX149" fmla="*/ 1774769 w 3418030"/>
              <a:gd name="connsiteY149" fmla="*/ 3599104 h 4878949"/>
              <a:gd name="connsiteX150" fmla="*/ 1777626 w 3418030"/>
              <a:gd name="connsiteY150" fmla="*/ 3600453 h 4878949"/>
              <a:gd name="connsiteX151" fmla="*/ 1778712 w 3418030"/>
              <a:gd name="connsiteY151" fmla="*/ 3600858 h 4878949"/>
              <a:gd name="connsiteX152" fmla="*/ 1784582 w 3418030"/>
              <a:gd name="connsiteY152" fmla="*/ 3603737 h 4878949"/>
              <a:gd name="connsiteX153" fmla="*/ 1805936 w 3418030"/>
              <a:gd name="connsiteY153" fmla="*/ 3613817 h 4878949"/>
              <a:gd name="connsiteX154" fmla="*/ 1809922 w 3418030"/>
              <a:gd name="connsiteY154" fmla="*/ 3616160 h 4878949"/>
              <a:gd name="connsiteX155" fmla="*/ 1811736 w 3418030"/>
              <a:gd name="connsiteY155" fmla="*/ 3617049 h 4878949"/>
              <a:gd name="connsiteX156" fmla="*/ 1818105 w 3418030"/>
              <a:gd name="connsiteY156" fmla="*/ 3620970 h 4878949"/>
              <a:gd name="connsiteX157" fmla="*/ 1835657 w 3418030"/>
              <a:gd name="connsiteY157" fmla="*/ 3631287 h 4878949"/>
              <a:gd name="connsiteX158" fmla="*/ 1840631 w 3418030"/>
              <a:gd name="connsiteY158" fmla="*/ 3634836 h 4878949"/>
              <a:gd name="connsiteX159" fmla="*/ 1843082 w 3418030"/>
              <a:gd name="connsiteY159" fmla="*/ 3636344 h 4878949"/>
              <a:gd name="connsiteX160" fmla="*/ 1849146 w 3418030"/>
              <a:gd name="connsiteY160" fmla="*/ 3640912 h 4878949"/>
              <a:gd name="connsiteX161" fmla="*/ 1863794 w 3418030"/>
              <a:gd name="connsiteY161" fmla="*/ 3651364 h 4878949"/>
              <a:gd name="connsiteX162" fmla="*/ 1869598 w 3418030"/>
              <a:gd name="connsiteY162" fmla="*/ 3656316 h 4878949"/>
              <a:gd name="connsiteX163" fmla="*/ 1872586 w 3418030"/>
              <a:gd name="connsiteY163" fmla="*/ 3658565 h 4878949"/>
              <a:gd name="connsiteX164" fmla="*/ 1878025 w 3418030"/>
              <a:gd name="connsiteY164" fmla="*/ 3663504 h 4878949"/>
              <a:gd name="connsiteX165" fmla="*/ 1890215 w 3418030"/>
              <a:gd name="connsiteY165" fmla="*/ 3673902 h 4878949"/>
              <a:gd name="connsiteX166" fmla="*/ 1896672 w 3418030"/>
              <a:gd name="connsiteY166" fmla="*/ 3680434 h 4878949"/>
              <a:gd name="connsiteX167" fmla="*/ 1900084 w 3418030"/>
              <a:gd name="connsiteY167" fmla="*/ 3683531 h 4878949"/>
              <a:gd name="connsiteX168" fmla="*/ 1904763 w 3418030"/>
              <a:gd name="connsiteY168" fmla="*/ 3688618 h 4878949"/>
              <a:gd name="connsiteX169" fmla="*/ 1914782 w 3418030"/>
              <a:gd name="connsiteY169" fmla="*/ 3698752 h 4878949"/>
              <a:gd name="connsiteX170" fmla="*/ 1921697 w 3418030"/>
              <a:gd name="connsiteY170" fmla="*/ 3707026 h 4878949"/>
              <a:gd name="connsiteX171" fmla="*/ 1925411 w 3418030"/>
              <a:gd name="connsiteY171" fmla="*/ 3711062 h 4878949"/>
              <a:gd name="connsiteX172" fmla="*/ 1929289 w 3418030"/>
              <a:gd name="connsiteY172" fmla="*/ 3716109 h 4878949"/>
              <a:gd name="connsiteX173" fmla="*/ 1937360 w 3418030"/>
              <a:gd name="connsiteY173" fmla="*/ 3725766 h 4878949"/>
              <a:gd name="connsiteX174" fmla="*/ 1944523 w 3418030"/>
              <a:gd name="connsiteY174" fmla="*/ 3735932 h 4878949"/>
              <a:gd name="connsiteX175" fmla="*/ 1948403 w 3418030"/>
              <a:gd name="connsiteY175" fmla="*/ 3740980 h 4878949"/>
              <a:gd name="connsiteX176" fmla="*/ 1951490 w 3418030"/>
              <a:gd name="connsiteY176" fmla="*/ 3745819 h 4878949"/>
              <a:gd name="connsiteX177" fmla="*/ 1957815 w 3418030"/>
              <a:gd name="connsiteY177" fmla="*/ 3754796 h 4878949"/>
              <a:gd name="connsiteX178" fmla="*/ 1965000 w 3418030"/>
              <a:gd name="connsiteY178" fmla="*/ 3766998 h 4878949"/>
              <a:gd name="connsiteX179" fmla="*/ 1968895 w 3418030"/>
              <a:gd name="connsiteY179" fmla="*/ 3773103 h 4878949"/>
              <a:gd name="connsiteX180" fmla="*/ 1971236 w 3418030"/>
              <a:gd name="connsiteY180" fmla="*/ 3777586 h 4878949"/>
              <a:gd name="connsiteX181" fmla="*/ 1976010 w 3418030"/>
              <a:gd name="connsiteY181" fmla="*/ 3785694 h 4878949"/>
              <a:gd name="connsiteX182" fmla="*/ 1982978 w 3418030"/>
              <a:gd name="connsiteY182" fmla="*/ 3800078 h 4878949"/>
              <a:gd name="connsiteX183" fmla="*/ 1986724 w 3418030"/>
              <a:gd name="connsiteY183" fmla="*/ 3807252 h 4878949"/>
              <a:gd name="connsiteX184" fmla="*/ 1988387 w 3418030"/>
              <a:gd name="connsiteY184" fmla="*/ 3811244 h 4878949"/>
              <a:gd name="connsiteX185" fmla="*/ 1991811 w 3418030"/>
              <a:gd name="connsiteY185" fmla="*/ 3818312 h 4878949"/>
              <a:gd name="connsiteX186" fmla="*/ 1998309 w 3418030"/>
              <a:gd name="connsiteY186" fmla="*/ 3835054 h 4878949"/>
              <a:gd name="connsiteX187" fmla="*/ 2001724 w 3418030"/>
              <a:gd name="connsiteY187" fmla="*/ 3843248 h 4878949"/>
              <a:gd name="connsiteX188" fmla="*/ 2002801 w 3418030"/>
              <a:gd name="connsiteY188" fmla="*/ 3846626 h 4878949"/>
              <a:gd name="connsiteX189" fmla="*/ 2005081 w 3418030"/>
              <a:gd name="connsiteY189" fmla="*/ 3852501 h 4878949"/>
              <a:gd name="connsiteX190" fmla="*/ 2010846 w 3418030"/>
              <a:gd name="connsiteY190" fmla="*/ 3871861 h 4878949"/>
              <a:gd name="connsiteX191" fmla="*/ 2013730 w 3418030"/>
              <a:gd name="connsiteY191" fmla="*/ 3880910 h 4878949"/>
              <a:gd name="connsiteX192" fmla="*/ 2014331 w 3418030"/>
              <a:gd name="connsiteY192" fmla="*/ 3883565 h 4878949"/>
              <a:gd name="connsiteX193" fmla="*/ 2015685 w 3418030"/>
              <a:gd name="connsiteY193" fmla="*/ 3888114 h 4878949"/>
              <a:gd name="connsiteX194" fmla="*/ 2020442 w 3418030"/>
              <a:gd name="connsiteY194" fmla="*/ 3910600 h 4878949"/>
              <a:gd name="connsiteX195" fmla="*/ 2020535 w 3418030"/>
              <a:gd name="connsiteY195" fmla="*/ 3911014 h 4878949"/>
              <a:gd name="connsiteX196" fmla="*/ 2021162 w 3418030"/>
              <a:gd name="connsiteY196" fmla="*/ 3911014 h 4878949"/>
              <a:gd name="connsiteX197" fmla="*/ 2023207 w 3418030"/>
              <a:gd name="connsiteY197" fmla="*/ 3922096 h 4878949"/>
              <a:gd name="connsiteX198" fmla="*/ 2023457 w 3418030"/>
              <a:gd name="connsiteY198" fmla="*/ 3924341 h 4878949"/>
              <a:gd name="connsiteX199" fmla="*/ 2024115 w 3418030"/>
              <a:gd name="connsiteY199" fmla="*/ 3928152 h 4878949"/>
              <a:gd name="connsiteX200" fmla="*/ 2027578 w 3418030"/>
              <a:gd name="connsiteY200" fmla="*/ 3961293 h 4878949"/>
              <a:gd name="connsiteX201" fmla="*/ 2028734 w 3418030"/>
              <a:gd name="connsiteY201" fmla="*/ 3971660 h 4878949"/>
              <a:gd name="connsiteX202" fmla="*/ 2028775 w 3418030"/>
              <a:gd name="connsiteY202" fmla="*/ 3972751 h 4878949"/>
              <a:gd name="connsiteX203" fmla="*/ 2028982 w 3418030"/>
              <a:gd name="connsiteY203" fmla="*/ 3974727 h 4878949"/>
              <a:gd name="connsiteX204" fmla="*/ 2029794 w 3418030"/>
              <a:gd name="connsiteY204" fmla="*/ 3997713 h 4878949"/>
              <a:gd name="connsiteX205" fmla="*/ 2030784 w 3418030"/>
              <a:gd name="connsiteY205" fmla="*/ 3997713 h 4878949"/>
              <a:gd name="connsiteX206" fmla="*/ 2030784 w 3418030"/>
              <a:gd name="connsiteY206" fmla="*/ 4018905 h 4878949"/>
              <a:gd name="connsiteX207" fmla="*/ 2030784 w 3418030"/>
              <a:gd name="connsiteY207" fmla="*/ 4025726 h 4878949"/>
              <a:gd name="connsiteX208" fmla="*/ 2030784 w 3418030"/>
              <a:gd name="connsiteY208" fmla="*/ 4025885 h 4878949"/>
              <a:gd name="connsiteX209" fmla="*/ 2030784 w 3418030"/>
              <a:gd name="connsiteY209" fmla="*/ 4025886 h 4878949"/>
              <a:gd name="connsiteX210" fmla="*/ 2031258 w 3418030"/>
              <a:gd name="connsiteY210" fmla="*/ 4025886 h 4878949"/>
              <a:gd name="connsiteX211" fmla="*/ 2031258 w 3418030"/>
              <a:gd name="connsiteY211" fmla="*/ 4065384 h 4878949"/>
              <a:gd name="connsiteX212" fmla="*/ 2031258 w 3418030"/>
              <a:gd name="connsiteY212" fmla="*/ 4127703 h 4878949"/>
              <a:gd name="connsiteX213" fmla="*/ 2031258 w 3418030"/>
              <a:gd name="connsiteY213" fmla="*/ 4168958 h 4878949"/>
              <a:gd name="connsiteX214" fmla="*/ 2031258 w 3418030"/>
              <a:gd name="connsiteY214" fmla="*/ 4340879 h 4878949"/>
              <a:gd name="connsiteX215" fmla="*/ 2031258 w 3418030"/>
              <a:gd name="connsiteY215" fmla="*/ 4350450 h 4878949"/>
              <a:gd name="connsiteX216" fmla="*/ 2031258 w 3418030"/>
              <a:gd name="connsiteY216" fmla="*/ 4385812 h 4878949"/>
              <a:gd name="connsiteX217" fmla="*/ 2031258 w 3418030"/>
              <a:gd name="connsiteY217" fmla="*/ 4395548 h 4878949"/>
              <a:gd name="connsiteX218" fmla="*/ 2031258 w 3418030"/>
              <a:gd name="connsiteY218" fmla="*/ 4420700 h 4878949"/>
              <a:gd name="connsiteX219" fmla="*/ 2031258 w 3418030"/>
              <a:gd name="connsiteY219" fmla="*/ 4442154 h 4878949"/>
              <a:gd name="connsiteX220" fmla="*/ 2031258 w 3418030"/>
              <a:gd name="connsiteY220" fmla="*/ 4467010 h 4878949"/>
              <a:gd name="connsiteX221" fmla="*/ 2031258 w 3418030"/>
              <a:gd name="connsiteY221" fmla="*/ 4488834 h 4878949"/>
              <a:gd name="connsiteX222" fmla="*/ 2030789 w 3418030"/>
              <a:gd name="connsiteY222" fmla="*/ 4488834 h 4878949"/>
              <a:gd name="connsiteX223" fmla="*/ 2030789 w 3418030"/>
              <a:gd name="connsiteY223" fmla="*/ 4825652 h 4878949"/>
              <a:gd name="connsiteX224" fmla="*/ 2030789 w 3418030"/>
              <a:gd name="connsiteY224" fmla="*/ 4878949 h 4878949"/>
              <a:gd name="connsiteX225" fmla="*/ 2004140 w 3418030"/>
              <a:gd name="connsiteY225" fmla="*/ 4878949 h 4878949"/>
              <a:gd name="connsiteX226" fmla="*/ 1768470 w 3418030"/>
              <a:gd name="connsiteY226" fmla="*/ 4878949 h 4878949"/>
              <a:gd name="connsiteX227" fmla="*/ 1750503 w 3418030"/>
              <a:gd name="connsiteY227" fmla="*/ 4878949 h 4878949"/>
              <a:gd name="connsiteX228" fmla="*/ 1741822 w 3418030"/>
              <a:gd name="connsiteY228" fmla="*/ 4878949 h 4878949"/>
              <a:gd name="connsiteX229" fmla="*/ 1723854 w 3418030"/>
              <a:gd name="connsiteY229" fmla="*/ 4878949 h 4878949"/>
              <a:gd name="connsiteX230" fmla="*/ 1634240 w 3418030"/>
              <a:gd name="connsiteY230" fmla="*/ 4878949 h 4878949"/>
              <a:gd name="connsiteX231" fmla="*/ 1634005 w 3418030"/>
              <a:gd name="connsiteY231" fmla="*/ 4878949 h 4878949"/>
              <a:gd name="connsiteX232" fmla="*/ 1634002 w 3418030"/>
              <a:gd name="connsiteY232" fmla="*/ 4878949 h 4878949"/>
              <a:gd name="connsiteX233" fmla="*/ 1633998 w 3418030"/>
              <a:gd name="connsiteY233" fmla="*/ 4878949 h 4878949"/>
              <a:gd name="connsiteX234" fmla="*/ 1615361 w 3418030"/>
              <a:gd name="connsiteY234" fmla="*/ 4878949 h 4878949"/>
              <a:gd name="connsiteX235" fmla="*/ 1607591 w 3418030"/>
              <a:gd name="connsiteY235" fmla="*/ 4878949 h 4878949"/>
              <a:gd name="connsiteX236" fmla="*/ 1607357 w 3418030"/>
              <a:gd name="connsiteY236" fmla="*/ 4878949 h 4878949"/>
              <a:gd name="connsiteX237" fmla="*/ 1607354 w 3418030"/>
              <a:gd name="connsiteY237" fmla="*/ 4878949 h 4878949"/>
              <a:gd name="connsiteX238" fmla="*/ 1607350 w 3418030"/>
              <a:gd name="connsiteY238" fmla="*/ 4878949 h 4878949"/>
              <a:gd name="connsiteX239" fmla="*/ 1588712 w 3418030"/>
              <a:gd name="connsiteY239" fmla="*/ 4878949 h 4878949"/>
              <a:gd name="connsiteX240" fmla="*/ 1488184 w 3418030"/>
              <a:gd name="connsiteY240" fmla="*/ 4878949 h 4878949"/>
              <a:gd name="connsiteX241" fmla="*/ 1461535 w 3418030"/>
              <a:gd name="connsiteY241" fmla="*/ 4878949 h 4878949"/>
              <a:gd name="connsiteX242" fmla="*/ 1371921 w 3418030"/>
              <a:gd name="connsiteY242" fmla="*/ 4878949 h 4878949"/>
              <a:gd name="connsiteX243" fmla="*/ 1371687 w 3418030"/>
              <a:gd name="connsiteY243" fmla="*/ 4878949 h 4878949"/>
              <a:gd name="connsiteX244" fmla="*/ 1371683 w 3418030"/>
              <a:gd name="connsiteY244" fmla="*/ 4878949 h 4878949"/>
              <a:gd name="connsiteX245" fmla="*/ 1371679 w 3418030"/>
              <a:gd name="connsiteY245" fmla="*/ 4878949 h 4878949"/>
              <a:gd name="connsiteX246" fmla="*/ 1367507 w 3418030"/>
              <a:gd name="connsiteY246" fmla="*/ 4878949 h 4878949"/>
              <a:gd name="connsiteX247" fmla="*/ 1353954 w 3418030"/>
              <a:gd name="connsiteY247" fmla="*/ 4878949 h 4878949"/>
              <a:gd name="connsiteX248" fmla="*/ 1353719 w 3418030"/>
              <a:gd name="connsiteY248" fmla="*/ 4878949 h 4878949"/>
              <a:gd name="connsiteX249" fmla="*/ 1353716 w 3418030"/>
              <a:gd name="connsiteY249" fmla="*/ 4878949 h 4878949"/>
              <a:gd name="connsiteX250" fmla="*/ 1353712 w 3418030"/>
              <a:gd name="connsiteY250" fmla="*/ 4878949 h 4878949"/>
              <a:gd name="connsiteX251" fmla="*/ 1353043 w 3418030"/>
              <a:gd name="connsiteY251" fmla="*/ 4878949 h 4878949"/>
              <a:gd name="connsiteX252" fmla="*/ 1345272 w 3418030"/>
              <a:gd name="connsiteY252" fmla="*/ 4878949 h 4878949"/>
              <a:gd name="connsiteX253" fmla="*/ 1345038 w 3418030"/>
              <a:gd name="connsiteY253" fmla="*/ 4878949 h 4878949"/>
              <a:gd name="connsiteX254" fmla="*/ 1345035 w 3418030"/>
              <a:gd name="connsiteY254" fmla="*/ 4878949 h 4878949"/>
              <a:gd name="connsiteX255" fmla="*/ 1345031 w 3418030"/>
              <a:gd name="connsiteY255" fmla="*/ 4878949 h 4878949"/>
              <a:gd name="connsiteX256" fmla="*/ 1340858 w 3418030"/>
              <a:gd name="connsiteY256" fmla="*/ 4878949 h 4878949"/>
              <a:gd name="connsiteX257" fmla="*/ 1335075 w 3418030"/>
              <a:gd name="connsiteY257" fmla="*/ 4878949 h 4878949"/>
              <a:gd name="connsiteX258" fmla="*/ 1327305 w 3418030"/>
              <a:gd name="connsiteY258" fmla="*/ 4878949 h 4878949"/>
              <a:gd name="connsiteX259" fmla="*/ 1327071 w 3418030"/>
              <a:gd name="connsiteY259" fmla="*/ 4878949 h 4878949"/>
              <a:gd name="connsiteX260" fmla="*/ 1327067 w 3418030"/>
              <a:gd name="connsiteY260" fmla="*/ 4878949 h 4878949"/>
              <a:gd name="connsiteX261" fmla="*/ 1327063 w 3418030"/>
              <a:gd name="connsiteY261" fmla="*/ 4878949 h 4878949"/>
              <a:gd name="connsiteX262" fmla="*/ 1326394 w 3418030"/>
              <a:gd name="connsiteY262" fmla="*/ 4878949 h 4878949"/>
              <a:gd name="connsiteX263" fmla="*/ 1308426 w 3418030"/>
              <a:gd name="connsiteY263" fmla="*/ 4878949 h 4878949"/>
              <a:gd name="connsiteX264" fmla="*/ 1105188 w 3418030"/>
              <a:gd name="connsiteY264" fmla="*/ 4878949 h 4878949"/>
              <a:gd name="connsiteX265" fmla="*/ 1091635 w 3418030"/>
              <a:gd name="connsiteY265" fmla="*/ 4878949 h 4878949"/>
              <a:gd name="connsiteX266" fmla="*/ 1091401 w 3418030"/>
              <a:gd name="connsiteY266" fmla="*/ 4878949 h 4878949"/>
              <a:gd name="connsiteX267" fmla="*/ 1091397 w 3418030"/>
              <a:gd name="connsiteY267" fmla="*/ 4878949 h 4878949"/>
              <a:gd name="connsiteX268" fmla="*/ 1091393 w 3418030"/>
              <a:gd name="connsiteY268" fmla="*/ 4878949 h 4878949"/>
              <a:gd name="connsiteX269" fmla="*/ 1087221 w 3418030"/>
              <a:gd name="connsiteY269" fmla="*/ 4878949 h 4878949"/>
              <a:gd name="connsiteX270" fmla="*/ 1078540 w 3418030"/>
              <a:gd name="connsiteY270" fmla="*/ 4878949 h 4878949"/>
              <a:gd name="connsiteX271" fmla="*/ 1072756 w 3418030"/>
              <a:gd name="connsiteY271" fmla="*/ 4878949 h 4878949"/>
              <a:gd name="connsiteX272" fmla="*/ 1064986 w 3418030"/>
              <a:gd name="connsiteY272" fmla="*/ 4878949 h 4878949"/>
              <a:gd name="connsiteX273" fmla="*/ 1064752 w 3418030"/>
              <a:gd name="connsiteY273" fmla="*/ 4878949 h 4878949"/>
              <a:gd name="connsiteX274" fmla="*/ 1064748 w 3418030"/>
              <a:gd name="connsiteY274" fmla="*/ 4878949 h 4878949"/>
              <a:gd name="connsiteX275" fmla="*/ 1064745 w 3418030"/>
              <a:gd name="connsiteY275" fmla="*/ 4878949 h 4878949"/>
              <a:gd name="connsiteX276" fmla="*/ 1060572 w 3418030"/>
              <a:gd name="connsiteY276" fmla="*/ 4878949 h 4878949"/>
              <a:gd name="connsiteX277" fmla="*/ 1046108 w 3418030"/>
              <a:gd name="connsiteY277" fmla="*/ 4878949 h 4878949"/>
              <a:gd name="connsiteX278" fmla="*/ 970958 w 3418030"/>
              <a:gd name="connsiteY278" fmla="*/ 4878949 h 4878949"/>
              <a:gd name="connsiteX279" fmla="*/ 970723 w 3418030"/>
              <a:gd name="connsiteY279" fmla="*/ 4878949 h 4878949"/>
              <a:gd name="connsiteX280" fmla="*/ 970720 w 3418030"/>
              <a:gd name="connsiteY280" fmla="*/ 4878949 h 4878949"/>
              <a:gd name="connsiteX281" fmla="*/ 970716 w 3418030"/>
              <a:gd name="connsiteY281" fmla="*/ 4878949 h 4878949"/>
              <a:gd name="connsiteX282" fmla="*/ 952079 w 3418030"/>
              <a:gd name="connsiteY282" fmla="*/ 4878949 h 4878949"/>
              <a:gd name="connsiteX283" fmla="*/ 944309 w 3418030"/>
              <a:gd name="connsiteY283" fmla="*/ 4878949 h 4878949"/>
              <a:gd name="connsiteX284" fmla="*/ 944075 w 3418030"/>
              <a:gd name="connsiteY284" fmla="*/ 4878949 h 4878949"/>
              <a:gd name="connsiteX285" fmla="*/ 944072 w 3418030"/>
              <a:gd name="connsiteY285" fmla="*/ 4878949 h 4878949"/>
              <a:gd name="connsiteX286" fmla="*/ 944068 w 3418030"/>
              <a:gd name="connsiteY286" fmla="*/ 4878949 h 4878949"/>
              <a:gd name="connsiteX287" fmla="*/ 925430 w 3418030"/>
              <a:gd name="connsiteY287" fmla="*/ 4878949 h 4878949"/>
              <a:gd name="connsiteX288" fmla="*/ 824902 w 3418030"/>
              <a:gd name="connsiteY288" fmla="*/ 4878949 h 4878949"/>
              <a:gd name="connsiteX289" fmla="*/ 798253 w 3418030"/>
              <a:gd name="connsiteY289" fmla="*/ 4878949 h 4878949"/>
              <a:gd name="connsiteX290" fmla="*/ 708639 w 3418030"/>
              <a:gd name="connsiteY290" fmla="*/ 4878949 h 4878949"/>
              <a:gd name="connsiteX291" fmla="*/ 708405 w 3418030"/>
              <a:gd name="connsiteY291" fmla="*/ 4878949 h 4878949"/>
              <a:gd name="connsiteX292" fmla="*/ 708401 w 3418030"/>
              <a:gd name="connsiteY292" fmla="*/ 4878949 h 4878949"/>
              <a:gd name="connsiteX293" fmla="*/ 708397 w 3418030"/>
              <a:gd name="connsiteY293" fmla="*/ 4878949 h 4878949"/>
              <a:gd name="connsiteX294" fmla="*/ 690672 w 3418030"/>
              <a:gd name="connsiteY294" fmla="*/ 4878949 h 4878949"/>
              <a:gd name="connsiteX295" fmla="*/ 690437 w 3418030"/>
              <a:gd name="connsiteY295" fmla="*/ 4878949 h 4878949"/>
              <a:gd name="connsiteX296" fmla="*/ 690434 w 3418030"/>
              <a:gd name="connsiteY296" fmla="*/ 4878949 h 4878949"/>
              <a:gd name="connsiteX297" fmla="*/ 690430 w 3418030"/>
              <a:gd name="connsiteY297" fmla="*/ 4878949 h 4878949"/>
              <a:gd name="connsiteX298" fmla="*/ 689761 w 3418030"/>
              <a:gd name="connsiteY298" fmla="*/ 4878949 h 4878949"/>
              <a:gd name="connsiteX299" fmla="*/ 681990 w 3418030"/>
              <a:gd name="connsiteY299" fmla="*/ 4878949 h 4878949"/>
              <a:gd name="connsiteX300" fmla="*/ 681756 w 3418030"/>
              <a:gd name="connsiteY300" fmla="*/ 4878949 h 4878949"/>
              <a:gd name="connsiteX301" fmla="*/ 681753 w 3418030"/>
              <a:gd name="connsiteY301" fmla="*/ 4878949 h 4878949"/>
              <a:gd name="connsiteX302" fmla="*/ 681749 w 3418030"/>
              <a:gd name="connsiteY302" fmla="*/ 4878949 h 4878949"/>
              <a:gd name="connsiteX303" fmla="*/ 671793 w 3418030"/>
              <a:gd name="connsiteY303" fmla="*/ 4878949 h 4878949"/>
              <a:gd name="connsiteX304" fmla="*/ 664023 w 3418030"/>
              <a:gd name="connsiteY304" fmla="*/ 4878949 h 4878949"/>
              <a:gd name="connsiteX305" fmla="*/ 663789 w 3418030"/>
              <a:gd name="connsiteY305" fmla="*/ 4878949 h 4878949"/>
              <a:gd name="connsiteX306" fmla="*/ 663785 w 3418030"/>
              <a:gd name="connsiteY306" fmla="*/ 4878949 h 4878949"/>
              <a:gd name="connsiteX307" fmla="*/ 663781 w 3418030"/>
              <a:gd name="connsiteY307" fmla="*/ 4878949 h 4878949"/>
              <a:gd name="connsiteX308" fmla="*/ 663112 w 3418030"/>
              <a:gd name="connsiteY308" fmla="*/ 4878949 h 4878949"/>
              <a:gd name="connsiteX309" fmla="*/ 645144 w 3418030"/>
              <a:gd name="connsiteY309" fmla="*/ 4878949 h 4878949"/>
              <a:gd name="connsiteX310" fmla="*/ 428353 w 3418030"/>
              <a:gd name="connsiteY310" fmla="*/ 4878949 h 4878949"/>
              <a:gd name="connsiteX311" fmla="*/ 428119 w 3418030"/>
              <a:gd name="connsiteY311" fmla="*/ 4878949 h 4878949"/>
              <a:gd name="connsiteX312" fmla="*/ 428115 w 3418030"/>
              <a:gd name="connsiteY312" fmla="*/ 4878949 h 4878949"/>
              <a:gd name="connsiteX313" fmla="*/ 428111 w 3418030"/>
              <a:gd name="connsiteY313" fmla="*/ 4878949 h 4878949"/>
              <a:gd name="connsiteX314" fmla="*/ 409474 w 3418030"/>
              <a:gd name="connsiteY314" fmla="*/ 4878949 h 4878949"/>
              <a:gd name="connsiteX315" fmla="*/ 401704 w 3418030"/>
              <a:gd name="connsiteY315" fmla="*/ 4878949 h 4878949"/>
              <a:gd name="connsiteX316" fmla="*/ 401470 w 3418030"/>
              <a:gd name="connsiteY316" fmla="*/ 4878949 h 4878949"/>
              <a:gd name="connsiteX317" fmla="*/ 401466 w 3418030"/>
              <a:gd name="connsiteY317" fmla="*/ 4878949 h 4878949"/>
              <a:gd name="connsiteX318" fmla="*/ 401462 w 3418030"/>
              <a:gd name="connsiteY318" fmla="*/ 4878949 h 4878949"/>
              <a:gd name="connsiteX319" fmla="*/ 382826 w 3418030"/>
              <a:gd name="connsiteY319" fmla="*/ 4878949 h 4878949"/>
              <a:gd name="connsiteX320" fmla="*/ 382826 w 3418030"/>
              <a:gd name="connsiteY320" fmla="*/ 4878022 h 4878949"/>
              <a:gd name="connsiteX321" fmla="*/ 363616 w 3418030"/>
              <a:gd name="connsiteY321" fmla="*/ 4877077 h 4878949"/>
              <a:gd name="connsiteX322" fmla="*/ 362450 w 3418030"/>
              <a:gd name="connsiteY322" fmla="*/ 4876905 h 4878949"/>
              <a:gd name="connsiteX323" fmla="*/ 360898 w 3418030"/>
              <a:gd name="connsiteY323" fmla="*/ 4876823 h 4878949"/>
              <a:gd name="connsiteX324" fmla="*/ 292547 w 3418030"/>
              <a:gd name="connsiteY324" fmla="*/ 4863240 h 4878949"/>
              <a:gd name="connsiteX325" fmla="*/ 290939 w 3418030"/>
              <a:gd name="connsiteY325" fmla="*/ 4862685 h 4878949"/>
              <a:gd name="connsiteX326" fmla="*/ 290662 w 3418030"/>
              <a:gd name="connsiteY326" fmla="*/ 4862616 h 4878949"/>
              <a:gd name="connsiteX327" fmla="*/ 287903 w 3418030"/>
              <a:gd name="connsiteY327" fmla="*/ 4861637 h 4878949"/>
              <a:gd name="connsiteX328" fmla="*/ 260068 w 3418030"/>
              <a:gd name="connsiteY328" fmla="*/ 4852032 h 4878949"/>
              <a:gd name="connsiteX329" fmla="*/ 257211 w 3418030"/>
              <a:gd name="connsiteY329" fmla="*/ 4850752 h 4878949"/>
              <a:gd name="connsiteX330" fmla="*/ 256125 w 3418030"/>
              <a:gd name="connsiteY330" fmla="*/ 4850367 h 4878949"/>
              <a:gd name="connsiteX331" fmla="*/ 250255 w 3418030"/>
              <a:gd name="connsiteY331" fmla="*/ 4847636 h 4878949"/>
              <a:gd name="connsiteX332" fmla="*/ 228901 w 3418030"/>
              <a:gd name="connsiteY332" fmla="*/ 4838068 h 4878949"/>
              <a:gd name="connsiteX333" fmla="*/ 224915 w 3418030"/>
              <a:gd name="connsiteY333" fmla="*/ 4835845 h 4878949"/>
              <a:gd name="connsiteX334" fmla="*/ 223101 w 3418030"/>
              <a:gd name="connsiteY334" fmla="*/ 4835001 h 4878949"/>
              <a:gd name="connsiteX335" fmla="*/ 216732 w 3418030"/>
              <a:gd name="connsiteY335" fmla="*/ 4831280 h 4878949"/>
              <a:gd name="connsiteX336" fmla="*/ 199181 w 3418030"/>
              <a:gd name="connsiteY336" fmla="*/ 4821488 h 4878949"/>
              <a:gd name="connsiteX337" fmla="*/ 194206 w 3418030"/>
              <a:gd name="connsiteY337" fmla="*/ 4818119 h 4878949"/>
              <a:gd name="connsiteX338" fmla="*/ 191756 w 3418030"/>
              <a:gd name="connsiteY338" fmla="*/ 4816688 h 4878949"/>
              <a:gd name="connsiteX339" fmla="*/ 185691 w 3418030"/>
              <a:gd name="connsiteY339" fmla="*/ 4812352 h 4878949"/>
              <a:gd name="connsiteX340" fmla="*/ 171043 w 3418030"/>
              <a:gd name="connsiteY340" fmla="*/ 4802432 h 4878949"/>
              <a:gd name="connsiteX341" fmla="*/ 165239 w 3418030"/>
              <a:gd name="connsiteY341" fmla="*/ 4797733 h 4878949"/>
              <a:gd name="connsiteX342" fmla="*/ 162251 w 3418030"/>
              <a:gd name="connsiteY342" fmla="*/ 4795598 h 4878949"/>
              <a:gd name="connsiteX343" fmla="*/ 156813 w 3418030"/>
              <a:gd name="connsiteY343" fmla="*/ 4790911 h 4878949"/>
              <a:gd name="connsiteX344" fmla="*/ 144622 w 3418030"/>
              <a:gd name="connsiteY344" fmla="*/ 4781042 h 4878949"/>
              <a:gd name="connsiteX345" fmla="*/ 138166 w 3418030"/>
              <a:gd name="connsiteY345" fmla="*/ 4774843 h 4878949"/>
              <a:gd name="connsiteX346" fmla="*/ 134753 w 3418030"/>
              <a:gd name="connsiteY346" fmla="*/ 4771903 h 4878949"/>
              <a:gd name="connsiteX347" fmla="*/ 130074 w 3418030"/>
              <a:gd name="connsiteY347" fmla="*/ 4767074 h 4878949"/>
              <a:gd name="connsiteX348" fmla="*/ 120055 w 3418030"/>
              <a:gd name="connsiteY348" fmla="*/ 4757456 h 4878949"/>
              <a:gd name="connsiteX349" fmla="*/ 113140 w 3418030"/>
              <a:gd name="connsiteY349" fmla="*/ 4749604 h 4878949"/>
              <a:gd name="connsiteX350" fmla="*/ 109426 w 3418030"/>
              <a:gd name="connsiteY350" fmla="*/ 4745772 h 4878949"/>
              <a:gd name="connsiteX351" fmla="*/ 105548 w 3418030"/>
              <a:gd name="connsiteY351" fmla="*/ 4740983 h 4878949"/>
              <a:gd name="connsiteX352" fmla="*/ 97477 w 3418030"/>
              <a:gd name="connsiteY352" fmla="*/ 4731817 h 4878949"/>
              <a:gd name="connsiteX353" fmla="*/ 90314 w 3418030"/>
              <a:gd name="connsiteY353" fmla="*/ 4722168 h 4878949"/>
              <a:gd name="connsiteX354" fmla="*/ 86434 w 3418030"/>
              <a:gd name="connsiteY354" fmla="*/ 4717378 h 4878949"/>
              <a:gd name="connsiteX355" fmla="*/ 83347 w 3418030"/>
              <a:gd name="connsiteY355" fmla="*/ 4712785 h 4878949"/>
              <a:gd name="connsiteX356" fmla="*/ 77022 w 3418030"/>
              <a:gd name="connsiteY356" fmla="*/ 4704265 h 4878949"/>
              <a:gd name="connsiteX357" fmla="*/ 69837 w 3418030"/>
              <a:gd name="connsiteY357" fmla="*/ 4692685 h 4878949"/>
              <a:gd name="connsiteX358" fmla="*/ 65942 w 3418030"/>
              <a:gd name="connsiteY358" fmla="*/ 4686890 h 4878949"/>
              <a:gd name="connsiteX359" fmla="*/ 63602 w 3418030"/>
              <a:gd name="connsiteY359" fmla="*/ 4682635 h 4878949"/>
              <a:gd name="connsiteX360" fmla="*/ 58827 w 3418030"/>
              <a:gd name="connsiteY360" fmla="*/ 4674940 h 4878949"/>
              <a:gd name="connsiteX361" fmla="*/ 51860 w 3418030"/>
              <a:gd name="connsiteY361" fmla="*/ 4661288 h 4878949"/>
              <a:gd name="connsiteX362" fmla="*/ 48114 w 3418030"/>
              <a:gd name="connsiteY362" fmla="*/ 4654479 h 4878949"/>
              <a:gd name="connsiteX363" fmla="*/ 46451 w 3418030"/>
              <a:gd name="connsiteY363" fmla="*/ 4650690 h 4878949"/>
              <a:gd name="connsiteX364" fmla="*/ 43027 w 3418030"/>
              <a:gd name="connsiteY364" fmla="*/ 4643982 h 4878949"/>
              <a:gd name="connsiteX365" fmla="*/ 36529 w 3418030"/>
              <a:gd name="connsiteY365" fmla="*/ 4628092 h 4878949"/>
              <a:gd name="connsiteX366" fmla="*/ 33114 w 3418030"/>
              <a:gd name="connsiteY366" fmla="*/ 4620315 h 4878949"/>
              <a:gd name="connsiteX367" fmla="*/ 32037 w 3418030"/>
              <a:gd name="connsiteY367" fmla="*/ 4617109 h 4878949"/>
              <a:gd name="connsiteX368" fmla="*/ 29757 w 3418030"/>
              <a:gd name="connsiteY368" fmla="*/ 4611533 h 4878949"/>
              <a:gd name="connsiteX369" fmla="*/ 23992 w 3418030"/>
              <a:gd name="connsiteY369" fmla="*/ 4593159 h 4878949"/>
              <a:gd name="connsiteX370" fmla="*/ 21107 w 3418030"/>
              <a:gd name="connsiteY370" fmla="*/ 4584570 h 4878949"/>
              <a:gd name="connsiteX371" fmla="*/ 20507 w 3418030"/>
              <a:gd name="connsiteY371" fmla="*/ 4582050 h 4878949"/>
              <a:gd name="connsiteX372" fmla="*/ 19153 w 3418030"/>
              <a:gd name="connsiteY372" fmla="*/ 4577733 h 4878949"/>
              <a:gd name="connsiteX373" fmla="*/ 14395 w 3418030"/>
              <a:gd name="connsiteY373" fmla="*/ 4556392 h 4878949"/>
              <a:gd name="connsiteX374" fmla="*/ 12257 w 3418030"/>
              <a:gd name="connsiteY374" fmla="*/ 4547414 h 4878949"/>
              <a:gd name="connsiteX375" fmla="*/ 12007 w 3418030"/>
              <a:gd name="connsiteY375" fmla="*/ 4545675 h 4878949"/>
              <a:gd name="connsiteX376" fmla="*/ 11349 w 3418030"/>
              <a:gd name="connsiteY376" fmla="*/ 4542722 h 4878949"/>
              <a:gd name="connsiteX377" fmla="*/ 7886 w 3418030"/>
              <a:gd name="connsiteY377" fmla="*/ 4517048 h 4878949"/>
              <a:gd name="connsiteX378" fmla="*/ 6730 w 3418030"/>
              <a:gd name="connsiteY378" fmla="*/ 4509017 h 4878949"/>
              <a:gd name="connsiteX379" fmla="*/ 6688 w 3418030"/>
              <a:gd name="connsiteY379" fmla="*/ 4508172 h 4878949"/>
              <a:gd name="connsiteX380" fmla="*/ 6481 w 3418030"/>
              <a:gd name="connsiteY380" fmla="*/ 4506641 h 4878949"/>
              <a:gd name="connsiteX381" fmla="*/ 5670 w 3418030"/>
              <a:gd name="connsiteY381" fmla="*/ 4488834 h 4878949"/>
              <a:gd name="connsiteX382" fmla="*/ 4679 w 3418030"/>
              <a:gd name="connsiteY382" fmla="*/ 4488834 h 4878949"/>
              <a:gd name="connsiteX383" fmla="*/ 4679 w 3418030"/>
              <a:gd name="connsiteY383" fmla="*/ 4476023 h 4878949"/>
              <a:gd name="connsiteX384" fmla="*/ 3837 w 3418030"/>
              <a:gd name="connsiteY384" fmla="*/ 4469889 h 4878949"/>
              <a:gd name="connsiteX385" fmla="*/ 2681 w 3418030"/>
              <a:gd name="connsiteY385" fmla="*/ 4461995 h 4878949"/>
              <a:gd name="connsiteX386" fmla="*/ 2640 w 3418030"/>
              <a:gd name="connsiteY386" fmla="*/ 4461163 h 4878949"/>
              <a:gd name="connsiteX387" fmla="*/ 2433 w 3418030"/>
              <a:gd name="connsiteY387" fmla="*/ 4459658 h 4878949"/>
              <a:gd name="connsiteX388" fmla="*/ 1621 w 3418030"/>
              <a:gd name="connsiteY388" fmla="*/ 4442154 h 4878949"/>
              <a:gd name="connsiteX389" fmla="*/ 631 w 3418030"/>
              <a:gd name="connsiteY389" fmla="*/ 4442154 h 4878949"/>
              <a:gd name="connsiteX390" fmla="*/ 631 w 3418030"/>
              <a:gd name="connsiteY390" fmla="*/ 4426015 h 4878949"/>
              <a:gd name="connsiteX391" fmla="*/ 631 w 3418030"/>
              <a:gd name="connsiteY391" fmla="*/ 4420821 h 4878949"/>
              <a:gd name="connsiteX392" fmla="*/ 631 w 3418030"/>
              <a:gd name="connsiteY392" fmla="*/ 4420700 h 4878949"/>
              <a:gd name="connsiteX393" fmla="*/ 156 w 3418030"/>
              <a:gd name="connsiteY393" fmla="*/ 4420700 h 4878949"/>
              <a:gd name="connsiteX394" fmla="*/ 156 w 3418030"/>
              <a:gd name="connsiteY394" fmla="*/ 4350450 h 4878949"/>
              <a:gd name="connsiteX395" fmla="*/ 156 w 3418030"/>
              <a:gd name="connsiteY395" fmla="*/ 4340879 h 4878949"/>
              <a:gd name="connsiteX396" fmla="*/ 156 w 3418030"/>
              <a:gd name="connsiteY396" fmla="*/ 4127703 h 4878949"/>
              <a:gd name="connsiteX397" fmla="*/ 156 w 3418030"/>
              <a:gd name="connsiteY397" fmla="*/ 4025885 h 4878949"/>
              <a:gd name="connsiteX398" fmla="*/ 156 w 3418030"/>
              <a:gd name="connsiteY398" fmla="*/ 3997713 h 4878949"/>
              <a:gd name="connsiteX399" fmla="*/ 626 w 3418030"/>
              <a:gd name="connsiteY399" fmla="*/ 3997713 h 4878949"/>
              <a:gd name="connsiteX400" fmla="*/ 626 w 3418030"/>
              <a:gd name="connsiteY400" fmla="*/ 3911014 h 4878949"/>
              <a:gd name="connsiteX401" fmla="*/ 0 w 3418030"/>
              <a:gd name="connsiteY401" fmla="*/ 3911014 h 4878949"/>
              <a:gd name="connsiteX402" fmla="*/ 0 w 3418030"/>
              <a:gd name="connsiteY402" fmla="*/ 3908592 h 4878949"/>
              <a:gd name="connsiteX403" fmla="*/ 0 w 3418030"/>
              <a:gd name="connsiteY403" fmla="*/ 3570744 h 4878949"/>
              <a:gd name="connsiteX404" fmla="*/ 0 w 3418030"/>
              <a:gd name="connsiteY404" fmla="*/ 2076617 h 4878949"/>
              <a:gd name="connsiteX405" fmla="*/ 3302 w 3418030"/>
              <a:gd name="connsiteY405" fmla="*/ 2076617 h 4878949"/>
              <a:gd name="connsiteX406" fmla="*/ 3302 w 3418030"/>
              <a:gd name="connsiteY406" fmla="*/ 2074287 h 4878949"/>
              <a:gd name="connsiteX407" fmla="*/ 3302 w 3418030"/>
              <a:gd name="connsiteY407" fmla="*/ 1850939 h 4878949"/>
              <a:gd name="connsiteX408" fmla="*/ 3302 w 3418030"/>
              <a:gd name="connsiteY408" fmla="*/ 1850328 h 4878949"/>
              <a:gd name="connsiteX409" fmla="*/ 3301 w 3418030"/>
              <a:gd name="connsiteY409" fmla="*/ 1850319 h 4878949"/>
              <a:gd name="connsiteX410" fmla="*/ 3302 w 3418030"/>
              <a:gd name="connsiteY410" fmla="*/ 1850309 h 4878949"/>
              <a:gd name="connsiteX411" fmla="*/ 3302 w 3418030"/>
              <a:gd name="connsiteY411" fmla="*/ 1804040 h 4878949"/>
              <a:gd name="connsiteX412" fmla="*/ 3302 w 3418030"/>
              <a:gd name="connsiteY412" fmla="*/ 1803429 h 4878949"/>
              <a:gd name="connsiteX413" fmla="*/ 3301 w 3418030"/>
              <a:gd name="connsiteY413" fmla="*/ 1803419 h 4878949"/>
              <a:gd name="connsiteX414" fmla="*/ 3302 w 3418030"/>
              <a:gd name="connsiteY414" fmla="*/ 1803409 h 4878949"/>
              <a:gd name="connsiteX415" fmla="*/ 3302 w 3418030"/>
              <a:gd name="connsiteY415" fmla="*/ 1801662 h 4878949"/>
              <a:gd name="connsiteX416" fmla="*/ 3302 w 3418030"/>
              <a:gd name="connsiteY416" fmla="*/ 1770814 h 4878949"/>
              <a:gd name="connsiteX417" fmla="*/ 3302 w 3418030"/>
              <a:gd name="connsiteY417" fmla="*/ 1770203 h 4878949"/>
              <a:gd name="connsiteX418" fmla="*/ 3301 w 3418030"/>
              <a:gd name="connsiteY418" fmla="*/ 1770192 h 4878949"/>
              <a:gd name="connsiteX419" fmla="*/ 3302 w 3418030"/>
              <a:gd name="connsiteY419" fmla="*/ 1770183 h 4878949"/>
              <a:gd name="connsiteX420" fmla="*/ 3302 w 3418030"/>
              <a:gd name="connsiteY420" fmla="*/ 1754762 h 4878949"/>
              <a:gd name="connsiteX421" fmla="*/ 3302 w 3418030"/>
              <a:gd name="connsiteY421" fmla="*/ 1723914 h 4878949"/>
              <a:gd name="connsiteX422" fmla="*/ 3302 w 3418030"/>
              <a:gd name="connsiteY422" fmla="*/ 1723304 h 4878949"/>
              <a:gd name="connsiteX423" fmla="*/ 3301 w 3418030"/>
              <a:gd name="connsiteY423" fmla="*/ 1723293 h 4878949"/>
              <a:gd name="connsiteX424" fmla="*/ 3302 w 3418030"/>
              <a:gd name="connsiteY424" fmla="*/ 1723284 h 4878949"/>
              <a:gd name="connsiteX425" fmla="*/ 3302 w 3418030"/>
              <a:gd name="connsiteY425" fmla="*/ 1721537 h 4878949"/>
              <a:gd name="connsiteX426" fmla="*/ 3302 w 3418030"/>
              <a:gd name="connsiteY426" fmla="*/ 1674636 h 4878949"/>
              <a:gd name="connsiteX427" fmla="*/ 3302 w 3418030"/>
              <a:gd name="connsiteY427" fmla="*/ 1119326 h 4878949"/>
              <a:gd name="connsiteX428" fmla="*/ 3302 w 3418030"/>
              <a:gd name="connsiteY428" fmla="*/ 1118715 h 4878949"/>
              <a:gd name="connsiteX429" fmla="*/ 3301 w 3418030"/>
              <a:gd name="connsiteY429" fmla="*/ 1118705 h 4878949"/>
              <a:gd name="connsiteX430" fmla="*/ 3302 w 3418030"/>
              <a:gd name="connsiteY430" fmla="*/ 1118695 h 4878949"/>
              <a:gd name="connsiteX431" fmla="*/ 3302 w 3418030"/>
              <a:gd name="connsiteY431" fmla="*/ 1070048 h 4878949"/>
              <a:gd name="connsiteX432" fmla="*/ 3302 w 3418030"/>
              <a:gd name="connsiteY432" fmla="*/ 1039200 h 4878949"/>
              <a:gd name="connsiteX433" fmla="*/ 3302 w 3418030"/>
              <a:gd name="connsiteY433" fmla="*/ 1038590 h 4878949"/>
              <a:gd name="connsiteX434" fmla="*/ 3301 w 3418030"/>
              <a:gd name="connsiteY434" fmla="*/ 1038579 h 4878949"/>
              <a:gd name="connsiteX435" fmla="*/ 3302 w 3418030"/>
              <a:gd name="connsiteY435" fmla="*/ 1038570 h 4878949"/>
              <a:gd name="connsiteX436" fmla="*/ 3302 w 3418030"/>
              <a:gd name="connsiteY436" fmla="*/ 989923 h 4878949"/>
              <a:gd name="connsiteX437" fmla="*/ 5852 w 3418030"/>
              <a:gd name="connsiteY437" fmla="*/ 989923 h 4878949"/>
              <a:gd name="connsiteX438" fmla="*/ 8449 w 3418030"/>
              <a:gd name="connsiteY438" fmla="*/ 939781 h 4878949"/>
              <a:gd name="connsiteX439" fmla="*/ 8925 w 3418030"/>
              <a:gd name="connsiteY439" fmla="*/ 936738 h 4878949"/>
              <a:gd name="connsiteX440" fmla="*/ 9149 w 3418030"/>
              <a:gd name="connsiteY440" fmla="*/ 932684 h 4878949"/>
              <a:gd name="connsiteX441" fmla="*/ 46506 w 3418030"/>
              <a:gd name="connsiteY441" fmla="*/ 754274 h 4878949"/>
              <a:gd name="connsiteX442" fmla="*/ 48032 w 3418030"/>
              <a:gd name="connsiteY442" fmla="*/ 750077 h 4878949"/>
              <a:gd name="connsiteX443" fmla="*/ 48222 w 3418030"/>
              <a:gd name="connsiteY443" fmla="*/ 749353 h 4878949"/>
              <a:gd name="connsiteX444" fmla="*/ 50914 w 3418030"/>
              <a:gd name="connsiteY444" fmla="*/ 742152 h 4878949"/>
              <a:gd name="connsiteX445" fmla="*/ 77329 w 3418030"/>
              <a:gd name="connsiteY445" fmla="*/ 669497 h 4878949"/>
              <a:gd name="connsiteX446" fmla="*/ 80849 w 3418030"/>
              <a:gd name="connsiteY446" fmla="*/ 662039 h 4878949"/>
              <a:gd name="connsiteX447" fmla="*/ 81908 w 3418030"/>
              <a:gd name="connsiteY447" fmla="*/ 659204 h 4878949"/>
              <a:gd name="connsiteX448" fmla="*/ 89422 w 3418030"/>
              <a:gd name="connsiteY448" fmla="*/ 643883 h 4878949"/>
              <a:gd name="connsiteX449" fmla="*/ 115734 w 3418030"/>
              <a:gd name="connsiteY449" fmla="*/ 588143 h 4878949"/>
              <a:gd name="connsiteX450" fmla="*/ 121848 w 3418030"/>
              <a:gd name="connsiteY450" fmla="*/ 577740 h 4878949"/>
              <a:gd name="connsiteX451" fmla="*/ 124169 w 3418030"/>
              <a:gd name="connsiteY451" fmla="*/ 573005 h 4878949"/>
              <a:gd name="connsiteX452" fmla="*/ 134403 w 3418030"/>
              <a:gd name="connsiteY452" fmla="*/ 556381 h 4878949"/>
              <a:gd name="connsiteX453" fmla="*/ 161333 w 3418030"/>
              <a:gd name="connsiteY453" fmla="*/ 510566 h 4878949"/>
              <a:gd name="connsiteX454" fmla="*/ 170598 w 3418030"/>
              <a:gd name="connsiteY454" fmla="*/ 497582 h 4878949"/>
              <a:gd name="connsiteX455" fmla="*/ 174534 w 3418030"/>
              <a:gd name="connsiteY455" fmla="*/ 491185 h 4878949"/>
              <a:gd name="connsiteX456" fmla="*/ 186458 w 3418030"/>
              <a:gd name="connsiteY456" fmla="*/ 475354 h 4878949"/>
              <a:gd name="connsiteX457" fmla="*/ 213741 w 3418030"/>
              <a:gd name="connsiteY457" fmla="*/ 437120 h 4878949"/>
              <a:gd name="connsiteX458" fmla="*/ 226666 w 3418030"/>
              <a:gd name="connsiteY458" fmla="*/ 421970 h 4878949"/>
              <a:gd name="connsiteX459" fmla="*/ 232537 w 3418030"/>
              <a:gd name="connsiteY459" fmla="*/ 414172 h 4878949"/>
              <a:gd name="connsiteX460" fmla="*/ 245428 w 3418030"/>
              <a:gd name="connsiteY460" fmla="*/ 399975 h 4878949"/>
              <a:gd name="connsiteX461" fmla="*/ 272569 w 3418030"/>
              <a:gd name="connsiteY461" fmla="*/ 368155 h 4878949"/>
              <a:gd name="connsiteX462" fmla="*/ 289619 w 3418030"/>
              <a:gd name="connsiteY462" fmla="*/ 351302 h 4878949"/>
              <a:gd name="connsiteX463" fmla="*/ 297703 w 3418030"/>
              <a:gd name="connsiteY463" fmla="*/ 342396 h 4878949"/>
              <a:gd name="connsiteX464" fmla="*/ 310983 w 3418030"/>
              <a:gd name="connsiteY464" fmla="*/ 330181 h 4878949"/>
              <a:gd name="connsiteX465" fmla="*/ 337434 w 3418030"/>
              <a:gd name="connsiteY465" fmla="*/ 304029 h 4878949"/>
              <a:gd name="connsiteX466" fmla="*/ 359031 w 3418030"/>
              <a:gd name="connsiteY466" fmla="*/ 285980 h 4878949"/>
              <a:gd name="connsiteX467" fmla="*/ 369567 w 3418030"/>
              <a:gd name="connsiteY467" fmla="*/ 276286 h 4878949"/>
              <a:gd name="connsiteX468" fmla="*/ 382740 w 3418030"/>
              <a:gd name="connsiteY468" fmla="*/ 266163 h 4878949"/>
              <a:gd name="connsiteX469" fmla="*/ 407948 w 3418030"/>
              <a:gd name="connsiteY469" fmla="*/ 245095 h 4878949"/>
              <a:gd name="connsiteX470" fmla="*/ 434483 w 3418030"/>
              <a:gd name="connsiteY470" fmla="*/ 226398 h 4878949"/>
              <a:gd name="connsiteX471" fmla="*/ 447659 w 3418030"/>
              <a:gd name="connsiteY471" fmla="*/ 216272 h 4878949"/>
              <a:gd name="connsiteX472" fmla="*/ 460291 w 3418030"/>
              <a:gd name="connsiteY472" fmla="*/ 208214 h 4878949"/>
              <a:gd name="connsiteX473" fmla="*/ 483722 w 3418030"/>
              <a:gd name="connsiteY473" fmla="*/ 191703 h 4878949"/>
              <a:gd name="connsiteX474" fmla="*/ 515572 w 3418030"/>
              <a:gd name="connsiteY474" fmla="*/ 172948 h 4878949"/>
              <a:gd name="connsiteX475" fmla="*/ 531508 w 3418030"/>
              <a:gd name="connsiteY475" fmla="*/ 162782 h 4878949"/>
              <a:gd name="connsiteX476" fmla="*/ 543209 w 3418030"/>
              <a:gd name="connsiteY476" fmla="*/ 156673 h 4878949"/>
              <a:gd name="connsiteX477" fmla="*/ 564373 w 3418030"/>
              <a:gd name="connsiteY477" fmla="*/ 144210 h 4878949"/>
              <a:gd name="connsiteX478" fmla="*/ 601919 w 3418030"/>
              <a:gd name="connsiteY478" fmla="*/ 126023 h 4878949"/>
              <a:gd name="connsiteX479" fmla="*/ 620646 w 3418030"/>
              <a:gd name="connsiteY479" fmla="*/ 116246 h 4878949"/>
              <a:gd name="connsiteX480" fmla="*/ 631065 w 3418030"/>
              <a:gd name="connsiteY480" fmla="*/ 111905 h 4878949"/>
              <a:gd name="connsiteX481" fmla="*/ 649513 w 3418030"/>
              <a:gd name="connsiteY481" fmla="*/ 102967 h 4878949"/>
              <a:gd name="connsiteX482" fmla="*/ 693215 w 3418030"/>
              <a:gd name="connsiteY482" fmla="*/ 86005 h 4878949"/>
              <a:gd name="connsiteX483" fmla="*/ 714604 w 3418030"/>
              <a:gd name="connsiteY483" fmla="*/ 77091 h 4878949"/>
              <a:gd name="connsiteX484" fmla="*/ 723421 w 3418030"/>
              <a:gd name="connsiteY484" fmla="*/ 74281 h 4878949"/>
              <a:gd name="connsiteX485" fmla="*/ 738755 w 3418030"/>
              <a:gd name="connsiteY485" fmla="*/ 68329 h 4878949"/>
              <a:gd name="connsiteX486" fmla="*/ 789290 w 3418030"/>
              <a:gd name="connsiteY486" fmla="*/ 53281 h 4878949"/>
              <a:gd name="connsiteX487" fmla="*/ 812911 w 3418030"/>
              <a:gd name="connsiteY487" fmla="*/ 45751 h 4878949"/>
              <a:gd name="connsiteX488" fmla="*/ 819840 w 3418030"/>
              <a:gd name="connsiteY488" fmla="*/ 44184 h 4878949"/>
              <a:gd name="connsiteX489" fmla="*/ 831714 w 3418030"/>
              <a:gd name="connsiteY489" fmla="*/ 40649 h 4878949"/>
              <a:gd name="connsiteX490" fmla="*/ 890408 w 3418030"/>
              <a:gd name="connsiteY490" fmla="*/ 28233 h 4878949"/>
              <a:gd name="connsiteX491" fmla="*/ 891488 w 3418030"/>
              <a:gd name="connsiteY491" fmla="*/ 27989 h 4878949"/>
              <a:gd name="connsiteX492" fmla="*/ 891488 w 3418030"/>
              <a:gd name="connsiteY492" fmla="*/ 26353 h 4878949"/>
              <a:gd name="connsiteX493" fmla="*/ 920414 w 3418030"/>
              <a:gd name="connsiteY493" fmla="*/ 21016 h 4878949"/>
              <a:gd name="connsiteX494" fmla="*/ 926275 w 3418030"/>
              <a:gd name="connsiteY494" fmla="*/ 20363 h 4878949"/>
              <a:gd name="connsiteX495" fmla="*/ 936223 w 3418030"/>
              <a:gd name="connsiteY495" fmla="*/ 18645 h 4878949"/>
              <a:gd name="connsiteX496" fmla="*/ 1022729 w 3418030"/>
              <a:gd name="connsiteY496" fmla="*/ 9605 h 4878949"/>
              <a:gd name="connsiteX497" fmla="*/ 1049789 w 3418030"/>
              <a:gd name="connsiteY497" fmla="*/ 6588 h 4878949"/>
              <a:gd name="connsiteX498" fmla="*/ 1052637 w 3418030"/>
              <a:gd name="connsiteY498" fmla="*/ 6482 h 4878949"/>
              <a:gd name="connsiteX499" fmla="*/ 1057795 w 3418030"/>
              <a:gd name="connsiteY499" fmla="*/ 5941 h 4878949"/>
              <a:gd name="connsiteX500" fmla="*/ 1117794 w 3418030"/>
              <a:gd name="connsiteY500" fmla="*/ 3821 h 4878949"/>
              <a:gd name="connsiteX501" fmla="*/ 1117794 w 3418030"/>
              <a:gd name="connsiteY501" fmla="*/ 1237 h 4878949"/>
              <a:gd name="connsiteX502" fmla="*/ 1173109 w 3418030"/>
              <a:gd name="connsiteY502" fmla="*/ 1237 h 4878949"/>
              <a:gd name="connsiteX503" fmla="*/ 1190915 w 3418030"/>
              <a:gd name="connsiteY503" fmla="*/ 1237 h 4878949"/>
              <a:gd name="connsiteX504" fmla="*/ 1191329 w 3418030"/>
              <a:gd name="connsiteY504" fmla="*/ 1237 h 4878949"/>
              <a:gd name="connsiteX505" fmla="*/ 1191331 w 3418030"/>
              <a:gd name="connsiteY505" fmla="*/ 1237 h 487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</a:cxnLst>
            <a:rect l="l" t="t" r="r" b="b"/>
            <a:pathLst>
              <a:path w="3418030" h="4878949">
                <a:moveTo>
                  <a:pt x="1191331" y="0"/>
                </a:moveTo>
                <a:lnTo>
                  <a:pt x="1294432" y="0"/>
                </a:lnTo>
                <a:lnTo>
                  <a:pt x="1457098" y="0"/>
                </a:lnTo>
                <a:lnTo>
                  <a:pt x="1564784" y="0"/>
                </a:lnTo>
                <a:lnTo>
                  <a:pt x="2013538" y="0"/>
                </a:lnTo>
                <a:lnTo>
                  <a:pt x="2038520" y="0"/>
                </a:lnTo>
                <a:lnTo>
                  <a:pt x="2130825" y="0"/>
                </a:lnTo>
                <a:lnTo>
                  <a:pt x="2156238" y="0"/>
                </a:lnTo>
                <a:lnTo>
                  <a:pt x="2221889" y="0"/>
                </a:lnTo>
                <a:lnTo>
                  <a:pt x="2277890" y="0"/>
                </a:lnTo>
                <a:lnTo>
                  <a:pt x="2342770" y="0"/>
                </a:lnTo>
                <a:lnTo>
                  <a:pt x="2399737" y="0"/>
                </a:lnTo>
                <a:lnTo>
                  <a:pt x="2399737" y="1224"/>
                </a:lnTo>
                <a:lnTo>
                  <a:pt x="3278911" y="1224"/>
                </a:lnTo>
                <a:lnTo>
                  <a:pt x="3418030" y="1224"/>
                </a:lnTo>
                <a:lnTo>
                  <a:pt x="3418030" y="70784"/>
                </a:lnTo>
                <a:lnTo>
                  <a:pt x="3418030" y="685938"/>
                </a:lnTo>
                <a:lnTo>
                  <a:pt x="3418030" y="732837"/>
                </a:lnTo>
                <a:lnTo>
                  <a:pt x="3418030" y="755498"/>
                </a:lnTo>
                <a:lnTo>
                  <a:pt x="3418030" y="802397"/>
                </a:lnTo>
                <a:lnTo>
                  <a:pt x="3418030" y="1036312"/>
                </a:lnTo>
                <a:lnTo>
                  <a:pt x="3418030" y="1036923"/>
                </a:lnTo>
                <a:lnTo>
                  <a:pt x="3418030" y="1036933"/>
                </a:lnTo>
                <a:lnTo>
                  <a:pt x="3418030" y="1036943"/>
                </a:lnTo>
                <a:lnTo>
                  <a:pt x="3418030" y="1085589"/>
                </a:lnTo>
                <a:lnTo>
                  <a:pt x="3418030" y="1105871"/>
                </a:lnTo>
                <a:lnTo>
                  <a:pt x="3418030" y="1106482"/>
                </a:lnTo>
                <a:lnTo>
                  <a:pt x="3418030" y="1106491"/>
                </a:lnTo>
                <a:lnTo>
                  <a:pt x="3418030" y="1106501"/>
                </a:lnTo>
                <a:lnTo>
                  <a:pt x="3418030" y="1155149"/>
                </a:lnTo>
                <a:lnTo>
                  <a:pt x="3418030" y="1417551"/>
                </a:lnTo>
                <a:lnTo>
                  <a:pt x="3418030" y="1487111"/>
                </a:lnTo>
                <a:lnTo>
                  <a:pt x="3418030" y="1721026"/>
                </a:lnTo>
                <a:lnTo>
                  <a:pt x="3418030" y="1721637"/>
                </a:lnTo>
                <a:lnTo>
                  <a:pt x="3418030" y="1721646"/>
                </a:lnTo>
                <a:lnTo>
                  <a:pt x="3418030" y="1721657"/>
                </a:lnTo>
                <a:lnTo>
                  <a:pt x="3418030" y="1767925"/>
                </a:lnTo>
                <a:lnTo>
                  <a:pt x="3418030" y="1768536"/>
                </a:lnTo>
                <a:lnTo>
                  <a:pt x="3418030" y="1768546"/>
                </a:lnTo>
                <a:lnTo>
                  <a:pt x="3418030" y="1768556"/>
                </a:lnTo>
                <a:lnTo>
                  <a:pt x="3418030" y="1770303"/>
                </a:lnTo>
                <a:lnTo>
                  <a:pt x="3418030" y="1790585"/>
                </a:lnTo>
                <a:lnTo>
                  <a:pt x="3418030" y="1791196"/>
                </a:lnTo>
                <a:lnTo>
                  <a:pt x="3418030" y="1791205"/>
                </a:lnTo>
                <a:lnTo>
                  <a:pt x="3418030" y="1791215"/>
                </a:lnTo>
                <a:lnTo>
                  <a:pt x="3418030" y="1817203"/>
                </a:lnTo>
                <a:lnTo>
                  <a:pt x="3418030" y="1837484"/>
                </a:lnTo>
                <a:lnTo>
                  <a:pt x="3418030" y="1838095"/>
                </a:lnTo>
                <a:lnTo>
                  <a:pt x="3418030" y="1838105"/>
                </a:lnTo>
                <a:lnTo>
                  <a:pt x="3418030" y="1838115"/>
                </a:lnTo>
                <a:lnTo>
                  <a:pt x="3418030" y="1839863"/>
                </a:lnTo>
                <a:lnTo>
                  <a:pt x="3418030" y="1886762"/>
                </a:lnTo>
                <a:lnTo>
                  <a:pt x="3418030" y="2452639"/>
                </a:lnTo>
                <a:lnTo>
                  <a:pt x="3418030" y="2453250"/>
                </a:lnTo>
                <a:lnTo>
                  <a:pt x="3418030" y="2453260"/>
                </a:lnTo>
                <a:lnTo>
                  <a:pt x="3418030" y="2453270"/>
                </a:lnTo>
                <a:lnTo>
                  <a:pt x="3418030" y="2501917"/>
                </a:lnTo>
                <a:lnTo>
                  <a:pt x="3418030" y="2522198"/>
                </a:lnTo>
                <a:lnTo>
                  <a:pt x="3418030" y="2522809"/>
                </a:lnTo>
                <a:lnTo>
                  <a:pt x="3418030" y="2522819"/>
                </a:lnTo>
                <a:lnTo>
                  <a:pt x="3418030" y="2522830"/>
                </a:lnTo>
                <a:lnTo>
                  <a:pt x="3418030" y="2571476"/>
                </a:lnTo>
                <a:lnTo>
                  <a:pt x="3415609" y="2571476"/>
                </a:lnTo>
                <a:lnTo>
                  <a:pt x="3413143" y="2621619"/>
                </a:lnTo>
                <a:lnTo>
                  <a:pt x="3412693" y="2624661"/>
                </a:lnTo>
                <a:lnTo>
                  <a:pt x="3412480" y="2628713"/>
                </a:lnTo>
                <a:cubicBezTo>
                  <a:pt x="3406029" y="2689917"/>
                  <a:pt x="3394048" y="2749544"/>
                  <a:pt x="3377025" y="2807125"/>
                </a:cubicBezTo>
                <a:lnTo>
                  <a:pt x="3375576" y="2811322"/>
                </a:lnTo>
                <a:lnTo>
                  <a:pt x="3375395" y="2812045"/>
                </a:lnTo>
                <a:lnTo>
                  <a:pt x="3372842" y="2819247"/>
                </a:lnTo>
                <a:lnTo>
                  <a:pt x="3347771" y="2891903"/>
                </a:lnTo>
                <a:lnTo>
                  <a:pt x="3344429" y="2899360"/>
                </a:lnTo>
                <a:lnTo>
                  <a:pt x="3343424" y="2902194"/>
                </a:lnTo>
                <a:lnTo>
                  <a:pt x="3336294" y="2917516"/>
                </a:lnTo>
                <a:lnTo>
                  <a:pt x="3311321" y="2973257"/>
                </a:lnTo>
                <a:lnTo>
                  <a:pt x="3305517" y="2983659"/>
                </a:lnTo>
                <a:lnTo>
                  <a:pt x="3303314" y="2988394"/>
                </a:lnTo>
                <a:lnTo>
                  <a:pt x="3293601" y="3005019"/>
                </a:lnTo>
                <a:lnTo>
                  <a:pt x="3268042" y="3050833"/>
                </a:lnTo>
                <a:lnTo>
                  <a:pt x="3259248" y="3063817"/>
                </a:lnTo>
                <a:lnTo>
                  <a:pt x="3255513" y="3070215"/>
                </a:lnTo>
                <a:lnTo>
                  <a:pt x="3244196" y="3086045"/>
                </a:lnTo>
                <a:lnTo>
                  <a:pt x="3218302" y="3124280"/>
                </a:lnTo>
                <a:lnTo>
                  <a:pt x="3206037" y="3139430"/>
                </a:lnTo>
                <a:lnTo>
                  <a:pt x="3200464" y="3147227"/>
                </a:lnTo>
                <a:lnTo>
                  <a:pt x="3188229" y="3161424"/>
                </a:lnTo>
                <a:lnTo>
                  <a:pt x="3162468" y="3193243"/>
                </a:lnTo>
                <a:lnTo>
                  <a:pt x="3146287" y="3210097"/>
                </a:lnTo>
                <a:lnTo>
                  <a:pt x="3138613" y="3219003"/>
                </a:lnTo>
                <a:lnTo>
                  <a:pt x="3126010" y="3231219"/>
                </a:lnTo>
                <a:lnTo>
                  <a:pt x="3100905" y="3257369"/>
                </a:lnTo>
                <a:lnTo>
                  <a:pt x="3080407" y="3275420"/>
                </a:lnTo>
                <a:lnTo>
                  <a:pt x="3070407" y="3285113"/>
                </a:lnTo>
                <a:lnTo>
                  <a:pt x="3057904" y="3295236"/>
                </a:lnTo>
                <a:lnTo>
                  <a:pt x="3033981" y="3316304"/>
                </a:lnTo>
                <a:lnTo>
                  <a:pt x="3008795" y="3335002"/>
                </a:lnTo>
                <a:lnTo>
                  <a:pt x="2996290" y="3345128"/>
                </a:lnTo>
                <a:lnTo>
                  <a:pt x="2984301" y="3353185"/>
                </a:lnTo>
                <a:lnTo>
                  <a:pt x="2962062" y="3369695"/>
                </a:lnTo>
                <a:lnTo>
                  <a:pt x="2931835" y="3388450"/>
                </a:lnTo>
                <a:lnTo>
                  <a:pt x="2916709" y="3398618"/>
                </a:lnTo>
                <a:lnTo>
                  <a:pt x="2905603" y="3404726"/>
                </a:lnTo>
                <a:lnTo>
                  <a:pt x="2885517" y="3417189"/>
                </a:lnTo>
                <a:lnTo>
                  <a:pt x="2849882" y="3435375"/>
                </a:lnTo>
                <a:lnTo>
                  <a:pt x="2832108" y="3445153"/>
                </a:lnTo>
                <a:lnTo>
                  <a:pt x="2822219" y="3449494"/>
                </a:lnTo>
                <a:lnTo>
                  <a:pt x="2804710" y="3458432"/>
                </a:lnTo>
                <a:lnTo>
                  <a:pt x="2763233" y="3475393"/>
                </a:lnTo>
                <a:lnTo>
                  <a:pt x="2742933" y="3484308"/>
                </a:lnTo>
                <a:lnTo>
                  <a:pt x="2734565" y="3487117"/>
                </a:lnTo>
                <a:lnTo>
                  <a:pt x="2720010" y="3493070"/>
                </a:lnTo>
                <a:lnTo>
                  <a:pt x="2672049" y="3508117"/>
                </a:lnTo>
                <a:lnTo>
                  <a:pt x="2649630" y="3515648"/>
                </a:lnTo>
                <a:lnTo>
                  <a:pt x="2643052" y="3517214"/>
                </a:lnTo>
                <a:lnTo>
                  <a:pt x="2631783" y="3520749"/>
                </a:lnTo>
                <a:lnTo>
                  <a:pt x="2576079" y="3533167"/>
                </a:lnTo>
                <a:lnTo>
                  <a:pt x="2552643" y="3538747"/>
                </a:lnTo>
                <a:lnTo>
                  <a:pt x="2548104" y="3539401"/>
                </a:lnTo>
                <a:lnTo>
                  <a:pt x="2540397" y="3541118"/>
                </a:lnTo>
                <a:lnTo>
                  <a:pt x="2473383" y="3550158"/>
                </a:lnTo>
                <a:lnTo>
                  <a:pt x="2452420" y="3553176"/>
                </a:lnTo>
                <a:lnTo>
                  <a:pt x="2450212" y="3553284"/>
                </a:lnTo>
                <a:lnTo>
                  <a:pt x="2446216" y="3553824"/>
                </a:lnTo>
                <a:lnTo>
                  <a:pt x="2399737" y="3555943"/>
                </a:lnTo>
                <a:lnTo>
                  <a:pt x="2399737" y="3558529"/>
                </a:lnTo>
                <a:lnTo>
                  <a:pt x="2366297" y="3558529"/>
                </a:lnTo>
                <a:lnTo>
                  <a:pt x="2350286" y="3560726"/>
                </a:lnTo>
                <a:lnTo>
                  <a:pt x="2329679" y="3563743"/>
                </a:lnTo>
                <a:lnTo>
                  <a:pt x="2327509" y="3563851"/>
                </a:lnTo>
                <a:lnTo>
                  <a:pt x="2323580" y="3564391"/>
                </a:lnTo>
                <a:lnTo>
                  <a:pt x="2277890" y="3566510"/>
                </a:lnTo>
                <a:lnTo>
                  <a:pt x="2277890" y="3569096"/>
                </a:lnTo>
                <a:lnTo>
                  <a:pt x="2235765" y="3569096"/>
                </a:lnTo>
                <a:lnTo>
                  <a:pt x="2222205" y="3569096"/>
                </a:lnTo>
                <a:lnTo>
                  <a:pt x="2221889" y="3569096"/>
                </a:lnTo>
                <a:lnTo>
                  <a:pt x="2221889" y="3570333"/>
                </a:lnTo>
                <a:lnTo>
                  <a:pt x="2038520" y="3570333"/>
                </a:lnTo>
                <a:lnTo>
                  <a:pt x="2013539" y="3570333"/>
                </a:lnTo>
                <a:lnTo>
                  <a:pt x="1650818" y="3570333"/>
                </a:lnTo>
                <a:lnTo>
                  <a:pt x="1650818" y="3570744"/>
                </a:lnTo>
                <a:lnTo>
                  <a:pt x="1652012" y="3570744"/>
                </a:lnTo>
                <a:lnTo>
                  <a:pt x="1652012" y="3571721"/>
                </a:lnTo>
                <a:lnTo>
                  <a:pt x="1671221" y="3572716"/>
                </a:lnTo>
                <a:lnTo>
                  <a:pt x="1672387" y="3572898"/>
                </a:lnTo>
                <a:lnTo>
                  <a:pt x="1673940" y="3572984"/>
                </a:lnTo>
                <a:cubicBezTo>
                  <a:pt x="1697387" y="3575588"/>
                  <a:pt x="1720231" y="3580424"/>
                  <a:pt x="1742290" y="3587296"/>
                </a:cubicBezTo>
                <a:lnTo>
                  <a:pt x="1743898" y="3587880"/>
                </a:lnTo>
                <a:lnTo>
                  <a:pt x="1744176" y="3587953"/>
                </a:lnTo>
                <a:lnTo>
                  <a:pt x="1746934" y="3588984"/>
                </a:lnTo>
                <a:lnTo>
                  <a:pt x="1774769" y="3599104"/>
                </a:lnTo>
                <a:lnTo>
                  <a:pt x="1777626" y="3600453"/>
                </a:lnTo>
                <a:lnTo>
                  <a:pt x="1778712" y="3600858"/>
                </a:lnTo>
                <a:lnTo>
                  <a:pt x="1784582" y="3603737"/>
                </a:lnTo>
                <a:lnTo>
                  <a:pt x="1805936" y="3613817"/>
                </a:lnTo>
                <a:lnTo>
                  <a:pt x="1809922" y="3616160"/>
                </a:lnTo>
                <a:lnTo>
                  <a:pt x="1811736" y="3617049"/>
                </a:lnTo>
                <a:lnTo>
                  <a:pt x="1818105" y="3620970"/>
                </a:lnTo>
                <a:lnTo>
                  <a:pt x="1835657" y="3631287"/>
                </a:lnTo>
                <a:lnTo>
                  <a:pt x="1840631" y="3634836"/>
                </a:lnTo>
                <a:lnTo>
                  <a:pt x="1843082" y="3636344"/>
                </a:lnTo>
                <a:lnTo>
                  <a:pt x="1849146" y="3640912"/>
                </a:lnTo>
                <a:lnTo>
                  <a:pt x="1863794" y="3651364"/>
                </a:lnTo>
                <a:lnTo>
                  <a:pt x="1869598" y="3656316"/>
                </a:lnTo>
                <a:lnTo>
                  <a:pt x="1872586" y="3658565"/>
                </a:lnTo>
                <a:lnTo>
                  <a:pt x="1878025" y="3663504"/>
                </a:lnTo>
                <a:lnTo>
                  <a:pt x="1890215" y="3673902"/>
                </a:lnTo>
                <a:lnTo>
                  <a:pt x="1896672" y="3680434"/>
                </a:lnTo>
                <a:lnTo>
                  <a:pt x="1900084" y="3683531"/>
                </a:lnTo>
                <a:lnTo>
                  <a:pt x="1904763" y="3688618"/>
                </a:lnTo>
                <a:lnTo>
                  <a:pt x="1914782" y="3698752"/>
                </a:lnTo>
                <a:lnTo>
                  <a:pt x="1921697" y="3707026"/>
                </a:lnTo>
                <a:lnTo>
                  <a:pt x="1925411" y="3711062"/>
                </a:lnTo>
                <a:lnTo>
                  <a:pt x="1929289" y="3716109"/>
                </a:lnTo>
                <a:lnTo>
                  <a:pt x="1937360" y="3725766"/>
                </a:lnTo>
                <a:lnTo>
                  <a:pt x="1944523" y="3735932"/>
                </a:lnTo>
                <a:lnTo>
                  <a:pt x="1948403" y="3740980"/>
                </a:lnTo>
                <a:lnTo>
                  <a:pt x="1951490" y="3745819"/>
                </a:lnTo>
                <a:lnTo>
                  <a:pt x="1957815" y="3754796"/>
                </a:lnTo>
                <a:lnTo>
                  <a:pt x="1965000" y="3766998"/>
                </a:lnTo>
                <a:lnTo>
                  <a:pt x="1968895" y="3773103"/>
                </a:lnTo>
                <a:lnTo>
                  <a:pt x="1971236" y="3777586"/>
                </a:lnTo>
                <a:lnTo>
                  <a:pt x="1976010" y="3785694"/>
                </a:lnTo>
                <a:lnTo>
                  <a:pt x="1982978" y="3800078"/>
                </a:lnTo>
                <a:lnTo>
                  <a:pt x="1986724" y="3807252"/>
                </a:lnTo>
                <a:lnTo>
                  <a:pt x="1988387" y="3811244"/>
                </a:lnTo>
                <a:lnTo>
                  <a:pt x="1991811" y="3818312"/>
                </a:lnTo>
                <a:lnTo>
                  <a:pt x="1998309" y="3835054"/>
                </a:lnTo>
                <a:lnTo>
                  <a:pt x="2001724" y="3843248"/>
                </a:lnTo>
                <a:lnTo>
                  <a:pt x="2002801" y="3846626"/>
                </a:lnTo>
                <a:lnTo>
                  <a:pt x="2005081" y="3852501"/>
                </a:lnTo>
                <a:lnTo>
                  <a:pt x="2010846" y="3871861"/>
                </a:lnTo>
                <a:lnTo>
                  <a:pt x="2013730" y="3880910"/>
                </a:lnTo>
                <a:lnTo>
                  <a:pt x="2014331" y="3883565"/>
                </a:lnTo>
                <a:lnTo>
                  <a:pt x="2015685" y="3888114"/>
                </a:lnTo>
                <a:lnTo>
                  <a:pt x="2020442" y="3910600"/>
                </a:lnTo>
                <a:lnTo>
                  <a:pt x="2020535" y="3911014"/>
                </a:lnTo>
                <a:lnTo>
                  <a:pt x="2021162" y="3911014"/>
                </a:lnTo>
                <a:lnTo>
                  <a:pt x="2023207" y="3922096"/>
                </a:lnTo>
                <a:lnTo>
                  <a:pt x="2023457" y="3924341"/>
                </a:lnTo>
                <a:lnTo>
                  <a:pt x="2024115" y="3928152"/>
                </a:lnTo>
                <a:lnTo>
                  <a:pt x="2027578" y="3961293"/>
                </a:lnTo>
                <a:lnTo>
                  <a:pt x="2028734" y="3971660"/>
                </a:lnTo>
                <a:lnTo>
                  <a:pt x="2028775" y="3972751"/>
                </a:lnTo>
                <a:lnTo>
                  <a:pt x="2028982" y="3974727"/>
                </a:lnTo>
                <a:lnTo>
                  <a:pt x="2029794" y="3997713"/>
                </a:lnTo>
                <a:lnTo>
                  <a:pt x="2030784" y="3997713"/>
                </a:lnTo>
                <a:lnTo>
                  <a:pt x="2030784" y="4018905"/>
                </a:lnTo>
                <a:lnTo>
                  <a:pt x="2030784" y="4025726"/>
                </a:lnTo>
                <a:lnTo>
                  <a:pt x="2030784" y="4025885"/>
                </a:lnTo>
                <a:lnTo>
                  <a:pt x="2030784" y="4025886"/>
                </a:lnTo>
                <a:lnTo>
                  <a:pt x="2031258" y="4025886"/>
                </a:lnTo>
                <a:lnTo>
                  <a:pt x="2031258" y="4065384"/>
                </a:lnTo>
                <a:lnTo>
                  <a:pt x="2031258" y="4127703"/>
                </a:lnTo>
                <a:lnTo>
                  <a:pt x="2031258" y="4168958"/>
                </a:lnTo>
                <a:lnTo>
                  <a:pt x="2031258" y="4340879"/>
                </a:lnTo>
                <a:lnTo>
                  <a:pt x="2031258" y="4350450"/>
                </a:lnTo>
                <a:lnTo>
                  <a:pt x="2031258" y="4385812"/>
                </a:lnTo>
                <a:lnTo>
                  <a:pt x="2031258" y="4395548"/>
                </a:lnTo>
                <a:lnTo>
                  <a:pt x="2031258" y="4420700"/>
                </a:lnTo>
                <a:lnTo>
                  <a:pt x="2031258" y="4442154"/>
                </a:lnTo>
                <a:lnTo>
                  <a:pt x="2031258" y="4467010"/>
                </a:lnTo>
                <a:lnTo>
                  <a:pt x="2031258" y="4488834"/>
                </a:lnTo>
                <a:lnTo>
                  <a:pt x="2030789" y="4488834"/>
                </a:lnTo>
                <a:lnTo>
                  <a:pt x="2030789" y="4825652"/>
                </a:lnTo>
                <a:lnTo>
                  <a:pt x="2030789" y="4878949"/>
                </a:lnTo>
                <a:lnTo>
                  <a:pt x="2004140" y="4878949"/>
                </a:lnTo>
                <a:lnTo>
                  <a:pt x="1768470" y="4878949"/>
                </a:lnTo>
                <a:lnTo>
                  <a:pt x="1750503" y="4878949"/>
                </a:lnTo>
                <a:lnTo>
                  <a:pt x="1741822" y="4878949"/>
                </a:lnTo>
                <a:lnTo>
                  <a:pt x="1723854" y="4878949"/>
                </a:lnTo>
                <a:lnTo>
                  <a:pt x="1634240" y="4878949"/>
                </a:lnTo>
                <a:lnTo>
                  <a:pt x="1634005" y="4878949"/>
                </a:lnTo>
                <a:lnTo>
                  <a:pt x="1634002" y="4878949"/>
                </a:lnTo>
                <a:lnTo>
                  <a:pt x="1633998" y="4878949"/>
                </a:lnTo>
                <a:lnTo>
                  <a:pt x="1615361" y="4878949"/>
                </a:lnTo>
                <a:lnTo>
                  <a:pt x="1607591" y="4878949"/>
                </a:lnTo>
                <a:lnTo>
                  <a:pt x="1607357" y="4878949"/>
                </a:lnTo>
                <a:lnTo>
                  <a:pt x="1607354" y="4878949"/>
                </a:lnTo>
                <a:lnTo>
                  <a:pt x="1607350" y="4878949"/>
                </a:lnTo>
                <a:lnTo>
                  <a:pt x="1588712" y="4878949"/>
                </a:lnTo>
                <a:lnTo>
                  <a:pt x="1488184" y="4878949"/>
                </a:lnTo>
                <a:lnTo>
                  <a:pt x="1461535" y="4878949"/>
                </a:lnTo>
                <a:lnTo>
                  <a:pt x="1371921" y="4878949"/>
                </a:lnTo>
                <a:lnTo>
                  <a:pt x="1371687" y="4878949"/>
                </a:lnTo>
                <a:lnTo>
                  <a:pt x="1371683" y="4878949"/>
                </a:lnTo>
                <a:lnTo>
                  <a:pt x="1371679" y="4878949"/>
                </a:lnTo>
                <a:lnTo>
                  <a:pt x="1367507" y="4878949"/>
                </a:lnTo>
                <a:lnTo>
                  <a:pt x="1353954" y="4878949"/>
                </a:lnTo>
                <a:lnTo>
                  <a:pt x="1353719" y="4878949"/>
                </a:lnTo>
                <a:lnTo>
                  <a:pt x="1353716" y="4878949"/>
                </a:lnTo>
                <a:lnTo>
                  <a:pt x="1353712" y="4878949"/>
                </a:lnTo>
                <a:lnTo>
                  <a:pt x="1353043" y="4878949"/>
                </a:lnTo>
                <a:lnTo>
                  <a:pt x="1345272" y="4878949"/>
                </a:lnTo>
                <a:lnTo>
                  <a:pt x="1345038" y="4878949"/>
                </a:lnTo>
                <a:lnTo>
                  <a:pt x="1345035" y="4878949"/>
                </a:lnTo>
                <a:lnTo>
                  <a:pt x="1345031" y="4878949"/>
                </a:lnTo>
                <a:lnTo>
                  <a:pt x="1340858" y="4878949"/>
                </a:lnTo>
                <a:lnTo>
                  <a:pt x="1335075" y="4878949"/>
                </a:lnTo>
                <a:lnTo>
                  <a:pt x="1327305" y="4878949"/>
                </a:lnTo>
                <a:lnTo>
                  <a:pt x="1327071" y="4878949"/>
                </a:lnTo>
                <a:lnTo>
                  <a:pt x="1327067" y="4878949"/>
                </a:lnTo>
                <a:lnTo>
                  <a:pt x="1327063" y="4878949"/>
                </a:lnTo>
                <a:lnTo>
                  <a:pt x="1326394" y="4878949"/>
                </a:lnTo>
                <a:lnTo>
                  <a:pt x="1308426" y="4878949"/>
                </a:lnTo>
                <a:lnTo>
                  <a:pt x="1105188" y="4878949"/>
                </a:lnTo>
                <a:lnTo>
                  <a:pt x="1091635" y="4878949"/>
                </a:lnTo>
                <a:lnTo>
                  <a:pt x="1091401" y="4878949"/>
                </a:lnTo>
                <a:lnTo>
                  <a:pt x="1091397" y="4878949"/>
                </a:lnTo>
                <a:lnTo>
                  <a:pt x="1091393" y="4878949"/>
                </a:lnTo>
                <a:lnTo>
                  <a:pt x="1087221" y="4878949"/>
                </a:lnTo>
                <a:lnTo>
                  <a:pt x="1078540" y="4878949"/>
                </a:lnTo>
                <a:lnTo>
                  <a:pt x="1072756" y="4878949"/>
                </a:lnTo>
                <a:lnTo>
                  <a:pt x="1064986" y="4878949"/>
                </a:lnTo>
                <a:lnTo>
                  <a:pt x="1064752" y="4878949"/>
                </a:lnTo>
                <a:lnTo>
                  <a:pt x="1064748" y="4878949"/>
                </a:lnTo>
                <a:lnTo>
                  <a:pt x="1064745" y="4878949"/>
                </a:lnTo>
                <a:lnTo>
                  <a:pt x="1060572" y="4878949"/>
                </a:lnTo>
                <a:lnTo>
                  <a:pt x="1046108" y="4878949"/>
                </a:lnTo>
                <a:lnTo>
                  <a:pt x="970958" y="4878949"/>
                </a:lnTo>
                <a:lnTo>
                  <a:pt x="970723" y="4878949"/>
                </a:lnTo>
                <a:lnTo>
                  <a:pt x="970720" y="4878949"/>
                </a:lnTo>
                <a:lnTo>
                  <a:pt x="970716" y="4878949"/>
                </a:lnTo>
                <a:lnTo>
                  <a:pt x="952079" y="4878949"/>
                </a:lnTo>
                <a:lnTo>
                  <a:pt x="944309" y="4878949"/>
                </a:lnTo>
                <a:lnTo>
                  <a:pt x="944075" y="4878949"/>
                </a:lnTo>
                <a:lnTo>
                  <a:pt x="944072" y="4878949"/>
                </a:lnTo>
                <a:lnTo>
                  <a:pt x="944068" y="4878949"/>
                </a:lnTo>
                <a:lnTo>
                  <a:pt x="925430" y="4878949"/>
                </a:lnTo>
                <a:lnTo>
                  <a:pt x="824902" y="4878949"/>
                </a:lnTo>
                <a:lnTo>
                  <a:pt x="798253" y="4878949"/>
                </a:lnTo>
                <a:lnTo>
                  <a:pt x="708639" y="4878949"/>
                </a:lnTo>
                <a:lnTo>
                  <a:pt x="708405" y="4878949"/>
                </a:lnTo>
                <a:lnTo>
                  <a:pt x="708401" y="4878949"/>
                </a:lnTo>
                <a:lnTo>
                  <a:pt x="708397" y="4878949"/>
                </a:lnTo>
                <a:lnTo>
                  <a:pt x="690672" y="4878949"/>
                </a:lnTo>
                <a:lnTo>
                  <a:pt x="690437" y="4878949"/>
                </a:lnTo>
                <a:lnTo>
                  <a:pt x="690434" y="4878949"/>
                </a:lnTo>
                <a:lnTo>
                  <a:pt x="690430" y="4878949"/>
                </a:lnTo>
                <a:lnTo>
                  <a:pt x="689761" y="4878949"/>
                </a:lnTo>
                <a:lnTo>
                  <a:pt x="681990" y="4878949"/>
                </a:lnTo>
                <a:lnTo>
                  <a:pt x="681756" y="4878949"/>
                </a:lnTo>
                <a:lnTo>
                  <a:pt x="681753" y="4878949"/>
                </a:lnTo>
                <a:lnTo>
                  <a:pt x="681749" y="4878949"/>
                </a:lnTo>
                <a:lnTo>
                  <a:pt x="671793" y="4878949"/>
                </a:lnTo>
                <a:lnTo>
                  <a:pt x="664023" y="4878949"/>
                </a:lnTo>
                <a:lnTo>
                  <a:pt x="663789" y="4878949"/>
                </a:lnTo>
                <a:lnTo>
                  <a:pt x="663785" y="4878949"/>
                </a:lnTo>
                <a:lnTo>
                  <a:pt x="663781" y="4878949"/>
                </a:lnTo>
                <a:lnTo>
                  <a:pt x="663112" y="4878949"/>
                </a:lnTo>
                <a:lnTo>
                  <a:pt x="645144" y="4878949"/>
                </a:lnTo>
                <a:lnTo>
                  <a:pt x="428353" y="4878949"/>
                </a:lnTo>
                <a:lnTo>
                  <a:pt x="428119" y="4878949"/>
                </a:lnTo>
                <a:lnTo>
                  <a:pt x="428115" y="4878949"/>
                </a:lnTo>
                <a:lnTo>
                  <a:pt x="428111" y="4878949"/>
                </a:lnTo>
                <a:lnTo>
                  <a:pt x="409474" y="4878949"/>
                </a:lnTo>
                <a:lnTo>
                  <a:pt x="401704" y="4878949"/>
                </a:lnTo>
                <a:lnTo>
                  <a:pt x="401470" y="4878949"/>
                </a:lnTo>
                <a:lnTo>
                  <a:pt x="401466" y="4878949"/>
                </a:lnTo>
                <a:lnTo>
                  <a:pt x="401462" y="4878949"/>
                </a:lnTo>
                <a:lnTo>
                  <a:pt x="382826" y="4878949"/>
                </a:lnTo>
                <a:lnTo>
                  <a:pt x="382826" y="4878022"/>
                </a:lnTo>
                <a:lnTo>
                  <a:pt x="363616" y="4877077"/>
                </a:lnTo>
                <a:lnTo>
                  <a:pt x="362450" y="4876905"/>
                </a:lnTo>
                <a:lnTo>
                  <a:pt x="360898" y="4876823"/>
                </a:lnTo>
                <a:cubicBezTo>
                  <a:pt x="337450" y="4874352"/>
                  <a:pt x="314607" y="4869762"/>
                  <a:pt x="292547" y="4863240"/>
                </a:cubicBezTo>
                <a:lnTo>
                  <a:pt x="290939" y="4862685"/>
                </a:lnTo>
                <a:lnTo>
                  <a:pt x="290662" y="4862616"/>
                </a:lnTo>
                <a:lnTo>
                  <a:pt x="287903" y="4861637"/>
                </a:lnTo>
                <a:lnTo>
                  <a:pt x="260068" y="4852032"/>
                </a:lnTo>
                <a:lnTo>
                  <a:pt x="257211" y="4850752"/>
                </a:lnTo>
                <a:lnTo>
                  <a:pt x="256125" y="4850367"/>
                </a:lnTo>
                <a:lnTo>
                  <a:pt x="250255" y="4847636"/>
                </a:lnTo>
                <a:lnTo>
                  <a:pt x="228901" y="4838068"/>
                </a:lnTo>
                <a:lnTo>
                  <a:pt x="224915" y="4835845"/>
                </a:lnTo>
                <a:lnTo>
                  <a:pt x="223101" y="4835001"/>
                </a:lnTo>
                <a:lnTo>
                  <a:pt x="216732" y="4831280"/>
                </a:lnTo>
                <a:lnTo>
                  <a:pt x="199181" y="4821488"/>
                </a:lnTo>
                <a:lnTo>
                  <a:pt x="194206" y="4818119"/>
                </a:lnTo>
                <a:lnTo>
                  <a:pt x="191756" y="4816688"/>
                </a:lnTo>
                <a:lnTo>
                  <a:pt x="185691" y="4812352"/>
                </a:lnTo>
                <a:lnTo>
                  <a:pt x="171043" y="4802432"/>
                </a:lnTo>
                <a:lnTo>
                  <a:pt x="165239" y="4797733"/>
                </a:lnTo>
                <a:lnTo>
                  <a:pt x="162251" y="4795598"/>
                </a:lnTo>
                <a:lnTo>
                  <a:pt x="156813" y="4790911"/>
                </a:lnTo>
                <a:lnTo>
                  <a:pt x="144622" y="4781042"/>
                </a:lnTo>
                <a:lnTo>
                  <a:pt x="138166" y="4774843"/>
                </a:lnTo>
                <a:lnTo>
                  <a:pt x="134753" y="4771903"/>
                </a:lnTo>
                <a:lnTo>
                  <a:pt x="130074" y="4767074"/>
                </a:lnTo>
                <a:lnTo>
                  <a:pt x="120055" y="4757456"/>
                </a:lnTo>
                <a:lnTo>
                  <a:pt x="113140" y="4749604"/>
                </a:lnTo>
                <a:lnTo>
                  <a:pt x="109426" y="4745772"/>
                </a:lnTo>
                <a:lnTo>
                  <a:pt x="105548" y="4740983"/>
                </a:lnTo>
                <a:lnTo>
                  <a:pt x="97477" y="4731817"/>
                </a:lnTo>
                <a:lnTo>
                  <a:pt x="90314" y="4722168"/>
                </a:lnTo>
                <a:lnTo>
                  <a:pt x="86434" y="4717378"/>
                </a:lnTo>
                <a:lnTo>
                  <a:pt x="83347" y="4712785"/>
                </a:lnTo>
                <a:lnTo>
                  <a:pt x="77022" y="4704265"/>
                </a:lnTo>
                <a:lnTo>
                  <a:pt x="69837" y="4692685"/>
                </a:lnTo>
                <a:lnTo>
                  <a:pt x="65942" y="4686890"/>
                </a:lnTo>
                <a:lnTo>
                  <a:pt x="63602" y="4682635"/>
                </a:lnTo>
                <a:lnTo>
                  <a:pt x="58827" y="4674940"/>
                </a:lnTo>
                <a:lnTo>
                  <a:pt x="51860" y="4661288"/>
                </a:lnTo>
                <a:lnTo>
                  <a:pt x="48114" y="4654479"/>
                </a:lnTo>
                <a:lnTo>
                  <a:pt x="46451" y="4650690"/>
                </a:lnTo>
                <a:lnTo>
                  <a:pt x="43027" y="4643982"/>
                </a:lnTo>
                <a:lnTo>
                  <a:pt x="36529" y="4628092"/>
                </a:lnTo>
                <a:lnTo>
                  <a:pt x="33114" y="4620315"/>
                </a:lnTo>
                <a:lnTo>
                  <a:pt x="32037" y="4617109"/>
                </a:lnTo>
                <a:lnTo>
                  <a:pt x="29757" y="4611533"/>
                </a:lnTo>
                <a:lnTo>
                  <a:pt x="23992" y="4593159"/>
                </a:lnTo>
                <a:lnTo>
                  <a:pt x="21107" y="4584570"/>
                </a:lnTo>
                <a:lnTo>
                  <a:pt x="20507" y="4582050"/>
                </a:lnTo>
                <a:lnTo>
                  <a:pt x="19153" y="4577733"/>
                </a:lnTo>
                <a:lnTo>
                  <a:pt x="14395" y="4556392"/>
                </a:lnTo>
                <a:lnTo>
                  <a:pt x="12257" y="4547414"/>
                </a:lnTo>
                <a:lnTo>
                  <a:pt x="12007" y="4545675"/>
                </a:lnTo>
                <a:lnTo>
                  <a:pt x="11349" y="4542722"/>
                </a:lnTo>
                <a:lnTo>
                  <a:pt x="7886" y="4517048"/>
                </a:lnTo>
                <a:lnTo>
                  <a:pt x="6730" y="4509017"/>
                </a:lnTo>
                <a:lnTo>
                  <a:pt x="6688" y="4508172"/>
                </a:lnTo>
                <a:lnTo>
                  <a:pt x="6481" y="4506641"/>
                </a:lnTo>
                <a:lnTo>
                  <a:pt x="5670" y="4488834"/>
                </a:lnTo>
                <a:lnTo>
                  <a:pt x="4679" y="4488834"/>
                </a:lnTo>
                <a:lnTo>
                  <a:pt x="4679" y="4476023"/>
                </a:lnTo>
                <a:lnTo>
                  <a:pt x="3837" y="4469889"/>
                </a:lnTo>
                <a:lnTo>
                  <a:pt x="2681" y="4461995"/>
                </a:lnTo>
                <a:lnTo>
                  <a:pt x="2640" y="4461163"/>
                </a:lnTo>
                <a:lnTo>
                  <a:pt x="2433" y="4459658"/>
                </a:lnTo>
                <a:lnTo>
                  <a:pt x="1621" y="4442154"/>
                </a:lnTo>
                <a:lnTo>
                  <a:pt x="631" y="4442154"/>
                </a:lnTo>
                <a:lnTo>
                  <a:pt x="631" y="4426015"/>
                </a:lnTo>
                <a:lnTo>
                  <a:pt x="631" y="4420821"/>
                </a:lnTo>
                <a:lnTo>
                  <a:pt x="631" y="4420700"/>
                </a:lnTo>
                <a:lnTo>
                  <a:pt x="156" y="4420700"/>
                </a:lnTo>
                <a:lnTo>
                  <a:pt x="156" y="4350450"/>
                </a:lnTo>
                <a:lnTo>
                  <a:pt x="156" y="4340879"/>
                </a:lnTo>
                <a:lnTo>
                  <a:pt x="156" y="4127703"/>
                </a:lnTo>
                <a:lnTo>
                  <a:pt x="156" y="4025885"/>
                </a:lnTo>
                <a:lnTo>
                  <a:pt x="156" y="3997713"/>
                </a:lnTo>
                <a:lnTo>
                  <a:pt x="626" y="3997713"/>
                </a:lnTo>
                <a:lnTo>
                  <a:pt x="626" y="3911014"/>
                </a:lnTo>
                <a:lnTo>
                  <a:pt x="0" y="3911014"/>
                </a:lnTo>
                <a:lnTo>
                  <a:pt x="0" y="3908592"/>
                </a:lnTo>
                <a:lnTo>
                  <a:pt x="0" y="3570744"/>
                </a:lnTo>
                <a:lnTo>
                  <a:pt x="0" y="2076617"/>
                </a:lnTo>
                <a:lnTo>
                  <a:pt x="3302" y="2076617"/>
                </a:lnTo>
                <a:lnTo>
                  <a:pt x="3302" y="2074287"/>
                </a:lnTo>
                <a:lnTo>
                  <a:pt x="3302" y="1850939"/>
                </a:lnTo>
                <a:lnTo>
                  <a:pt x="3302" y="1850328"/>
                </a:lnTo>
                <a:lnTo>
                  <a:pt x="3301" y="1850319"/>
                </a:lnTo>
                <a:lnTo>
                  <a:pt x="3302" y="1850309"/>
                </a:lnTo>
                <a:lnTo>
                  <a:pt x="3302" y="1804040"/>
                </a:lnTo>
                <a:lnTo>
                  <a:pt x="3302" y="1803429"/>
                </a:lnTo>
                <a:lnTo>
                  <a:pt x="3301" y="1803419"/>
                </a:lnTo>
                <a:lnTo>
                  <a:pt x="3302" y="1803409"/>
                </a:lnTo>
                <a:lnTo>
                  <a:pt x="3302" y="1801662"/>
                </a:lnTo>
                <a:lnTo>
                  <a:pt x="3302" y="1770814"/>
                </a:lnTo>
                <a:lnTo>
                  <a:pt x="3302" y="1770203"/>
                </a:lnTo>
                <a:lnTo>
                  <a:pt x="3301" y="1770192"/>
                </a:lnTo>
                <a:lnTo>
                  <a:pt x="3302" y="1770183"/>
                </a:lnTo>
                <a:lnTo>
                  <a:pt x="3302" y="1754762"/>
                </a:lnTo>
                <a:lnTo>
                  <a:pt x="3302" y="1723914"/>
                </a:lnTo>
                <a:lnTo>
                  <a:pt x="3302" y="1723304"/>
                </a:lnTo>
                <a:lnTo>
                  <a:pt x="3301" y="1723293"/>
                </a:lnTo>
                <a:lnTo>
                  <a:pt x="3302" y="1723284"/>
                </a:lnTo>
                <a:lnTo>
                  <a:pt x="3302" y="1721537"/>
                </a:lnTo>
                <a:lnTo>
                  <a:pt x="3302" y="1674636"/>
                </a:lnTo>
                <a:lnTo>
                  <a:pt x="3302" y="1119326"/>
                </a:lnTo>
                <a:lnTo>
                  <a:pt x="3302" y="1118715"/>
                </a:lnTo>
                <a:lnTo>
                  <a:pt x="3301" y="1118705"/>
                </a:lnTo>
                <a:lnTo>
                  <a:pt x="3302" y="1118695"/>
                </a:lnTo>
                <a:lnTo>
                  <a:pt x="3302" y="1070048"/>
                </a:lnTo>
                <a:lnTo>
                  <a:pt x="3302" y="1039200"/>
                </a:lnTo>
                <a:lnTo>
                  <a:pt x="3302" y="1038590"/>
                </a:lnTo>
                <a:lnTo>
                  <a:pt x="3301" y="1038579"/>
                </a:lnTo>
                <a:lnTo>
                  <a:pt x="3302" y="1038570"/>
                </a:lnTo>
                <a:lnTo>
                  <a:pt x="3302" y="989923"/>
                </a:lnTo>
                <a:lnTo>
                  <a:pt x="5852" y="989923"/>
                </a:lnTo>
                <a:lnTo>
                  <a:pt x="8449" y="939781"/>
                </a:lnTo>
                <a:lnTo>
                  <a:pt x="8925" y="936738"/>
                </a:lnTo>
                <a:lnTo>
                  <a:pt x="9149" y="932684"/>
                </a:lnTo>
                <a:cubicBezTo>
                  <a:pt x="15946" y="871482"/>
                  <a:pt x="28569" y="811856"/>
                  <a:pt x="46506" y="754274"/>
                </a:cubicBezTo>
                <a:lnTo>
                  <a:pt x="48032" y="750077"/>
                </a:lnTo>
                <a:lnTo>
                  <a:pt x="48222" y="749353"/>
                </a:lnTo>
                <a:lnTo>
                  <a:pt x="50914" y="742152"/>
                </a:lnTo>
                <a:lnTo>
                  <a:pt x="77329" y="669497"/>
                </a:lnTo>
                <a:lnTo>
                  <a:pt x="80849" y="662039"/>
                </a:lnTo>
                <a:lnTo>
                  <a:pt x="81908" y="659204"/>
                </a:lnTo>
                <a:lnTo>
                  <a:pt x="89422" y="643883"/>
                </a:lnTo>
                <a:lnTo>
                  <a:pt x="115734" y="588143"/>
                </a:lnTo>
                <a:lnTo>
                  <a:pt x="121848" y="577740"/>
                </a:lnTo>
                <a:lnTo>
                  <a:pt x="124169" y="573005"/>
                </a:lnTo>
                <a:lnTo>
                  <a:pt x="134403" y="556381"/>
                </a:lnTo>
                <a:lnTo>
                  <a:pt x="161333" y="510566"/>
                </a:lnTo>
                <a:lnTo>
                  <a:pt x="170598" y="497582"/>
                </a:lnTo>
                <a:lnTo>
                  <a:pt x="174534" y="491185"/>
                </a:lnTo>
                <a:lnTo>
                  <a:pt x="186458" y="475354"/>
                </a:lnTo>
                <a:lnTo>
                  <a:pt x="213741" y="437120"/>
                </a:lnTo>
                <a:lnTo>
                  <a:pt x="226666" y="421970"/>
                </a:lnTo>
                <a:lnTo>
                  <a:pt x="232537" y="414172"/>
                </a:lnTo>
                <a:lnTo>
                  <a:pt x="245428" y="399975"/>
                </a:lnTo>
                <a:lnTo>
                  <a:pt x="272569" y="368155"/>
                </a:lnTo>
                <a:lnTo>
                  <a:pt x="289619" y="351302"/>
                </a:lnTo>
                <a:lnTo>
                  <a:pt x="297703" y="342396"/>
                </a:lnTo>
                <a:lnTo>
                  <a:pt x="310983" y="330181"/>
                </a:lnTo>
                <a:lnTo>
                  <a:pt x="337434" y="304029"/>
                </a:lnTo>
                <a:lnTo>
                  <a:pt x="359031" y="285980"/>
                </a:lnTo>
                <a:lnTo>
                  <a:pt x="369567" y="276286"/>
                </a:lnTo>
                <a:lnTo>
                  <a:pt x="382740" y="266163"/>
                </a:lnTo>
                <a:lnTo>
                  <a:pt x="407948" y="245095"/>
                </a:lnTo>
                <a:lnTo>
                  <a:pt x="434483" y="226398"/>
                </a:lnTo>
                <a:lnTo>
                  <a:pt x="447659" y="216272"/>
                </a:lnTo>
                <a:lnTo>
                  <a:pt x="460291" y="208214"/>
                </a:lnTo>
                <a:lnTo>
                  <a:pt x="483722" y="191703"/>
                </a:lnTo>
                <a:lnTo>
                  <a:pt x="515572" y="172948"/>
                </a:lnTo>
                <a:lnTo>
                  <a:pt x="531508" y="162782"/>
                </a:lnTo>
                <a:lnTo>
                  <a:pt x="543209" y="156673"/>
                </a:lnTo>
                <a:lnTo>
                  <a:pt x="564373" y="144210"/>
                </a:lnTo>
                <a:lnTo>
                  <a:pt x="601919" y="126023"/>
                </a:lnTo>
                <a:lnTo>
                  <a:pt x="620646" y="116246"/>
                </a:lnTo>
                <a:lnTo>
                  <a:pt x="631065" y="111905"/>
                </a:lnTo>
                <a:lnTo>
                  <a:pt x="649513" y="102967"/>
                </a:lnTo>
                <a:lnTo>
                  <a:pt x="693215" y="86005"/>
                </a:lnTo>
                <a:lnTo>
                  <a:pt x="714604" y="77091"/>
                </a:lnTo>
                <a:lnTo>
                  <a:pt x="723421" y="74281"/>
                </a:lnTo>
                <a:lnTo>
                  <a:pt x="738755" y="68329"/>
                </a:lnTo>
                <a:lnTo>
                  <a:pt x="789290" y="53281"/>
                </a:lnTo>
                <a:lnTo>
                  <a:pt x="812911" y="45751"/>
                </a:lnTo>
                <a:lnTo>
                  <a:pt x="819840" y="44184"/>
                </a:lnTo>
                <a:lnTo>
                  <a:pt x="831714" y="40649"/>
                </a:lnTo>
                <a:lnTo>
                  <a:pt x="890408" y="28233"/>
                </a:lnTo>
                <a:lnTo>
                  <a:pt x="891488" y="27989"/>
                </a:lnTo>
                <a:lnTo>
                  <a:pt x="891488" y="26353"/>
                </a:lnTo>
                <a:lnTo>
                  <a:pt x="920414" y="21016"/>
                </a:lnTo>
                <a:lnTo>
                  <a:pt x="926275" y="20363"/>
                </a:lnTo>
                <a:lnTo>
                  <a:pt x="936223" y="18645"/>
                </a:lnTo>
                <a:lnTo>
                  <a:pt x="1022729" y="9605"/>
                </a:lnTo>
                <a:lnTo>
                  <a:pt x="1049789" y="6588"/>
                </a:lnTo>
                <a:lnTo>
                  <a:pt x="1052637" y="6482"/>
                </a:lnTo>
                <a:lnTo>
                  <a:pt x="1057795" y="5941"/>
                </a:lnTo>
                <a:lnTo>
                  <a:pt x="1117794" y="3821"/>
                </a:lnTo>
                <a:lnTo>
                  <a:pt x="1117794" y="1237"/>
                </a:lnTo>
                <a:lnTo>
                  <a:pt x="1173109" y="1237"/>
                </a:lnTo>
                <a:lnTo>
                  <a:pt x="1190915" y="1237"/>
                </a:lnTo>
                <a:lnTo>
                  <a:pt x="1191329" y="1237"/>
                </a:lnTo>
                <a:lnTo>
                  <a:pt x="1191331" y="12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8821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B243513-C860-481A-B891-C8D2C3C9E5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658" y="1857854"/>
            <a:ext cx="2857979" cy="4655571"/>
          </a:xfrm>
          <a:custGeom>
            <a:avLst/>
            <a:gdLst>
              <a:gd name="connsiteX0" fmla="*/ 1428980 w 2857979"/>
              <a:gd name="connsiteY0" fmla="*/ 0 h 4655571"/>
              <a:gd name="connsiteX1" fmla="*/ 1428995 w 2857979"/>
              <a:gd name="connsiteY1" fmla="*/ 1 h 4655571"/>
              <a:gd name="connsiteX2" fmla="*/ 1496034 w 2857979"/>
              <a:gd name="connsiteY2" fmla="*/ 1 h 4655571"/>
              <a:gd name="connsiteX3" fmla="*/ 1496034 w 2857979"/>
              <a:gd name="connsiteY3" fmla="*/ 3215 h 4655571"/>
              <a:gd name="connsiteX4" fmla="*/ 1565136 w 2857979"/>
              <a:gd name="connsiteY4" fmla="*/ 6488 h 4655571"/>
              <a:gd name="connsiteX5" fmla="*/ 1569329 w 2857979"/>
              <a:gd name="connsiteY5" fmla="*/ 7088 h 4655571"/>
              <a:gd name="connsiteX6" fmla="*/ 1574913 w 2857979"/>
              <a:gd name="connsiteY6" fmla="*/ 7369 h 4655571"/>
              <a:gd name="connsiteX7" fmla="*/ 1820778 w 2857979"/>
              <a:gd name="connsiteY7" fmla="*/ 54447 h 4655571"/>
              <a:gd name="connsiteX8" fmla="*/ 1826563 w 2857979"/>
              <a:gd name="connsiteY8" fmla="*/ 56369 h 4655571"/>
              <a:gd name="connsiteX9" fmla="*/ 1827559 w 2857979"/>
              <a:gd name="connsiteY9" fmla="*/ 56610 h 4655571"/>
              <a:gd name="connsiteX10" fmla="*/ 1837483 w 2857979"/>
              <a:gd name="connsiteY10" fmla="*/ 60001 h 4655571"/>
              <a:gd name="connsiteX11" fmla="*/ 1937608 w 2857979"/>
              <a:gd name="connsiteY11" fmla="*/ 93290 h 4655571"/>
              <a:gd name="connsiteX12" fmla="*/ 1947886 w 2857979"/>
              <a:gd name="connsiteY12" fmla="*/ 97727 h 4655571"/>
              <a:gd name="connsiteX13" fmla="*/ 1951791 w 2857979"/>
              <a:gd name="connsiteY13" fmla="*/ 99062 h 4655571"/>
              <a:gd name="connsiteX14" fmla="*/ 1972906 w 2857979"/>
              <a:gd name="connsiteY14" fmla="*/ 108529 h 4655571"/>
              <a:gd name="connsiteX15" fmla="*/ 2049720 w 2857979"/>
              <a:gd name="connsiteY15" fmla="*/ 141688 h 4655571"/>
              <a:gd name="connsiteX16" fmla="*/ 2064057 w 2857979"/>
              <a:gd name="connsiteY16" fmla="*/ 149394 h 4655571"/>
              <a:gd name="connsiteX17" fmla="*/ 2070581 w 2857979"/>
              <a:gd name="connsiteY17" fmla="*/ 152319 h 4655571"/>
              <a:gd name="connsiteX18" fmla="*/ 2093493 w 2857979"/>
              <a:gd name="connsiteY18" fmla="*/ 165217 h 4655571"/>
              <a:gd name="connsiteX19" fmla="*/ 2156628 w 2857979"/>
              <a:gd name="connsiteY19" fmla="*/ 199153 h 4655571"/>
              <a:gd name="connsiteX20" fmla="*/ 2174520 w 2857979"/>
              <a:gd name="connsiteY20" fmla="*/ 210829 h 4655571"/>
              <a:gd name="connsiteX21" fmla="*/ 2183337 w 2857979"/>
              <a:gd name="connsiteY21" fmla="*/ 215789 h 4655571"/>
              <a:gd name="connsiteX22" fmla="*/ 2205153 w 2857979"/>
              <a:gd name="connsiteY22" fmla="*/ 230816 h 4655571"/>
              <a:gd name="connsiteX23" fmla="*/ 2257845 w 2857979"/>
              <a:gd name="connsiteY23" fmla="*/ 265197 h 4655571"/>
              <a:gd name="connsiteX24" fmla="*/ 2278722 w 2857979"/>
              <a:gd name="connsiteY24" fmla="*/ 281484 h 4655571"/>
              <a:gd name="connsiteX25" fmla="*/ 2289467 w 2857979"/>
              <a:gd name="connsiteY25" fmla="*/ 288883 h 4655571"/>
              <a:gd name="connsiteX26" fmla="*/ 2309032 w 2857979"/>
              <a:gd name="connsiteY26" fmla="*/ 305128 h 4655571"/>
              <a:gd name="connsiteX27" fmla="*/ 2352881 w 2857979"/>
              <a:gd name="connsiteY27" fmla="*/ 339335 h 4655571"/>
              <a:gd name="connsiteX28" fmla="*/ 2376107 w 2857979"/>
              <a:gd name="connsiteY28" fmla="*/ 360819 h 4655571"/>
              <a:gd name="connsiteX29" fmla="*/ 2388380 w 2857979"/>
              <a:gd name="connsiteY29" fmla="*/ 371008 h 4655571"/>
              <a:gd name="connsiteX30" fmla="*/ 2405214 w 2857979"/>
              <a:gd name="connsiteY30" fmla="*/ 387741 h 4655571"/>
              <a:gd name="connsiteX31" fmla="*/ 2441252 w 2857979"/>
              <a:gd name="connsiteY31" fmla="*/ 421077 h 4655571"/>
              <a:gd name="connsiteX32" fmla="*/ 2466127 w 2857979"/>
              <a:gd name="connsiteY32" fmla="*/ 448293 h 4655571"/>
              <a:gd name="connsiteX33" fmla="*/ 2479485 w 2857979"/>
              <a:gd name="connsiteY33" fmla="*/ 461571 h 4655571"/>
              <a:gd name="connsiteX34" fmla="*/ 2493436 w 2857979"/>
              <a:gd name="connsiteY34" fmla="*/ 478171 h 4655571"/>
              <a:gd name="connsiteX35" fmla="*/ 2522470 w 2857979"/>
              <a:gd name="connsiteY35" fmla="*/ 509938 h 4655571"/>
              <a:gd name="connsiteX36" fmla="*/ 2548236 w 2857979"/>
              <a:gd name="connsiteY36" fmla="*/ 543379 h 4655571"/>
              <a:gd name="connsiteX37" fmla="*/ 2562191 w 2857979"/>
              <a:gd name="connsiteY37" fmla="*/ 559982 h 4655571"/>
              <a:gd name="connsiteX38" fmla="*/ 2573295 w 2857979"/>
              <a:gd name="connsiteY38" fmla="*/ 575901 h 4655571"/>
              <a:gd name="connsiteX39" fmla="*/ 2596047 w 2857979"/>
              <a:gd name="connsiteY39" fmla="*/ 605429 h 4655571"/>
              <a:gd name="connsiteX40" fmla="*/ 2621892 w 2857979"/>
              <a:gd name="connsiteY40" fmla="*/ 645566 h 4655571"/>
              <a:gd name="connsiteX41" fmla="*/ 2635905 w 2857979"/>
              <a:gd name="connsiteY41" fmla="*/ 665649 h 4655571"/>
              <a:gd name="connsiteX42" fmla="*/ 2644323 w 2857979"/>
              <a:gd name="connsiteY42" fmla="*/ 680395 h 4655571"/>
              <a:gd name="connsiteX43" fmla="*/ 2661498 w 2857979"/>
              <a:gd name="connsiteY43" fmla="*/ 707066 h 4655571"/>
              <a:gd name="connsiteX44" fmla="*/ 2686560 w 2857979"/>
              <a:gd name="connsiteY44" fmla="*/ 754381 h 4655571"/>
              <a:gd name="connsiteX45" fmla="*/ 2700035 w 2857979"/>
              <a:gd name="connsiteY45" fmla="*/ 777982 h 4655571"/>
              <a:gd name="connsiteX46" fmla="*/ 2706018 w 2857979"/>
              <a:gd name="connsiteY46" fmla="*/ 791111 h 4655571"/>
              <a:gd name="connsiteX47" fmla="*/ 2718333 w 2857979"/>
              <a:gd name="connsiteY47" fmla="*/ 814360 h 4655571"/>
              <a:gd name="connsiteX48" fmla="*/ 2741708 w 2857979"/>
              <a:gd name="connsiteY48" fmla="*/ 869434 h 4655571"/>
              <a:gd name="connsiteX49" fmla="*/ 2753992 w 2857979"/>
              <a:gd name="connsiteY49" fmla="*/ 896389 h 4655571"/>
              <a:gd name="connsiteX50" fmla="*/ 2757865 w 2857979"/>
              <a:gd name="connsiteY50" fmla="*/ 907498 h 4655571"/>
              <a:gd name="connsiteX51" fmla="*/ 2766068 w 2857979"/>
              <a:gd name="connsiteY51" fmla="*/ 926823 h 4655571"/>
              <a:gd name="connsiteX52" fmla="*/ 2786805 w 2857979"/>
              <a:gd name="connsiteY52" fmla="*/ 990506 h 4655571"/>
              <a:gd name="connsiteX53" fmla="*/ 2797182 w 2857979"/>
              <a:gd name="connsiteY53" fmla="*/ 1020275 h 4655571"/>
              <a:gd name="connsiteX54" fmla="*/ 2799341 w 2857979"/>
              <a:gd name="connsiteY54" fmla="*/ 1029006 h 4655571"/>
              <a:gd name="connsiteX55" fmla="*/ 2804213 w 2857979"/>
              <a:gd name="connsiteY55" fmla="*/ 1043971 h 4655571"/>
              <a:gd name="connsiteX56" fmla="*/ 2821323 w 2857979"/>
              <a:gd name="connsiteY56" fmla="*/ 1117937 h 4655571"/>
              <a:gd name="connsiteX57" fmla="*/ 2829016 w 2857979"/>
              <a:gd name="connsiteY57" fmla="*/ 1149052 h 4655571"/>
              <a:gd name="connsiteX58" fmla="*/ 2829916 w 2857979"/>
              <a:gd name="connsiteY58" fmla="*/ 1155080 h 4655571"/>
              <a:gd name="connsiteX59" fmla="*/ 2832283 w 2857979"/>
              <a:gd name="connsiteY59" fmla="*/ 1165313 h 4655571"/>
              <a:gd name="connsiteX60" fmla="*/ 2844741 w 2857979"/>
              <a:gd name="connsiteY60" fmla="*/ 1254295 h 4655571"/>
              <a:gd name="connsiteX61" fmla="*/ 2848900 w 2857979"/>
              <a:gd name="connsiteY61" fmla="*/ 1282127 h 4655571"/>
              <a:gd name="connsiteX62" fmla="*/ 2849048 w 2857979"/>
              <a:gd name="connsiteY62" fmla="*/ 1285059 h 4655571"/>
              <a:gd name="connsiteX63" fmla="*/ 2849790 w 2857979"/>
              <a:gd name="connsiteY63" fmla="*/ 1290365 h 4655571"/>
              <a:gd name="connsiteX64" fmla="*/ 2852713 w 2857979"/>
              <a:gd name="connsiteY64" fmla="*/ 1352080 h 4655571"/>
              <a:gd name="connsiteX65" fmla="*/ 2856274 w 2857979"/>
              <a:gd name="connsiteY65" fmla="*/ 1352080 h 4655571"/>
              <a:gd name="connsiteX66" fmla="*/ 2856274 w 2857979"/>
              <a:gd name="connsiteY66" fmla="*/ 1408978 h 4655571"/>
              <a:gd name="connsiteX67" fmla="*/ 2856274 w 2857979"/>
              <a:gd name="connsiteY67" fmla="*/ 1427293 h 4655571"/>
              <a:gd name="connsiteX68" fmla="*/ 2856274 w 2857979"/>
              <a:gd name="connsiteY68" fmla="*/ 1427719 h 4655571"/>
              <a:gd name="connsiteX69" fmla="*/ 2856274 w 2857979"/>
              <a:gd name="connsiteY69" fmla="*/ 1427720 h 4655571"/>
              <a:gd name="connsiteX70" fmla="*/ 2857979 w 2857979"/>
              <a:gd name="connsiteY70" fmla="*/ 1427720 h 4655571"/>
              <a:gd name="connsiteX71" fmla="*/ 2857979 w 2857979"/>
              <a:gd name="connsiteY71" fmla="*/ 1613887 h 4655571"/>
              <a:gd name="connsiteX72" fmla="*/ 2857979 w 2857979"/>
              <a:gd name="connsiteY72" fmla="*/ 1701091 h 4655571"/>
              <a:gd name="connsiteX73" fmla="*/ 2857979 w 2857979"/>
              <a:gd name="connsiteY73" fmla="*/ 1856116 h 4655571"/>
              <a:gd name="connsiteX74" fmla="*/ 2857979 w 2857979"/>
              <a:gd name="connsiteY74" fmla="*/ 1877704 h 4655571"/>
              <a:gd name="connsiteX75" fmla="*/ 2857979 w 2857979"/>
              <a:gd name="connsiteY75" fmla="*/ 1953345 h 4655571"/>
              <a:gd name="connsiteX76" fmla="*/ 2856292 w 2857979"/>
              <a:gd name="connsiteY76" fmla="*/ 1953345 h 4655571"/>
              <a:gd name="connsiteX77" fmla="*/ 2856292 w 2857979"/>
              <a:gd name="connsiteY77" fmla="*/ 1982173 h 4655571"/>
              <a:gd name="connsiteX78" fmla="*/ 1592136 w 2857979"/>
              <a:gd name="connsiteY78" fmla="*/ 1982173 h 4655571"/>
              <a:gd name="connsiteX79" fmla="*/ 1820778 w 2857979"/>
              <a:gd name="connsiteY79" fmla="*/ 2025953 h 4655571"/>
              <a:gd name="connsiteX80" fmla="*/ 1826563 w 2857979"/>
              <a:gd name="connsiteY80" fmla="*/ 2027875 h 4655571"/>
              <a:gd name="connsiteX81" fmla="*/ 1827559 w 2857979"/>
              <a:gd name="connsiteY81" fmla="*/ 2028116 h 4655571"/>
              <a:gd name="connsiteX82" fmla="*/ 1837483 w 2857979"/>
              <a:gd name="connsiteY82" fmla="*/ 2031509 h 4655571"/>
              <a:gd name="connsiteX83" fmla="*/ 1937608 w 2857979"/>
              <a:gd name="connsiteY83" fmla="*/ 2064797 h 4655571"/>
              <a:gd name="connsiteX84" fmla="*/ 1947886 w 2857979"/>
              <a:gd name="connsiteY84" fmla="*/ 2069234 h 4655571"/>
              <a:gd name="connsiteX85" fmla="*/ 1951791 w 2857979"/>
              <a:gd name="connsiteY85" fmla="*/ 2070568 h 4655571"/>
              <a:gd name="connsiteX86" fmla="*/ 1972906 w 2857979"/>
              <a:gd name="connsiteY86" fmla="*/ 2080035 h 4655571"/>
              <a:gd name="connsiteX87" fmla="*/ 2049720 w 2857979"/>
              <a:gd name="connsiteY87" fmla="*/ 2113194 h 4655571"/>
              <a:gd name="connsiteX88" fmla="*/ 2064057 w 2857979"/>
              <a:gd name="connsiteY88" fmla="*/ 2120900 h 4655571"/>
              <a:gd name="connsiteX89" fmla="*/ 2070581 w 2857979"/>
              <a:gd name="connsiteY89" fmla="*/ 2123825 h 4655571"/>
              <a:gd name="connsiteX90" fmla="*/ 2093493 w 2857979"/>
              <a:gd name="connsiteY90" fmla="*/ 2136723 h 4655571"/>
              <a:gd name="connsiteX91" fmla="*/ 2156628 w 2857979"/>
              <a:gd name="connsiteY91" fmla="*/ 2170659 h 4655571"/>
              <a:gd name="connsiteX92" fmla="*/ 2174520 w 2857979"/>
              <a:gd name="connsiteY92" fmla="*/ 2182335 h 4655571"/>
              <a:gd name="connsiteX93" fmla="*/ 2183337 w 2857979"/>
              <a:gd name="connsiteY93" fmla="*/ 2187296 h 4655571"/>
              <a:gd name="connsiteX94" fmla="*/ 2205153 w 2857979"/>
              <a:gd name="connsiteY94" fmla="*/ 2202322 h 4655571"/>
              <a:gd name="connsiteX95" fmla="*/ 2257845 w 2857979"/>
              <a:gd name="connsiteY95" fmla="*/ 2236704 h 4655571"/>
              <a:gd name="connsiteX96" fmla="*/ 2278723 w 2857979"/>
              <a:gd name="connsiteY96" fmla="*/ 2252990 h 4655571"/>
              <a:gd name="connsiteX97" fmla="*/ 2289467 w 2857979"/>
              <a:gd name="connsiteY97" fmla="*/ 2260389 h 4655571"/>
              <a:gd name="connsiteX98" fmla="*/ 2309032 w 2857979"/>
              <a:gd name="connsiteY98" fmla="*/ 2276635 h 4655571"/>
              <a:gd name="connsiteX99" fmla="*/ 2352881 w 2857979"/>
              <a:gd name="connsiteY99" fmla="*/ 2310840 h 4655571"/>
              <a:gd name="connsiteX100" fmla="*/ 2376107 w 2857979"/>
              <a:gd name="connsiteY100" fmla="*/ 2332325 h 4655571"/>
              <a:gd name="connsiteX101" fmla="*/ 2388380 w 2857979"/>
              <a:gd name="connsiteY101" fmla="*/ 2342514 h 4655571"/>
              <a:gd name="connsiteX102" fmla="*/ 2405214 w 2857979"/>
              <a:gd name="connsiteY102" fmla="*/ 2359248 h 4655571"/>
              <a:gd name="connsiteX103" fmla="*/ 2441252 w 2857979"/>
              <a:gd name="connsiteY103" fmla="*/ 2392582 h 4655571"/>
              <a:gd name="connsiteX104" fmla="*/ 2466127 w 2857979"/>
              <a:gd name="connsiteY104" fmla="*/ 2419799 h 4655571"/>
              <a:gd name="connsiteX105" fmla="*/ 2479485 w 2857979"/>
              <a:gd name="connsiteY105" fmla="*/ 2433078 h 4655571"/>
              <a:gd name="connsiteX106" fmla="*/ 2493436 w 2857979"/>
              <a:gd name="connsiteY106" fmla="*/ 2449678 h 4655571"/>
              <a:gd name="connsiteX107" fmla="*/ 2522469 w 2857979"/>
              <a:gd name="connsiteY107" fmla="*/ 2481443 h 4655571"/>
              <a:gd name="connsiteX108" fmla="*/ 2548236 w 2857979"/>
              <a:gd name="connsiteY108" fmla="*/ 2514884 h 4655571"/>
              <a:gd name="connsiteX109" fmla="*/ 2562191 w 2857979"/>
              <a:gd name="connsiteY109" fmla="*/ 2531488 h 4655571"/>
              <a:gd name="connsiteX110" fmla="*/ 2573295 w 2857979"/>
              <a:gd name="connsiteY110" fmla="*/ 2547408 h 4655571"/>
              <a:gd name="connsiteX111" fmla="*/ 2596047 w 2857979"/>
              <a:gd name="connsiteY111" fmla="*/ 2576936 h 4655571"/>
              <a:gd name="connsiteX112" fmla="*/ 2621892 w 2857979"/>
              <a:gd name="connsiteY112" fmla="*/ 2617072 h 4655571"/>
              <a:gd name="connsiteX113" fmla="*/ 2635904 w 2857979"/>
              <a:gd name="connsiteY113" fmla="*/ 2637156 h 4655571"/>
              <a:gd name="connsiteX114" fmla="*/ 2644322 w 2857979"/>
              <a:gd name="connsiteY114" fmla="*/ 2651901 h 4655571"/>
              <a:gd name="connsiteX115" fmla="*/ 2661498 w 2857979"/>
              <a:gd name="connsiteY115" fmla="*/ 2678572 h 4655571"/>
              <a:gd name="connsiteX116" fmla="*/ 2686560 w 2857979"/>
              <a:gd name="connsiteY116" fmla="*/ 2725888 h 4655571"/>
              <a:gd name="connsiteX117" fmla="*/ 2700035 w 2857979"/>
              <a:gd name="connsiteY117" fmla="*/ 2749488 h 4655571"/>
              <a:gd name="connsiteX118" fmla="*/ 2706018 w 2857979"/>
              <a:gd name="connsiteY118" fmla="*/ 2762618 h 4655571"/>
              <a:gd name="connsiteX119" fmla="*/ 2718332 w 2857979"/>
              <a:gd name="connsiteY119" fmla="*/ 2785865 h 4655571"/>
              <a:gd name="connsiteX120" fmla="*/ 2741708 w 2857979"/>
              <a:gd name="connsiteY120" fmla="*/ 2840939 h 4655571"/>
              <a:gd name="connsiteX121" fmla="*/ 2753991 w 2857979"/>
              <a:gd name="connsiteY121" fmla="*/ 2867894 h 4655571"/>
              <a:gd name="connsiteX122" fmla="*/ 2757865 w 2857979"/>
              <a:gd name="connsiteY122" fmla="*/ 2879005 h 4655571"/>
              <a:gd name="connsiteX123" fmla="*/ 2766068 w 2857979"/>
              <a:gd name="connsiteY123" fmla="*/ 2898329 h 4655571"/>
              <a:gd name="connsiteX124" fmla="*/ 2786804 w 2857979"/>
              <a:gd name="connsiteY124" fmla="*/ 2962013 h 4655571"/>
              <a:gd name="connsiteX125" fmla="*/ 2797182 w 2857979"/>
              <a:gd name="connsiteY125" fmla="*/ 2991781 h 4655571"/>
              <a:gd name="connsiteX126" fmla="*/ 2799341 w 2857979"/>
              <a:gd name="connsiteY126" fmla="*/ 3000513 h 4655571"/>
              <a:gd name="connsiteX127" fmla="*/ 2804213 w 2857979"/>
              <a:gd name="connsiteY127" fmla="*/ 3015476 h 4655571"/>
              <a:gd name="connsiteX128" fmla="*/ 2821323 w 2857979"/>
              <a:gd name="connsiteY128" fmla="*/ 3089443 h 4655571"/>
              <a:gd name="connsiteX129" fmla="*/ 2829016 w 2857979"/>
              <a:gd name="connsiteY129" fmla="*/ 3120558 h 4655571"/>
              <a:gd name="connsiteX130" fmla="*/ 2829916 w 2857979"/>
              <a:gd name="connsiteY130" fmla="*/ 3126586 h 4655571"/>
              <a:gd name="connsiteX131" fmla="*/ 2832283 w 2857979"/>
              <a:gd name="connsiteY131" fmla="*/ 3136820 h 4655571"/>
              <a:gd name="connsiteX132" fmla="*/ 2844741 w 2857979"/>
              <a:gd name="connsiteY132" fmla="*/ 3225801 h 4655571"/>
              <a:gd name="connsiteX133" fmla="*/ 2848899 w 2857979"/>
              <a:gd name="connsiteY133" fmla="*/ 3253634 h 4655571"/>
              <a:gd name="connsiteX134" fmla="*/ 2849047 w 2857979"/>
              <a:gd name="connsiteY134" fmla="*/ 3256565 h 4655571"/>
              <a:gd name="connsiteX135" fmla="*/ 2849790 w 2857979"/>
              <a:gd name="connsiteY135" fmla="*/ 3261871 h 4655571"/>
              <a:gd name="connsiteX136" fmla="*/ 2852712 w 2857979"/>
              <a:gd name="connsiteY136" fmla="*/ 3323586 h 4655571"/>
              <a:gd name="connsiteX137" fmla="*/ 2856274 w 2857979"/>
              <a:gd name="connsiteY137" fmla="*/ 3323586 h 4655571"/>
              <a:gd name="connsiteX138" fmla="*/ 2856274 w 2857979"/>
              <a:gd name="connsiteY138" fmla="*/ 3325569 h 4655571"/>
              <a:gd name="connsiteX139" fmla="*/ 2856291 w 2857979"/>
              <a:gd name="connsiteY139" fmla="*/ 3325569 h 4655571"/>
              <a:gd name="connsiteX140" fmla="*/ 2856291 w 2857979"/>
              <a:gd name="connsiteY140" fmla="*/ 4287276 h 4655571"/>
              <a:gd name="connsiteX141" fmla="*/ 2856291 w 2857979"/>
              <a:gd name="connsiteY141" fmla="*/ 4655570 h 4655571"/>
              <a:gd name="connsiteX142" fmla="*/ 1429853 w 2857979"/>
              <a:gd name="connsiteY142" fmla="*/ 4655570 h 4655571"/>
              <a:gd name="connsiteX143" fmla="*/ 1429012 w 2857979"/>
              <a:gd name="connsiteY143" fmla="*/ 4655570 h 4655571"/>
              <a:gd name="connsiteX144" fmla="*/ 1428999 w 2857979"/>
              <a:gd name="connsiteY144" fmla="*/ 4655571 h 4655571"/>
              <a:gd name="connsiteX145" fmla="*/ 1428985 w 2857979"/>
              <a:gd name="connsiteY145" fmla="*/ 4655570 h 4655571"/>
              <a:gd name="connsiteX146" fmla="*/ 1361945 w 2857979"/>
              <a:gd name="connsiteY146" fmla="*/ 4655570 h 4655571"/>
              <a:gd name="connsiteX147" fmla="*/ 1361945 w 2857979"/>
              <a:gd name="connsiteY147" fmla="*/ 4652356 h 4655571"/>
              <a:gd name="connsiteX148" fmla="*/ 1292844 w 2857979"/>
              <a:gd name="connsiteY148" fmla="*/ 4649083 h 4655571"/>
              <a:gd name="connsiteX149" fmla="*/ 1288651 w 2857979"/>
              <a:gd name="connsiteY149" fmla="*/ 4648484 h 4655571"/>
              <a:gd name="connsiteX150" fmla="*/ 1283066 w 2857979"/>
              <a:gd name="connsiteY150" fmla="*/ 4648203 h 4655571"/>
              <a:gd name="connsiteX151" fmla="*/ 1037200 w 2857979"/>
              <a:gd name="connsiteY151" fmla="*/ 4601124 h 4655571"/>
              <a:gd name="connsiteX152" fmla="*/ 1031416 w 2857979"/>
              <a:gd name="connsiteY152" fmla="*/ 4599202 h 4655571"/>
              <a:gd name="connsiteX153" fmla="*/ 1030420 w 2857979"/>
              <a:gd name="connsiteY153" fmla="*/ 4598961 h 4655571"/>
              <a:gd name="connsiteX154" fmla="*/ 1020496 w 2857979"/>
              <a:gd name="connsiteY154" fmla="*/ 4595571 h 4655571"/>
              <a:gd name="connsiteX155" fmla="*/ 920371 w 2857979"/>
              <a:gd name="connsiteY155" fmla="*/ 4562281 h 4655571"/>
              <a:gd name="connsiteX156" fmla="*/ 910094 w 2857979"/>
              <a:gd name="connsiteY156" fmla="*/ 4557844 h 4655571"/>
              <a:gd name="connsiteX157" fmla="*/ 906188 w 2857979"/>
              <a:gd name="connsiteY157" fmla="*/ 4556510 h 4655571"/>
              <a:gd name="connsiteX158" fmla="*/ 885073 w 2857979"/>
              <a:gd name="connsiteY158" fmla="*/ 4547042 h 4655571"/>
              <a:gd name="connsiteX159" fmla="*/ 808258 w 2857979"/>
              <a:gd name="connsiteY159" fmla="*/ 4513883 h 4655571"/>
              <a:gd name="connsiteX160" fmla="*/ 793923 w 2857979"/>
              <a:gd name="connsiteY160" fmla="*/ 4506178 h 4655571"/>
              <a:gd name="connsiteX161" fmla="*/ 787398 w 2857979"/>
              <a:gd name="connsiteY161" fmla="*/ 4503253 h 4655571"/>
              <a:gd name="connsiteX162" fmla="*/ 764486 w 2857979"/>
              <a:gd name="connsiteY162" fmla="*/ 4490355 h 4655571"/>
              <a:gd name="connsiteX163" fmla="*/ 701352 w 2857979"/>
              <a:gd name="connsiteY163" fmla="*/ 4456419 h 4655571"/>
              <a:gd name="connsiteX164" fmla="*/ 683458 w 2857979"/>
              <a:gd name="connsiteY164" fmla="*/ 4444743 h 4655571"/>
              <a:gd name="connsiteX165" fmla="*/ 674642 w 2857979"/>
              <a:gd name="connsiteY165" fmla="*/ 4439782 h 4655571"/>
              <a:gd name="connsiteX166" fmla="*/ 652826 w 2857979"/>
              <a:gd name="connsiteY166" fmla="*/ 4424756 h 4655571"/>
              <a:gd name="connsiteX167" fmla="*/ 600135 w 2857979"/>
              <a:gd name="connsiteY167" fmla="*/ 4390374 h 4655571"/>
              <a:gd name="connsiteX168" fmla="*/ 579258 w 2857979"/>
              <a:gd name="connsiteY168" fmla="*/ 4374087 h 4655571"/>
              <a:gd name="connsiteX169" fmla="*/ 568512 w 2857979"/>
              <a:gd name="connsiteY169" fmla="*/ 4366689 h 4655571"/>
              <a:gd name="connsiteX170" fmla="*/ 548947 w 2857979"/>
              <a:gd name="connsiteY170" fmla="*/ 4350444 h 4655571"/>
              <a:gd name="connsiteX171" fmla="*/ 505098 w 2857979"/>
              <a:gd name="connsiteY171" fmla="*/ 4316236 h 4655571"/>
              <a:gd name="connsiteX172" fmla="*/ 481872 w 2857979"/>
              <a:gd name="connsiteY172" fmla="*/ 4294752 h 4655571"/>
              <a:gd name="connsiteX173" fmla="*/ 469600 w 2857979"/>
              <a:gd name="connsiteY173" fmla="*/ 4284563 h 4655571"/>
              <a:gd name="connsiteX174" fmla="*/ 452765 w 2857979"/>
              <a:gd name="connsiteY174" fmla="*/ 4267831 h 4655571"/>
              <a:gd name="connsiteX175" fmla="*/ 416727 w 2857979"/>
              <a:gd name="connsiteY175" fmla="*/ 4234495 h 4655571"/>
              <a:gd name="connsiteX176" fmla="*/ 391852 w 2857979"/>
              <a:gd name="connsiteY176" fmla="*/ 4207279 h 4655571"/>
              <a:gd name="connsiteX177" fmla="*/ 378494 w 2857979"/>
              <a:gd name="connsiteY177" fmla="*/ 4194000 h 4655571"/>
              <a:gd name="connsiteX178" fmla="*/ 364543 w 2857979"/>
              <a:gd name="connsiteY178" fmla="*/ 4177400 h 4655571"/>
              <a:gd name="connsiteX179" fmla="*/ 335510 w 2857979"/>
              <a:gd name="connsiteY179" fmla="*/ 4145634 h 4655571"/>
              <a:gd name="connsiteX180" fmla="*/ 309743 w 2857979"/>
              <a:gd name="connsiteY180" fmla="*/ 4112193 h 4655571"/>
              <a:gd name="connsiteX181" fmla="*/ 295789 w 2857979"/>
              <a:gd name="connsiteY181" fmla="*/ 4095590 h 4655571"/>
              <a:gd name="connsiteX182" fmla="*/ 284685 w 2857979"/>
              <a:gd name="connsiteY182" fmla="*/ 4079671 h 4655571"/>
              <a:gd name="connsiteX183" fmla="*/ 261931 w 2857979"/>
              <a:gd name="connsiteY183" fmla="*/ 4050142 h 4655571"/>
              <a:gd name="connsiteX184" fmla="*/ 236086 w 2857979"/>
              <a:gd name="connsiteY184" fmla="*/ 4010005 h 4655571"/>
              <a:gd name="connsiteX185" fmla="*/ 222075 w 2857979"/>
              <a:gd name="connsiteY185" fmla="*/ 3989922 h 4655571"/>
              <a:gd name="connsiteX186" fmla="*/ 213657 w 2857979"/>
              <a:gd name="connsiteY186" fmla="*/ 3975176 h 4655571"/>
              <a:gd name="connsiteX187" fmla="*/ 196482 w 2857979"/>
              <a:gd name="connsiteY187" fmla="*/ 3948505 h 4655571"/>
              <a:gd name="connsiteX188" fmla="*/ 171419 w 2857979"/>
              <a:gd name="connsiteY188" fmla="*/ 3901190 h 4655571"/>
              <a:gd name="connsiteX189" fmla="*/ 157945 w 2857979"/>
              <a:gd name="connsiteY189" fmla="*/ 3877589 h 4655571"/>
              <a:gd name="connsiteX190" fmla="*/ 151962 w 2857979"/>
              <a:gd name="connsiteY190" fmla="*/ 3864460 h 4655571"/>
              <a:gd name="connsiteX191" fmla="*/ 139646 w 2857979"/>
              <a:gd name="connsiteY191" fmla="*/ 3841212 h 4655571"/>
              <a:gd name="connsiteX192" fmla="*/ 116271 w 2857979"/>
              <a:gd name="connsiteY192" fmla="*/ 3786138 h 4655571"/>
              <a:gd name="connsiteX193" fmla="*/ 103988 w 2857979"/>
              <a:gd name="connsiteY193" fmla="*/ 3759183 h 4655571"/>
              <a:gd name="connsiteX194" fmla="*/ 100114 w 2857979"/>
              <a:gd name="connsiteY194" fmla="*/ 3748073 h 4655571"/>
              <a:gd name="connsiteX195" fmla="*/ 91911 w 2857979"/>
              <a:gd name="connsiteY195" fmla="*/ 3728748 h 4655571"/>
              <a:gd name="connsiteX196" fmla="*/ 71175 w 2857979"/>
              <a:gd name="connsiteY196" fmla="*/ 3665065 h 4655571"/>
              <a:gd name="connsiteX197" fmla="*/ 60797 w 2857979"/>
              <a:gd name="connsiteY197" fmla="*/ 3635297 h 4655571"/>
              <a:gd name="connsiteX198" fmla="*/ 58639 w 2857979"/>
              <a:gd name="connsiteY198" fmla="*/ 3626565 h 4655571"/>
              <a:gd name="connsiteX199" fmla="*/ 53766 w 2857979"/>
              <a:gd name="connsiteY199" fmla="*/ 3611600 h 4655571"/>
              <a:gd name="connsiteX200" fmla="*/ 36656 w 2857979"/>
              <a:gd name="connsiteY200" fmla="*/ 3537635 h 4655571"/>
              <a:gd name="connsiteX201" fmla="*/ 28964 w 2857979"/>
              <a:gd name="connsiteY201" fmla="*/ 3506519 h 4655571"/>
              <a:gd name="connsiteX202" fmla="*/ 28064 w 2857979"/>
              <a:gd name="connsiteY202" fmla="*/ 3500492 h 4655571"/>
              <a:gd name="connsiteX203" fmla="*/ 25696 w 2857979"/>
              <a:gd name="connsiteY203" fmla="*/ 3490258 h 4655571"/>
              <a:gd name="connsiteX204" fmla="*/ 13239 w 2857979"/>
              <a:gd name="connsiteY204" fmla="*/ 3401277 h 4655571"/>
              <a:gd name="connsiteX205" fmla="*/ 9079 w 2857979"/>
              <a:gd name="connsiteY205" fmla="*/ 3373444 h 4655571"/>
              <a:gd name="connsiteX206" fmla="*/ 8931 w 2857979"/>
              <a:gd name="connsiteY206" fmla="*/ 3370513 h 4655571"/>
              <a:gd name="connsiteX207" fmla="*/ 8188 w 2857979"/>
              <a:gd name="connsiteY207" fmla="*/ 3365207 h 4655571"/>
              <a:gd name="connsiteX208" fmla="*/ 6312 w 2857979"/>
              <a:gd name="connsiteY208" fmla="*/ 3325569 h 4655571"/>
              <a:gd name="connsiteX209" fmla="*/ 0 w 2857979"/>
              <a:gd name="connsiteY209" fmla="*/ 3325569 h 4655571"/>
              <a:gd name="connsiteX210" fmla="*/ 0 w 2857979"/>
              <a:gd name="connsiteY210" fmla="*/ 3323586 h 4655571"/>
              <a:gd name="connsiteX211" fmla="*/ 1688 w 2857979"/>
              <a:gd name="connsiteY211" fmla="*/ 3323586 h 4655571"/>
              <a:gd name="connsiteX212" fmla="*/ 1688 w 2857979"/>
              <a:gd name="connsiteY212" fmla="*/ 2339801 h 4655571"/>
              <a:gd name="connsiteX213" fmla="*/ 1688 w 2857979"/>
              <a:gd name="connsiteY213" fmla="*/ 1971507 h 4655571"/>
              <a:gd name="connsiteX214" fmla="*/ 6127 w 2857979"/>
              <a:gd name="connsiteY214" fmla="*/ 1971507 h 4655571"/>
              <a:gd name="connsiteX215" fmla="*/ 5267 w 2857979"/>
              <a:gd name="connsiteY215" fmla="*/ 1953345 h 4655571"/>
              <a:gd name="connsiteX216" fmla="*/ 1705 w 2857979"/>
              <a:gd name="connsiteY216" fmla="*/ 1953345 h 4655571"/>
              <a:gd name="connsiteX217" fmla="*/ 1705 w 2857979"/>
              <a:gd name="connsiteY217" fmla="*/ 1896448 h 4655571"/>
              <a:gd name="connsiteX218" fmla="*/ 1705 w 2857979"/>
              <a:gd name="connsiteY218" fmla="*/ 1878132 h 4655571"/>
              <a:gd name="connsiteX219" fmla="*/ 1705 w 2857979"/>
              <a:gd name="connsiteY219" fmla="*/ 1877704 h 4655571"/>
              <a:gd name="connsiteX220" fmla="*/ 0 w 2857979"/>
              <a:gd name="connsiteY220" fmla="*/ 1877704 h 4655571"/>
              <a:gd name="connsiteX221" fmla="*/ 0 w 2857979"/>
              <a:gd name="connsiteY221" fmla="*/ 1856116 h 4655571"/>
              <a:gd name="connsiteX222" fmla="*/ 0 w 2857979"/>
              <a:gd name="connsiteY222" fmla="*/ 1701091 h 4655571"/>
              <a:gd name="connsiteX223" fmla="*/ 0 w 2857979"/>
              <a:gd name="connsiteY223" fmla="*/ 1613887 h 4655571"/>
              <a:gd name="connsiteX224" fmla="*/ 0 w 2857979"/>
              <a:gd name="connsiteY224" fmla="*/ 1427719 h 4655571"/>
              <a:gd name="connsiteX225" fmla="*/ 0 w 2857979"/>
              <a:gd name="connsiteY225" fmla="*/ 1352080 h 4655571"/>
              <a:gd name="connsiteX226" fmla="*/ 1689 w 2857979"/>
              <a:gd name="connsiteY226" fmla="*/ 1352080 h 4655571"/>
              <a:gd name="connsiteX227" fmla="*/ 1689 w 2857979"/>
              <a:gd name="connsiteY227" fmla="*/ 1 h 4655571"/>
              <a:gd name="connsiteX228" fmla="*/ 1428126 w 2857979"/>
              <a:gd name="connsiteY228" fmla="*/ 1 h 4655571"/>
              <a:gd name="connsiteX229" fmla="*/ 1428967 w 2857979"/>
              <a:gd name="connsiteY229" fmla="*/ 1 h 46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2857979" h="4655571">
                <a:moveTo>
                  <a:pt x="1428980" y="0"/>
                </a:moveTo>
                <a:lnTo>
                  <a:pt x="1428995" y="1"/>
                </a:lnTo>
                <a:lnTo>
                  <a:pt x="1496034" y="1"/>
                </a:lnTo>
                <a:lnTo>
                  <a:pt x="1496034" y="3215"/>
                </a:lnTo>
                <a:lnTo>
                  <a:pt x="1565136" y="6488"/>
                </a:lnTo>
                <a:lnTo>
                  <a:pt x="1569329" y="7088"/>
                </a:lnTo>
                <a:lnTo>
                  <a:pt x="1574913" y="7369"/>
                </a:lnTo>
                <a:cubicBezTo>
                  <a:pt x="1659256" y="15935"/>
                  <a:pt x="1741426" y="31844"/>
                  <a:pt x="1820778" y="54447"/>
                </a:cubicBezTo>
                <a:lnTo>
                  <a:pt x="1826563" y="56369"/>
                </a:lnTo>
                <a:lnTo>
                  <a:pt x="1827559" y="56610"/>
                </a:lnTo>
                <a:lnTo>
                  <a:pt x="1837483" y="60001"/>
                </a:lnTo>
                <a:lnTo>
                  <a:pt x="1937608" y="93290"/>
                </a:lnTo>
                <a:lnTo>
                  <a:pt x="1947886" y="97727"/>
                </a:lnTo>
                <a:lnTo>
                  <a:pt x="1951791" y="99062"/>
                </a:lnTo>
                <a:lnTo>
                  <a:pt x="1972906" y="108529"/>
                </a:lnTo>
                <a:lnTo>
                  <a:pt x="2049720" y="141688"/>
                </a:lnTo>
                <a:lnTo>
                  <a:pt x="2064057" y="149394"/>
                </a:lnTo>
                <a:lnTo>
                  <a:pt x="2070581" y="152319"/>
                </a:lnTo>
                <a:lnTo>
                  <a:pt x="2093493" y="165217"/>
                </a:lnTo>
                <a:lnTo>
                  <a:pt x="2156628" y="199153"/>
                </a:lnTo>
                <a:lnTo>
                  <a:pt x="2174520" y="210829"/>
                </a:lnTo>
                <a:lnTo>
                  <a:pt x="2183337" y="215789"/>
                </a:lnTo>
                <a:lnTo>
                  <a:pt x="2205153" y="230816"/>
                </a:lnTo>
                <a:lnTo>
                  <a:pt x="2257845" y="265197"/>
                </a:lnTo>
                <a:lnTo>
                  <a:pt x="2278722" y="281484"/>
                </a:lnTo>
                <a:lnTo>
                  <a:pt x="2289467" y="288883"/>
                </a:lnTo>
                <a:lnTo>
                  <a:pt x="2309032" y="305128"/>
                </a:lnTo>
                <a:lnTo>
                  <a:pt x="2352881" y="339335"/>
                </a:lnTo>
                <a:lnTo>
                  <a:pt x="2376107" y="360819"/>
                </a:lnTo>
                <a:lnTo>
                  <a:pt x="2388380" y="371008"/>
                </a:lnTo>
                <a:lnTo>
                  <a:pt x="2405214" y="387741"/>
                </a:lnTo>
                <a:lnTo>
                  <a:pt x="2441252" y="421077"/>
                </a:lnTo>
                <a:lnTo>
                  <a:pt x="2466127" y="448293"/>
                </a:lnTo>
                <a:lnTo>
                  <a:pt x="2479485" y="461571"/>
                </a:lnTo>
                <a:lnTo>
                  <a:pt x="2493436" y="478171"/>
                </a:lnTo>
                <a:lnTo>
                  <a:pt x="2522470" y="509938"/>
                </a:lnTo>
                <a:lnTo>
                  <a:pt x="2548236" y="543379"/>
                </a:lnTo>
                <a:lnTo>
                  <a:pt x="2562191" y="559982"/>
                </a:lnTo>
                <a:lnTo>
                  <a:pt x="2573295" y="575901"/>
                </a:lnTo>
                <a:lnTo>
                  <a:pt x="2596047" y="605429"/>
                </a:lnTo>
                <a:lnTo>
                  <a:pt x="2621892" y="645566"/>
                </a:lnTo>
                <a:lnTo>
                  <a:pt x="2635905" y="665649"/>
                </a:lnTo>
                <a:lnTo>
                  <a:pt x="2644323" y="680395"/>
                </a:lnTo>
                <a:lnTo>
                  <a:pt x="2661498" y="707066"/>
                </a:lnTo>
                <a:lnTo>
                  <a:pt x="2686560" y="754381"/>
                </a:lnTo>
                <a:lnTo>
                  <a:pt x="2700035" y="777982"/>
                </a:lnTo>
                <a:lnTo>
                  <a:pt x="2706018" y="791111"/>
                </a:lnTo>
                <a:lnTo>
                  <a:pt x="2718333" y="814360"/>
                </a:lnTo>
                <a:lnTo>
                  <a:pt x="2741708" y="869434"/>
                </a:lnTo>
                <a:lnTo>
                  <a:pt x="2753992" y="896389"/>
                </a:lnTo>
                <a:lnTo>
                  <a:pt x="2757865" y="907498"/>
                </a:lnTo>
                <a:lnTo>
                  <a:pt x="2766068" y="926823"/>
                </a:lnTo>
                <a:lnTo>
                  <a:pt x="2786805" y="990506"/>
                </a:lnTo>
                <a:lnTo>
                  <a:pt x="2797182" y="1020275"/>
                </a:lnTo>
                <a:lnTo>
                  <a:pt x="2799341" y="1029006"/>
                </a:lnTo>
                <a:lnTo>
                  <a:pt x="2804213" y="1043971"/>
                </a:lnTo>
                <a:lnTo>
                  <a:pt x="2821323" y="1117937"/>
                </a:lnTo>
                <a:lnTo>
                  <a:pt x="2829016" y="1149052"/>
                </a:lnTo>
                <a:lnTo>
                  <a:pt x="2829916" y="1155080"/>
                </a:lnTo>
                <a:lnTo>
                  <a:pt x="2832283" y="1165313"/>
                </a:lnTo>
                <a:lnTo>
                  <a:pt x="2844741" y="1254295"/>
                </a:lnTo>
                <a:lnTo>
                  <a:pt x="2848900" y="1282127"/>
                </a:lnTo>
                <a:lnTo>
                  <a:pt x="2849048" y="1285059"/>
                </a:lnTo>
                <a:lnTo>
                  <a:pt x="2849790" y="1290365"/>
                </a:lnTo>
                <a:lnTo>
                  <a:pt x="2852713" y="1352080"/>
                </a:lnTo>
                <a:lnTo>
                  <a:pt x="2856274" y="1352080"/>
                </a:lnTo>
                <a:lnTo>
                  <a:pt x="2856274" y="1408978"/>
                </a:lnTo>
                <a:lnTo>
                  <a:pt x="2856274" y="1427293"/>
                </a:lnTo>
                <a:lnTo>
                  <a:pt x="2856274" y="1427719"/>
                </a:lnTo>
                <a:lnTo>
                  <a:pt x="2856274" y="1427720"/>
                </a:lnTo>
                <a:lnTo>
                  <a:pt x="2857979" y="1427720"/>
                </a:lnTo>
                <a:lnTo>
                  <a:pt x="2857979" y="1613887"/>
                </a:lnTo>
                <a:lnTo>
                  <a:pt x="2857979" y="1701091"/>
                </a:lnTo>
                <a:lnTo>
                  <a:pt x="2857979" y="1856116"/>
                </a:lnTo>
                <a:lnTo>
                  <a:pt x="2857979" y="1877704"/>
                </a:lnTo>
                <a:lnTo>
                  <a:pt x="2857979" y="1953345"/>
                </a:lnTo>
                <a:lnTo>
                  <a:pt x="2856292" y="1953345"/>
                </a:lnTo>
                <a:lnTo>
                  <a:pt x="2856292" y="1982173"/>
                </a:lnTo>
                <a:lnTo>
                  <a:pt x="1592136" y="1982173"/>
                </a:lnTo>
                <a:lnTo>
                  <a:pt x="1820778" y="2025953"/>
                </a:lnTo>
                <a:lnTo>
                  <a:pt x="1826563" y="2027875"/>
                </a:lnTo>
                <a:lnTo>
                  <a:pt x="1827559" y="2028116"/>
                </a:lnTo>
                <a:lnTo>
                  <a:pt x="1837483" y="2031509"/>
                </a:lnTo>
                <a:lnTo>
                  <a:pt x="1937608" y="2064797"/>
                </a:lnTo>
                <a:lnTo>
                  <a:pt x="1947886" y="2069234"/>
                </a:lnTo>
                <a:lnTo>
                  <a:pt x="1951791" y="2070568"/>
                </a:lnTo>
                <a:lnTo>
                  <a:pt x="1972906" y="2080035"/>
                </a:lnTo>
                <a:lnTo>
                  <a:pt x="2049720" y="2113194"/>
                </a:lnTo>
                <a:lnTo>
                  <a:pt x="2064057" y="2120900"/>
                </a:lnTo>
                <a:lnTo>
                  <a:pt x="2070581" y="2123825"/>
                </a:lnTo>
                <a:lnTo>
                  <a:pt x="2093493" y="2136723"/>
                </a:lnTo>
                <a:lnTo>
                  <a:pt x="2156628" y="2170659"/>
                </a:lnTo>
                <a:lnTo>
                  <a:pt x="2174520" y="2182335"/>
                </a:lnTo>
                <a:lnTo>
                  <a:pt x="2183337" y="2187296"/>
                </a:lnTo>
                <a:lnTo>
                  <a:pt x="2205153" y="2202322"/>
                </a:lnTo>
                <a:lnTo>
                  <a:pt x="2257845" y="2236704"/>
                </a:lnTo>
                <a:lnTo>
                  <a:pt x="2278723" y="2252990"/>
                </a:lnTo>
                <a:lnTo>
                  <a:pt x="2289467" y="2260389"/>
                </a:lnTo>
                <a:lnTo>
                  <a:pt x="2309032" y="2276635"/>
                </a:lnTo>
                <a:lnTo>
                  <a:pt x="2352881" y="2310840"/>
                </a:lnTo>
                <a:lnTo>
                  <a:pt x="2376107" y="2332325"/>
                </a:lnTo>
                <a:lnTo>
                  <a:pt x="2388380" y="2342514"/>
                </a:lnTo>
                <a:lnTo>
                  <a:pt x="2405214" y="2359248"/>
                </a:lnTo>
                <a:lnTo>
                  <a:pt x="2441252" y="2392582"/>
                </a:lnTo>
                <a:lnTo>
                  <a:pt x="2466127" y="2419799"/>
                </a:lnTo>
                <a:lnTo>
                  <a:pt x="2479485" y="2433078"/>
                </a:lnTo>
                <a:lnTo>
                  <a:pt x="2493436" y="2449678"/>
                </a:lnTo>
                <a:lnTo>
                  <a:pt x="2522469" y="2481443"/>
                </a:lnTo>
                <a:lnTo>
                  <a:pt x="2548236" y="2514884"/>
                </a:lnTo>
                <a:lnTo>
                  <a:pt x="2562191" y="2531488"/>
                </a:lnTo>
                <a:lnTo>
                  <a:pt x="2573295" y="2547408"/>
                </a:lnTo>
                <a:lnTo>
                  <a:pt x="2596047" y="2576936"/>
                </a:lnTo>
                <a:lnTo>
                  <a:pt x="2621892" y="2617072"/>
                </a:lnTo>
                <a:lnTo>
                  <a:pt x="2635904" y="2637156"/>
                </a:lnTo>
                <a:lnTo>
                  <a:pt x="2644322" y="2651901"/>
                </a:lnTo>
                <a:lnTo>
                  <a:pt x="2661498" y="2678572"/>
                </a:lnTo>
                <a:lnTo>
                  <a:pt x="2686560" y="2725888"/>
                </a:lnTo>
                <a:lnTo>
                  <a:pt x="2700035" y="2749488"/>
                </a:lnTo>
                <a:lnTo>
                  <a:pt x="2706018" y="2762618"/>
                </a:lnTo>
                <a:lnTo>
                  <a:pt x="2718332" y="2785865"/>
                </a:lnTo>
                <a:lnTo>
                  <a:pt x="2741708" y="2840939"/>
                </a:lnTo>
                <a:lnTo>
                  <a:pt x="2753991" y="2867894"/>
                </a:lnTo>
                <a:lnTo>
                  <a:pt x="2757865" y="2879005"/>
                </a:lnTo>
                <a:lnTo>
                  <a:pt x="2766068" y="2898329"/>
                </a:lnTo>
                <a:lnTo>
                  <a:pt x="2786804" y="2962013"/>
                </a:lnTo>
                <a:lnTo>
                  <a:pt x="2797182" y="2991781"/>
                </a:lnTo>
                <a:lnTo>
                  <a:pt x="2799341" y="3000513"/>
                </a:lnTo>
                <a:lnTo>
                  <a:pt x="2804213" y="3015476"/>
                </a:lnTo>
                <a:lnTo>
                  <a:pt x="2821323" y="3089443"/>
                </a:lnTo>
                <a:lnTo>
                  <a:pt x="2829016" y="3120558"/>
                </a:lnTo>
                <a:lnTo>
                  <a:pt x="2829916" y="3126586"/>
                </a:lnTo>
                <a:lnTo>
                  <a:pt x="2832283" y="3136820"/>
                </a:lnTo>
                <a:lnTo>
                  <a:pt x="2844741" y="3225801"/>
                </a:lnTo>
                <a:lnTo>
                  <a:pt x="2848899" y="3253634"/>
                </a:lnTo>
                <a:lnTo>
                  <a:pt x="2849047" y="3256565"/>
                </a:lnTo>
                <a:lnTo>
                  <a:pt x="2849790" y="3261871"/>
                </a:lnTo>
                <a:lnTo>
                  <a:pt x="2852712" y="3323586"/>
                </a:lnTo>
                <a:lnTo>
                  <a:pt x="2856274" y="3323586"/>
                </a:lnTo>
                <a:lnTo>
                  <a:pt x="2856274" y="3325569"/>
                </a:lnTo>
                <a:lnTo>
                  <a:pt x="2856291" y="3325569"/>
                </a:lnTo>
                <a:lnTo>
                  <a:pt x="2856291" y="4287276"/>
                </a:lnTo>
                <a:lnTo>
                  <a:pt x="2856291" y="4655570"/>
                </a:lnTo>
                <a:lnTo>
                  <a:pt x="1429853" y="4655570"/>
                </a:lnTo>
                <a:lnTo>
                  <a:pt x="1429012" y="4655570"/>
                </a:lnTo>
                <a:lnTo>
                  <a:pt x="1428999" y="4655571"/>
                </a:lnTo>
                <a:lnTo>
                  <a:pt x="1428985" y="4655570"/>
                </a:lnTo>
                <a:lnTo>
                  <a:pt x="1361945" y="4655570"/>
                </a:lnTo>
                <a:lnTo>
                  <a:pt x="1361945" y="4652356"/>
                </a:lnTo>
                <a:lnTo>
                  <a:pt x="1292844" y="4649083"/>
                </a:lnTo>
                <a:lnTo>
                  <a:pt x="1288651" y="4648484"/>
                </a:lnTo>
                <a:lnTo>
                  <a:pt x="1283066" y="4648203"/>
                </a:lnTo>
                <a:cubicBezTo>
                  <a:pt x="1198724" y="4639637"/>
                  <a:pt x="1116553" y="4623728"/>
                  <a:pt x="1037200" y="4601124"/>
                </a:cubicBezTo>
                <a:lnTo>
                  <a:pt x="1031416" y="4599202"/>
                </a:lnTo>
                <a:lnTo>
                  <a:pt x="1030420" y="4598961"/>
                </a:lnTo>
                <a:lnTo>
                  <a:pt x="1020496" y="4595571"/>
                </a:lnTo>
                <a:lnTo>
                  <a:pt x="920371" y="4562281"/>
                </a:lnTo>
                <a:lnTo>
                  <a:pt x="910094" y="4557844"/>
                </a:lnTo>
                <a:lnTo>
                  <a:pt x="906188" y="4556510"/>
                </a:lnTo>
                <a:lnTo>
                  <a:pt x="885073" y="4547042"/>
                </a:lnTo>
                <a:lnTo>
                  <a:pt x="808258" y="4513883"/>
                </a:lnTo>
                <a:lnTo>
                  <a:pt x="793923" y="4506178"/>
                </a:lnTo>
                <a:lnTo>
                  <a:pt x="787398" y="4503253"/>
                </a:lnTo>
                <a:lnTo>
                  <a:pt x="764486" y="4490355"/>
                </a:lnTo>
                <a:lnTo>
                  <a:pt x="701352" y="4456419"/>
                </a:lnTo>
                <a:lnTo>
                  <a:pt x="683458" y="4444743"/>
                </a:lnTo>
                <a:lnTo>
                  <a:pt x="674642" y="4439782"/>
                </a:lnTo>
                <a:lnTo>
                  <a:pt x="652826" y="4424756"/>
                </a:lnTo>
                <a:lnTo>
                  <a:pt x="600135" y="4390374"/>
                </a:lnTo>
                <a:lnTo>
                  <a:pt x="579258" y="4374087"/>
                </a:lnTo>
                <a:lnTo>
                  <a:pt x="568512" y="4366689"/>
                </a:lnTo>
                <a:lnTo>
                  <a:pt x="548947" y="4350444"/>
                </a:lnTo>
                <a:lnTo>
                  <a:pt x="505098" y="4316236"/>
                </a:lnTo>
                <a:lnTo>
                  <a:pt x="481872" y="4294752"/>
                </a:lnTo>
                <a:lnTo>
                  <a:pt x="469600" y="4284563"/>
                </a:lnTo>
                <a:lnTo>
                  <a:pt x="452765" y="4267831"/>
                </a:lnTo>
                <a:lnTo>
                  <a:pt x="416727" y="4234495"/>
                </a:lnTo>
                <a:lnTo>
                  <a:pt x="391852" y="4207279"/>
                </a:lnTo>
                <a:lnTo>
                  <a:pt x="378494" y="4194000"/>
                </a:lnTo>
                <a:lnTo>
                  <a:pt x="364543" y="4177400"/>
                </a:lnTo>
                <a:lnTo>
                  <a:pt x="335510" y="4145634"/>
                </a:lnTo>
                <a:lnTo>
                  <a:pt x="309743" y="4112193"/>
                </a:lnTo>
                <a:lnTo>
                  <a:pt x="295789" y="4095590"/>
                </a:lnTo>
                <a:lnTo>
                  <a:pt x="284685" y="4079671"/>
                </a:lnTo>
                <a:lnTo>
                  <a:pt x="261931" y="4050142"/>
                </a:lnTo>
                <a:lnTo>
                  <a:pt x="236086" y="4010005"/>
                </a:lnTo>
                <a:lnTo>
                  <a:pt x="222075" y="3989922"/>
                </a:lnTo>
                <a:lnTo>
                  <a:pt x="213657" y="3975176"/>
                </a:lnTo>
                <a:lnTo>
                  <a:pt x="196482" y="3948505"/>
                </a:lnTo>
                <a:lnTo>
                  <a:pt x="171419" y="3901190"/>
                </a:lnTo>
                <a:lnTo>
                  <a:pt x="157945" y="3877589"/>
                </a:lnTo>
                <a:lnTo>
                  <a:pt x="151962" y="3864460"/>
                </a:lnTo>
                <a:lnTo>
                  <a:pt x="139646" y="3841212"/>
                </a:lnTo>
                <a:lnTo>
                  <a:pt x="116271" y="3786138"/>
                </a:lnTo>
                <a:lnTo>
                  <a:pt x="103988" y="3759183"/>
                </a:lnTo>
                <a:lnTo>
                  <a:pt x="100114" y="3748073"/>
                </a:lnTo>
                <a:lnTo>
                  <a:pt x="91911" y="3728748"/>
                </a:lnTo>
                <a:lnTo>
                  <a:pt x="71175" y="3665065"/>
                </a:lnTo>
                <a:lnTo>
                  <a:pt x="60797" y="3635297"/>
                </a:lnTo>
                <a:lnTo>
                  <a:pt x="58639" y="3626565"/>
                </a:lnTo>
                <a:lnTo>
                  <a:pt x="53766" y="3611600"/>
                </a:lnTo>
                <a:lnTo>
                  <a:pt x="36656" y="3537635"/>
                </a:lnTo>
                <a:lnTo>
                  <a:pt x="28964" y="3506519"/>
                </a:lnTo>
                <a:lnTo>
                  <a:pt x="28064" y="3500492"/>
                </a:lnTo>
                <a:lnTo>
                  <a:pt x="25696" y="3490258"/>
                </a:lnTo>
                <a:lnTo>
                  <a:pt x="13239" y="3401277"/>
                </a:lnTo>
                <a:lnTo>
                  <a:pt x="9079" y="3373444"/>
                </a:lnTo>
                <a:lnTo>
                  <a:pt x="8931" y="3370513"/>
                </a:lnTo>
                <a:lnTo>
                  <a:pt x="8188" y="3365207"/>
                </a:lnTo>
                <a:lnTo>
                  <a:pt x="6312" y="3325569"/>
                </a:lnTo>
                <a:lnTo>
                  <a:pt x="0" y="3325569"/>
                </a:lnTo>
                <a:lnTo>
                  <a:pt x="0" y="3323586"/>
                </a:lnTo>
                <a:lnTo>
                  <a:pt x="1688" y="3323586"/>
                </a:lnTo>
                <a:lnTo>
                  <a:pt x="1688" y="2339801"/>
                </a:lnTo>
                <a:lnTo>
                  <a:pt x="1688" y="1971507"/>
                </a:lnTo>
                <a:lnTo>
                  <a:pt x="6127" y="1971507"/>
                </a:lnTo>
                <a:lnTo>
                  <a:pt x="5267" y="1953345"/>
                </a:lnTo>
                <a:lnTo>
                  <a:pt x="1705" y="1953345"/>
                </a:lnTo>
                <a:lnTo>
                  <a:pt x="1705" y="1896448"/>
                </a:lnTo>
                <a:lnTo>
                  <a:pt x="1705" y="1878132"/>
                </a:lnTo>
                <a:lnTo>
                  <a:pt x="1705" y="1877704"/>
                </a:lnTo>
                <a:lnTo>
                  <a:pt x="0" y="1877704"/>
                </a:lnTo>
                <a:lnTo>
                  <a:pt x="0" y="1856116"/>
                </a:lnTo>
                <a:lnTo>
                  <a:pt x="0" y="1701091"/>
                </a:lnTo>
                <a:lnTo>
                  <a:pt x="0" y="1613887"/>
                </a:lnTo>
                <a:lnTo>
                  <a:pt x="0" y="1427719"/>
                </a:lnTo>
                <a:lnTo>
                  <a:pt x="0" y="1352080"/>
                </a:lnTo>
                <a:lnTo>
                  <a:pt x="1689" y="1352080"/>
                </a:lnTo>
                <a:lnTo>
                  <a:pt x="1689" y="1"/>
                </a:lnTo>
                <a:lnTo>
                  <a:pt x="1428126" y="1"/>
                </a:lnTo>
                <a:lnTo>
                  <a:pt x="1428967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59103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3FB5265-BE70-4EE7-A3F2-04ACF23BC5E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53420" y="348394"/>
            <a:ext cx="2337656" cy="2337656"/>
          </a:xfrm>
          <a:custGeom>
            <a:avLst/>
            <a:gdLst>
              <a:gd name="connsiteX0" fmla="*/ 1168828 w 2337656"/>
              <a:gd name="connsiteY0" fmla="*/ 0 h 2337656"/>
              <a:gd name="connsiteX1" fmla="*/ 2337656 w 2337656"/>
              <a:gd name="connsiteY1" fmla="*/ 1168828 h 2337656"/>
              <a:gd name="connsiteX2" fmla="*/ 1288334 w 2337656"/>
              <a:gd name="connsiteY2" fmla="*/ 2331621 h 2337656"/>
              <a:gd name="connsiteX3" fmla="*/ 1184517 w 2337656"/>
              <a:gd name="connsiteY3" fmla="*/ 2336864 h 2337656"/>
              <a:gd name="connsiteX4" fmla="*/ 1184517 w 2337656"/>
              <a:gd name="connsiteY4" fmla="*/ 2337656 h 2337656"/>
              <a:gd name="connsiteX5" fmla="*/ 1168828 w 2337656"/>
              <a:gd name="connsiteY5" fmla="*/ 2337656 h 2337656"/>
              <a:gd name="connsiteX6" fmla="*/ 1 w 2337656"/>
              <a:gd name="connsiteY6" fmla="*/ 2337656 h 2337656"/>
              <a:gd name="connsiteX7" fmla="*/ 1 w 2337656"/>
              <a:gd name="connsiteY7" fmla="*/ 1168839 h 2337656"/>
              <a:gd name="connsiteX8" fmla="*/ 0 w 2337656"/>
              <a:gd name="connsiteY8" fmla="*/ 1168828 h 2337656"/>
              <a:gd name="connsiteX9" fmla="*/ 1 w 2337656"/>
              <a:gd name="connsiteY9" fmla="*/ 1168817 h 2337656"/>
              <a:gd name="connsiteX10" fmla="*/ 1 w 2337656"/>
              <a:gd name="connsiteY10" fmla="*/ 1113917 h 2337656"/>
              <a:gd name="connsiteX11" fmla="*/ 2773 w 2337656"/>
              <a:gd name="connsiteY11" fmla="*/ 1113917 h 2337656"/>
              <a:gd name="connsiteX12" fmla="*/ 6034 w 2337656"/>
              <a:gd name="connsiteY12" fmla="*/ 1049322 h 2337656"/>
              <a:gd name="connsiteX13" fmla="*/ 1168828 w 2337656"/>
              <a:gd name="connsiteY13" fmla="*/ 0 h 2337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37656" h="2337656">
                <a:moveTo>
                  <a:pt x="1168828" y="0"/>
                </a:moveTo>
                <a:cubicBezTo>
                  <a:pt x="1814354" y="0"/>
                  <a:pt x="2337656" y="523302"/>
                  <a:pt x="2337656" y="1168828"/>
                </a:cubicBezTo>
                <a:cubicBezTo>
                  <a:pt x="2337656" y="1774009"/>
                  <a:pt x="1877722" y="2271766"/>
                  <a:pt x="1288334" y="2331621"/>
                </a:cubicBezTo>
                <a:lnTo>
                  <a:pt x="1184517" y="2336864"/>
                </a:lnTo>
                <a:lnTo>
                  <a:pt x="1184517" y="2337656"/>
                </a:lnTo>
                <a:lnTo>
                  <a:pt x="1168828" y="2337656"/>
                </a:lnTo>
                <a:lnTo>
                  <a:pt x="1" y="2337656"/>
                </a:lnTo>
                <a:lnTo>
                  <a:pt x="1" y="1168839"/>
                </a:lnTo>
                <a:lnTo>
                  <a:pt x="0" y="1168828"/>
                </a:lnTo>
                <a:lnTo>
                  <a:pt x="1" y="1168817"/>
                </a:lnTo>
                <a:lnTo>
                  <a:pt x="1" y="1113917"/>
                </a:lnTo>
                <a:lnTo>
                  <a:pt x="2773" y="1113917"/>
                </a:lnTo>
                <a:lnTo>
                  <a:pt x="6034" y="1049322"/>
                </a:lnTo>
                <a:cubicBezTo>
                  <a:pt x="65891" y="459934"/>
                  <a:pt x="563647" y="0"/>
                  <a:pt x="116882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430EA44-BCD9-4CC4-B2D8-DF2CF82CB7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3420" y="2937656"/>
            <a:ext cx="3421968" cy="3438490"/>
          </a:xfrm>
          <a:custGeom>
            <a:avLst/>
            <a:gdLst>
              <a:gd name="connsiteX0" fmla="*/ 1029 w 3421968"/>
              <a:gd name="connsiteY0" fmla="*/ 0 h 3438490"/>
              <a:gd name="connsiteX1" fmla="*/ 751547 w 3421968"/>
              <a:gd name="connsiteY1" fmla="*/ 0 h 3438490"/>
              <a:gd name="connsiteX2" fmla="*/ 869868 w 3421968"/>
              <a:gd name="connsiteY2" fmla="*/ 0 h 3438490"/>
              <a:gd name="connsiteX3" fmla="*/ 870380 w 3421968"/>
              <a:gd name="connsiteY3" fmla="*/ 0 h 3438490"/>
              <a:gd name="connsiteX4" fmla="*/ 870388 w 3421968"/>
              <a:gd name="connsiteY4" fmla="*/ 0 h 3438490"/>
              <a:gd name="connsiteX5" fmla="*/ 870397 w 3421968"/>
              <a:gd name="connsiteY5" fmla="*/ 0 h 3438490"/>
              <a:gd name="connsiteX6" fmla="*/ 911231 w 3421968"/>
              <a:gd name="connsiteY6" fmla="*/ 0 h 3438490"/>
              <a:gd name="connsiteX7" fmla="*/ 931692 w 3421968"/>
              <a:gd name="connsiteY7" fmla="*/ 0 h 3438490"/>
              <a:gd name="connsiteX8" fmla="*/ 1620386 w 3421968"/>
              <a:gd name="connsiteY8" fmla="*/ 0 h 3438490"/>
              <a:gd name="connsiteX9" fmla="*/ 1620899 w 3421968"/>
              <a:gd name="connsiteY9" fmla="*/ 0 h 3438490"/>
              <a:gd name="connsiteX10" fmla="*/ 1620906 w 3421968"/>
              <a:gd name="connsiteY10" fmla="*/ 0 h 3438490"/>
              <a:gd name="connsiteX11" fmla="*/ 1620915 w 3421968"/>
              <a:gd name="connsiteY11" fmla="*/ 0 h 3438490"/>
              <a:gd name="connsiteX12" fmla="*/ 1661749 w 3421968"/>
              <a:gd name="connsiteY12" fmla="*/ 0 h 3438490"/>
              <a:gd name="connsiteX13" fmla="*/ 1682210 w 3421968"/>
              <a:gd name="connsiteY13" fmla="*/ 0 h 3438490"/>
              <a:gd name="connsiteX14" fmla="*/ 1800530 w 3421968"/>
              <a:gd name="connsiteY14" fmla="*/ 0 h 3438490"/>
              <a:gd name="connsiteX15" fmla="*/ 1801043 w 3421968"/>
              <a:gd name="connsiteY15" fmla="*/ 0 h 3438490"/>
              <a:gd name="connsiteX16" fmla="*/ 1801050 w 3421968"/>
              <a:gd name="connsiteY16" fmla="*/ 0 h 3438490"/>
              <a:gd name="connsiteX17" fmla="*/ 1801060 w 3421968"/>
              <a:gd name="connsiteY17" fmla="*/ 0 h 3438490"/>
              <a:gd name="connsiteX18" fmla="*/ 1841893 w 3421968"/>
              <a:gd name="connsiteY18" fmla="*/ 0 h 3438490"/>
              <a:gd name="connsiteX19" fmla="*/ 2551050 w 3421968"/>
              <a:gd name="connsiteY19" fmla="*/ 0 h 3438490"/>
              <a:gd name="connsiteX20" fmla="*/ 2551562 w 3421968"/>
              <a:gd name="connsiteY20" fmla="*/ 0 h 3438490"/>
              <a:gd name="connsiteX21" fmla="*/ 2551569 w 3421968"/>
              <a:gd name="connsiteY21" fmla="*/ 0 h 3438490"/>
              <a:gd name="connsiteX22" fmla="*/ 2551578 w 3421968"/>
              <a:gd name="connsiteY22" fmla="*/ 0 h 3438490"/>
              <a:gd name="connsiteX23" fmla="*/ 2592411 w 3421968"/>
              <a:gd name="connsiteY23" fmla="*/ 0 h 3438490"/>
              <a:gd name="connsiteX24" fmla="*/ 2592411 w 3421968"/>
              <a:gd name="connsiteY24" fmla="*/ 1958 h 3438490"/>
              <a:gd name="connsiteX25" fmla="*/ 2634501 w 3421968"/>
              <a:gd name="connsiteY25" fmla="*/ 3952 h 3438490"/>
              <a:gd name="connsiteX26" fmla="*/ 2637054 w 3421968"/>
              <a:gd name="connsiteY26" fmla="*/ 4316 h 3438490"/>
              <a:gd name="connsiteX27" fmla="*/ 2640456 w 3421968"/>
              <a:gd name="connsiteY27" fmla="*/ 4488 h 3438490"/>
              <a:gd name="connsiteX28" fmla="*/ 2790212 w 3421968"/>
              <a:gd name="connsiteY28" fmla="*/ 33163 h 3438490"/>
              <a:gd name="connsiteX29" fmla="*/ 2793735 w 3421968"/>
              <a:gd name="connsiteY29" fmla="*/ 34335 h 3438490"/>
              <a:gd name="connsiteX30" fmla="*/ 2794341 w 3421968"/>
              <a:gd name="connsiteY30" fmla="*/ 34481 h 3438490"/>
              <a:gd name="connsiteX31" fmla="*/ 2800387 w 3421968"/>
              <a:gd name="connsiteY31" fmla="*/ 36546 h 3438490"/>
              <a:gd name="connsiteX32" fmla="*/ 2861373 w 3421968"/>
              <a:gd name="connsiteY32" fmla="*/ 56823 h 3438490"/>
              <a:gd name="connsiteX33" fmla="*/ 2867633 w 3421968"/>
              <a:gd name="connsiteY33" fmla="*/ 59526 h 3438490"/>
              <a:gd name="connsiteX34" fmla="*/ 2870011 w 3421968"/>
              <a:gd name="connsiteY34" fmla="*/ 60338 h 3438490"/>
              <a:gd name="connsiteX35" fmla="*/ 2882873 w 3421968"/>
              <a:gd name="connsiteY35" fmla="*/ 66104 h 3438490"/>
              <a:gd name="connsiteX36" fmla="*/ 2929660 w 3421968"/>
              <a:gd name="connsiteY36" fmla="*/ 86302 h 3438490"/>
              <a:gd name="connsiteX37" fmla="*/ 2938392 w 3421968"/>
              <a:gd name="connsiteY37" fmla="*/ 90995 h 3438490"/>
              <a:gd name="connsiteX38" fmla="*/ 2942366 w 3421968"/>
              <a:gd name="connsiteY38" fmla="*/ 92777 h 3438490"/>
              <a:gd name="connsiteX39" fmla="*/ 2956322 w 3421968"/>
              <a:gd name="connsiteY39" fmla="*/ 100633 h 3438490"/>
              <a:gd name="connsiteX40" fmla="*/ 2994777 w 3421968"/>
              <a:gd name="connsiteY40" fmla="*/ 121304 h 3438490"/>
              <a:gd name="connsiteX41" fmla="*/ 3005676 w 3421968"/>
              <a:gd name="connsiteY41" fmla="*/ 128415 h 3438490"/>
              <a:gd name="connsiteX42" fmla="*/ 3011046 w 3421968"/>
              <a:gd name="connsiteY42" fmla="*/ 131437 h 3438490"/>
              <a:gd name="connsiteX43" fmla="*/ 3024334 w 3421968"/>
              <a:gd name="connsiteY43" fmla="*/ 140589 h 3438490"/>
              <a:gd name="connsiteX44" fmla="*/ 3056428 w 3421968"/>
              <a:gd name="connsiteY44" fmla="*/ 161531 h 3438490"/>
              <a:gd name="connsiteX45" fmla="*/ 3069144 w 3421968"/>
              <a:gd name="connsiteY45" fmla="*/ 171451 h 3438490"/>
              <a:gd name="connsiteX46" fmla="*/ 3075690 w 3421968"/>
              <a:gd name="connsiteY46" fmla="*/ 175957 h 3438490"/>
              <a:gd name="connsiteX47" fmla="*/ 3087606 w 3421968"/>
              <a:gd name="connsiteY47" fmla="*/ 185852 h 3438490"/>
              <a:gd name="connsiteX48" fmla="*/ 3114314 w 3421968"/>
              <a:gd name="connsiteY48" fmla="*/ 206688 h 3438490"/>
              <a:gd name="connsiteX49" fmla="*/ 3128462 w 3421968"/>
              <a:gd name="connsiteY49" fmla="*/ 219774 h 3438490"/>
              <a:gd name="connsiteX50" fmla="*/ 3135937 w 3421968"/>
              <a:gd name="connsiteY50" fmla="*/ 225980 h 3438490"/>
              <a:gd name="connsiteX51" fmla="*/ 3146191 w 3421968"/>
              <a:gd name="connsiteY51" fmla="*/ 236171 h 3438490"/>
              <a:gd name="connsiteX52" fmla="*/ 3168141 w 3421968"/>
              <a:gd name="connsiteY52" fmla="*/ 256476 h 3438490"/>
              <a:gd name="connsiteX53" fmla="*/ 3183293 w 3421968"/>
              <a:gd name="connsiteY53" fmla="*/ 273055 h 3438490"/>
              <a:gd name="connsiteX54" fmla="*/ 3191429 w 3421968"/>
              <a:gd name="connsiteY54" fmla="*/ 281142 h 3438490"/>
              <a:gd name="connsiteX55" fmla="*/ 3199926 w 3421968"/>
              <a:gd name="connsiteY55" fmla="*/ 291252 h 3438490"/>
              <a:gd name="connsiteX56" fmla="*/ 3217610 w 3421968"/>
              <a:gd name="connsiteY56" fmla="*/ 310602 h 3438490"/>
              <a:gd name="connsiteX57" fmla="*/ 3233304 w 3421968"/>
              <a:gd name="connsiteY57" fmla="*/ 330971 h 3438490"/>
              <a:gd name="connsiteX58" fmla="*/ 3241804 w 3421968"/>
              <a:gd name="connsiteY58" fmla="*/ 341083 h 3438490"/>
              <a:gd name="connsiteX59" fmla="*/ 3248568 w 3421968"/>
              <a:gd name="connsiteY59" fmla="*/ 350779 h 3438490"/>
              <a:gd name="connsiteX60" fmla="*/ 3262426 w 3421968"/>
              <a:gd name="connsiteY60" fmla="*/ 368765 h 3438490"/>
              <a:gd name="connsiteX61" fmla="*/ 3278169 w 3421968"/>
              <a:gd name="connsiteY61" fmla="*/ 393212 h 3438490"/>
              <a:gd name="connsiteX62" fmla="*/ 3286703 w 3421968"/>
              <a:gd name="connsiteY62" fmla="*/ 405445 h 3438490"/>
              <a:gd name="connsiteX63" fmla="*/ 3291831 w 3421968"/>
              <a:gd name="connsiteY63" fmla="*/ 414427 h 3438490"/>
              <a:gd name="connsiteX64" fmla="*/ 3302291 w 3421968"/>
              <a:gd name="connsiteY64" fmla="*/ 430672 h 3438490"/>
              <a:gd name="connsiteX65" fmla="*/ 3317558 w 3421968"/>
              <a:gd name="connsiteY65" fmla="*/ 459491 h 3438490"/>
              <a:gd name="connsiteX66" fmla="*/ 3325764 w 3421968"/>
              <a:gd name="connsiteY66" fmla="*/ 473866 h 3438490"/>
              <a:gd name="connsiteX67" fmla="*/ 3329409 w 3421968"/>
              <a:gd name="connsiteY67" fmla="*/ 481864 h 3438490"/>
              <a:gd name="connsiteX68" fmla="*/ 3336910 w 3421968"/>
              <a:gd name="connsiteY68" fmla="*/ 496024 h 3438490"/>
              <a:gd name="connsiteX69" fmla="*/ 3351148 w 3421968"/>
              <a:gd name="connsiteY69" fmla="*/ 529569 h 3438490"/>
              <a:gd name="connsiteX70" fmla="*/ 3358630 w 3421968"/>
              <a:gd name="connsiteY70" fmla="*/ 545987 h 3438490"/>
              <a:gd name="connsiteX71" fmla="*/ 3360989 w 3421968"/>
              <a:gd name="connsiteY71" fmla="*/ 552754 h 3438490"/>
              <a:gd name="connsiteX72" fmla="*/ 3365986 w 3421968"/>
              <a:gd name="connsiteY72" fmla="*/ 564525 h 3438490"/>
              <a:gd name="connsiteX73" fmla="*/ 3378616 w 3421968"/>
              <a:gd name="connsiteY73" fmla="*/ 603315 h 3438490"/>
              <a:gd name="connsiteX74" fmla="*/ 3384937 w 3421968"/>
              <a:gd name="connsiteY74" fmla="*/ 621447 h 3438490"/>
              <a:gd name="connsiteX75" fmla="*/ 3386251 w 3421968"/>
              <a:gd name="connsiteY75" fmla="*/ 626765 h 3438490"/>
              <a:gd name="connsiteX76" fmla="*/ 3389219 w 3421968"/>
              <a:gd name="connsiteY76" fmla="*/ 635880 h 3438490"/>
              <a:gd name="connsiteX77" fmla="*/ 3399642 w 3421968"/>
              <a:gd name="connsiteY77" fmla="*/ 680932 h 3438490"/>
              <a:gd name="connsiteX78" fmla="*/ 3404327 w 3421968"/>
              <a:gd name="connsiteY78" fmla="*/ 699885 h 3438490"/>
              <a:gd name="connsiteX79" fmla="*/ 3404875 w 3421968"/>
              <a:gd name="connsiteY79" fmla="*/ 703555 h 3438490"/>
              <a:gd name="connsiteX80" fmla="*/ 3406317 w 3421968"/>
              <a:gd name="connsiteY80" fmla="*/ 709789 h 3438490"/>
              <a:gd name="connsiteX81" fmla="*/ 3413905 w 3421968"/>
              <a:gd name="connsiteY81" fmla="*/ 763987 h 3438490"/>
              <a:gd name="connsiteX82" fmla="*/ 3416438 w 3421968"/>
              <a:gd name="connsiteY82" fmla="*/ 780941 h 3438490"/>
              <a:gd name="connsiteX83" fmla="*/ 3416529 w 3421968"/>
              <a:gd name="connsiteY83" fmla="*/ 782725 h 3438490"/>
              <a:gd name="connsiteX84" fmla="*/ 3416981 w 3421968"/>
              <a:gd name="connsiteY84" fmla="*/ 785957 h 3438490"/>
              <a:gd name="connsiteX85" fmla="*/ 3418760 w 3421968"/>
              <a:gd name="connsiteY85" fmla="*/ 823548 h 3438490"/>
              <a:gd name="connsiteX86" fmla="*/ 3420930 w 3421968"/>
              <a:gd name="connsiteY86" fmla="*/ 823548 h 3438490"/>
              <a:gd name="connsiteX87" fmla="*/ 3420930 w 3421968"/>
              <a:gd name="connsiteY87" fmla="*/ 858205 h 3438490"/>
              <a:gd name="connsiteX88" fmla="*/ 3420930 w 3421968"/>
              <a:gd name="connsiteY88" fmla="*/ 869361 h 3438490"/>
              <a:gd name="connsiteX89" fmla="*/ 3420930 w 3421968"/>
              <a:gd name="connsiteY89" fmla="*/ 869619 h 3438490"/>
              <a:gd name="connsiteX90" fmla="*/ 3420930 w 3421968"/>
              <a:gd name="connsiteY90" fmla="*/ 869620 h 3438490"/>
              <a:gd name="connsiteX91" fmla="*/ 3421968 w 3421968"/>
              <a:gd name="connsiteY91" fmla="*/ 869620 h 3438490"/>
              <a:gd name="connsiteX92" fmla="*/ 3421968 w 3421968"/>
              <a:gd name="connsiteY92" fmla="*/ 983014 h 3438490"/>
              <a:gd name="connsiteX93" fmla="*/ 3421968 w 3421968"/>
              <a:gd name="connsiteY93" fmla="*/ 1036130 h 3438490"/>
              <a:gd name="connsiteX94" fmla="*/ 3421968 w 3421968"/>
              <a:gd name="connsiteY94" fmla="*/ 1093947 h 3438490"/>
              <a:gd name="connsiteX95" fmla="*/ 3421968 w 3421968"/>
              <a:gd name="connsiteY95" fmla="*/ 1130555 h 3438490"/>
              <a:gd name="connsiteX96" fmla="*/ 3421968 w 3421968"/>
              <a:gd name="connsiteY96" fmla="*/ 1143704 h 3438490"/>
              <a:gd name="connsiteX97" fmla="*/ 3421968 w 3421968"/>
              <a:gd name="connsiteY97" fmla="*/ 1189777 h 3438490"/>
              <a:gd name="connsiteX98" fmla="*/ 3421968 w 3421968"/>
              <a:gd name="connsiteY98" fmla="*/ 1207341 h 3438490"/>
              <a:gd name="connsiteX99" fmla="*/ 3421968 w 3421968"/>
              <a:gd name="connsiteY99" fmla="*/ 1260457 h 3438490"/>
              <a:gd name="connsiteX100" fmla="*/ 3421968 w 3421968"/>
              <a:gd name="connsiteY100" fmla="*/ 1354882 h 3438490"/>
              <a:gd name="connsiteX101" fmla="*/ 3421968 w 3421968"/>
              <a:gd name="connsiteY101" fmla="*/ 1368031 h 3438490"/>
              <a:gd name="connsiteX102" fmla="*/ 3421968 w 3421968"/>
              <a:gd name="connsiteY102" fmla="*/ 1414104 h 3438490"/>
              <a:gd name="connsiteX103" fmla="*/ 3420940 w 3421968"/>
              <a:gd name="connsiteY103" fmla="*/ 1414104 h 3438490"/>
              <a:gd name="connsiteX104" fmla="*/ 3420940 w 3421968"/>
              <a:gd name="connsiteY104" fmla="*/ 2013324 h 3438490"/>
              <a:gd name="connsiteX105" fmla="*/ 3420940 w 3421968"/>
              <a:gd name="connsiteY105" fmla="*/ 2237651 h 3438490"/>
              <a:gd name="connsiteX106" fmla="*/ 3418236 w 3421968"/>
              <a:gd name="connsiteY106" fmla="*/ 2237651 h 3438490"/>
              <a:gd name="connsiteX107" fmla="*/ 3418760 w 3421968"/>
              <a:gd name="connsiteY107" fmla="*/ 2248714 h 3438490"/>
              <a:gd name="connsiteX108" fmla="*/ 3420930 w 3421968"/>
              <a:gd name="connsiteY108" fmla="*/ 2248714 h 3438490"/>
              <a:gd name="connsiteX109" fmla="*/ 3420930 w 3421968"/>
              <a:gd name="connsiteY109" fmla="*/ 2283369 h 3438490"/>
              <a:gd name="connsiteX110" fmla="*/ 3420930 w 3421968"/>
              <a:gd name="connsiteY110" fmla="*/ 2294524 h 3438490"/>
              <a:gd name="connsiteX111" fmla="*/ 3420930 w 3421968"/>
              <a:gd name="connsiteY111" fmla="*/ 2294786 h 3438490"/>
              <a:gd name="connsiteX112" fmla="*/ 3421968 w 3421968"/>
              <a:gd name="connsiteY112" fmla="*/ 2294786 h 3438490"/>
              <a:gd name="connsiteX113" fmla="*/ 3421968 w 3421968"/>
              <a:gd name="connsiteY113" fmla="*/ 2307936 h 3438490"/>
              <a:gd name="connsiteX114" fmla="*/ 3421968 w 3421968"/>
              <a:gd name="connsiteY114" fmla="*/ 2402360 h 3438490"/>
              <a:gd name="connsiteX115" fmla="*/ 3421968 w 3421968"/>
              <a:gd name="connsiteY115" fmla="*/ 2455476 h 3438490"/>
              <a:gd name="connsiteX116" fmla="*/ 3421968 w 3421968"/>
              <a:gd name="connsiteY116" fmla="*/ 2568870 h 3438490"/>
              <a:gd name="connsiteX117" fmla="*/ 3421968 w 3421968"/>
              <a:gd name="connsiteY117" fmla="*/ 2614942 h 3438490"/>
              <a:gd name="connsiteX118" fmla="*/ 3420939 w 3421968"/>
              <a:gd name="connsiteY118" fmla="*/ 2614942 h 3438490"/>
              <a:gd name="connsiteX119" fmla="*/ 3420939 w 3421968"/>
              <a:gd name="connsiteY119" fmla="*/ 3438489 h 3438490"/>
              <a:gd name="connsiteX120" fmla="*/ 2670421 w 3421968"/>
              <a:gd name="connsiteY120" fmla="*/ 3438489 h 3438490"/>
              <a:gd name="connsiteX121" fmla="*/ 2552100 w 3421968"/>
              <a:gd name="connsiteY121" fmla="*/ 3438489 h 3438490"/>
              <a:gd name="connsiteX122" fmla="*/ 2551589 w 3421968"/>
              <a:gd name="connsiteY122" fmla="*/ 3438489 h 3438490"/>
              <a:gd name="connsiteX123" fmla="*/ 2551580 w 3421968"/>
              <a:gd name="connsiteY123" fmla="*/ 3438490 h 3438490"/>
              <a:gd name="connsiteX124" fmla="*/ 2551571 w 3421968"/>
              <a:gd name="connsiteY124" fmla="*/ 3438489 h 3438490"/>
              <a:gd name="connsiteX125" fmla="*/ 2510738 w 3421968"/>
              <a:gd name="connsiteY125" fmla="*/ 3438489 h 3438490"/>
              <a:gd name="connsiteX126" fmla="*/ 2490276 w 3421968"/>
              <a:gd name="connsiteY126" fmla="*/ 3438489 h 3438490"/>
              <a:gd name="connsiteX127" fmla="*/ 1801582 w 3421968"/>
              <a:gd name="connsiteY127" fmla="*/ 3438489 h 3438490"/>
              <a:gd name="connsiteX128" fmla="*/ 1801070 w 3421968"/>
              <a:gd name="connsiteY128" fmla="*/ 3438489 h 3438490"/>
              <a:gd name="connsiteX129" fmla="*/ 1801062 w 3421968"/>
              <a:gd name="connsiteY129" fmla="*/ 3438490 h 3438490"/>
              <a:gd name="connsiteX130" fmla="*/ 1801053 w 3421968"/>
              <a:gd name="connsiteY130" fmla="*/ 3438489 h 3438490"/>
              <a:gd name="connsiteX131" fmla="*/ 1760220 w 3421968"/>
              <a:gd name="connsiteY131" fmla="*/ 3438489 h 3438490"/>
              <a:gd name="connsiteX132" fmla="*/ 1739758 w 3421968"/>
              <a:gd name="connsiteY132" fmla="*/ 3438489 h 3438490"/>
              <a:gd name="connsiteX133" fmla="*/ 1621438 w 3421968"/>
              <a:gd name="connsiteY133" fmla="*/ 3438489 h 3438490"/>
              <a:gd name="connsiteX134" fmla="*/ 1620926 w 3421968"/>
              <a:gd name="connsiteY134" fmla="*/ 3438489 h 3438490"/>
              <a:gd name="connsiteX135" fmla="*/ 1620917 w 3421968"/>
              <a:gd name="connsiteY135" fmla="*/ 3438490 h 3438490"/>
              <a:gd name="connsiteX136" fmla="*/ 1620908 w 3421968"/>
              <a:gd name="connsiteY136" fmla="*/ 3438489 h 3438490"/>
              <a:gd name="connsiteX137" fmla="*/ 1580075 w 3421968"/>
              <a:gd name="connsiteY137" fmla="*/ 3438489 h 3438490"/>
              <a:gd name="connsiteX138" fmla="*/ 870919 w 3421968"/>
              <a:gd name="connsiteY138" fmla="*/ 3438489 h 3438490"/>
              <a:gd name="connsiteX139" fmla="*/ 870408 w 3421968"/>
              <a:gd name="connsiteY139" fmla="*/ 3438489 h 3438490"/>
              <a:gd name="connsiteX140" fmla="*/ 870400 w 3421968"/>
              <a:gd name="connsiteY140" fmla="*/ 3438490 h 3438490"/>
              <a:gd name="connsiteX141" fmla="*/ 870390 w 3421968"/>
              <a:gd name="connsiteY141" fmla="*/ 3438489 h 3438490"/>
              <a:gd name="connsiteX142" fmla="*/ 829557 w 3421968"/>
              <a:gd name="connsiteY142" fmla="*/ 3438489 h 3438490"/>
              <a:gd name="connsiteX143" fmla="*/ 829557 w 3421968"/>
              <a:gd name="connsiteY143" fmla="*/ 3436532 h 3438490"/>
              <a:gd name="connsiteX144" fmla="*/ 787467 w 3421968"/>
              <a:gd name="connsiteY144" fmla="*/ 3434538 h 3438490"/>
              <a:gd name="connsiteX145" fmla="*/ 784914 w 3421968"/>
              <a:gd name="connsiteY145" fmla="*/ 3434173 h 3438490"/>
              <a:gd name="connsiteX146" fmla="*/ 781512 w 3421968"/>
              <a:gd name="connsiteY146" fmla="*/ 3434001 h 3438490"/>
              <a:gd name="connsiteX147" fmla="*/ 631756 w 3421968"/>
              <a:gd name="connsiteY147" fmla="*/ 3405326 h 3438490"/>
              <a:gd name="connsiteX148" fmla="*/ 628233 w 3421968"/>
              <a:gd name="connsiteY148" fmla="*/ 3404156 h 3438490"/>
              <a:gd name="connsiteX149" fmla="*/ 627626 w 3421968"/>
              <a:gd name="connsiteY149" fmla="*/ 3404009 h 3438490"/>
              <a:gd name="connsiteX150" fmla="*/ 621581 w 3421968"/>
              <a:gd name="connsiteY150" fmla="*/ 3401944 h 3438490"/>
              <a:gd name="connsiteX151" fmla="*/ 560595 w 3421968"/>
              <a:gd name="connsiteY151" fmla="*/ 3381667 h 3438490"/>
              <a:gd name="connsiteX152" fmla="*/ 554335 w 3421968"/>
              <a:gd name="connsiteY152" fmla="*/ 3378965 h 3438490"/>
              <a:gd name="connsiteX153" fmla="*/ 551956 w 3421968"/>
              <a:gd name="connsiteY153" fmla="*/ 3378152 h 3438490"/>
              <a:gd name="connsiteX154" fmla="*/ 539096 w 3421968"/>
              <a:gd name="connsiteY154" fmla="*/ 3372385 h 3438490"/>
              <a:gd name="connsiteX155" fmla="*/ 492308 w 3421968"/>
              <a:gd name="connsiteY155" fmla="*/ 3352188 h 3438490"/>
              <a:gd name="connsiteX156" fmla="*/ 483576 w 3421968"/>
              <a:gd name="connsiteY156" fmla="*/ 3347496 h 3438490"/>
              <a:gd name="connsiteX157" fmla="*/ 479602 w 3421968"/>
              <a:gd name="connsiteY157" fmla="*/ 3345713 h 3438490"/>
              <a:gd name="connsiteX158" fmla="*/ 465646 w 3421968"/>
              <a:gd name="connsiteY158" fmla="*/ 3337856 h 3438490"/>
              <a:gd name="connsiteX159" fmla="*/ 427191 w 3421968"/>
              <a:gd name="connsiteY159" fmla="*/ 3317186 h 3438490"/>
              <a:gd name="connsiteX160" fmla="*/ 416293 w 3421968"/>
              <a:gd name="connsiteY160" fmla="*/ 3310074 h 3438490"/>
              <a:gd name="connsiteX161" fmla="*/ 410923 w 3421968"/>
              <a:gd name="connsiteY161" fmla="*/ 3307054 h 3438490"/>
              <a:gd name="connsiteX162" fmla="*/ 397634 w 3421968"/>
              <a:gd name="connsiteY162" fmla="*/ 3297901 h 3438490"/>
              <a:gd name="connsiteX163" fmla="*/ 365540 w 3421968"/>
              <a:gd name="connsiteY163" fmla="*/ 3276960 h 3438490"/>
              <a:gd name="connsiteX164" fmla="*/ 352824 w 3421968"/>
              <a:gd name="connsiteY164" fmla="*/ 3267038 h 3438490"/>
              <a:gd name="connsiteX165" fmla="*/ 346279 w 3421968"/>
              <a:gd name="connsiteY165" fmla="*/ 3262532 h 3438490"/>
              <a:gd name="connsiteX166" fmla="*/ 334363 w 3421968"/>
              <a:gd name="connsiteY166" fmla="*/ 3252638 h 3438490"/>
              <a:gd name="connsiteX167" fmla="*/ 307654 w 3421968"/>
              <a:gd name="connsiteY167" fmla="*/ 3231802 h 3438490"/>
              <a:gd name="connsiteX168" fmla="*/ 293506 w 3421968"/>
              <a:gd name="connsiteY168" fmla="*/ 3218717 h 3438490"/>
              <a:gd name="connsiteX169" fmla="*/ 286031 w 3421968"/>
              <a:gd name="connsiteY169" fmla="*/ 3212510 h 3438490"/>
              <a:gd name="connsiteX170" fmla="*/ 275778 w 3421968"/>
              <a:gd name="connsiteY170" fmla="*/ 3202318 h 3438490"/>
              <a:gd name="connsiteX171" fmla="*/ 253827 w 3421968"/>
              <a:gd name="connsiteY171" fmla="*/ 3182013 h 3438490"/>
              <a:gd name="connsiteX172" fmla="*/ 238676 w 3421968"/>
              <a:gd name="connsiteY172" fmla="*/ 3165436 h 3438490"/>
              <a:gd name="connsiteX173" fmla="*/ 230539 w 3421968"/>
              <a:gd name="connsiteY173" fmla="*/ 3157349 h 3438490"/>
              <a:gd name="connsiteX174" fmla="*/ 222041 w 3421968"/>
              <a:gd name="connsiteY174" fmla="*/ 3147238 h 3438490"/>
              <a:gd name="connsiteX175" fmla="*/ 204358 w 3421968"/>
              <a:gd name="connsiteY175" fmla="*/ 3127888 h 3438490"/>
              <a:gd name="connsiteX176" fmla="*/ 188664 w 3421968"/>
              <a:gd name="connsiteY176" fmla="*/ 3107519 h 3438490"/>
              <a:gd name="connsiteX177" fmla="*/ 180164 w 3421968"/>
              <a:gd name="connsiteY177" fmla="*/ 3097407 h 3438490"/>
              <a:gd name="connsiteX178" fmla="*/ 173400 w 3421968"/>
              <a:gd name="connsiteY178" fmla="*/ 3087711 h 3438490"/>
              <a:gd name="connsiteX179" fmla="*/ 159541 w 3421968"/>
              <a:gd name="connsiteY179" fmla="*/ 3069725 h 3438490"/>
              <a:gd name="connsiteX180" fmla="*/ 143800 w 3421968"/>
              <a:gd name="connsiteY180" fmla="*/ 3045278 h 3438490"/>
              <a:gd name="connsiteX181" fmla="*/ 135264 w 3421968"/>
              <a:gd name="connsiteY181" fmla="*/ 3033045 h 3438490"/>
              <a:gd name="connsiteX182" fmla="*/ 130137 w 3421968"/>
              <a:gd name="connsiteY182" fmla="*/ 3024063 h 3438490"/>
              <a:gd name="connsiteX183" fmla="*/ 119676 w 3421968"/>
              <a:gd name="connsiteY183" fmla="*/ 3007818 h 3438490"/>
              <a:gd name="connsiteX184" fmla="*/ 104410 w 3421968"/>
              <a:gd name="connsiteY184" fmla="*/ 2978998 h 3438490"/>
              <a:gd name="connsiteX185" fmla="*/ 96204 w 3421968"/>
              <a:gd name="connsiteY185" fmla="*/ 2964623 h 3438490"/>
              <a:gd name="connsiteX186" fmla="*/ 92559 w 3421968"/>
              <a:gd name="connsiteY186" fmla="*/ 2956626 h 3438490"/>
              <a:gd name="connsiteX187" fmla="*/ 85058 w 3421968"/>
              <a:gd name="connsiteY187" fmla="*/ 2942467 h 3438490"/>
              <a:gd name="connsiteX188" fmla="*/ 70820 w 3421968"/>
              <a:gd name="connsiteY188" fmla="*/ 2908920 h 3438490"/>
              <a:gd name="connsiteX189" fmla="*/ 63338 w 3421968"/>
              <a:gd name="connsiteY189" fmla="*/ 2892502 h 3438490"/>
              <a:gd name="connsiteX190" fmla="*/ 60979 w 3421968"/>
              <a:gd name="connsiteY190" fmla="*/ 2885735 h 3438490"/>
              <a:gd name="connsiteX191" fmla="*/ 55983 w 3421968"/>
              <a:gd name="connsiteY191" fmla="*/ 2873964 h 3438490"/>
              <a:gd name="connsiteX192" fmla="*/ 43352 w 3421968"/>
              <a:gd name="connsiteY192" fmla="*/ 2835175 h 3438490"/>
              <a:gd name="connsiteX193" fmla="*/ 37031 w 3421968"/>
              <a:gd name="connsiteY193" fmla="*/ 2817044 h 3438490"/>
              <a:gd name="connsiteX194" fmla="*/ 35716 w 3421968"/>
              <a:gd name="connsiteY194" fmla="*/ 2811725 h 3438490"/>
              <a:gd name="connsiteX195" fmla="*/ 32748 w 3421968"/>
              <a:gd name="connsiteY195" fmla="*/ 2802610 h 3438490"/>
              <a:gd name="connsiteX196" fmla="*/ 22327 w 3421968"/>
              <a:gd name="connsiteY196" fmla="*/ 2757558 h 3438490"/>
              <a:gd name="connsiteX197" fmla="*/ 17642 w 3421968"/>
              <a:gd name="connsiteY197" fmla="*/ 2738606 h 3438490"/>
              <a:gd name="connsiteX198" fmla="*/ 17093 w 3421968"/>
              <a:gd name="connsiteY198" fmla="*/ 2734935 h 3438490"/>
              <a:gd name="connsiteX199" fmla="*/ 15651 w 3421968"/>
              <a:gd name="connsiteY199" fmla="*/ 2728701 h 3438490"/>
              <a:gd name="connsiteX200" fmla="*/ 8064 w 3421968"/>
              <a:gd name="connsiteY200" fmla="*/ 2674503 h 3438490"/>
              <a:gd name="connsiteX201" fmla="*/ 5530 w 3421968"/>
              <a:gd name="connsiteY201" fmla="*/ 2657550 h 3438490"/>
              <a:gd name="connsiteX202" fmla="*/ 5440 w 3421968"/>
              <a:gd name="connsiteY202" fmla="*/ 2655765 h 3438490"/>
              <a:gd name="connsiteX203" fmla="*/ 4988 w 3421968"/>
              <a:gd name="connsiteY203" fmla="*/ 2652533 h 3438490"/>
              <a:gd name="connsiteX204" fmla="*/ 3208 w 3421968"/>
              <a:gd name="connsiteY204" fmla="*/ 2614942 h 3438490"/>
              <a:gd name="connsiteX205" fmla="*/ 1039 w 3421968"/>
              <a:gd name="connsiteY205" fmla="*/ 2614942 h 3438490"/>
              <a:gd name="connsiteX206" fmla="*/ 1039 w 3421968"/>
              <a:gd name="connsiteY206" fmla="*/ 2580285 h 3438490"/>
              <a:gd name="connsiteX207" fmla="*/ 1039 w 3421968"/>
              <a:gd name="connsiteY207" fmla="*/ 2569130 h 3438490"/>
              <a:gd name="connsiteX208" fmla="*/ 1039 w 3421968"/>
              <a:gd name="connsiteY208" fmla="*/ 2568870 h 3438490"/>
              <a:gd name="connsiteX209" fmla="*/ 0 w 3421968"/>
              <a:gd name="connsiteY209" fmla="*/ 2568870 h 3438490"/>
              <a:gd name="connsiteX210" fmla="*/ 0 w 3421968"/>
              <a:gd name="connsiteY210" fmla="*/ 2455476 h 3438490"/>
              <a:gd name="connsiteX211" fmla="*/ 0 w 3421968"/>
              <a:gd name="connsiteY211" fmla="*/ 2402360 h 3438490"/>
              <a:gd name="connsiteX212" fmla="*/ 0 w 3421968"/>
              <a:gd name="connsiteY212" fmla="*/ 2307936 h 3438490"/>
              <a:gd name="connsiteX213" fmla="*/ 0 w 3421968"/>
              <a:gd name="connsiteY213" fmla="*/ 2294786 h 3438490"/>
              <a:gd name="connsiteX214" fmla="*/ 0 w 3421968"/>
              <a:gd name="connsiteY214" fmla="*/ 2248714 h 3438490"/>
              <a:gd name="connsiteX215" fmla="*/ 1028 w 3421968"/>
              <a:gd name="connsiteY215" fmla="*/ 2248714 h 3438490"/>
              <a:gd name="connsiteX216" fmla="*/ 1028 w 3421968"/>
              <a:gd name="connsiteY216" fmla="*/ 2231154 h 3438490"/>
              <a:gd name="connsiteX217" fmla="*/ 751546 w 3421968"/>
              <a:gd name="connsiteY217" fmla="*/ 2231154 h 3438490"/>
              <a:gd name="connsiteX218" fmla="*/ 771021 w 3421968"/>
              <a:gd name="connsiteY218" fmla="*/ 2231154 h 3438490"/>
              <a:gd name="connsiteX219" fmla="*/ 631756 w 3421968"/>
              <a:gd name="connsiteY219" fmla="*/ 2204488 h 3438490"/>
              <a:gd name="connsiteX220" fmla="*/ 628233 w 3421968"/>
              <a:gd name="connsiteY220" fmla="*/ 2203317 h 3438490"/>
              <a:gd name="connsiteX221" fmla="*/ 627626 w 3421968"/>
              <a:gd name="connsiteY221" fmla="*/ 2203170 h 3438490"/>
              <a:gd name="connsiteX222" fmla="*/ 621582 w 3421968"/>
              <a:gd name="connsiteY222" fmla="*/ 2201104 h 3438490"/>
              <a:gd name="connsiteX223" fmla="*/ 560595 w 3421968"/>
              <a:gd name="connsiteY223" fmla="*/ 2180828 h 3438490"/>
              <a:gd name="connsiteX224" fmla="*/ 554335 w 3421968"/>
              <a:gd name="connsiteY224" fmla="*/ 2178125 h 3438490"/>
              <a:gd name="connsiteX225" fmla="*/ 551956 w 3421968"/>
              <a:gd name="connsiteY225" fmla="*/ 2177313 h 3438490"/>
              <a:gd name="connsiteX226" fmla="*/ 539096 w 3421968"/>
              <a:gd name="connsiteY226" fmla="*/ 2171547 h 3438490"/>
              <a:gd name="connsiteX227" fmla="*/ 492308 w 3421968"/>
              <a:gd name="connsiteY227" fmla="*/ 2151350 h 3438490"/>
              <a:gd name="connsiteX228" fmla="*/ 483576 w 3421968"/>
              <a:gd name="connsiteY228" fmla="*/ 2146656 h 3438490"/>
              <a:gd name="connsiteX229" fmla="*/ 479602 w 3421968"/>
              <a:gd name="connsiteY229" fmla="*/ 2144873 h 3438490"/>
              <a:gd name="connsiteX230" fmla="*/ 465646 w 3421968"/>
              <a:gd name="connsiteY230" fmla="*/ 2137018 h 3438490"/>
              <a:gd name="connsiteX231" fmla="*/ 427191 w 3421968"/>
              <a:gd name="connsiteY231" fmla="*/ 2116347 h 3438490"/>
              <a:gd name="connsiteX232" fmla="*/ 416293 w 3421968"/>
              <a:gd name="connsiteY232" fmla="*/ 2109236 h 3438490"/>
              <a:gd name="connsiteX233" fmla="*/ 410923 w 3421968"/>
              <a:gd name="connsiteY233" fmla="*/ 2106214 h 3438490"/>
              <a:gd name="connsiteX234" fmla="*/ 397634 w 3421968"/>
              <a:gd name="connsiteY234" fmla="*/ 2097063 h 3438490"/>
              <a:gd name="connsiteX235" fmla="*/ 365540 w 3421968"/>
              <a:gd name="connsiteY235" fmla="*/ 2076120 h 3438490"/>
              <a:gd name="connsiteX236" fmla="*/ 352824 w 3421968"/>
              <a:gd name="connsiteY236" fmla="*/ 2066200 h 3438490"/>
              <a:gd name="connsiteX237" fmla="*/ 346279 w 3421968"/>
              <a:gd name="connsiteY237" fmla="*/ 2061693 h 3438490"/>
              <a:gd name="connsiteX238" fmla="*/ 334363 w 3421968"/>
              <a:gd name="connsiteY238" fmla="*/ 2051798 h 3438490"/>
              <a:gd name="connsiteX239" fmla="*/ 307654 w 3421968"/>
              <a:gd name="connsiteY239" fmla="*/ 2030964 h 3438490"/>
              <a:gd name="connsiteX240" fmla="*/ 293506 w 3421968"/>
              <a:gd name="connsiteY240" fmla="*/ 2017878 h 3438490"/>
              <a:gd name="connsiteX241" fmla="*/ 286031 w 3421968"/>
              <a:gd name="connsiteY241" fmla="*/ 2011671 h 3438490"/>
              <a:gd name="connsiteX242" fmla="*/ 275778 w 3421968"/>
              <a:gd name="connsiteY242" fmla="*/ 2001479 h 3438490"/>
              <a:gd name="connsiteX243" fmla="*/ 253827 w 3421968"/>
              <a:gd name="connsiteY243" fmla="*/ 1981175 h 3438490"/>
              <a:gd name="connsiteX244" fmla="*/ 238676 w 3421968"/>
              <a:gd name="connsiteY244" fmla="*/ 1964597 h 3438490"/>
              <a:gd name="connsiteX245" fmla="*/ 230539 w 3421968"/>
              <a:gd name="connsiteY245" fmla="*/ 1956509 h 3438490"/>
              <a:gd name="connsiteX246" fmla="*/ 222041 w 3421968"/>
              <a:gd name="connsiteY246" fmla="*/ 1946399 h 3438490"/>
              <a:gd name="connsiteX247" fmla="*/ 204358 w 3421968"/>
              <a:gd name="connsiteY247" fmla="*/ 1927050 h 3438490"/>
              <a:gd name="connsiteX248" fmla="*/ 188664 w 3421968"/>
              <a:gd name="connsiteY248" fmla="*/ 1906681 h 3438490"/>
              <a:gd name="connsiteX249" fmla="*/ 180164 w 3421968"/>
              <a:gd name="connsiteY249" fmla="*/ 1896567 h 3438490"/>
              <a:gd name="connsiteX250" fmla="*/ 173400 w 3421968"/>
              <a:gd name="connsiteY250" fmla="*/ 1886871 h 3438490"/>
              <a:gd name="connsiteX251" fmla="*/ 159541 w 3421968"/>
              <a:gd name="connsiteY251" fmla="*/ 1868886 h 3438490"/>
              <a:gd name="connsiteX252" fmla="*/ 143800 w 3421968"/>
              <a:gd name="connsiteY252" fmla="*/ 1844439 h 3438490"/>
              <a:gd name="connsiteX253" fmla="*/ 135265 w 3421968"/>
              <a:gd name="connsiteY253" fmla="*/ 1832206 h 3438490"/>
              <a:gd name="connsiteX254" fmla="*/ 130138 w 3421968"/>
              <a:gd name="connsiteY254" fmla="*/ 1823225 h 3438490"/>
              <a:gd name="connsiteX255" fmla="*/ 119676 w 3421968"/>
              <a:gd name="connsiteY255" fmla="*/ 1806980 h 3438490"/>
              <a:gd name="connsiteX256" fmla="*/ 104411 w 3421968"/>
              <a:gd name="connsiteY256" fmla="*/ 1778160 h 3438490"/>
              <a:gd name="connsiteX257" fmla="*/ 96204 w 3421968"/>
              <a:gd name="connsiteY257" fmla="*/ 1763784 h 3438490"/>
              <a:gd name="connsiteX258" fmla="*/ 92559 w 3421968"/>
              <a:gd name="connsiteY258" fmla="*/ 1755787 h 3438490"/>
              <a:gd name="connsiteX259" fmla="*/ 85058 w 3421968"/>
              <a:gd name="connsiteY259" fmla="*/ 1741627 h 3438490"/>
              <a:gd name="connsiteX260" fmla="*/ 70820 w 3421968"/>
              <a:gd name="connsiteY260" fmla="*/ 1708082 h 3438490"/>
              <a:gd name="connsiteX261" fmla="*/ 63338 w 3421968"/>
              <a:gd name="connsiteY261" fmla="*/ 1691664 h 3438490"/>
              <a:gd name="connsiteX262" fmla="*/ 60979 w 3421968"/>
              <a:gd name="connsiteY262" fmla="*/ 1684897 h 3438490"/>
              <a:gd name="connsiteX263" fmla="*/ 55983 w 3421968"/>
              <a:gd name="connsiteY263" fmla="*/ 1673126 h 3438490"/>
              <a:gd name="connsiteX264" fmla="*/ 43353 w 3421968"/>
              <a:gd name="connsiteY264" fmla="*/ 1634336 h 3438490"/>
              <a:gd name="connsiteX265" fmla="*/ 37031 w 3421968"/>
              <a:gd name="connsiteY265" fmla="*/ 1616205 h 3438490"/>
              <a:gd name="connsiteX266" fmla="*/ 35716 w 3421968"/>
              <a:gd name="connsiteY266" fmla="*/ 1610886 h 3438490"/>
              <a:gd name="connsiteX267" fmla="*/ 32748 w 3421968"/>
              <a:gd name="connsiteY267" fmla="*/ 1601772 h 3438490"/>
              <a:gd name="connsiteX268" fmla="*/ 22327 w 3421968"/>
              <a:gd name="connsiteY268" fmla="*/ 1556719 h 3438490"/>
              <a:gd name="connsiteX269" fmla="*/ 17642 w 3421968"/>
              <a:gd name="connsiteY269" fmla="*/ 1537767 h 3438490"/>
              <a:gd name="connsiteX270" fmla="*/ 17093 w 3421968"/>
              <a:gd name="connsiteY270" fmla="*/ 1534095 h 3438490"/>
              <a:gd name="connsiteX271" fmla="*/ 15651 w 3421968"/>
              <a:gd name="connsiteY271" fmla="*/ 1527861 h 3438490"/>
              <a:gd name="connsiteX272" fmla="*/ 8064 w 3421968"/>
              <a:gd name="connsiteY272" fmla="*/ 1473664 h 3438490"/>
              <a:gd name="connsiteX273" fmla="*/ 5531 w 3421968"/>
              <a:gd name="connsiteY273" fmla="*/ 1456711 h 3438490"/>
              <a:gd name="connsiteX274" fmla="*/ 5440 w 3421968"/>
              <a:gd name="connsiteY274" fmla="*/ 1454926 h 3438490"/>
              <a:gd name="connsiteX275" fmla="*/ 4988 w 3421968"/>
              <a:gd name="connsiteY275" fmla="*/ 1451693 h 3438490"/>
              <a:gd name="connsiteX276" fmla="*/ 3208 w 3421968"/>
              <a:gd name="connsiteY276" fmla="*/ 1414104 h 3438490"/>
              <a:gd name="connsiteX277" fmla="*/ 1039 w 3421968"/>
              <a:gd name="connsiteY277" fmla="*/ 1414104 h 3438490"/>
              <a:gd name="connsiteX278" fmla="*/ 1039 w 3421968"/>
              <a:gd name="connsiteY278" fmla="*/ 1379448 h 3438490"/>
              <a:gd name="connsiteX279" fmla="*/ 1039 w 3421968"/>
              <a:gd name="connsiteY279" fmla="*/ 1368291 h 3438490"/>
              <a:gd name="connsiteX280" fmla="*/ 1039 w 3421968"/>
              <a:gd name="connsiteY280" fmla="*/ 1368031 h 3438490"/>
              <a:gd name="connsiteX281" fmla="*/ 0 w 3421968"/>
              <a:gd name="connsiteY281" fmla="*/ 1368031 h 3438490"/>
              <a:gd name="connsiteX282" fmla="*/ 0 w 3421968"/>
              <a:gd name="connsiteY282" fmla="*/ 1354882 h 3438490"/>
              <a:gd name="connsiteX283" fmla="*/ 0 w 3421968"/>
              <a:gd name="connsiteY283" fmla="*/ 1260457 h 3438490"/>
              <a:gd name="connsiteX284" fmla="*/ 0 w 3421968"/>
              <a:gd name="connsiteY284" fmla="*/ 1207341 h 3438490"/>
              <a:gd name="connsiteX285" fmla="*/ 0 w 3421968"/>
              <a:gd name="connsiteY285" fmla="*/ 1143704 h 3438490"/>
              <a:gd name="connsiteX286" fmla="*/ 0 w 3421968"/>
              <a:gd name="connsiteY286" fmla="*/ 1130555 h 3438490"/>
              <a:gd name="connsiteX287" fmla="*/ 0 w 3421968"/>
              <a:gd name="connsiteY287" fmla="*/ 1093946 h 3438490"/>
              <a:gd name="connsiteX288" fmla="*/ 0 w 3421968"/>
              <a:gd name="connsiteY288" fmla="*/ 1047875 h 3438490"/>
              <a:gd name="connsiteX289" fmla="*/ 0 w 3421968"/>
              <a:gd name="connsiteY289" fmla="*/ 1036130 h 3438490"/>
              <a:gd name="connsiteX290" fmla="*/ 0 w 3421968"/>
              <a:gd name="connsiteY290" fmla="*/ 983014 h 3438490"/>
              <a:gd name="connsiteX291" fmla="*/ 0 w 3421968"/>
              <a:gd name="connsiteY291" fmla="*/ 869619 h 3438490"/>
              <a:gd name="connsiteX292" fmla="*/ 0 w 3421968"/>
              <a:gd name="connsiteY292" fmla="*/ 823548 h 3438490"/>
              <a:gd name="connsiteX293" fmla="*/ 1029 w 3421968"/>
              <a:gd name="connsiteY293" fmla="*/ 823548 h 3438490"/>
              <a:gd name="connsiteX294" fmla="*/ 1029 w 3421968"/>
              <a:gd name="connsiteY294" fmla="*/ 224327 h 343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</a:cxnLst>
            <a:rect l="l" t="t" r="r" b="b"/>
            <a:pathLst>
              <a:path w="3421968" h="3438490">
                <a:moveTo>
                  <a:pt x="1029" y="0"/>
                </a:moveTo>
                <a:lnTo>
                  <a:pt x="751547" y="0"/>
                </a:lnTo>
                <a:lnTo>
                  <a:pt x="869868" y="0"/>
                </a:lnTo>
                <a:lnTo>
                  <a:pt x="870380" y="0"/>
                </a:lnTo>
                <a:lnTo>
                  <a:pt x="870388" y="0"/>
                </a:lnTo>
                <a:lnTo>
                  <a:pt x="870397" y="0"/>
                </a:lnTo>
                <a:lnTo>
                  <a:pt x="911231" y="0"/>
                </a:lnTo>
                <a:lnTo>
                  <a:pt x="931692" y="0"/>
                </a:lnTo>
                <a:lnTo>
                  <a:pt x="1620386" y="0"/>
                </a:lnTo>
                <a:lnTo>
                  <a:pt x="1620899" y="0"/>
                </a:lnTo>
                <a:lnTo>
                  <a:pt x="1620906" y="0"/>
                </a:lnTo>
                <a:lnTo>
                  <a:pt x="1620915" y="0"/>
                </a:lnTo>
                <a:lnTo>
                  <a:pt x="1661749" y="0"/>
                </a:lnTo>
                <a:lnTo>
                  <a:pt x="1682210" y="0"/>
                </a:lnTo>
                <a:lnTo>
                  <a:pt x="1800530" y="0"/>
                </a:lnTo>
                <a:lnTo>
                  <a:pt x="1801043" y="0"/>
                </a:lnTo>
                <a:lnTo>
                  <a:pt x="1801050" y="0"/>
                </a:lnTo>
                <a:lnTo>
                  <a:pt x="1801060" y="0"/>
                </a:lnTo>
                <a:lnTo>
                  <a:pt x="1841893" y="0"/>
                </a:lnTo>
                <a:lnTo>
                  <a:pt x="2551050" y="0"/>
                </a:lnTo>
                <a:lnTo>
                  <a:pt x="2551562" y="0"/>
                </a:lnTo>
                <a:lnTo>
                  <a:pt x="2551569" y="0"/>
                </a:lnTo>
                <a:lnTo>
                  <a:pt x="2551578" y="0"/>
                </a:lnTo>
                <a:lnTo>
                  <a:pt x="2592411" y="0"/>
                </a:lnTo>
                <a:lnTo>
                  <a:pt x="2592411" y="1958"/>
                </a:lnTo>
                <a:lnTo>
                  <a:pt x="2634501" y="3952"/>
                </a:lnTo>
                <a:lnTo>
                  <a:pt x="2637054" y="4316"/>
                </a:lnTo>
                <a:lnTo>
                  <a:pt x="2640456" y="4488"/>
                </a:lnTo>
                <a:cubicBezTo>
                  <a:pt x="2691829" y="9705"/>
                  <a:pt x="2741879" y="19395"/>
                  <a:pt x="2790212" y="33163"/>
                </a:cubicBezTo>
                <a:lnTo>
                  <a:pt x="2793735" y="34335"/>
                </a:lnTo>
                <a:lnTo>
                  <a:pt x="2794341" y="34481"/>
                </a:lnTo>
                <a:lnTo>
                  <a:pt x="2800387" y="36546"/>
                </a:lnTo>
                <a:lnTo>
                  <a:pt x="2861373" y="56823"/>
                </a:lnTo>
                <a:lnTo>
                  <a:pt x="2867633" y="59526"/>
                </a:lnTo>
                <a:lnTo>
                  <a:pt x="2870011" y="60338"/>
                </a:lnTo>
                <a:lnTo>
                  <a:pt x="2882873" y="66104"/>
                </a:lnTo>
                <a:lnTo>
                  <a:pt x="2929660" y="86302"/>
                </a:lnTo>
                <a:lnTo>
                  <a:pt x="2938392" y="90995"/>
                </a:lnTo>
                <a:lnTo>
                  <a:pt x="2942366" y="92777"/>
                </a:lnTo>
                <a:lnTo>
                  <a:pt x="2956322" y="100633"/>
                </a:lnTo>
                <a:lnTo>
                  <a:pt x="2994777" y="121304"/>
                </a:lnTo>
                <a:lnTo>
                  <a:pt x="3005676" y="128415"/>
                </a:lnTo>
                <a:lnTo>
                  <a:pt x="3011046" y="131437"/>
                </a:lnTo>
                <a:lnTo>
                  <a:pt x="3024334" y="140589"/>
                </a:lnTo>
                <a:lnTo>
                  <a:pt x="3056428" y="161531"/>
                </a:lnTo>
                <a:lnTo>
                  <a:pt x="3069144" y="171451"/>
                </a:lnTo>
                <a:lnTo>
                  <a:pt x="3075690" y="175957"/>
                </a:lnTo>
                <a:lnTo>
                  <a:pt x="3087606" y="185852"/>
                </a:lnTo>
                <a:lnTo>
                  <a:pt x="3114314" y="206688"/>
                </a:lnTo>
                <a:lnTo>
                  <a:pt x="3128462" y="219774"/>
                </a:lnTo>
                <a:lnTo>
                  <a:pt x="3135937" y="225980"/>
                </a:lnTo>
                <a:lnTo>
                  <a:pt x="3146191" y="236171"/>
                </a:lnTo>
                <a:lnTo>
                  <a:pt x="3168141" y="256476"/>
                </a:lnTo>
                <a:lnTo>
                  <a:pt x="3183293" y="273055"/>
                </a:lnTo>
                <a:lnTo>
                  <a:pt x="3191429" y="281142"/>
                </a:lnTo>
                <a:lnTo>
                  <a:pt x="3199926" y="291252"/>
                </a:lnTo>
                <a:lnTo>
                  <a:pt x="3217610" y="310602"/>
                </a:lnTo>
                <a:lnTo>
                  <a:pt x="3233304" y="330971"/>
                </a:lnTo>
                <a:lnTo>
                  <a:pt x="3241804" y="341083"/>
                </a:lnTo>
                <a:lnTo>
                  <a:pt x="3248568" y="350779"/>
                </a:lnTo>
                <a:lnTo>
                  <a:pt x="3262426" y="368765"/>
                </a:lnTo>
                <a:lnTo>
                  <a:pt x="3278169" y="393212"/>
                </a:lnTo>
                <a:lnTo>
                  <a:pt x="3286703" y="405445"/>
                </a:lnTo>
                <a:lnTo>
                  <a:pt x="3291831" y="414427"/>
                </a:lnTo>
                <a:lnTo>
                  <a:pt x="3302291" y="430672"/>
                </a:lnTo>
                <a:lnTo>
                  <a:pt x="3317558" y="459491"/>
                </a:lnTo>
                <a:lnTo>
                  <a:pt x="3325764" y="473866"/>
                </a:lnTo>
                <a:lnTo>
                  <a:pt x="3329409" y="481864"/>
                </a:lnTo>
                <a:lnTo>
                  <a:pt x="3336910" y="496024"/>
                </a:lnTo>
                <a:lnTo>
                  <a:pt x="3351148" y="529569"/>
                </a:lnTo>
                <a:lnTo>
                  <a:pt x="3358630" y="545987"/>
                </a:lnTo>
                <a:lnTo>
                  <a:pt x="3360989" y="552754"/>
                </a:lnTo>
                <a:lnTo>
                  <a:pt x="3365986" y="564525"/>
                </a:lnTo>
                <a:lnTo>
                  <a:pt x="3378616" y="603315"/>
                </a:lnTo>
                <a:lnTo>
                  <a:pt x="3384937" y="621447"/>
                </a:lnTo>
                <a:lnTo>
                  <a:pt x="3386251" y="626765"/>
                </a:lnTo>
                <a:lnTo>
                  <a:pt x="3389219" y="635880"/>
                </a:lnTo>
                <a:lnTo>
                  <a:pt x="3399642" y="680932"/>
                </a:lnTo>
                <a:lnTo>
                  <a:pt x="3404327" y="699885"/>
                </a:lnTo>
                <a:lnTo>
                  <a:pt x="3404875" y="703555"/>
                </a:lnTo>
                <a:lnTo>
                  <a:pt x="3406317" y="709789"/>
                </a:lnTo>
                <a:lnTo>
                  <a:pt x="3413905" y="763987"/>
                </a:lnTo>
                <a:lnTo>
                  <a:pt x="3416438" y="780941"/>
                </a:lnTo>
                <a:lnTo>
                  <a:pt x="3416529" y="782725"/>
                </a:lnTo>
                <a:lnTo>
                  <a:pt x="3416981" y="785957"/>
                </a:lnTo>
                <a:lnTo>
                  <a:pt x="3418760" y="823548"/>
                </a:lnTo>
                <a:lnTo>
                  <a:pt x="3420930" y="823548"/>
                </a:lnTo>
                <a:lnTo>
                  <a:pt x="3420930" y="858205"/>
                </a:lnTo>
                <a:lnTo>
                  <a:pt x="3420930" y="869361"/>
                </a:lnTo>
                <a:lnTo>
                  <a:pt x="3420930" y="869619"/>
                </a:lnTo>
                <a:lnTo>
                  <a:pt x="3420930" y="869620"/>
                </a:lnTo>
                <a:lnTo>
                  <a:pt x="3421968" y="869620"/>
                </a:lnTo>
                <a:lnTo>
                  <a:pt x="3421968" y="983014"/>
                </a:lnTo>
                <a:lnTo>
                  <a:pt x="3421968" y="1036130"/>
                </a:lnTo>
                <a:lnTo>
                  <a:pt x="3421968" y="1093947"/>
                </a:lnTo>
                <a:lnTo>
                  <a:pt x="3421968" y="1130555"/>
                </a:lnTo>
                <a:lnTo>
                  <a:pt x="3421968" y="1143704"/>
                </a:lnTo>
                <a:lnTo>
                  <a:pt x="3421968" y="1189777"/>
                </a:lnTo>
                <a:lnTo>
                  <a:pt x="3421968" y="1207341"/>
                </a:lnTo>
                <a:lnTo>
                  <a:pt x="3421968" y="1260457"/>
                </a:lnTo>
                <a:lnTo>
                  <a:pt x="3421968" y="1354882"/>
                </a:lnTo>
                <a:lnTo>
                  <a:pt x="3421968" y="1368031"/>
                </a:lnTo>
                <a:lnTo>
                  <a:pt x="3421968" y="1414104"/>
                </a:lnTo>
                <a:lnTo>
                  <a:pt x="3420940" y="1414104"/>
                </a:lnTo>
                <a:lnTo>
                  <a:pt x="3420940" y="2013324"/>
                </a:lnTo>
                <a:lnTo>
                  <a:pt x="3420940" y="2237651"/>
                </a:lnTo>
                <a:lnTo>
                  <a:pt x="3418236" y="2237651"/>
                </a:lnTo>
                <a:lnTo>
                  <a:pt x="3418760" y="2248714"/>
                </a:lnTo>
                <a:lnTo>
                  <a:pt x="3420930" y="2248714"/>
                </a:lnTo>
                <a:lnTo>
                  <a:pt x="3420930" y="2283369"/>
                </a:lnTo>
                <a:lnTo>
                  <a:pt x="3420930" y="2294524"/>
                </a:lnTo>
                <a:lnTo>
                  <a:pt x="3420930" y="2294786"/>
                </a:lnTo>
                <a:lnTo>
                  <a:pt x="3421968" y="2294786"/>
                </a:lnTo>
                <a:lnTo>
                  <a:pt x="3421968" y="2307936"/>
                </a:lnTo>
                <a:lnTo>
                  <a:pt x="3421968" y="2402360"/>
                </a:lnTo>
                <a:lnTo>
                  <a:pt x="3421968" y="2455476"/>
                </a:lnTo>
                <a:lnTo>
                  <a:pt x="3421968" y="2568870"/>
                </a:lnTo>
                <a:lnTo>
                  <a:pt x="3421968" y="2614942"/>
                </a:lnTo>
                <a:lnTo>
                  <a:pt x="3420939" y="2614942"/>
                </a:lnTo>
                <a:lnTo>
                  <a:pt x="3420939" y="3438489"/>
                </a:lnTo>
                <a:lnTo>
                  <a:pt x="2670421" y="3438489"/>
                </a:lnTo>
                <a:lnTo>
                  <a:pt x="2552100" y="3438489"/>
                </a:lnTo>
                <a:lnTo>
                  <a:pt x="2551589" y="3438489"/>
                </a:lnTo>
                <a:lnTo>
                  <a:pt x="2551580" y="3438490"/>
                </a:lnTo>
                <a:lnTo>
                  <a:pt x="2551571" y="3438489"/>
                </a:lnTo>
                <a:lnTo>
                  <a:pt x="2510738" y="3438489"/>
                </a:lnTo>
                <a:lnTo>
                  <a:pt x="2490276" y="3438489"/>
                </a:lnTo>
                <a:lnTo>
                  <a:pt x="1801582" y="3438489"/>
                </a:lnTo>
                <a:lnTo>
                  <a:pt x="1801070" y="3438489"/>
                </a:lnTo>
                <a:lnTo>
                  <a:pt x="1801062" y="3438490"/>
                </a:lnTo>
                <a:lnTo>
                  <a:pt x="1801053" y="3438489"/>
                </a:lnTo>
                <a:lnTo>
                  <a:pt x="1760220" y="3438489"/>
                </a:lnTo>
                <a:lnTo>
                  <a:pt x="1739758" y="3438489"/>
                </a:lnTo>
                <a:lnTo>
                  <a:pt x="1621438" y="3438489"/>
                </a:lnTo>
                <a:lnTo>
                  <a:pt x="1620926" y="3438489"/>
                </a:lnTo>
                <a:lnTo>
                  <a:pt x="1620917" y="3438490"/>
                </a:lnTo>
                <a:lnTo>
                  <a:pt x="1620908" y="3438489"/>
                </a:lnTo>
                <a:lnTo>
                  <a:pt x="1580075" y="3438489"/>
                </a:lnTo>
                <a:lnTo>
                  <a:pt x="870919" y="3438489"/>
                </a:lnTo>
                <a:lnTo>
                  <a:pt x="870408" y="3438489"/>
                </a:lnTo>
                <a:lnTo>
                  <a:pt x="870400" y="3438490"/>
                </a:lnTo>
                <a:lnTo>
                  <a:pt x="870390" y="3438489"/>
                </a:lnTo>
                <a:lnTo>
                  <a:pt x="829557" y="3438489"/>
                </a:lnTo>
                <a:lnTo>
                  <a:pt x="829557" y="3436532"/>
                </a:lnTo>
                <a:lnTo>
                  <a:pt x="787467" y="3434538"/>
                </a:lnTo>
                <a:lnTo>
                  <a:pt x="784914" y="3434173"/>
                </a:lnTo>
                <a:lnTo>
                  <a:pt x="781512" y="3434001"/>
                </a:lnTo>
                <a:cubicBezTo>
                  <a:pt x="730139" y="3428784"/>
                  <a:pt x="680090" y="3419094"/>
                  <a:pt x="631756" y="3405326"/>
                </a:cubicBezTo>
                <a:lnTo>
                  <a:pt x="628233" y="3404156"/>
                </a:lnTo>
                <a:lnTo>
                  <a:pt x="627626" y="3404009"/>
                </a:lnTo>
                <a:lnTo>
                  <a:pt x="621581" y="3401944"/>
                </a:lnTo>
                <a:lnTo>
                  <a:pt x="560595" y="3381667"/>
                </a:lnTo>
                <a:lnTo>
                  <a:pt x="554335" y="3378965"/>
                </a:lnTo>
                <a:lnTo>
                  <a:pt x="551956" y="3378152"/>
                </a:lnTo>
                <a:lnTo>
                  <a:pt x="539096" y="3372385"/>
                </a:lnTo>
                <a:lnTo>
                  <a:pt x="492308" y="3352188"/>
                </a:lnTo>
                <a:lnTo>
                  <a:pt x="483576" y="3347496"/>
                </a:lnTo>
                <a:lnTo>
                  <a:pt x="479602" y="3345713"/>
                </a:lnTo>
                <a:lnTo>
                  <a:pt x="465646" y="3337856"/>
                </a:lnTo>
                <a:lnTo>
                  <a:pt x="427191" y="3317186"/>
                </a:lnTo>
                <a:lnTo>
                  <a:pt x="416293" y="3310074"/>
                </a:lnTo>
                <a:lnTo>
                  <a:pt x="410923" y="3307054"/>
                </a:lnTo>
                <a:lnTo>
                  <a:pt x="397634" y="3297901"/>
                </a:lnTo>
                <a:lnTo>
                  <a:pt x="365540" y="3276960"/>
                </a:lnTo>
                <a:lnTo>
                  <a:pt x="352824" y="3267038"/>
                </a:lnTo>
                <a:lnTo>
                  <a:pt x="346279" y="3262532"/>
                </a:lnTo>
                <a:lnTo>
                  <a:pt x="334363" y="3252638"/>
                </a:lnTo>
                <a:lnTo>
                  <a:pt x="307654" y="3231802"/>
                </a:lnTo>
                <a:lnTo>
                  <a:pt x="293506" y="3218717"/>
                </a:lnTo>
                <a:lnTo>
                  <a:pt x="286031" y="3212510"/>
                </a:lnTo>
                <a:lnTo>
                  <a:pt x="275778" y="3202318"/>
                </a:lnTo>
                <a:lnTo>
                  <a:pt x="253827" y="3182013"/>
                </a:lnTo>
                <a:lnTo>
                  <a:pt x="238676" y="3165436"/>
                </a:lnTo>
                <a:lnTo>
                  <a:pt x="230539" y="3157349"/>
                </a:lnTo>
                <a:lnTo>
                  <a:pt x="222041" y="3147238"/>
                </a:lnTo>
                <a:lnTo>
                  <a:pt x="204358" y="3127888"/>
                </a:lnTo>
                <a:lnTo>
                  <a:pt x="188664" y="3107519"/>
                </a:lnTo>
                <a:lnTo>
                  <a:pt x="180164" y="3097407"/>
                </a:lnTo>
                <a:lnTo>
                  <a:pt x="173400" y="3087711"/>
                </a:lnTo>
                <a:lnTo>
                  <a:pt x="159541" y="3069725"/>
                </a:lnTo>
                <a:lnTo>
                  <a:pt x="143800" y="3045278"/>
                </a:lnTo>
                <a:lnTo>
                  <a:pt x="135264" y="3033045"/>
                </a:lnTo>
                <a:lnTo>
                  <a:pt x="130137" y="3024063"/>
                </a:lnTo>
                <a:lnTo>
                  <a:pt x="119676" y="3007818"/>
                </a:lnTo>
                <a:lnTo>
                  <a:pt x="104410" y="2978998"/>
                </a:lnTo>
                <a:lnTo>
                  <a:pt x="96204" y="2964623"/>
                </a:lnTo>
                <a:lnTo>
                  <a:pt x="92559" y="2956626"/>
                </a:lnTo>
                <a:lnTo>
                  <a:pt x="85058" y="2942467"/>
                </a:lnTo>
                <a:lnTo>
                  <a:pt x="70820" y="2908920"/>
                </a:lnTo>
                <a:lnTo>
                  <a:pt x="63338" y="2892502"/>
                </a:lnTo>
                <a:lnTo>
                  <a:pt x="60979" y="2885735"/>
                </a:lnTo>
                <a:lnTo>
                  <a:pt x="55983" y="2873964"/>
                </a:lnTo>
                <a:lnTo>
                  <a:pt x="43352" y="2835175"/>
                </a:lnTo>
                <a:lnTo>
                  <a:pt x="37031" y="2817044"/>
                </a:lnTo>
                <a:lnTo>
                  <a:pt x="35716" y="2811725"/>
                </a:lnTo>
                <a:lnTo>
                  <a:pt x="32748" y="2802610"/>
                </a:lnTo>
                <a:lnTo>
                  <a:pt x="22327" y="2757558"/>
                </a:lnTo>
                <a:lnTo>
                  <a:pt x="17642" y="2738606"/>
                </a:lnTo>
                <a:lnTo>
                  <a:pt x="17093" y="2734935"/>
                </a:lnTo>
                <a:lnTo>
                  <a:pt x="15651" y="2728701"/>
                </a:lnTo>
                <a:lnTo>
                  <a:pt x="8064" y="2674503"/>
                </a:lnTo>
                <a:lnTo>
                  <a:pt x="5530" y="2657550"/>
                </a:lnTo>
                <a:lnTo>
                  <a:pt x="5440" y="2655765"/>
                </a:lnTo>
                <a:lnTo>
                  <a:pt x="4988" y="2652533"/>
                </a:lnTo>
                <a:lnTo>
                  <a:pt x="3208" y="2614942"/>
                </a:lnTo>
                <a:lnTo>
                  <a:pt x="1039" y="2614942"/>
                </a:lnTo>
                <a:lnTo>
                  <a:pt x="1039" y="2580285"/>
                </a:lnTo>
                <a:lnTo>
                  <a:pt x="1039" y="2569130"/>
                </a:lnTo>
                <a:lnTo>
                  <a:pt x="1039" y="2568870"/>
                </a:lnTo>
                <a:lnTo>
                  <a:pt x="0" y="2568870"/>
                </a:lnTo>
                <a:lnTo>
                  <a:pt x="0" y="2455476"/>
                </a:lnTo>
                <a:lnTo>
                  <a:pt x="0" y="2402360"/>
                </a:lnTo>
                <a:lnTo>
                  <a:pt x="0" y="2307936"/>
                </a:lnTo>
                <a:lnTo>
                  <a:pt x="0" y="2294786"/>
                </a:lnTo>
                <a:lnTo>
                  <a:pt x="0" y="2248714"/>
                </a:lnTo>
                <a:lnTo>
                  <a:pt x="1028" y="2248714"/>
                </a:lnTo>
                <a:lnTo>
                  <a:pt x="1028" y="2231154"/>
                </a:lnTo>
                <a:lnTo>
                  <a:pt x="751546" y="2231154"/>
                </a:lnTo>
                <a:lnTo>
                  <a:pt x="771021" y="2231154"/>
                </a:lnTo>
                <a:lnTo>
                  <a:pt x="631756" y="2204488"/>
                </a:lnTo>
                <a:lnTo>
                  <a:pt x="628233" y="2203317"/>
                </a:lnTo>
                <a:lnTo>
                  <a:pt x="627626" y="2203170"/>
                </a:lnTo>
                <a:lnTo>
                  <a:pt x="621582" y="2201104"/>
                </a:lnTo>
                <a:lnTo>
                  <a:pt x="560595" y="2180828"/>
                </a:lnTo>
                <a:lnTo>
                  <a:pt x="554335" y="2178125"/>
                </a:lnTo>
                <a:lnTo>
                  <a:pt x="551956" y="2177313"/>
                </a:lnTo>
                <a:lnTo>
                  <a:pt x="539096" y="2171547"/>
                </a:lnTo>
                <a:lnTo>
                  <a:pt x="492308" y="2151350"/>
                </a:lnTo>
                <a:lnTo>
                  <a:pt x="483576" y="2146656"/>
                </a:lnTo>
                <a:lnTo>
                  <a:pt x="479602" y="2144873"/>
                </a:lnTo>
                <a:lnTo>
                  <a:pt x="465646" y="2137018"/>
                </a:lnTo>
                <a:lnTo>
                  <a:pt x="427191" y="2116347"/>
                </a:lnTo>
                <a:lnTo>
                  <a:pt x="416293" y="2109236"/>
                </a:lnTo>
                <a:lnTo>
                  <a:pt x="410923" y="2106214"/>
                </a:lnTo>
                <a:lnTo>
                  <a:pt x="397634" y="2097063"/>
                </a:lnTo>
                <a:lnTo>
                  <a:pt x="365540" y="2076120"/>
                </a:lnTo>
                <a:lnTo>
                  <a:pt x="352824" y="2066200"/>
                </a:lnTo>
                <a:lnTo>
                  <a:pt x="346279" y="2061693"/>
                </a:lnTo>
                <a:lnTo>
                  <a:pt x="334363" y="2051798"/>
                </a:lnTo>
                <a:lnTo>
                  <a:pt x="307654" y="2030964"/>
                </a:lnTo>
                <a:lnTo>
                  <a:pt x="293506" y="2017878"/>
                </a:lnTo>
                <a:lnTo>
                  <a:pt x="286031" y="2011671"/>
                </a:lnTo>
                <a:lnTo>
                  <a:pt x="275778" y="2001479"/>
                </a:lnTo>
                <a:lnTo>
                  <a:pt x="253827" y="1981175"/>
                </a:lnTo>
                <a:lnTo>
                  <a:pt x="238676" y="1964597"/>
                </a:lnTo>
                <a:lnTo>
                  <a:pt x="230539" y="1956509"/>
                </a:lnTo>
                <a:lnTo>
                  <a:pt x="222041" y="1946399"/>
                </a:lnTo>
                <a:lnTo>
                  <a:pt x="204358" y="1927050"/>
                </a:lnTo>
                <a:lnTo>
                  <a:pt x="188664" y="1906681"/>
                </a:lnTo>
                <a:lnTo>
                  <a:pt x="180164" y="1896567"/>
                </a:lnTo>
                <a:lnTo>
                  <a:pt x="173400" y="1886871"/>
                </a:lnTo>
                <a:lnTo>
                  <a:pt x="159541" y="1868886"/>
                </a:lnTo>
                <a:lnTo>
                  <a:pt x="143800" y="1844439"/>
                </a:lnTo>
                <a:lnTo>
                  <a:pt x="135265" y="1832206"/>
                </a:lnTo>
                <a:lnTo>
                  <a:pt x="130138" y="1823225"/>
                </a:lnTo>
                <a:lnTo>
                  <a:pt x="119676" y="1806980"/>
                </a:lnTo>
                <a:lnTo>
                  <a:pt x="104411" y="1778160"/>
                </a:lnTo>
                <a:lnTo>
                  <a:pt x="96204" y="1763784"/>
                </a:lnTo>
                <a:lnTo>
                  <a:pt x="92559" y="1755787"/>
                </a:lnTo>
                <a:lnTo>
                  <a:pt x="85058" y="1741627"/>
                </a:lnTo>
                <a:lnTo>
                  <a:pt x="70820" y="1708082"/>
                </a:lnTo>
                <a:lnTo>
                  <a:pt x="63338" y="1691664"/>
                </a:lnTo>
                <a:lnTo>
                  <a:pt x="60979" y="1684897"/>
                </a:lnTo>
                <a:lnTo>
                  <a:pt x="55983" y="1673126"/>
                </a:lnTo>
                <a:lnTo>
                  <a:pt x="43353" y="1634336"/>
                </a:lnTo>
                <a:lnTo>
                  <a:pt x="37031" y="1616205"/>
                </a:lnTo>
                <a:lnTo>
                  <a:pt x="35716" y="1610886"/>
                </a:lnTo>
                <a:lnTo>
                  <a:pt x="32748" y="1601772"/>
                </a:lnTo>
                <a:lnTo>
                  <a:pt x="22327" y="1556719"/>
                </a:lnTo>
                <a:lnTo>
                  <a:pt x="17642" y="1537767"/>
                </a:lnTo>
                <a:lnTo>
                  <a:pt x="17093" y="1534095"/>
                </a:lnTo>
                <a:lnTo>
                  <a:pt x="15651" y="1527861"/>
                </a:lnTo>
                <a:lnTo>
                  <a:pt x="8064" y="1473664"/>
                </a:lnTo>
                <a:lnTo>
                  <a:pt x="5531" y="1456711"/>
                </a:lnTo>
                <a:lnTo>
                  <a:pt x="5440" y="1454926"/>
                </a:lnTo>
                <a:lnTo>
                  <a:pt x="4988" y="1451693"/>
                </a:lnTo>
                <a:lnTo>
                  <a:pt x="3208" y="1414104"/>
                </a:lnTo>
                <a:lnTo>
                  <a:pt x="1039" y="1414104"/>
                </a:lnTo>
                <a:lnTo>
                  <a:pt x="1039" y="1379448"/>
                </a:lnTo>
                <a:lnTo>
                  <a:pt x="1039" y="1368291"/>
                </a:lnTo>
                <a:lnTo>
                  <a:pt x="1039" y="1368031"/>
                </a:lnTo>
                <a:lnTo>
                  <a:pt x="0" y="1368031"/>
                </a:lnTo>
                <a:lnTo>
                  <a:pt x="0" y="1354882"/>
                </a:lnTo>
                <a:lnTo>
                  <a:pt x="0" y="1260457"/>
                </a:lnTo>
                <a:lnTo>
                  <a:pt x="0" y="1207341"/>
                </a:lnTo>
                <a:lnTo>
                  <a:pt x="0" y="1143704"/>
                </a:lnTo>
                <a:lnTo>
                  <a:pt x="0" y="1130555"/>
                </a:lnTo>
                <a:lnTo>
                  <a:pt x="0" y="1093946"/>
                </a:lnTo>
                <a:lnTo>
                  <a:pt x="0" y="1047875"/>
                </a:lnTo>
                <a:lnTo>
                  <a:pt x="0" y="1036130"/>
                </a:lnTo>
                <a:lnTo>
                  <a:pt x="0" y="983014"/>
                </a:lnTo>
                <a:lnTo>
                  <a:pt x="0" y="869619"/>
                </a:lnTo>
                <a:lnTo>
                  <a:pt x="0" y="823548"/>
                </a:lnTo>
                <a:lnTo>
                  <a:pt x="1029" y="823548"/>
                </a:lnTo>
                <a:lnTo>
                  <a:pt x="1029" y="22432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6410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C9F0DB2-0512-401D-8243-4C10160F486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09642" y="0"/>
            <a:ext cx="4694471" cy="6855583"/>
          </a:xfrm>
          <a:custGeom>
            <a:avLst/>
            <a:gdLst>
              <a:gd name="connsiteX0" fmla="*/ 2738 w 4694471"/>
              <a:gd name="connsiteY0" fmla="*/ 0 h 6855583"/>
              <a:gd name="connsiteX1" fmla="*/ 961282 w 4694471"/>
              <a:gd name="connsiteY1" fmla="*/ 0 h 6855583"/>
              <a:gd name="connsiteX2" fmla="*/ 1974639 w 4694471"/>
              <a:gd name="connsiteY2" fmla="*/ 0 h 6855583"/>
              <a:gd name="connsiteX3" fmla="*/ 2050909 w 4694471"/>
              <a:gd name="connsiteY3" fmla="*/ 0 h 6855583"/>
              <a:gd name="connsiteX4" fmla="*/ 2600795 w 4694471"/>
              <a:gd name="connsiteY4" fmla="*/ 0 h 6855583"/>
              <a:gd name="connsiteX5" fmla="*/ 2671049 w 4694471"/>
              <a:gd name="connsiteY5" fmla="*/ 0 h 6855583"/>
              <a:gd name="connsiteX6" fmla="*/ 2747320 w 4694471"/>
              <a:gd name="connsiteY6" fmla="*/ 0 h 6855583"/>
              <a:gd name="connsiteX7" fmla="*/ 2933183 w 4694471"/>
              <a:gd name="connsiteY7" fmla="*/ 0 h 6855583"/>
              <a:gd name="connsiteX8" fmla="*/ 3009453 w 4694471"/>
              <a:gd name="connsiteY8" fmla="*/ 0 h 6855583"/>
              <a:gd name="connsiteX9" fmla="*/ 3559339 w 4694471"/>
              <a:gd name="connsiteY9" fmla="*/ 0 h 6855583"/>
              <a:gd name="connsiteX10" fmla="*/ 3559339 w 4694471"/>
              <a:gd name="connsiteY10" fmla="*/ 1 h 6855583"/>
              <a:gd name="connsiteX11" fmla="*/ 3629003 w 4694471"/>
              <a:gd name="connsiteY11" fmla="*/ 1 h 6855583"/>
              <a:gd name="connsiteX12" fmla="*/ 3629584 w 4694471"/>
              <a:gd name="connsiteY12" fmla="*/ 1 h 6855583"/>
              <a:gd name="connsiteX13" fmla="*/ 3629593 w 4694471"/>
              <a:gd name="connsiteY13" fmla="*/ 0 h 6855583"/>
              <a:gd name="connsiteX14" fmla="*/ 3629603 w 4694471"/>
              <a:gd name="connsiteY14" fmla="*/ 1 h 6855583"/>
              <a:gd name="connsiteX15" fmla="*/ 3675909 w 4694471"/>
              <a:gd name="connsiteY15" fmla="*/ 1 h 6855583"/>
              <a:gd name="connsiteX16" fmla="*/ 3705273 w 4694471"/>
              <a:gd name="connsiteY16" fmla="*/ 1 h 6855583"/>
              <a:gd name="connsiteX17" fmla="*/ 3705854 w 4694471"/>
              <a:gd name="connsiteY17" fmla="*/ 1 h 6855583"/>
              <a:gd name="connsiteX18" fmla="*/ 3705864 w 4694471"/>
              <a:gd name="connsiteY18" fmla="*/ 0 h 6855583"/>
              <a:gd name="connsiteX19" fmla="*/ 3705872 w 4694471"/>
              <a:gd name="connsiteY19" fmla="*/ 1 h 6855583"/>
              <a:gd name="connsiteX20" fmla="*/ 3752180 w 4694471"/>
              <a:gd name="connsiteY20" fmla="*/ 1 h 6855583"/>
              <a:gd name="connsiteX21" fmla="*/ 3752180 w 4694471"/>
              <a:gd name="connsiteY21" fmla="*/ 2441 h 6855583"/>
              <a:gd name="connsiteX22" fmla="*/ 3799909 w 4694471"/>
              <a:gd name="connsiteY22" fmla="*/ 4925 h 6855583"/>
              <a:gd name="connsiteX23" fmla="*/ 3802804 w 4694471"/>
              <a:gd name="connsiteY23" fmla="*/ 5380 h 6855583"/>
              <a:gd name="connsiteX24" fmla="*/ 3806663 w 4694471"/>
              <a:gd name="connsiteY24" fmla="*/ 5593 h 6855583"/>
              <a:gd name="connsiteX25" fmla="*/ 3976490 w 4694471"/>
              <a:gd name="connsiteY25" fmla="*/ 41323 h 6855583"/>
              <a:gd name="connsiteX26" fmla="*/ 3980485 w 4694471"/>
              <a:gd name="connsiteY26" fmla="*/ 42781 h 6855583"/>
              <a:gd name="connsiteX27" fmla="*/ 3981173 w 4694471"/>
              <a:gd name="connsiteY27" fmla="*/ 42964 h 6855583"/>
              <a:gd name="connsiteX28" fmla="*/ 3988028 w 4694471"/>
              <a:gd name="connsiteY28" fmla="*/ 45538 h 6855583"/>
              <a:gd name="connsiteX29" fmla="*/ 4057188 w 4694471"/>
              <a:gd name="connsiteY29" fmla="*/ 70802 h 6855583"/>
              <a:gd name="connsiteX30" fmla="*/ 4064286 w 4694471"/>
              <a:gd name="connsiteY30" fmla="*/ 74169 h 6855583"/>
              <a:gd name="connsiteX31" fmla="*/ 4066984 w 4694471"/>
              <a:gd name="connsiteY31" fmla="*/ 75182 h 6855583"/>
              <a:gd name="connsiteX32" fmla="*/ 4081569 w 4694471"/>
              <a:gd name="connsiteY32" fmla="*/ 82367 h 6855583"/>
              <a:gd name="connsiteX33" fmla="*/ 4134626 w 4694471"/>
              <a:gd name="connsiteY33" fmla="*/ 107533 h 6855583"/>
              <a:gd name="connsiteX34" fmla="*/ 4144529 w 4694471"/>
              <a:gd name="connsiteY34" fmla="*/ 113381 h 6855583"/>
              <a:gd name="connsiteX35" fmla="*/ 4149036 w 4694471"/>
              <a:gd name="connsiteY35" fmla="*/ 115600 h 6855583"/>
              <a:gd name="connsiteX36" fmla="*/ 4164861 w 4694471"/>
              <a:gd name="connsiteY36" fmla="*/ 125388 h 6855583"/>
              <a:gd name="connsiteX37" fmla="*/ 4208472 w 4694471"/>
              <a:gd name="connsiteY37" fmla="*/ 151145 h 6855583"/>
              <a:gd name="connsiteX38" fmla="*/ 4220829 w 4694471"/>
              <a:gd name="connsiteY38" fmla="*/ 160005 h 6855583"/>
              <a:gd name="connsiteX39" fmla="*/ 4226920 w 4694471"/>
              <a:gd name="connsiteY39" fmla="*/ 163770 h 6855583"/>
              <a:gd name="connsiteX40" fmla="*/ 4241989 w 4694471"/>
              <a:gd name="connsiteY40" fmla="*/ 175174 h 6855583"/>
              <a:gd name="connsiteX41" fmla="*/ 4278383 w 4694471"/>
              <a:gd name="connsiteY41" fmla="*/ 201267 h 6855583"/>
              <a:gd name="connsiteX42" fmla="*/ 4292804 w 4694471"/>
              <a:gd name="connsiteY42" fmla="*/ 213629 h 6855583"/>
              <a:gd name="connsiteX43" fmla="*/ 4300227 w 4694471"/>
              <a:gd name="connsiteY43" fmla="*/ 219244 h 6855583"/>
              <a:gd name="connsiteX44" fmla="*/ 4313741 w 4694471"/>
              <a:gd name="connsiteY44" fmla="*/ 231573 h 6855583"/>
              <a:gd name="connsiteX45" fmla="*/ 4344028 w 4694471"/>
              <a:gd name="connsiteY45" fmla="*/ 257532 h 6855583"/>
              <a:gd name="connsiteX46" fmla="*/ 4360072 w 4694471"/>
              <a:gd name="connsiteY46" fmla="*/ 273838 h 6855583"/>
              <a:gd name="connsiteX47" fmla="*/ 4368549 w 4694471"/>
              <a:gd name="connsiteY47" fmla="*/ 281570 h 6855583"/>
              <a:gd name="connsiteX48" fmla="*/ 4380176 w 4694471"/>
              <a:gd name="connsiteY48" fmla="*/ 294271 h 6855583"/>
              <a:gd name="connsiteX49" fmla="*/ 4405069 w 4694471"/>
              <a:gd name="connsiteY49" fmla="*/ 319569 h 6855583"/>
              <a:gd name="connsiteX50" fmla="*/ 4422252 w 4694471"/>
              <a:gd name="connsiteY50" fmla="*/ 340225 h 6855583"/>
              <a:gd name="connsiteX51" fmla="*/ 4431478 w 4694471"/>
              <a:gd name="connsiteY51" fmla="*/ 350303 h 6855583"/>
              <a:gd name="connsiteX52" fmla="*/ 4441115 w 4694471"/>
              <a:gd name="connsiteY52" fmla="*/ 362902 h 6855583"/>
              <a:gd name="connsiteX53" fmla="*/ 4461169 w 4694471"/>
              <a:gd name="connsiteY53" fmla="*/ 387010 h 6855583"/>
              <a:gd name="connsiteX54" fmla="*/ 4478966 w 4694471"/>
              <a:gd name="connsiteY54" fmla="*/ 412388 h 6855583"/>
              <a:gd name="connsiteX55" fmla="*/ 4488605 w 4694471"/>
              <a:gd name="connsiteY55" fmla="*/ 424989 h 6855583"/>
              <a:gd name="connsiteX56" fmla="*/ 4496275 w 4694471"/>
              <a:gd name="connsiteY56" fmla="*/ 437070 h 6855583"/>
              <a:gd name="connsiteX57" fmla="*/ 4511991 w 4694471"/>
              <a:gd name="connsiteY57" fmla="*/ 459481 h 6855583"/>
              <a:gd name="connsiteX58" fmla="*/ 4529843 w 4694471"/>
              <a:gd name="connsiteY58" fmla="*/ 489942 h 6855583"/>
              <a:gd name="connsiteX59" fmla="*/ 4539521 w 4694471"/>
              <a:gd name="connsiteY59" fmla="*/ 505184 h 6855583"/>
              <a:gd name="connsiteX60" fmla="*/ 4545336 w 4694471"/>
              <a:gd name="connsiteY60" fmla="*/ 516375 h 6855583"/>
              <a:gd name="connsiteX61" fmla="*/ 4557199 w 4694471"/>
              <a:gd name="connsiteY61" fmla="*/ 536617 h 6855583"/>
              <a:gd name="connsiteX62" fmla="*/ 4574510 w 4694471"/>
              <a:gd name="connsiteY62" fmla="*/ 572526 h 6855583"/>
              <a:gd name="connsiteX63" fmla="*/ 4583819 w 4694471"/>
              <a:gd name="connsiteY63" fmla="*/ 590437 h 6855583"/>
              <a:gd name="connsiteX64" fmla="*/ 4587950 w 4694471"/>
              <a:gd name="connsiteY64" fmla="*/ 600402 h 6855583"/>
              <a:gd name="connsiteX65" fmla="*/ 4596457 w 4694471"/>
              <a:gd name="connsiteY65" fmla="*/ 618045 h 6855583"/>
              <a:gd name="connsiteX66" fmla="*/ 4612602 w 4694471"/>
              <a:gd name="connsiteY66" fmla="*/ 659843 h 6855583"/>
              <a:gd name="connsiteX67" fmla="*/ 4621089 w 4694471"/>
              <a:gd name="connsiteY67" fmla="*/ 680300 h 6855583"/>
              <a:gd name="connsiteX68" fmla="*/ 4623764 w 4694471"/>
              <a:gd name="connsiteY68" fmla="*/ 688731 h 6855583"/>
              <a:gd name="connsiteX69" fmla="*/ 4629429 w 4694471"/>
              <a:gd name="connsiteY69" fmla="*/ 703398 h 6855583"/>
              <a:gd name="connsiteX70" fmla="*/ 4643753 w 4694471"/>
              <a:gd name="connsiteY70" fmla="*/ 751729 h 6855583"/>
              <a:gd name="connsiteX71" fmla="*/ 4650921 w 4694471"/>
              <a:gd name="connsiteY71" fmla="*/ 774321 h 6855583"/>
              <a:gd name="connsiteX72" fmla="*/ 4652412 w 4694471"/>
              <a:gd name="connsiteY72" fmla="*/ 780948 h 6855583"/>
              <a:gd name="connsiteX73" fmla="*/ 4655777 w 4694471"/>
              <a:gd name="connsiteY73" fmla="*/ 792304 h 6855583"/>
              <a:gd name="connsiteX74" fmla="*/ 4667595 w 4694471"/>
              <a:gd name="connsiteY74" fmla="*/ 848440 h 6855583"/>
              <a:gd name="connsiteX75" fmla="*/ 4667828 w 4694471"/>
              <a:gd name="connsiteY75" fmla="*/ 849474 h 6855583"/>
              <a:gd name="connsiteX76" fmla="*/ 4669385 w 4694471"/>
              <a:gd name="connsiteY76" fmla="*/ 849474 h 6855583"/>
              <a:gd name="connsiteX77" fmla="*/ 4674465 w 4694471"/>
              <a:gd name="connsiteY77" fmla="*/ 877139 h 6855583"/>
              <a:gd name="connsiteX78" fmla="*/ 4675087 w 4694471"/>
              <a:gd name="connsiteY78" fmla="*/ 882743 h 6855583"/>
              <a:gd name="connsiteX79" fmla="*/ 4676722 w 4694471"/>
              <a:gd name="connsiteY79" fmla="*/ 892259 h 6855583"/>
              <a:gd name="connsiteX80" fmla="*/ 4685327 w 4694471"/>
              <a:gd name="connsiteY80" fmla="*/ 974994 h 6855583"/>
              <a:gd name="connsiteX81" fmla="*/ 4688200 w 4694471"/>
              <a:gd name="connsiteY81" fmla="*/ 1000874 h 6855583"/>
              <a:gd name="connsiteX82" fmla="*/ 4688301 w 4694471"/>
              <a:gd name="connsiteY82" fmla="*/ 1003598 h 6855583"/>
              <a:gd name="connsiteX83" fmla="*/ 4688815 w 4694471"/>
              <a:gd name="connsiteY83" fmla="*/ 1008533 h 6855583"/>
              <a:gd name="connsiteX84" fmla="*/ 4690833 w 4694471"/>
              <a:gd name="connsiteY84" fmla="*/ 1065916 h 6855583"/>
              <a:gd name="connsiteX85" fmla="*/ 4693293 w 4694471"/>
              <a:gd name="connsiteY85" fmla="*/ 1065916 h 6855583"/>
              <a:gd name="connsiteX86" fmla="*/ 4693293 w 4694471"/>
              <a:gd name="connsiteY86" fmla="*/ 1118819 h 6855583"/>
              <a:gd name="connsiteX87" fmla="*/ 4693293 w 4694471"/>
              <a:gd name="connsiteY87" fmla="*/ 1135849 h 6855583"/>
              <a:gd name="connsiteX88" fmla="*/ 4693293 w 4694471"/>
              <a:gd name="connsiteY88" fmla="*/ 1136246 h 6855583"/>
              <a:gd name="connsiteX89" fmla="*/ 4693293 w 4694471"/>
              <a:gd name="connsiteY89" fmla="*/ 1136247 h 6855583"/>
              <a:gd name="connsiteX90" fmla="*/ 4694471 w 4694471"/>
              <a:gd name="connsiteY90" fmla="*/ 1136247 h 6855583"/>
              <a:gd name="connsiteX91" fmla="*/ 4694471 w 4694471"/>
              <a:gd name="connsiteY91" fmla="*/ 1234853 h 6855583"/>
              <a:gd name="connsiteX92" fmla="*/ 4694471 w 4694471"/>
              <a:gd name="connsiteY92" fmla="*/ 1390429 h 6855583"/>
              <a:gd name="connsiteX93" fmla="*/ 4694471 w 4694471"/>
              <a:gd name="connsiteY93" fmla="*/ 1493422 h 6855583"/>
              <a:gd name="connsiteX94" fmla="*/ 4694471 w 4694471"/>
              <a:gd name="connsiteY94" fmla="*/ 1922616 h 6855583"/>
              <a:gd name="connsiteX95" fmla="*/ 4694471 w 4694471"/>
              <a:gd name="connsiteY95" fmla="*/ 1946509 h 6855583"/>
              <a:gd name="connsiteX96" fmla="*/ 4694471 w 4694471"/>
              <a:gd name="connsiteY96" fmla="*/ 2034790 h 6855583"/>
              <a:gd name="connsiteX97" fmla="*/ 4694471 w 4694471"/>
              <a:gd name="connsiteY97" fmla="*/ 2059094 h 6855583"/>
              <a:gd name="connsiteX98" fmla="*/ 4694471 w 4694471"/>
              <a:gd name="connsiteY98" fmla="*/ 2121885 h 6855583"/>
              <a:gd name="connsiteX99" fmla="*/ 4694471 w 4694471"/>
              <a:gd name="connsiteY99" fmla="*/ 2175446 h 6855583"/>
              <a:gd name="connsiteX100" fmla="*/ 4694471 w 4694471"/>
              <a:gd name="connsiteY100" fmla="*/ 2237497 h 6855583"/>
              <a:gd name="connsiteX101" fmla="*/ 4694471 w 4694471"/>
              <a:gd name="connsiteY101" fmla="*/ 2291981 h 6855583"/>
              <a:gd name="connsiteX102" fmla="*/ 4693305 w 4694471"/>
              <a:gd name="connsiteY102" fmla="*/ 2291981 h 6855583"/>
              <a:gd name="connsiteX103" fmla="*/ 4693305 w 4694471"/>
              <a:gd name="connsiteY103" fmla="*/ 3132833 h 6855583"/>
              <a:gd name="connsiteX104" fmla="*/ 4693305 w 4694471"/>
              <a:gd name="connsiteY104" fmla="*/ 3265888 h 6855583"/>
              <a:gd name="connsiteX105" fmla="*/ 4627092 w 4694471"/>
              <a:gd name="connsiteY105" fmla="*/ 3265888 h 6855583"/>
              <a:gd name="connsiteX106" fmla="*/ 3996894 w 4694471"/>
              <a:gd name="connsiteY106" fmla="*/ 3265888 h 6855583"/>
              <a:gd name="connsiteX107" fmla="*/ 3930683 w 4694471"/>
              <a:gd name="connsiteY107" fmla="*/ 3265888 h 6855583"/>
              <a:gd name="connsiteX108" fmla="*/ 3734761 w 4694471"/>
              <a:gd name="connsiteY108" fmla="*/ 3265888 h 6855583"/>
              <a:gd name="connsiteX109" fmla="*/ 3708022 w 4694471"/>
              <a:gd name="connsiteY109" fmla="*/ 3265888 h 6855583"/>
              <a:gd name="connsiteX110" fmla="*/ 3707441 w 4694471"/>
              <a:gd name="connsiteY110" fmla="*/ 3265888 h 6855583"/>
              <a:gd name="connsiteX111" fmla="*/ 3707431 w 4694471"/>
              <a:gd name="connsiteY111" fmla="*/ 3265888 h 6855583"/>
              <a:gd name="connsiteX112" fmla="*/ 3707422 w 4694471"/>
              <a:gd name="connsiteY112" fmla="*/ 3265888 h 6855583"/>
              <a:gd name="connsiteX113" fmla="*/ 3668548 w 4694471"/>
              <a:gd name="connsiteY113" fmla="*/ 3265888 h 6855583"/>
              <a:gd name="connsiteX114" fmla="*/ 3661115 w 4694471"/>
              <a:gd name="connsiteY114" fmla="*/ 3265888 h 6855583"/>
              <a:gd name="connsiteX115" fmla="*/ 3641811 w 4694471"/>
              <a:gd name="connsiteY115" fmla="*/ 3265888 h 6855583"/>
              <a:gd name="connsiteX116" fmla="*/ 3641229 w 4694471"/>
              <a:gd name="connsiteY116" fmla="*/ 3265888 h 6855583"/>
              <a:gd name="connsiteX117" fmla="*/ 3641220 w 4694471"/>
              <a:gd name="connsiteY117" fmla="*/ 3265888 h 6855583"/>
              <a:gd name="connsiteX118" fmla="*/ 3641210 w 4694471"/>
              <a:gd name="connsiteY118" fmla="*/ 3265888 h 6855583"/>
              <a:gd name="connsiteX119" fmla="*/ 3594904 w 4694471"/>
              <a:gd name="connsiteY119" fmla="*/ 3265888 h 6855583"/>
              <a:gd name="connsiteX120" fmla="*/ 3559339 w 4694471"/>
              <a:gd name="connsiteY120" fmla="*/ 3265888 h 6855583"/>
              <a:gd name="connsiteX121" fmla="*/ 3559339 w 4694471"/>
              <a:gd name="connsiteY121" fmla="*/ 3265890 h 6855583"/>
              <a:gd name="connsiteX122" fmla="*/ 3574921 w 4694471"/>
              <a:gd name="connsiteY122" fmla="*/ 3265890 h 6855583"/>
              <a:gd name="connsiteX123" fmla="*/ 3607197 w 4694471"/>
              <a:gd name="connsiteY123" fmla="*/ 3265890 h 6855583"/>
              <a:gd name="connsiteX124" fmla="*/ 3607836 w 4694471"/>
              <a:gd name="connsiteY124" fmla="*/ 3265890 h 6855583"/>
              <a:gd name="connsiteX125" fmla="*/ 3607845 w 4694471"/>
              <a:gd name="connsiteY125" fmla="*/ 3265889 h 6855583"/>
              <a:gd name="connsiteX126" fmla="*/ 3607855 w 4694471"/>
              <a:gd name="connsiteY126" fmla="*/ 3265890 h 6855583"/>
              <a:gd name="connsiteX127" fmla="*/ 3658753 w 4694471"/>
              <a:gd name="connsiteY127" fmla="*/ 3265890 h 6855583"/>
              <a:gd name="connsiteX128" fmla="*/ 3658753 w 4694471"/>
              <a:gd name="connsiteY128" fmla="*/ 3268571 h 6855583"/>
              <a:gd name="connsiteX129" fmla="*/ 3711215 w 4694471"/>
              <a:gd name="connsiteY129" fmla="*/ 3271301 h 6855583"/>
              <a:gd name="connsiteX130" fmla="*/ 3714398 w 4694471"/>
              <a:gd name="connsiteY130" fmla="*/ 3271802 h 6855583"/>
              <a:gd name="connsiteX131" fmla="*/ 3718640 w 4694471"/>
              <a:gd name="connsiteY131" fmla="*/ 3272037 h 6855583"/>
              <a:gd name="connsiteX132" fmla="*/ 3905304 w 4694471"/>
              <a:gd name="connsiteY132" fmla="*/ 3311308 h 6855583"/>
              <a:gd name="connsiteX133" fmla="*/ 3909694 w 4694471"/>
              <a:gd name="connsiteY133" fmla="*/ 3312912 h 6855583"/>
              <a:gd name="connsiteX134" fmla="*/ 3910452 w 4694471"/>
              <a:gd name="connsiteY134" fmla="*/ 3313112 h 6855583"/>
              <a:gd name="connsiteX135" fmla="*/ 3917986 w 4694471"/>
              <a:gd name="connsiteY135" fmla="*/ 3315942 h 6855583"/>
              <a:gd name="connsiteX136" fmla="*/ 3994003 w 4694471"/>
              <a:gd name="connsiteY136" fmla="*/ 3343710 h 6855583"/>
              <a:gd name="connsiteX137" fmla="*/ 4001805 w 4694471"/>
              <a:gd name="connsiteY137" fmla="*/ 3347410 h 6855583"/>
              <a:gd name="connsiteX138" fmla="*/ 4004771 w 4694471"/>
              <a:gd name="connsiteY138" fmla="*/ 3348524 h 6855583"/>
              <a:gd name="connsiteX139" fmla="*/ 4020801 w 4694471"/>
              <a:gd name="connsiteY139" fmla="*/ 3356422 h 6855583"/>
              <a:gd name="connsiteX140" fmla="*/ 4079119 w 4694471"/>
              <a:gd name="connsiteY140" fmla="*/ 3384083 h 6855583"/>
              <a:gd name="connsiteX141" fmla="*/ 4090003 w 4694471"/>
              <a:gd name="connsiteY141" fmla="*/ 3390510 h 6855583"/>
              <a:gd name="connsiteX142" fmla="*/ 4094957 w 4694471"/>
              <a:gd name="connsiteY142" fmla="*/ 3392950 h 6855583"/>
              <a:gd name="connsiteX143" fmla="*/ 4112351 w 4694471"/>
              <a:gd name="connsiteY143" fmla="*/ 3403709 h 6855583"/>
              <a:gd name="connsiteX144" fmla="*/ 4160286 w 4694471"/>
              <a:gd name="connsiteY144" fmla="*/ 3432019 h 6855583"/>
              <a:gd name="connsiteX145" fmla="*/ 4173870 w 4694471"/>
              <a:gd name="connsiteY145" fmla="*/ 3441758 h 6855583"/>
              <a:gd name="connsiteX146" fmla="*/ 4180562 w 4694471"/>
              <a:gd name="connsiteY146" fmla="*/ 3445896 h 6855583"/>
              <a:gd name="connsiteX147" fmla="*/ 4197126 w 4694471"/>
              <a:gd name="connsiteY147" fmla="*/ 3458431 h 6855583"/>
              <a:gd name="connsiteX148" fmla="*/ 4237129 w 4694471"/>
              <a:gd name="connsiteY148" fmla="*/ 3487112 h 6855583"/>
              <a:gd name="connsiteX149" fmla="*/ 4252979 w 4694471"/>
              <a:gd name="connsiteY149" fmla="*/ 3500699 h 6855583"/>
              <a:gd name="connsiteX150" fmla="*/ 4261138 w 4694471"/>
              <a:gd name="connsiteY150" fmla="*/ 3506870 h 6855583"/>
              <a:gd name="connsiteX151" fmla="*/ 4275993 w 4694471"/>
              <a:gd name="connsiteY151" fmla="*/ 3520422 h 6855583"/>
              <a:gd name="connsiteX152" fmla="*/ 4309284 w 4694471"/>
              <a:gd name="connsiteY152" fmla="*/ 3548954 h 6855583"/>
              <a:gd name="connsiteX153" fmla="*/ 4326916 w 4694471"/>
              <a:gd name="connsiteY153" fmla="*/ 3566877 h 6855583"/>
              <a:gd name="connsiteX154" fmla="*/ 4336234 w 4694471"/>
              <a:gd name="connsiteY154" fmla="*/ 3575376 h 6855583"/>
              <a:gd name="connsiteX155" fmla="*/ 4349015 w 4694471"/>
              <a:gd name="connsiteY155" fmla="*/ 3589336 h 6855583"/>
              <a:gd name="connsiteX156" fmla="*/ 4376377 w 4694471"/>
              <a:gd name="connsiteY156" fmla="*/ 3617142 h 6855583"/>
              <a:gd name="connsiteX157" fmla="*/ 4395261 w 4694471"/>
              <a:gd name="connsiteY157" fmla="*/ 3639845 h 6855583"/>
              <a:gd name="connsiteX158" fmla="*/ 4405403 w 4694471"/>
              <a:gd name="connsiteY158" fmla="*/ 3650923 h 6855583"/>
              <a:gd name="connsiteX159" fmla="*/ 4415995 w 4694471"/>
              <a:gd name="connsiteY159" fmla="*/ 3664770 h 6855583"/>
              <a:gd name="connsiteX160" fmla="*/ 4438037 w 4694471"/>
              <a:gd name="connsiteY160" fmla="*/ 3691269 h 6855583"/>
              <a:gd name="connsiteX161" fmla="*/ 4457599 w 4694471"/>
              <a:gd name="connsiteY161" fmla="*/ 3719164 h 6855583"/>
              <a:gd name="connsiteX162" fmla="*/ 4468193 w 4694471"/>
              <a:gd name="connsiteY162" fmla="*/ 3733015 h 6855583"/>
              <a:gd name="connsiteX163" fmla="*/ 4476623 w 4694471"/>
              <a:gd name="connsiteY163" fmla="*/ 3746294 h 6855583"/>
              <a:gd name="connsiteX164" fmla="*/ 4493900 w 4694471"/>
              <a:gd name="connsiteY164" fmla="*/ 3770927 h 6855583"/>
              <a:gd name="connsiteX165" fmla="*/ 4513522 w 4694471"/>
              <a:gd name="connsiteY165" fmla="*/ 3804408 h 6855583"/>
              <a:gd name="connsiteX166" fmla="*/ 4524158 w 4694471"/>
              <a:gd name="connsiteY166" fmla="*/ 3821161 h 6855583"/>
              <a:gd name="connsiteX167" fmla="*/ 4530550 w 4694471"/>
              <a:gd name="connsiteY167" fmla="*/ 3833462 h 6855583"/>
              <a:gd name="connsiteX168" fmla="*/ 4543589 w 4694471"/>
              <a:gd name="connsiteY168" fmla="*/ 3855710 h 6855583"/>
              <a:gd name="connsiteX169" fmla="*/ 4562617 w 4694471"/>
              <a:gd name="connsiteY169" fmla="*/ 3895180 h 6855583"/>
              <a:gd name="connsiteX170" fmla="*/ 4572847 w 4694471"/>
              <a:gd name="connsiteY170" fmla="*/ 3914866 h 6855583"/>
              <a:gd name="connsiteX171" fmla="*/ 4577389 w 4694471"/>
              <a:gd name="connsiteY171" fmla="*/ 3925819 h 6855583"/>
              <a:gd name="connsiteX172" fmla="*/ 4586740 w 4694471"/>
              <a:gd name="connsiteY172" fmla="*/ 3945212 h 6855583"/>
              <a:gd name="connsiteX173" fmla="*/ 4604487 w 4694471"/>
              <a:gd name="connsiteY173" fmla="*/ 3991153 h 6855583"/>
              <a:gd name="connsiteX174" fmla="*/ 4613813 w 4694471"/>
              <a:gd name="connsiteY174" fmla="*/ 4013638 h 6855583"/>
              <a:gd name="connsiteX175" fmla="*/ 4616753 w 4694471"/>
              <a:gd name="connsiteY175" fmla="*/ 4022906 h 6855583"/>
              <a:gd name="connsiteX176" fmla="*/ 4622981 w 4694471"/>
              <a:gd name="connsiteY176" fmla="*/ 4039027 h 6855583"/>
              <a:gd name="connsiteX177" fmla="*/ 4638724 w 4694471"/>
              <a:gd name="connsiteY177" fmla="*/ 4092151 h 6855583"/>
              <a:gd name="connsiteX178" fmla="*/ 4646603 w 4694471"/>
              <a:gd name="connsiteY178" fmla="*/ 4116982 h 6855583"/>
              <a:gd name="connsiteX179" fmla="*/ 4648243 w 4694471"/>
              <a:gd name="connsiteY179" fmla="*/ 4124267 h 6855583"/>
              <a:gd name="connsiteX180" fmla="*/ 4651941 w 4694471"/>
              <a:gd name="connsiteY180" fmla="*/ 4136749 h 6855583"/>
              <a:gd name="connsiteX181" fmla="*/ 4664931 w 4694471"/>
              <a:gd name="connsiteY181" fmla="*/ 4198450 h 6855583"/>
              <a:gd name="connsiteX182" fmla="*/ 4665187 w 4694471"/>
              <a:gd name="connsiteY182" fmla="*/ 4199586 h 6855583"/>
              <a:gd name="connsiteX183" fmla="*/ 4666897 w 4694471"/>
              <a:gd name="connsiteY183" fmla="*/ 4199586 h 6855583"/>
              <a:gd name="connsiteX184" fmla="*/ 4672481 w 4694471"/>
              <a:gd name="connsiteY184" fmla="*/ 4229994 h 6855583"/>
              <a:gd name="connsiteX185" fmla="*/ 4673165 w 4694471"/>
              <a:gd name="connsiteY185" fmla="*/ 4236155 h 6855583"/>
              <a:gd name="connsiteX186" fmla="*/ 4674963 w 4694471"/>
              <a:gd name="connsiteY186" fmla="*/ 4246612 h 6855583"/>
              <a:gd name="connsiteX187" fmla="*/ 4684421 w 4694471"/>
              <a:gd name="connsiteY187" fmla="*/ 4337551 h 6855583"/>
              <a:gd name="connsiteX188" fmla="*/ 4687579 w 4694471"/>
              <a:gd name="connsiteY188" fmla="*/ 4365998 h 6855583"/>
              <a:gd name="connsiteX189" fmla="*/ 4687689 w 4694471"/>
              <a:gd name="connsiteY189" fmla="*/ 4368991 h 6855583"/>
              <a:gd name="connsiteX190" fmla="*/ 4688255 w 4694471"/>
              <a:gd name="connsiteY190" fmla="*/ 4374414 h 6855583"/>
              <a:gd name="connsiteX191" fmla="*/ 4690473 w 4694471"/>
              <a:gd name="connsiteY191" fmla="*/ 4437487 h 6855583"/>
              <a:gd name="connsiteX192" fmla="*/ 4693177 w 4694471"/>
              <a:gd name="connsiteY192" fmla="*/ 4437487 h 6855583"/>
              <a:gd name="connsiteX193" fmla="*/ 4693177 w 4694471"/>
              <a:gd name="connsiteY193" fmla="*/ 4495636 h 6855583"/>
              <a:gd name="connsiteX194" fmla="*/ 4693177 w 4694471"/>
              <a:gd name="connsiteY194" fmla="*/ 4514355 h 6855583"/>
              <a:gd name="connsiteX195" fmla="*/ 4693177 w 4694471"/>
              <a:gd name="connsiteY195" fmla="*/ 4514790 h 6855583"/>
              <a:gd name="connsiteX196" fmla="*/ 4693177 w 4694471"/>
              <a:gd name="connsiteY196" fmla="*/ 4514792 h 6855583"/>
              <a:gd name="connsiteX197" fmla="*/ 4694471 w 4694471"/>
              <a:gd name="connsiteY197" fmla="*/ 4514792 h 6855583"/>
              <a:gd name="connsiteX198" fmla="*/ 4694471 w 4694471"/>
              <a:gd name="connsiteY198" fmla="*/ 4623176 h 6855583"/>
              <a:gd name="connsiteX199" fmla="*/ 4694471 w 4694471"/>
              <a:gd name="connsiteY199" fmla="*/ 4794177 h 6855583"/>
              <a:gd name="connsiteX200" fmla="*/ 4694471 w 4694471"/>
              <a:gd name="connsiteY200" fmla="*/ 4907381 h 6855583"/>
              <a:gd name="connsiteX201" fmla="*/ 4694471 w 4694471"/>
              <a:gd name="connsiteY201" fmla="*/ 5379129 h 6855583"/>
              <a:gd name="connsiteX202" fmla="*/ 4694471 w 4694471"/>
              <a:gd name="connsiteY202" fmla="*/ 5405390 h 6855583"/>
              <a:gd name="connsiteX203" fmla="*/ 4694471 w 4694471"/>
              <a:gd name="connsiteY203" fmla="*/ 5502425 h 6855583"/>
              <a:gd name="connsiteX204" fmla="*/ 4694471 w 4694471"/>
              <a:gd name="connsiteY204" fmla="*/ 5529139 h 6855583"/>
              <a:gd name="connsiteX205" fmla="*/ 4694471 w 4694471"/>
              <a:gd name="connsiteY205" fmla="*/ 5598155 h 6855583"/>
              <a:gd name="connsiteX206" fmla="*/ 4694471 w 4694471"/>
              <a:gd name="connsiteY206" fmla="*/ 5657026 h 6855583"/>
              <a:gd name="connsiteX207" fmla="*/ 4694471 w 4694471"/>
              <a:gd name="connsiteY207" fmla="*/ 5725229 h 6855583"/>
              <a:gd name="connsiteX208" fmla="*/ 4694471 w 4694471"/>
              <a:gd name="connsiteY208" fmla="*/ 5785115 h 6855583"/>
              <a:gd name="connsiteX209" fmla="*/ 4693189 w 4694471"/>
              <a:gd name="connsiteY209" fmla="*/ 5785115 h 6855583"/>
              <a:gd name="connsiteX210" fmla="*/ 4693189 w 4694471"/>
              <a:gd name="connsiteY210" fmla="*/ 6709336 h 6855583"/>
              <a:gd name="connsiteX211" fmla="*/ 4693189 w 4694471"/>
              <a:gd name="connsiteY211" fmla="*/ 6855583 h 6855583"/>
              <a:gd name="connsiteX212" fmla="*/ 4620412 w 4694471"/>
              <a:gd name="connsiteY212" fmla="*/ 6855583 h 6855583"/>
              <a:gd name="connsiteX213" fmla="*/ 3976799 w 4694471"/>
              <a:gd name="connsiteY213" fmla="*/ 6855583 h 6855583"/>
              <a:gd name="connsiteX214" fmla="*/ 3927731 w 4694471"/>
              <a:gd name="connsiteY214" fmla="*/ 6855583 h 6855583"/>
              <a:gd name="connsiteX215" fmla="*/ 3904023 w 4694471"/>
              <a:gd name="connsiteY215" fmla="*/ 6855583 h 6855583"/>
              <a:gd name="connsiteX216" fmla="*/ 3854954 w 4694471"/>
              <a:gd name="connsiteY216" fmla="*/ 6855583 h 6855583"/>
              <a:gd name="connsiteX217" fmla="*/ 3734645 w 4694471"/>
              <a:gd name="connsiteY217" fmla="*/ 6855583 h 6855583"/>
              <a:gd name="connsiteX218" fmla="*/ 3661868 w 4694471"/>
              <a:gd name="connsiteY218" fmla="*/ 6855583 h 6855583"/>
              <a:gd name="connsiteX219" fmla="*/ 3610218 w 4694471"/>
              <a:gd name="connsiteY219" fmla="*/ 6855583 h 6855583"/>
              <a:gd name="connsiteX220" fmla="*/ 3609578 w 4694471"/>
              <a:gd name="connsiteY220" fmla="*/ 6855583 h 6855583"/>
              <a:gd name="connsiteX221" fmla="*/ 3609569 w 4694471"/>
              <a:gd name="connsiteY221" fmla="*/ 6855583 h 6855583"/>
              <a:gd name="connsiteX222" fmla="*/ 3609558 w 4694471"/>
              <a:gd name="connsiteY222" fmla="*/ 6855583 h 6855583"/>
              <a:gd name="connsiteX223" fmla="*/ 3559339 w 4694471"/>
              <a:gd name="connsiteY223" fmla="*/ 6855583 h 6855583"/>
              <a:gd name="connsiteX224" fmla="*/ 3558661 w 4694471"/>
              <a:gd name="connsiteY224" fmla="*/ 6855583 h 6855583"/>
              <a:gd name="connsiteX225" fmla="*/ 3537440 w 4694471"/>
              <a:gd name="connsiteY225" fmla="*/ 6855583 h 6855583"/>
              <a:gd name="connsiteX226" fmla="*/ 3536802 w 4694471"/>
              <a:gd name="connsiteY226" fmla="*/ 6855583 h 6855583"/>
              <a:gd name="connsiteX227" fmla="*/ 3536793 w 4694471"/>
              <a:gd name="connsiteY227" fmla="*/ 6855583 h 6855583"/>
              <a:gd name="connsiteX228" fmla="*/ 3536782 w 4694471"/>
              <a:gd name="connsiteY228" fmla="*/ 6855583 h 6855583"/>
              <a:gd name="connsiteX229" fmla="*/ 3485884 w 4694471"/>
              <a:gd name="connsiteY229" fmla="*/ 6855583 h 6855583"/>
              <a:gd name="connsiteX230" fmla="*/ 3211343 w 4694471"/>
              <a:gd name="connsiteY230" fmla="*/ 6855583 h 6855583"/>
              <a:gd name="connsiteX231" fmla="*/ 3138565 w 4694471"/>
              <a:gd name="connsiteY231" fmla="*/ 6855583 h 6855583"/>
              <a:gd name="connsiteX232" fmla="*/ 3018255 w 4694471"/>
              <a:gd name="connsiteY232" fmla="*/ 6855583 h 6855583"/>
              <a:gd name="connsiteX233" fmla="*/ 2969187 w 4694471"/>
              <a:gd name="connsiteY233" fmla="*/ 6855583 h 6855583"/>
              <a:gd name="connsiteX234" fmla="*/ 2945479 w 4694471"/>
              <a:gd name="connsiteY234" fmla="*/ 6855583 h 6855583"/>
              <a:gd name="connsiteX235" fmla="*/ 2896410 w 4694471"/>
              <a:gd name="connsiteY235" fmla="*/ 6855583 h 6855583"/>
              <a:gd name="connsiteX236" fmla="*/ 2893829 w 4694471"/>
              <a:gd name="connsiteY236" fmla="*/ 6855583 h 6855583"/>
              <a:gd name="connsiteX237" fmla="*/ 2893189 w 4694471"/>
              <a:gd name="connsiteY237" fmla="*/ 6855583 h 6855583"/>
              <a:gd name="connsiteX238" fmla="*/ 2893179 w 4694471"/>
              <a:gd name="connsiteY238" fmla="*/ 6855583 h 6855583"/>
              <a:gd name="connsiteX239" fmla="*/ 2893168 w 4694471"/>
              <a:gd name="connsiteY239" fmla="*/ 6855583 h 6855583"/>
              <a:gd name="connsiteX240" fmla="*/ 2844760 w 4694471"/>
              <a:gd name="connsiteY240" fmla="*/ 6855583 h 6855583"/>
              <a:gd name="connsiteX241" fmla="*/ 2844120 w 4694471"/>
              <a:gd name="connsiteY241" fmla="*/ 6855583 h 6855583"/>
              <a:gd name="connsiteX242" fmla="*/ 2844111 w 4694471"/>
              <a:gd name="connsiteY242" fmla="*/ 6855583 h 6855583"/>
              <a:gd name="connsiteX243" fmla="*/ 2844100 w 4694471"/>
              <a:gd name="connsiteY243" fmla="*/ 6855583 h 6855583"/>
              <a:gd name="connsiteX244" fmla="*/ 2842271 w 4694471"/>
              <a:gd name="connsiteY244" fmla="*/ 6855583 h 6855583"/>
              <a:gd name="connsiteX245" fmla="*/ 2821051 w 4694471"/>
              <a:gd name="connsiteY245" fmla="*/ 6855583 h 6855583"/>
              <a:gd name="connsiteX246" fmla="*/ 2820413 w 4694471"/>
              <a:gd name="connsiteY246" fmla="*/ 6855583 h 6855583"/>
              <a:gd name="connsiteX247" fmla="*/ 2820403 w 4694471"/>
              <a:gd name="connsiteY247" fmla="*/ 6855583 h 6855583"/>
              <a:gd name="connsiteX248" fmla="*/ 2820392 w 4694471"/>
              <a:gd name="connsiteY248" fmla="*/ 6855583 h 6855583"/>
              <a:gd name="connsiteX249" fmla="*/ 2793202 w 4694471"/>
              <a:gd name="connsiteY249" fmla="*/ 6855583 h 6855583"/>
              <a:gd name="connsiteX250" fmla="*/ 2771983 w 4694471"/>
              <a:gd name="connsiteY250" fmla="*/ 6855583 h 6855583"/>
              <a:gd name="connsiteX251" fmla="*/ 2771344 w 4694471"/>
              <a:gd name="connsiteY251" fmla="*/ 6855583 h 6855583"/>
              <a:gd name="connsiteX252" fmla="*/ 2771334 w 4694471"/>
              <a:gd name="connsiteY252" fmla="*/ 6855583 h 6855583"/>
              <a:gd name="connsiteX253" fmla="*/ 2771323 w 4694471"/>
              <a:gd name="connsiteY253" fmla="*/ 6855583 h 6855583"/>
              <a:gd name="connsiteX254" fmla="*/ 2769494 w 4694471"/>
              <a:gd name="connsiteY254" fmla="*/ 6855583 h 6855583"/>
              <a:gd name="connsiteX255" fmla="*/ 2720426 w 4694471"/>
              <a:gd name="connsiteY255" fmla="*/ 6855583 h 6855583"/>
              <a:gd name="connsiteX256" fmla="*/ 2651674 w 4694471"/>
              <a:gd name="connsiteY256" fmla="*/ 6855583 h 6855583"/>
              <a:gd name="connsiteX257" fmla="*/ 2651034 w 4694471"/>
              <a:gd name="connsiteY257" fmla="*/ 6855583 h 6855583"/>
              <a:gd name="connsiteX258" fmla="*/ 2651025 w 4694471"/>
              <a:gd name="connsiteY258" fmla="*/ 6855583 h 6855583"/>
              <a:gd name="connsiteX259" fmla="*/ 2651014 w 4694471"/>
              <a:gd name="connsiteY259" fmla="*/ 6855583 h 6855583"/>
              <a:gd name="connsiteX260" fmla="*/ 2600795 w 4694471"/>
              <a:gd name="connsiteY260" fmla="*/ 6855583 h 6855583"/>
              <a:gd name="connsiteX261" fmla="*/ 2600117 w 4694471"/>
              <a:gd name="connsiteY261" fmla="*/ 6855583 h 6855583"/>
              <a:gd name="connsiteX262" fmla="*/ 2578896 w 4694471"/>
              <a:gd name="connsiteY262" fmla="*/ 6855583 h 6855583"/>
              <a:gd name="connsiteX263" fmla="*/ 2578258 w 4694471"/>
              <a:gd name="connsiteY263" fmla="*/ 6855583 h 6855583"/>
              <a:gd name="connsiteX264" fmla="*/ 2578249 w 4694471"/>
              <a:gd name="connsiteY264" fmla="*/ 6855583 h 6855583"/>
              <a:gd name="connsiteX265" fmla="*/ 2578238 w 4694471"/>
              <a:gd name="connsiteY265" fmla="*/ 6855583 h 6855583"/>
              <a:gd name="connsiteX266" fmla="*/ 2527340 w 4694471"/>
              <a:gd name="connsiteY266" fmla="*/ 6855583 h 6855583"/>
              <a:gd name="connsiteX267" fmla="*/ 2252799 w 4694471"/>
              <a:gd name="connsiteY267" fmla="*/ 6855583 h 6855583"/>
              <a:gd name="connsiteX268" fmla="*/ 2180021 w 4694471"/>
              <a:gd name="connsiteY268" fmla="*/ 6855583 h 6855583"/>
              <a:gd name="connsiteX269" fmla="*/ 2128371 w 4694471"/>
              <a:gd name="connsiteY269" fmla="*/ 6855583 h 6855583"/>
              <a:gd name="connsiteX270" fmla="*/ 2127731 w 4694471"/>
              <a:gd name="connsiteY270" fmla="*/ 6855583 h 6855583"/>
              <a:gd name="connsiteX271" fmla="*/ 2127721 w 4694471"/>
              <a:gd name="connsiteY271" fmla="*/ 6855583 h 6855583"/>
              <a:gd name="connsiteX272" fmla="*/ 2127710 w 4694471"/>
              <a:gd name="connsiteY272" fmla="*/ 6855583 h 6855583"/>
              <a:gd name="connsiteX273" fmla="*/ 2076812 w 4694471"/>
              <a:gd name="connsiteY273" fmla="*/ 6855583 h 6855583"/>
              <a:gd name="connsiteX274" fmla="*/ 2055593 w 4694471"/>
              <a:gd name="connsiteY274" fmla="*/ 6855583 h 6855583"/>
              <a:gd name="connsiteX275" fmla="*/ 2054955 w 4694471"/>
              <a:gd name="connsiteY275" fmla="*/ 6855583 h 6855583"/>
              <a:gd name="connsiteX276" fmla="*/ 2054944 w 4694471"/>
              <a:gd name="connsiteY276" fmla="*/ 6855583 h 6855583"/>
              <a:gd name="connsiteX277" fmla="*/ 2054933 w 4694471"/>
              <a:gd name="connsiteY277" fmla="*/ 6855583 h 6855583"/>
              <a:gd name="connsiteX278" fmla="*/ 2004036 w 4694471"/>
              <a:gd name="connsiteY278" fmla="*/ 6855583 h 6855583"/>
              <a:gd name="connsiteX279" fmla="*/ 1935285 w 4694471"/>
              <a:gd name="connsiteY279" fmla="*/ 6855583 h 6855583"/>
              <a:gd name="connsiteX280" fmla="*/ 1934645 w 4694471"/>
              <a:gd name="connsiteY280" fmla="*/ 6855583 h 6855583"/>
              <a:gd name="connsiteX281" fmla="*/ 1934635 w 4694471"/>
              <a:gd name="connsiteY281" fmla="*/ 6855583 h 6855583"/>
              <a:gd name="connsiteX282" fmla="*/ 1934624 w 4694471"/>
              <a:gd name="connsiteY282" fmla="*/ 6855583 h 6855583"/>
              <a:gd name="connsiteX283" fmla="*/ 1886216 w 4694471"/>
              <a:gd name="connsiteY283" fmla="*/ 6855583 h 6855583"/>
              <a:gd name="connsiteX284" fmla="*/ 1885576 w 4694471"/>
              <a:gd name="connsiteY284" fmla="*/ 6855583 h 6855583"/>
              <a:gd name="connsiteX285" fmla="*/ 1885567 w 4694471"/>
              <a:gd name="connsiteY285" fmla="*/ 6855583 h 6855583"/>
              <a:gd name="connsiteX286" fmla="*/ 1885556 w 4694471"/>
              <a:gd name="connsiteY286" fmla="*/ 6855583 h 6855583"/>
              <a:gd name="connsiteX287" fmla="*/ 1883727 w 4694471"/>
              <a:gd name="connsiteY287" fmla="*/ 6855583 h 6855583"/>
              <a:gd name="connsiteX288" fmla="*/ 1862507 w 4694471"/>
              <a:gd name="connsiteY288" fmla="*/ 6855583 h 6855583"/>
              <a:gd name="connsiteX289" fmla="*/ 1861869 w 4694471"/>
              <a:gd name="connsiteY289" fmla="*/ 6855583 h 6855583"/>
              <a:gd name="connsiteX290" fmla="*/ 1861859 w 4694471"/>
              <a:gd name="connsiteY290" fmla="*/ 6855583 h 6855583"/>
              <a:gd name="connsiteX291" fmla="*/ 1861848 w 4694471"/>
              <a:gd name="connsiteY291" fmla="*/ 6855583 h 6855583"/>
              <a:gd name="connsiteX292" fmla="*/ 1834658 w 4694471"/>
              <a:gd name="connsiteY292" fmla="*/ 6855583 h 6855583"/>
              <a:gd name="connsiteX293" fmla="*/ 1813439 w 4694471"/>
              <a:gd name="connsiteY293" fmla="*/ 6855583 h 6855583"/>
              <a:gd name="connsiteX294" fmla="*/ 1812800 w 4694471"/>
              <a:gd name="connsiteY294" fmla="*/ 6855583 h 6855583"/>
              <a:gd name="connsiteX295" fmla="*/ 1812790 w 4694471"/>
              <a:gd name="connsiteY295" fmla="*/ 6855583 h 6855583"/>
              <a:gd name="connsiteX296" fmla="*/ 1812779 w 4694471"/>
              <a:gd name="connsiteY296" fmla="*/ 6855583 h 6855583"/>
              <a:gd name="connsiteX297" fmla="*/ 1810950 w 4694471"/>
              <a:gd name="connsiteY297" fmla="*/ 6855583 h 6855583"/>
              <a:gd name="connsiteX298" fmla="*/ 1761882 w 4694471"/>
              <a:gd name="connsiteY298" fmla="*/ 6855583 h 6855583"/>
              <a:gd name="connsiteX299" fmla="*/ 1169827 w 4694471"/>
              <a:gd name="connsiteY299" fmla="*/ 6855583 h 6855583"/>
              <a:gd name="connsiteX300" fmla="*/ 1169187 w 4694471"/>
              <a:gd name="connsiteY300" fmla="*/ 6855583 h 6855583"/>
              <a:gd name="connsiteX301" fmla="*/ 1169177 w 4694471"/>
              <a:gd name="connsiteY301" fmla="*/ 6855583 h 6855583"/>
              <a:gd name="connsiteX302" fmla="*/ 1169166 w 4694471"/>
              <a:gd name="connsiteY302" fmla="*/ 6855583 h 6855583"/>
              <a:gd name="connsiteX303" fmla="*/ 1118268 w 4694471"/>
              <a:gd name="connsiteY303" fmla="*/ 6855583 h 6855583"/>
              <a:gd name="connsiteX304" fmla="*/ 1097049 w 4694471"/>
              <a:gd name="connsiteY304" fmla="*/ 6855583 h 6855583"/>
              <a:gd name="connsiteX305" fmla="*/ 1096411 w 4694471"/>
              <a:gd name="connsiteY305" fmla="*/ 6855583 h 6855583"/>
              <a:gd name="connsiteX306" fmla="*/ 1096400 w 4694471"/>
              <a:gd name="connsiteY306" fmla="*/ 6855583 h 6855583"/>
              <a:gd name="connsiteX307" fmla="*/ 1096389 w 4694471"/>
              <a:gd name="connsiteY307" fmla="*/ 6855583 h 6855583"/>
              <a:gd name="connsiteX308" fmla="*/ 1045492 w 4694471"/>
              <a:gd name="connsiteY308" fmla="*/ 6855583 h 6855583"/>
              <a:gd name="connsiteX309" fmla="*/ 961282 w 4694471"/>
              <a:gd name="connsiteY309" fmla="*/ 6855583 h 6855583"/>
              <a:gd name="connsiteX310" fmla="*/ 2738 w 4694471"/>
              <a:gd name="connsiteY310" fmla="*/ 6855583 h 6855583"/>
              <a:gd name="connsiteX311" fmla="*/ 2738 w 4694471"/>
              <a:gd name="connsiteY311" fmla="*/ 5657026 h 6855583"/>
              <a:gd name="connsiteX312" fmla="*/ 1722 w 4694471"/>
              <a:gd name="connsiteY312" fmla="*/ 5657026 h 6855583"/>
              <a:gd name="connsiteX313" fmla="*/ 1722 w 4694471"/>
              <a:gd name="connsiteY313" fmla="*/ 5612741 h 6855583"/>
              <a:gd name="connsiteX314" fmla="*/ 1722 w 4694471"/>
              <a:gd name="connsiteY314" fmla="*/ 5598486 h 6855583"/>
              <a:gd name="connsiteX315" fmla="*/ 1722 w 4694471"/>
              <a:gd name="connsiteY315" fmla="*/ 5598155 h 6855583"/>
              <a:gd name="connsiteX316" fmla="*/ 426 w 4694471"/>
              <a:gd name="connsiteY316" fmla="*/ 5598155 h 6855583"/>
              <a:gd name="connsiteX317" fmla="*/ 426 w 4694471"/>
              <a:gd name="connsiteY317" fmla="*/ 5405390 h 6855583"/>
              <a:gd name="connsiteX318" fmla="*/ 426 w 4694471"/>
              <a:gd name="connsiteY318" fmla="*/ 5379129 h 6855583"/>
              <a:gd name="connsiteX319" fmla="*/ 428 w 4694471"/>
              <a:gd name="connsiteY319" fmla="*/ 4794177 h 6855583"/>
              <a:gd name="connsiteX320" fmla="*/ 428 w 4694471"/>
              <a:gd name="connsiteY320" fmla="*/ 4514790 h 6855583"/>
              <a:gd name="connsiteX321" fmla="*/ 428 w 4694471"/>
              <a:gd name="connsiteY321" fmla="*/ 4437487 h 6855583"/>
              <a:gd name="connsiteX322" fmla="*/ 1710 w 4694471"/>
              <a:gd name="connsiteY322" fmla="*/ 4437487 h 6855583"/>
              <a:gd name="connsiteX323" fmla="*/ 1710 w 4694471"/>
              <a:gd name="connsiteY323" fmla="*/ 4199586 h 6855583"/>
              <a:gd name="connsiteX324" fmla="*/ 0 w 4694471"/>
              <a:gd name="connsiteY324" fmla="*/ 4199586 h 6855583"/>
              <a:gd name="connsiteX325" fmla="*/ 0 w 4694471"/>
              <a:gd name="connsiteY325" fmla="*/ 3265890 h 6855583"/>
              <a:gd name="connsiteX326" fmla="*/ 2738 w 4694471"/>
              <a:gd name="connsiteY326" fmla="*/ 3265890 h 6855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</a:cxnLst>
            <a:rect l="l" t="t" r="r" b="b"/>
            <a:pathLst>
              <a:path w="4694471" h="6855583">
                <a:moveTo>
                  <a:pt x="2738" y="0"/>
                </a:moveTo>
                <a:lnTo>
                  <a:pt x="961282" y="0"/>
                </a:lnTo>
                <a:lnTo>
                  <a:pt x="1974639" y="0"/>
                </a:lnTo>
                <a:lnTo>
                  <a:pt x="2050909" y="0"/>
                </a:lnTo>
                <a:lnTo>
                  <a:pt x="2600795" y="0"/>
                </a:lnTo>
                <a:lnTo>
                  <a:pt x="2671049" y="0"/>
                </a:lnTo>
                <a:lnTo>
                  <a:pt x="2747320" y="0"/>
                </a:lnTo>
                <a:lnTo>
                  <a:pt x="2933183" y="0"/>
                </a:lnTo>
                <a:lnTo>
                  <a:pt x="3009453" y="0"/>
                </a:lnTo>
                <a:lnTo>
                  <a:pt x="3559339" y="0"/>
                </a:lnTo>
                <a:lnTo>
                  <a:pt x="3559339" y="1"/>
                </a:lnTo>
                <a:lnTo>
                  <a:pt x="3629003" y="1"/>
                </a:lnTo>
                <a:lnTo>
                  <a:pt x="3629584" y="1"/>
                </a:lnTo>
                <a:lnTo>
                  <a:pt x="3629593" y="0"/>
                </a:lnTo>
                <a:lnTo>
                  <a:pt x="3629603" y="1"/>
                </a:lnTo>
                <a:lnTo>
                  <a:pt x="3675909" y="1"/>
                </a:lnTo>
                <a:lnTo>
                  <a:pt x="3705273" y="1"/>
                </a:lnTo>
                <a:lnTo>
                  <a:pt x="3705854" y="1"/>
                </a:lnTo>
                <a:lnTo>
                  <a:pt x="3705864" y="0"/>
                </a:lnTo>
                <a:lnTo>
                  <a:pt x="3705872" y="1"/>
                </a:lnTo>
                <a:lnTo>
                  <a:pt x="3752180" y="1"/>
                </a:lnTo>
                <a:lnTo>
                  <a:pt x="3752180" y="2441"/>
                </a:lnTo>
                <a:lnTo>
                  <a:pt x="3799909" y="4925"/>
                </a:lnTo>
                <a:lnTo>
                  <a:pt x="3802804" y="5380"/>
                </a:lnTo>
                <a:lnTo>
                  <a:pt x="3806663" y="5593"/>
                </a:lnTo>
                <a:cubicBezTo>
                  <a:pt x="3864922" y="12094"/>
                  <a:pt x="3921679" y="24167"/>
                  <a:pt x="3976490" y="41323"/>
                </a:cubicBezTo>
                <a:lnTo>
                  <a:pt x="3980485" y="42781"/>
                </a:lnTo>
                <a:lnTo>
                  <a:pt x="3981173" y="42964"/>
                </a:lnTo>
                <a:lnTo>
                  <a:pt x="3988028" y="45538"/>
                </a:lnTo>
                <a:lnTo>
                  <a:pt x="4057188" y="70802"/>
                </a:lnTo>
                <a:lnTo>
                  <a:pt x="4064286" y="74169"/>
                </a:lnTo>
                <a:lnTo>
                  <a:pt x="4066984" y="75182"/>
                </a:lnTo>
                <a:lnTo>
                  <a:pt x="4081569" y="82367"/>
                </a:lnTo>
                <a:lnTo>
                  <a:pt x="4134626" y="107533"/>
                </a:lnTo>
                <a:lnTo>
                  <a:pt x="4144529" y="113381"/>
                </a:lnTo>
                <a:lnTo>
                  <a:pt x="4149036" y="115600"/>
                </a:lnTo>
                <a:lnTo>
                  <a:pt x="4164861" y="125388"/>
                </a:lnTo>
                <a:lnTo>
                  <a:pt x="4208472" y="151145"/>
                </a:lnTo>
                <a:lnTo>
                  <a:pt x="4220829" y="160005"/>
                </a:lnTo>
                <a:lnTo>
                  <a:pt x="4226920" y="163770"/>
                </a:lnTo>
                <a:lnTo>
                  <a:pt x="4241989" y="175174"/>
                </a:lnTo>
                <a:lnTo>
                  <a:pt x="4278383" y="201267"/>
                </a:lnTo>
                <a:lnTo>
                  <a:pt x="4292804" y="213629"/>
                </a:lnTo>
                <a:lnTo>
                  <a:pt x="4300227" y="219244"/>
                </a:lnTo>
                <a:lnTo>
                  <a:pt x="4313741" y="231573"/>
                </a:lnTo>
                <a:lnTo>
                  <a:pt x="4344028" y="257532"/>
                </a:lnTo>
                <a:lnTo>
                  <a:pt x="4360072" y="273838"/>
                </a:lnTo>
                <a:lnTo>
                  <a:pt x="4368549" y="281570"/>
                </a:lnTo>
                <a:lnTo>
                  <a:pt x="4380176" y="294271"/>
                </a:lnTo>
                <a:lnTo>
                  <a:pt x="4405069" y="319569"/>
                </a:lnTo>
                <a:lnTo>
                  <a:pt x="4422252" y="340225"/>
                </a:lnTo>
                <a:lnTo>
                  <a:pt x="4431478" y="350303"/>
                </a:lnTo>
                <a:lnTo>
                  <a:pt x="4441115" y="362902"/>
                </a:lnTo>
                <a:lnTo>
                  <a:pt x="4461169" y="387010"/>
                </a:lnTo>
                <a:lnTo>
                  <a:pt x="4478966" y="412388"/>
                </a:lnTo>
                <a:lnTo>
                  <a:pt x="4488605" y="424989"/>
                </a:lnTo>
                <a:lnTo>
                  <a:pt x="4496275" y="437070"/>
                </a:lnTo>
                <a:lnTo>
                  <a:pt x="4511991" y="459481"/>
                </a:lnTo>
                <a:lnTo>
                  <a:pt x="4529843" y="489942"/>
                </a:lnTo>
                <a:lnTo>
                  <a:pt x="4539521" y="505184"/>
                </a:lnTo>
                <a:lnTo>
                  <a:pt x="4545336" y="516375"/>
                </a:lnTo>
                <a:lnTo>
                  <a:pt x="4557199" y="536617"/>
                </a:lnTo>
                <a:lnTo>
                  <a:pt x="4574510" y="572526"/>
                </a:lnTo>
                <a:lnTo>
                  <a:pt x="4583819" y="590437"/>
                </a:lnTo>
                <a:lnTo>
                  <a:pt x="4587950" y="600402"/>
                </a:lnTo>
                <a:lnTo>
                  <a:pt x="4596457" y="618045"/>
                </a:lnTo>
                <a:lnTo>
                  <a:pt x="4612602" y="659843"/>
                </a:lnTo>
                <a:lnTo>
                  <a:pt x="4621089" y="680300"/>
                </a:lnTo>
                <a:lnTo>
                  <a:pt x="4623764" y="688731"/>
                </a:lnTo>
                <a:lnTo>
                  <a:pt x="4629429" y="703398"/>
                </a:lnTo>
                <a:lnTo>
                  <a:pt x="4643753" y="751729"/>
                </a:lnTo>
                <a:lnTo>
                  <a:pt x="4650921" y="774321"/>
                </a:lnTo>
                <a:lnTo>
                  <a:pt x="4652412" y="780948"/>
                </a:lnTo>
                <a:lnTo>
                  <a:pt x="4655777" y="792304"/>
                </a:lnTo>
                <a:lnTo>
                  <a:pt x="4667595" y="848440"/>
                </a:lnTo>
                <a:lnTo>
                  <a:pt x="4667828" y="849474"/>
                </a:lnTo>
                <a:lnTo>
                  <a:pt x="4669385" y="849474"/>
                </a:lnTo>
                <a:lnTo>
                  <a:pt x="4674465" y="877139"/>
                </a:lnTo>
                <a:lnTo>
                  <a:pt x="4675087" y="882743"/>
                </a:lnTo>
                <a:lnTo>
                  <a:pt x="4676722" y="892259"/>
                </a:lnTo>
                <a:lnTo>
                  <a:pt x="4685327" y="974994"/>
                </a:lnTo>
                <a:lnTo>
                  <a:pt x="4688200" y="1000874"/>
                </a:lnTo>
                <a:lnTo>
                  <a:pt x="4688301" y="1003598"/>
                </a:lnTo>
                <a:lnTo>
                  <a:pt x="4688815" y="1008533"/>
                </a:lnTo>
                <a:lnTo>
                  <a:pt x="4690833" y="1065916"/>
                </a:lnTo>
                <a:lnTo>
                  <a:pt x="4693293" y="1065916"/>
                </a:lnTo>
                <a:lnTo>
                  <a:pt x="4693293" y="1118819"/>
                </a:lnTo>
                <a:lnTo>
                  <a:pt x="4693293" y="1135849"/>
                </a:lnTo>
                <a:lnTo>
                  <a:pt x="4693293" y="1136246"/>
                </a:lnTo>
                <a:lnTo>
                  <a:pt x="4693293" y="1136247"/>
                </a:lnTo>
                <a:lnTo>
                  <a:pt x="4694471" y="1136247"/>
                </a:lnTo>
                <a:lnTo>
                  <a:pt x="4694471" y="1234853"/>
                </a:lnTo>
                <a:lnTo>
                  <a:pt x="4694471" y="1390429"/>
                </a:lnTo>
                <a:lnTo>
                  <a:pt x="4694471" y="1493422"/>
                </a:lnTo>
                <a:lnTo>
                  <a:pt x="4694471" y="1922616"/>
                </a:lnTo>
                <a:lnTo>
                  <a:pt x="4694471" y="1946509"/>
                </a:lnTo>
                <a:lnTo>
                  <a:pt x="4694471" y="2034790"/>
                </a:lnTo>
                <a:lnTo>
                  <a:pt x="4694471" y="2059094"/>
                </a:lnTo>
                <a:lnTo>
                  <a:pt x="4694471" y="2121885"/>
                </a:lnTo>
                <a:lnTo>
                  <a:pt x="4694471" y="2175446"/>
                </a:lnTo>
                <a:lnTo>
                  <a:pt x="4694471" y="2237497"/>
                </a:lnTo>
                <a:lnTo>
                  <a:pt x="4694471" y="2291981"/>
                </a:lnTo>
                <a:lnTo>
                  <a:pt x="4693305" y="2291981"/>
                </a:lnTo>
                <a:lnTo>
                  <a:pt x="4693305" y="3132833"/>
                </a:lnTo>
                <a:lnTo>
                  <a:pt x="4693305" y="3265888"/>
                </a:lnTo>
                <a:lnTo>
                  <a:pt x="4627092" y="3265888"/>
                </a:lnTo>
                <a:lnTo>
                  <a:pt x="3996894" y="3265888"/>
                </a:lnTo>
                <a:lnTo>
                  <a:pt x="3930683" y="3265888"/>
                </a:lnTo>
                <a:lnTo>
                  <a:pt x="3734761" y="3265888"/>
                </a:lnTo>
                <a:lnTo>
                  <a:pt x="3708022" y="3265888"/>
                </a:lnTo>
                <a:lnTo>
                  <a:pt x="3707441" y="3265888"/>
                </a:lnTo>
                <a:lnTo>
                  <a:pt x="3707431" y="3265888"/>
                </a:lnTo>
                <a:lnTo>
                  <a:pt x="3707422" y="3265888"/>
                </a:lnTo>
                <a:lnTo>
                  <a:pt x="3668548" y="3265888"/>
                </a:lnTo>
                <a:lnTo>
                  <a:pt x="3661115" y="3265888"/>
                </a:lnTo>
                <a:lnTo>
                  <a:pt x="3641811" y="3265888"/>
                </a:lnTo>
                <a:lnTo>
                  <a:pt x="3641229" y="3265888"/>
                </a:lnTo>
                <a:lnTo>
                  <a:pt x="3641220" y="3265888"/>
                </a:lnTo>
                <a:lnTo>
                  <a:pt x="3641210" y="3265888"/>
                </a:lnTo>
                <a:lnTo>
                  <a:pt x="3594904" y="3265888"/>
                </a:lnTo>
                <a:lnTo>
                  <a:pt x="3559339" y="3265888"/>
                </a:lnTo>
                <a:lnTo>
                  <a:pt x="3559339" y="3265890"/>
                </a:lnTo>
                <a:lnTo>
                  <a:pt x="3574921" y="3265890"/>
                </a:lnTo>
                <a:lnTo>
                  <a:pt x="3607197" y="3265890"/>
                </a:lnTo>
                <a:lnTo>
                  <a:pt x="3607836" y="3265890"/>
                </a:lnTo>
                <a:lnTo>
                  <a:pt x="3607845" y="3265889"/>
                </a:lnTo>
                <a:lnTo>
                  <a:pt x="3607855" y="3265890"/>
                </a:lnTo>
                <a:lnTo>
                  <a:pt x="3658753" y="3265890"/>
                </a:lnTo>
                <a:lnTo>
                  <a:pt x="3658753" y="3268571"/>
                </a:lnTo>
                <a:lnTo>
                  <a:pt x="3711215" y="3271301"/>
                </a:lnTo>
                <a:lnTo>
                  <a:pt x="3714398" y="3271802"/>
                </a:lnTo>
                <a:lnTo>
                  <a:pt x="3718640" y="3272037"/>
                </a:lnTo>
                <a:cubicBezTo>
                  <a:pt x="3782673" y="3279182"/>
                  <a:pt x="3845058" y="3292453"/>
                  <a:pt x="3905304" y="3311308"/>
                </a:cubicBezTo>
                <a:lnTo>
                  <a:pt x="3909694" y="3312912"/>
                </a:lnTo>
                <a:lnTo>
                  <a:pt x="3910452" y="3313112"/>
                </a:lnTo>
                <a:lnTo>
                  <a:pt x="3917986" y="3315942"/>
                </a:lnTo>
                <a:lnTo>
                  <a:pt x="3994003" y="3343710"/>
                </a:lnTo>
                <a:lnTo>
                  <a:pt x="4001805" y="3347410"/>
                </a:lnTo>
                <a:lnTo>
                  <a:pt x="4004771" y="3348524"/>
                </a:lnTo>
                <a:lnTo>
                  <a:pt x="4020801" y="3356422"/>
                </a:lnTo>
                <a:lnTo>
                  <a:pt x="4079119" y="3384083"/>
                </a:lnTo>
                <a:lnTo>
                  <a:pt x="4090003" y="3390510"/>
                </a:lnTo>
                <a:lnTo>
                  <a:pt x="4094957" y="3392950"/>
                </a:lnTo>
                <a:lnTo>
                  <a:pt x="4112351" y="3403709"/>
                </a:lnTo>
                <a:lnTo>
                  <a:pt x="4160286" y="3432019"/>
                </a:lnTo>
                <a:lnTo>
                  <a:pt x="4173870" y="3441758"/>
                </a:lnTo>
                <a:lnTo>
                  <a:pt x="4180562" y="3445896"/>
                </a:lnTo>
                <a:lnTo>
                  <a:pt x="4197126" y="3458431"/>
                </a:lnTo>
                <a:lnTo>
                  <a:pt x="4237129" y="3487112"/>
                </a:lnTo>
                <a:lnTo>
                  <a:pt x="4252979" y="3500699"/>
                </a:lnTo>
                <a:lnTo>
                  <a:pt x="4261138" y="3506870"/>
                </a:lnTo>
                <a:lnTo>
                  <a:pt x="4275993" y="3520422"/>
                </a:lnTo>
                <a:lnTo>
                  <a:pt x="4309284" y="3548954"/>
                </a:lnTo>
                <a:lnTo>
                  <a:pt x="4326916" y="3566877"/>
                </a:lnTo>
                <a:lnTo>
                  <a:pt x="4336234" y="3575376"/>
                </a:lnTo>
                <a:lnTo>
                  <a:pt x="4349015" y="3589336"/>
                </a:lnTo>
                <a:lnTo>
                  <a:pt x="4376377" y="3617142"/>
                </a:lnTo>
                <a:lnTo>
                  <a:pt x="4395261" y="3639845"/>
                </a:lnTo>
                <a:lnTo>
                  <a:pt x="4405403" y="3650923"/>
                </a:lnTo>
                <a:lnTo>
                  <a:pt x="4415995" y="3664770"/>
                </a:lnTo>
                <a:lnTo>
                  <a:pt x="4438037" y="3691269"/>
                </a:lnTo>
                <a:lnTo>
                  <a:pt x="4457599" y="3719164"/>
                </a:lnTo>
                <a:lnTo>
                  <a:pt x="4468193" y="3733015"/>
                </a:lnTo>
                <a:lnTo>
                  <a:pt x="4476623" y="3746294"/>
                </a:lnTo>
                <a:lnTo>
                  <a:pt x="4493900" y="3770927"/>
                </a:lnTo>
                <a:lnTo>
                  <a:pt x="4513522" y="3804408"/>
                </a:lnTo>
                <a:lnTo>
                  <a:pt x="4524158" y="3821161"/>
                </a:lnTo>
                <a:lnTo>
                  <a:pt x="4530550" y="3833462"/>
                </a:lnTo>
                <a:lnTo>
                  <a:pt x="4543589" y="3855710"/>
                </a:lnTo>
                <a:lnTo>
                  <a:pt x="4562617" y="3895180"/>
                </a:lnTo>
                <a:lnTo>
                  <a:pt x="4572847" y="3914866"/>
                </a:lnTo>
                <a:lnTo>
                  <a:pt x="4577389" y="3925819"/>
                </a:lnTo>
                <a:lnTo>
                  <a:pt x="4586740" y="3945212"/>
                </a:lnTo>
                <a:lnTo>
                  <a:pt x="4604487" y="3991153"/>
                </a:lnTo>
                <a:lnTo>
                  <a:pt x="4613813" y="4013638"/>
                </a:lnTo>
                <a:lnTo>
                  <a:pt x="4616753" y="4022906"/>
                </a:lnTo>
                <a:lnTo>
                  <a:pt x="4622981" y="4039027"/>
                </a:lnTo>
                <a:lnTo>
                  <a:pt x="4638724" y="4092151"/>
                </a:lnTo>
                <a:lnTo>
                  <a:pt x="4646603" y="4116982"/>
                </a:lnTo>
                <a:lnTo>
                  <a:pt x="4648243" y="4124267"/>
                </a:lnTo>
                <a:lnTo>
                  <a:pt x="4651941" y="4136749"/>
                </a:lnTo>
                <a:lnTo>
                  <a:pt x="4664931" y="4198450"/>
                </a:lnTo>
                <a:lnTo>
                  <a:pt x="4665187" y="4199586"/>
                </a:lnTo>
                <a:lnTo>
                  <a:pt x="4666897" y="4199586"/>
                </a:lnTo>
                <a:lnTo>
                  <a:pt x="4672481" y="4229994"/>
                </a:lnTo>
                <a:lnTo>
                  <a:pt x="4673165" y="4236155"/>
                </a:lnTo>
                <a:lnTo>
                  <a:pt x="4674963" y="4246612"/>
                </a:lnTo>
                <a:lnTo>
                  <a:pt x="4684421" y="4337551"/>
                </a:lnTo>
                <a:lnTo>
                  <a:pt x="4687579" y="4365998"/>
                </a:lnTo>
                <a:lnTo>
                  <a:pt x="4687689" y="4368991"/>
                </a:lnTo>
                <a:lnTo>
                  <a:pt x="4688255" y="4374414"/>
                </a:lnTo>
                <a:lnTo>
                  <a:pt x="4690473" y="4437487"/>
                </a:lnTo>
                <a:lnTo>
                  <a:pt x="4693177" y="4437487"/>
                </a:lnTo>
                <a:lnTo>
                  <a:pt x="4693177" y="4495636"/>
                </a:lnTo>
                <a:lnTo>
                  <a:pt x="4693177" y="4514355"/>
                </a:lnTo>
                <a:lnTo>
                  <a:pt x="4693177" y="4514790"/>
                </a:lnTo>
                <a:lnTo>
                  <a:pt x="4693177" y="4514792"/>
                </a:lnTo>
                <a:lnTo>
                  <a:pt x="4694471" y="4514792"/>
                </a:lnTo>
                <a:lnTo>
                  <a:pt x="4694471" y="4623176"/>
                </a:lnTo>
                <a:lnTo>
                  <a:pt x="4694471" y="4794177"/>
                </a:lnTo>
                <a:lnTo>
                  <a:pt x="4694471" y="4907381"/>
                </a:lnTo>
                <a:lnTo>
                  <a:pt x="4694471" y="5379129"/>
                </a:lnTo>
                <a:lnTo>
                  <a:pt x="4694471" y="5405390"/>
                </a:lnTo>
                <a:lnTo>
                  <a:pt x="4694471" y="5502425"/>
                </a:lnTo>
                <a:lnTo>
                  <a:pt x="4694471" y="5529139"/>
                </a:lnTo>
                <a:lnTo>
                  <a:pt x="4694471" y="5598155"/>
                </a:lnTo>
                <a:lnTo>
                  <a:pt x="4694471" y="5657026"/>
                </a:lnTo>
                <a:lnTo>
                  <a:pt x="4694471" y="5725229"/>
                </a:lnTo>
                <a:lnTo>
                  <a:pt x="4694471" y="5785115"/>
                </a:lnTo>
                <a:lnTo>
                  <a:pt x="4693189" y="5785115"/>
                </a:lnTo>
                <a:lnTo>
                  <a:pt x="4693189" y="6709336"/>
                </a:lnTo>
                <a:lnTo>
                  <a:pt x="4693189" y="6855583"/>
                </a:lnTo>
                <a:lnTo>
                  <a:pt x="4620412" y="6855583"/>
                </a:lnTo>
                <a:lnTo>
                  <a:pt x="3976799" y="6855583"/>
                </a:lnTo>
                <a:lnTo>
                  <a:pt x="3927731" y="6855583"/>
                </a:lnTo>
                <a:lnTo>
                  <a:pt x="3904023" y="6855583"/>
                </a:lnTo>
                <a:lnTo>
                  <a:pt x="3854954" y="6855583"/>
                </a:lnTo>
                <a:lnTo>
                  <a:pt x="3734645" y="6855583"/>
                </a:lnTo>
                <a:lnTo>
                  <a:pt x="3661868" y="6855583"/>
                </a:lnTo>
                <a:lnTo>
                  <a:pt x="3610218" y="6855583"/>
                </a:lnTo>
                <a:lnTo>
                  <a:pt x="3609578" y="6855583"/>
                </a:lnTo>
                <a:lnTo>
                  <a:pt x="3609569" y="6855583"/>
                </a:lnTo>
                <a:lnTo>
                  <a:pt x="3609558" y="6855583"/>
                </a:lnTo>
                <a:lnTo>
                  <a:pt x="3559339" y="6855583"/>
                </a:lnTo>
                <a:lnTo>
                  <a:pt x="3558661" y="6855583"/>
                </a:lnTo>
                <a:lnTo>
                  <a:pt x="3537440" y="6855583"/>
                </a:lnTo>
                <a:lnTo>
                  <a:pt x="3536802" y="6855583"/>
                </a:lnTo>
                <a:lnTo>
                  <a:pt x="3536793" y="6855583"/>
                </a:lnTo>
                <a:lnTo>
                  <a:pt x="3536782" y="6855583"/>
                </a:lnTo>
                <a:lnTo>
                  <a:pt x="3485884" y="6855583"/>
                </a:lnTo>
                <a:lnTo>
                  <a:pt x="3211343" y="6855583"/>
                </a:lnTo>
                <a:lnTo>
                  <a:pt x="3138565" y="6855583"/>
                </a:lnTo>
                <a:lnTo>
                  <a:pt x="3018255" y="6855583"/>
                </a:lnTo>
                <a:lnTo>
                  <a:pt x="2969187" y="6855583"/>
                </a:lnTo>
                <a:lnTo>
                  <a:pt x="2945479" y="6855583"/>
                </a:lnTo>
                <a:lnTo>
                  <a:pt x="2896410" y="6855583"/>
                </a:lnTo>
                <a:lnTo>
                  <a:pt x="2893829" y="6855583"/>
                </a:lnTo>
                <a:lnTo>
                  <a:pt x="2893189" y="6855583"/>
                </a:lnTo>
                <a:lnTo>
                  <a:pt x="2893179" y="6855583"/>
                </a:lnTo>
                <a:lnTo>
                  <a:pt x="2893168" y="6855583"/>
                </a:lnTo>
                <a:lnTo>
                  <a:pt x="2844760" y="6855583"/>
                </a:lnTo>
                <a:lnTo>
                  <a:pt x="2844120" y="6855583"/>
                </a:lnTo>
                <a:lnTo>
                  <a:pt x="2844111" y="6855583"/>
                </a:lnTo>
                <a:lnTo>
                  <a:pt x="2844100" y="6855583"/>
                </a:lnTo>
                <a:lnTo>
                  <a:pt x="2842271" y="6855583"/>
                </a:lnTo>
                <a:lnTo>
                  <a:pt x="2821051" y="6855583"/>
                </a:lnTo>
                <a:lnTo>
                  <a:pt x="2820413" y="6855583"/>
                </a:lnTo>
                <a:lnTo>
                  <a:pt x="2820403" y="6855583"/>
                </a:lnTo>
                <a:lnTo>
                  <a:pt x="2820392" y="6855583"/>
                </a:lnTo>
                <a:lnTo>
                  <a:pt x="2793202" y="6855583"/>
                </a:lnTo>
                <a:lnTo>
                  <a:pt x="2771983" y="6855583"/>
                </a:lnTo>
                <a:lnTo>
                  <a:pt x="2771344" y="6855583"/>
                </a:lnTo>
                <a:lnTo>
                  <a:pt x="2771334" y="6855583"/>
                </a:lnTo>
                <a:lnTo>
                  <a:pt x="2771323" y="6855583"/>
                </a:lnTo>
                <a:lnTo>
                  <a:pt x="2769494" y="6855583"/>
                </a:lnTo>
                <a:lnTo>
                  <a:pt x="2720426" y="6855583"/>
                </a:lnTo>
                <a:lnTo>
                  <a:pt x="2651674" y="6855583"/>
                </a:lnTo>
                <a:lnTo>
                  <a:pt x="2651034" y="6855583"/>
                </a:lnTo>
                <a:lnTo>
                  <a:pt x="2651025" y="6855583"/>
                </a:lnTo>
                <a:lnTo>
                  <a:pt x="2651014" y="6855583"/>
                </a:lnTo>
                <a:lnTo>
                  <a:pt x="2600795" y="6855583"/>
                </a:lnTo>
                <a:lnTo>
                  <a:pt x="2600117" y="6855583"/>
                </a:lnTo>
                <a:lnTo>
                  <a:pt x="2578896" y="6855583"/>
                </a:lnTo>
                <a:lnTo>
                  <a:pt x="2578258" y="6855583"/>
                </a:lnTo>
                <a:lnTo>
                  <a:pt x="2578249" y="6855583"/>
                </a:lnTo>
                <a:lnTo>
                  <a:pt x="2578238" y="6855583"/>
                </a:lnTo>
                <a:lnTo>
                  <a:pt x="2527340" y="6855583"/>
                </a:lnTo>
                <a:lnTo>
                  <a:pt x="2252799" y="6855583"/>
                </a:lnTo>
                <a:lnTo>
                  <a:pt x="2180021" y="6855583"/>
                </a:lnTo>
                <a:lnTo>
                  <a:pt x="2128371" y="6855583"/>
                </a:lnTo>
                <a:lnTo>
                  <a:pt x="2127731" y="6855583"/>
                </a:lnTo>
                <a:lnTo>
                  <a:pt x="2127721" y="6855583"/>
                </a:lnTo>
                <a:lnTo>
                  <a:pt x="2127710" y="6855583"/>
                </a:lnTo>
                <a:lnTo>
                  <a:pt x="2076812" y="6855583"/>
                </a:lnTo>
                <a:lnTo>
                  <a:pt x="2055593" y="6855583"/>
                </a:lnTo>
                <a:lnTo>
                  <a:pt x="2054955" y="6855583"/>
                </a:lnTo>
                <a:lnTo>
                  <a:pt x="2054944" y="6855583"/>
                </a:lnTo>
                <a:lnTo>
                  <a:pt x="2054933" y="6855583"/>
                </a:lnTo>
                <a:lnTo>
                  <a:pt x="2004036" y="6855583"/>
                </a:lnTo>
                <a:lnTo>
                  <a:pt x="1935285" y="6855583"/>
                </a:lnTo>
                <a:lnTo>
                  <a:pt x="1934645" y="6855583"/>
                </a:lnTo>
                <a:lnTo>
                  <a:pt x="1934635" y="6855583"/>
                </a:lnTo>
                <a:lnTo>
                  <a:pt x="1934624" y="6855583"/>
                </a:lnTo>
                <a:lnTo>
                  <a:pt x="1886216" y="6855583"/>
                </a:lnTo>
                <a:lnTo>
                  <a:pt x="1885576" y="6855583"/>
                </a:lnTo>
                <a:lnTo>
                  <a:pt x="1885567" y="6855583"/>
                </a:lnTo>
                <a:lnTo>
                  <a:pt x="1885556" y="6855583"/>
                </a:lnTo>
                <a:lnTo>
                  <a:pt x="1883727" y="6855583"/>
                </a:lnTo>
                <a:lnTo>
                  <a:pt x="1862507" y="6855583"/>
                </a:lnTo>
                <a:lnTo>
                  <a:pt x="1861869" y="6855583"/>
                </a:lnTo>
                <a:lnTo>
                  <a:pt x="1861859" y="6855583"/>
                </a:lnTo>
                <a:lnTo>
                  <a:pt x="1861848" y="6855583"/>
                </a:lnTo>
                <a:lnTo>
                  <a:pt x="1834658" y="6855583"/>
                </a:lnTo>
                <a:lnTo>
                  <a:pt x="1813439" y="6855583"/>
                </a:lnTo>
                <a:lnTo>
                  <a:pt x="1812800" y="6855583"/>
                </a:lnTo>
                <a:lnTo>
                  <a:pt x="1812790" y="6855583"/>
                </a:lnTo>
                <a:lnTo>
                  <a:pt x="1812779" y="6855583"/>
                </a:lnTo>
                <a:lnTo>
                  <a:pt x="1810950" y="6855583"/>
                </a:lnTo>
                <a:lnTo>
                  <a:pt x="1761882" y="6855583"/>
                </a:lnTo>
                <a:lnTo>
                  <a:pt x="1169827" y="6855583"/>
                </a:lnTo>
                <a:lnTo>
                  <a:pt x="1169187" y="6855583"/>
                </a:lnTo>
                <a:lnTo>
                  <a:pt x="1169177" y="6855583"/>
                </a:lnTo>
                <a:lnTo>
                  <a:pt x="1169166" y="6855583"/>
                </a:lnTo>
                <a:lnTo>
                  <a:pt x="1118268" y="6855583"/>
                </a:lnTo>
                <a:lnTo>
                  <a:pt x="1097049" y="6855583"/>
                </a:lnTo>
                <a:lnTo>
                  <a:pt x="1096411" y="6855583"/>
                </a:lnTo>
                <a:lnTo>
                  <a:pt x="1096400" y="6855583"/>
                </a:lnTo>
                <a:lnTo>
                  <a:pt x="1096389" y="6855583"/>
                </a:lnTo>
                <a:lnTo>
                  <a:pt x="1045492" y="6855583"/>
                </a:lnTo>
                <a:lnTo>
                  <a:pt x="961282" y="6855583"/>
                </a:lnTo>
                <a:lnTo>
                  <a:pt x="2738" y="6855583"/>
                </a:lnTo>
                <a:lnTo>
                  <a:pt x="2738" y="5657026"/>
                </a:lnTo>
                <a:lnTo>
                  <a:pt x="1722" y="5657026"/>
                </a:lnTo>
                <a:lnTo>
                  <a:pt x="1722" y="5612741"/>
                </a:lnTo>
                <a:lnTo>
                  <a:pt x="1722" y="5598486"/>
                </a:lnTo>
                <a:lnTo>
                  <a:pt x="1722" y="5598155"/>
                </a:lnTo>
                <a:lnTo>
                  <a:pt x="426" y="5598155"/>
                </a:lnTo>
                <a:lnTo>
                  <a:pt x="426" y="5405390"/>
                </a:lnTo>
                <a:lnTo>
                  <a:pt x="426" y="5379129"/>
                </a:lnTo>
                <a:lnTo>
                  <a:pt x="428" y="4794177"/>
                </a:lnTo>
                <a:lnTo>
                  <a:pt x="428" y="4514790"/>
                </a:lnTo>
                <a:lnTo>
                  <a:pt x="428" y="4437487"/>
                </a:lnTo>
                <a:lnTo>
                  <a:pt x="1710" y="4437487"/>
                </a:lnTo>
                <a:lnTo>
                  <a:pt x="1710" y="4199586"/>
                </a:lnTo>
                <a:lnTo>
                  <a:pt x="0" y="4199586"/>
                </a:lnTo>
                <a:lnTo>
                  <a:pt x="0" y="3265890"/>
                </a:lnTo>
                <a:lnTo>
                  <a:pt x="2738" y="326589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14988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E570EC-073C-4640-BFF5-772A5C70DB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2051049"/>
            <a:ext cx="12191999" cy="2570073"/>
          </a:xfrm>
          <a:custGeom>
            <a:avLst/>
            <a:gdLst>
              <a:gd name="connsiteX0" fmla="*/ 1126324 w 12191999"/>
              <a:gd name="connsiteY0" fmla="*/ 0 h 2570073"/>
              <a:gd name="connsiteX1" fmla="*/ 2454730 w 12191999"/>
              <a:gd name="connsiteY1" fmla="*/ 0 h 2570073"/>
              <a:gd name="connsiteX2" fmla="*/ 3481005 w 12191999"/>
              <a:gd name="connsiteY2" fmla="*/ 0 h 2570073"/>
              <a:gd name="connsiteX3" fmla="*/ 3540677 w 12191999"/>
              <a:gd name="connsiteY3" fmla="*/ 0 h 2570073"/>
              <a:gd name="connsiteX4" fmla="*/ 4809411 w 12191999"/>
              <a:gd name="connsiteY4" fmla="*/ 0 h 2570073"/>
              <a:gd name="connsiteX5" fmla="*/ 4869084 w 12191999"/>
              <a:gd name="connsiteY5" fmla="*/ 0 h 2570073"/>
              <a:gd name="connsiteX6" fmla="*/ 4869084 w 12191999"/>
              <a:gd name="connsiteY6" fmla="*/ 1332 h 2570073"/>
              <a:gd name="connsiteX7" fmla="*/ 5935733 w 12191999"/>
              <a:gd name="connsiteY7" fmla="*/ 1332 h 2570073"/>
              <a:gd name="connsiteX8" fmla="*/ 5935733 w 12191999"/>
              <a:gd name="connsiteY8" fmla="*/ 316755 h 2570073"/>
              <a:gd name="connsiteX9" fmla="*/ 5935733 w 12191999"/>
              <a:gd name="connsiteY9" fmla="*/ 1082676 h 2570073"/>
              <a:gd name="connsiteX10" fmla="*/ 5935736 w 12191999"/>
              <a:gd name="connsiteY10" fmla="*/ 1082676 h 2570073"/>
              <a:gd name="connsiteX11" fmla="*/ 5935736 w 12191999"/>
              <a:gd name="connsiteY11" fmla="*/ 1074434 h 2570073"/>
              <a:gd name="connsiteX12" fmla="*/ 5938272 w 12191999"/>
              <a:gd name="connsiteY12" fmla="*/ 1074434 h 2570073"/>
              <a:gd name="connsiteX13" fmla="*/ 5940853 w 12191999"/>
              <a:gd name="connsiteY13" fmla="*/ 1019920 h 2570073"/>
              <a:gd name="connsiteX14" fmla="*/ 5941325 w 12191999"/>
              <a:gd name="connsiteY14" fmla="*/ 1016613 h 2570073"/>
              <a:gd name="connsiteX15" fmla="*/ 5941548 w 12191999"/>
              <a:gd name="connsiteY15" fmla="*/ 1012207 h 2570073"/>
              <a:gd name="connsiteX16" fmla="*/ 5978687 w 12191999"/>
              <a:gd name="connsiteY16" fmla="*/ 818244 h 2570073"/>
              <a:gd name="connsiteX17" fmla="*/ 5980204 w 12191999"/>
              <a:gd name="connsiteY17" fmla="*/ 813682 h 2570073"/>
              <a:gd name="connsiteX18" fmla="*/ 5980394 w 12191999"/>
              <a:gd name="connsiteY18" fmla="*/ 812894 h 2570073"/>
              <a:gd name="connsiteX19" fmla="*/ 5983069 w 12191999"/>
              <a:gd name="connsiteY19" fmla="*/ 805066 h 2570073"/>
              <a:gd name="connsiteX20" fmla="*/ 6009331 w 12191999"/>
              <a:gd name="connsiteY20" fmla="*/ 726078 h 2570073"/>
              <a:gd name="connsiteX21" fmla="*/ 6012831 w 12191999"/>
              <a:gd name="connsiteY21" fmla="*/ 717971 h 2570073"/>
              <a:gd name="connsiteX22" fmla="*/ 6013884 w 12191999"/>
              <a:gd name="connsiteY22" fmla="*/ 714889 h 2570073"/>
              <a:gd name="connsiteX23" fmla="*/ 6021353 w 12191999"/>
              <a:gd name="connsiteY23" fmla="*/ 698231 h 2570073"/>
              <a:gd name="connsiteX24" fmla="*/ 6047512 w 12191999"/>
              <a:gd name="connsiteY24" fmla="*/ 637633 h 2570073"/>
              <a:gd name="connsiteX25" fmla="*/ 6053591 w 12191999"/>
              <a:gd name="connsiteY25" fmla="*/ 626323 h 2570073"/>
              <a:gd name="connsiteX26" fmla="*/ 6055898 w 12191999"/>
              <a:gd name="connsiteY26" fmla="*/ 621176 h 2570073"/>
              <a:gd name="connsiteX27" fmla="*/ 6066073 w 12191999"/>
              <a:gd name="connsiteY27" fmla="*/ 603101 h 2570073"/>
              <a:gd name="connsiteX28" fmla="*/ 6092845 w 12191999"/>
              <a:gd name="connsiteY28" fmla="*/ 553294 h 2570073"/>
              <a:gd name="connsiteX29" fmla="*/ 6102056 w 12191999"/>
              <a:gd name="connsiteY29" fmla="*/ 539178 h 2570073"/>
              <a:gd name="connsiteX30" fmla="*/ 6105971 w 12191999"/>
              <a:gd name="connsiteY30" fmla="*/ 532224 h 2570073"/>
              <a:gd name="connsiteX31" fmla="*/ 6117824 w 12191999"/>
              <a:gd name="connsiteY31" fmla="*/ 515013 h 2570073"/>
              <a:gd name="connsiteX32" fmla="*/ 6144948 w 12191999"/>
              <a:gd name="connsiteY32" fmla="*/ 473445 h 2570073"/>
              <a:gd name="connsiteX33" fmla="*/ 6157796 w 12191999"/>
              <a:gd name="connsiteY33" fmla="*/ 456974 h 2570073"/>
              <a:gd name="connsiteX34" fmla="*/ 6163633 w 12191999"/>
              <a:gd name="connsiteY34" fmla="*/ 448498 h 2570073"/>
              <a:gd name="connsiteX35" fmla="*/ 6176449 w 12191999"/>
              <a:gd name="connsiteY35" fmla="*/ 433062 h 2570073"/>
              <a:gd name="connsiteX36" fmla="*/ 6203434 w 12191999"/>
              <a:gd name="connsiteY36" fmla="*/ 398470 h 2570073"/>
              <a:gd name="connsiteX37" fmla="*/ 6220382 w 12191999"/>
              <a:gd name="connsiteY37" fmla="*/ 380147 h 2570073"/>
              <a:gd name="connsiteX38" fmla="*/ 6228421 w 12191999"/>
              <a:gd name="connsiteY38" fmla="*/ 370466 h 2570073"/>
              <a:gd name="connsiteX39" fmla="*/ 6241622 w 12191999"/>
              <a:gd name="connsiteY39" fmla="*/ 357186 h 2570073"/>
              <a:gd name="connsiteX40" fmla="*/ 6267920 w 12191999"/>
              <a:gd name="connsiteY40" fmla="*/ 328755 h 2570073"/>
              <a:gd name="connsiteX41" fmla="*/ 6289391 w 12191999"/>
              <a:gd name="connsiteY41" fmla="*/ 309131 h 2570073"/>
              <a:gd name="connsiteX42" fmla="*/ 6299866 w 12191999"/>
              <a:gd name="connsiteY42" fmla="*/ 298593 h 2570073"/>
              <a:gd name="connsiteX43" fmla="*/ 6312962 w 12191999"/>
              <a:gd name="connsiteY43" fmla="*/ 287587 h 2570073"/>
              <a:gd name="connsiteX44" fmla="*/ 6338022 w 12191999"/>
              <a:gd name="connsiteY44" fmla="*/ 264683 h 2570073"/>
              <a:gd name="connsiteX45" fmla="*/ 6364404 w 12191999"/>
              <a:gd name="connsiteY45" fmla="*/ 244356 h 2570073"/>
              <a:gd name="connsiteX46" fmla="*/ 6377502 w 12191999"/>
              <a:gd name="connsiteY46" fmla="*/ 233348 h 2570073"/>
              <a:gd name="connsiteX47" fmla="*/ 6390060 w 12191999"/>
              <a:gd name="connsiteY47" fmla="*/ 224587 h 2570073"/>
              <a:gd name="connsiteX48" fmla="*/ 6413355 w 12191999"/>
              <a:gd name="connsiteY48" fmla="*/ 206638 h 2570073"/>
              <a:gd name="connsiteX49" fmla="*/ 6445019 w 12191999"/>
              <a:gd name="connsiteY49" fmla="*/ 186248 h 2570073"/>
              <a:gd name="connsiteX50" fmla="*/ 6460863 w 12191999"/>
              <a:gd name="connsiteY50" fmla="*/ 175195 h 2570073"/>
              <a:gd name="connsiteX51" fmla="*/ 6472496 w 12191999"/>
              <a:gd name="connsiteY51" fmla="*/ 168554 h 2570073"/>
              <a:gd name="connsiteX52" fmla="*/ 6493536 w 12191999"/>
              <a:gd name="connsiteY52" fmla="*/ 155005 h 2570073"/>
              <a:gd name="connsiteX53" fmla="*/ 6530863 w 12191999"/>
              <a:gd name="connsiteY53" fmla="*/ 135232 h 2570073"/>
              <a:gd name="connsiteX54" fmla="*/ 6549482 w 12191999"/>
              <a:gd name="connsiteY54" fmla="*/ 124603 h 2570073"/>
              <a:gd name="connsiteX55" fmla="*/ 6559839 w 12191999"/>
              <a:gd name="connsiteY55" fmla="*/ 119882 h 2570073"/>
              <a:gd name="connsiteX56" fmla="*/ 6578180 w 12191999"/>
              <a:gd name="connsiteY56" fmla="*/ 110167 h 2570073"/>
              <a:gd name="connsiteX57" fmla="*/ 6621627 w 12191999"/>
              <a:gd name="connsiteY57" fmla="*/ 91726 h 2570073"/>
              <a:gd name="connsiteX58" fmla="*/ 6642891 w 12191999"/>
              <a:gd name="connsiteY58" fmla="*/ 82036 h 2570073"/>
              <a:gd name="connsiteX59" fmla="*/ 6651657 w 12191999"/>
              <a:gd name="connsiteY59" fmla="*/ 78980 h 2570073"/>
              <a:gd name="connsiteX60" fmla="*/ 6666902 w 12191999"/>
              <a:gd name="connsiteY60" fmla="*/ 72509 h 2570073"/>
              <a:gd name="connsiteX61" fmla="*/ 6717142 w 12191999"/>
              <a:gd name="connsiteY61" fmla="*/ 56150 h 2570073"/>
              <a:gd name="connsiteX62" fmla="*/ 6740626 w 12191999"/>
              <a:gd name="connsiteY62" fmla="*/ 47963 h 2570073"/>
              <a:gd name="connsiteX63" fmla="*/ 6747514 w 12191999"/>
              <a:gd name="connsiteY63" fmla="*/ 46260 h 2570073"/>
              <a:gd name="connsiteX64" fmla="*/ 6759319 w 12191999"/>
              <a:gd name="connsiteY64" fmla="*/ 42416 h 2570073"/>
              <a:gd name="connsiteX65" fmla="*/ 6817670 w 12191999"/>
              <a:gd name="connsiteY65" fmla="*/ 28918 h 2570073"/>
              <a:gd name="connsiteX66" fmla="*/ 6842218 w 12191999"/>
              <a:gd name="connsiteY66" fmla="*/ 22850 h 2570073"/>
              <a:gd name="connsiteX67" fmla="*/ 6846973 w 12191999"/>
              <a:gd name="connsiteY67" fmla="*/ 22139 h 2570073"/>
              <a:gd name="connsiteX68" fmla="*/ 6855046 w 12191999"/>
              <a:gd name="connsiteY68" fmla="*/ 20272 h 2570073"/>
              <a:gd name="connsiteX69" fmla="*/ 6925243 w 12191999"/>
              <a:gd name="connsiteY69" fmla="*/ 10445 h 2570073"/>
              <a:gd name="connsiteX70" fmla="*/ 6947201 w 12191999"/>
              <a:gd name="connsiteY70" fmla="*/ 7163 h 2570073"/>
              <a:gd name="connsiteX71" fmla="*/ 6949512 w 12191999"/>
              <a:gd name="connsiteY71" fmla="*/ 7047 h 2570073"/>
              <a:gd name="connsiteX72" fmla="*/ 6953699 w 12191999"/>
              <a:gd name="connsiteY72" fmla="*/ 6460 h 2570073"/>
              <a:gd name="connsiteX73" fmla="*/ 7002386 w 12191999"/>
              <a:gd name="connsiteY73" fmla="*/ 4155 h 2570073"/>
              <a:gd name="connsiteX74" fmla="*/ 7002386 w 12191999"/>
              <a:gd name="connsiteY74" fmla="*/ 1346 h 2570073"/>
              <a:gd name="connsiteX75" fmla="*/ 7047272 w 12191999"/>
              <a:gd name="connsiteY75" fmla="*/ 1346 h 2570073"/>
              <a:gd name="connsiteX76" fmla="*/ 7061721 w 12191999"/>
              <a:gd name="connsiteY76" fmla="*/ 1346 h 2570073"/>
              <a:gd name="connsiteX77" fmla="*/ 7062058 w 12191999"/>
              <a:gd name="connsiteY77" fmla="*/ 1346 h 2570073"/>
              <a:gd name="connsiteX78" fmla="*/ 7062058 w 12191999"/>
              <a:gd name="connsiteY78" fmla="*/ 0 h 2570073"/>
              <a:gd name="connsiteX79" fmla="*/ 9416738 w 12191999"/>
              <a:gd name="connsiteY79" fmla="*/ 0 h 2570073"/>
              <a:gd name="connsiteX80" fmla="*/ 9476411 w 12191999"/>
              <a:gd name="connsiteY80" fmla="*/ 0 h 2570073"/>
              <a:gd name="connsiteX81" fmla="*/ 9476411 w 12191999"/>
              <a:gd name="connsiteY81" fmla="*/ 1332 h 2570073"/>
              <a:gd name="connsiteX82" fmla="*/ 9621926 w 12191999"/>
              <a:gd name="connsiteY82" fmla="*/ 1332 h 2570073"/>
              <a:gd name="connsiteX83" fmla="*/ 9621926 w 12191999"/>
              <a:gd name="connsiteY83" fmla="*/ 1232695 h 2570073"/>
              <a:gd name="connsiteX84" fmla="*/ 9621927 w 12191999"/>
              <a:gd name="connsiteY84" fmla="*/ 1232695 h 2570073"/>
              <a:gd name="connsiteX85" fmla="*/ 9621927 w 12191999"/>
              <a:gd name="connsiteY85" fmla="*/ 1224666 h 2570073"/>
              <a:gd name="connsiteX86" fmla="*/ 9624974 w 12191999"/>
              <a:gd name="connsiteY86" fmla="*/ 1224666 h 2570073"/>
              <a:gd name="connsiteX87" fmla="*/ 9628560 w 12191999"/>
              <a:gd name="connsiteY87" fmla="*/ 1153649 h 2570073"/>
              <a:gd name="connsiteX88" fmla="*/ 10906963 w 12191999"/>
              <a:gd name="connsiteY88" fmla="*/ 0 h 2570073"/>
              <a:gd name="connsiteX89" fmla="*/ 12191999 w 12191999"/>
              <a:gd name="connsiteY89" fmla="*/ 1285037 h 2570073"/>
              <a:gd name="connsiteX90" fmla="*/ 11038350 w 12191999"/>
              <a:gd name="connsiteY90" fmla="*/ 2563438 h 2570073"/>
              <a:gd name="connsiteX91" fmla="*/ 10924212 w 12191999"/>
              <a:gd name="connsiteY91" fmla="*/ 2569202 h 2570073"/>
              <a:gd name="connsiteX92" fmla="*/ 10924212 w 12191999"/>
              <a:gd name="connsiteY92" fmla="*/ 2570073 h 2570073"/>
              <a:gd name="connsiteX93" fmla="*/ 10906963 w 12191999"/>
              <a:gd name="connsiteY93" fmla="*/ 2570073 h 2570073"/>
              <a:gd name="connsiteX94" fmla="*/ 10572749 w 12191999"/>
              <a:gd name="connsiteY94" fmla="*/ 2570073 h 2570073"/>
              <a:gd name="connsiteX95" fmla="*/ 9621927 w 12191999"/>
              <a:gd name="connsiteY95" fmla="*/ 2570073 h 2570073"/>
              <a:gd name="connsiteX96" fmla="*/ 9416738 w 12191999"/>
              <a:gd name="connsiteY96" fmla="*/ 2570073 h 2570073"/>
              <a:gd name="connsiteX97" fmla="*/ 7062058 w 12191999"/>
              <a:gd name="connsiteY97" fmla="*/ 2570073 h 2570073"/>
              <a:gd name="connsiteX98" fmla="*/ 7002386 w 12191999"/>
              <a:gd name="connsiteY98" fmla="*/ 2570073 h 2570073"/>
              <a:gd name="connsiteX99" fmla="*/ 6572249 w 12191999"/>
              <a:gd name="connsiteY99" fmla="*/ 2570073 h 2570073"/>
              <a:gd name="connsiteX100" fmla="*/ 6572249 w 12191999"/>
              <a:gd name="connsiteY100" fmla="*/ 2568741 h 2570073"/>
              <a:gd name="connsiteX101" fmla="*/ 5935736 w 12191999"/>
              <a:gd name="connsiteY101" fmla="*/ 2568741 h 2570073"/>
              <a:gd name="connsiteX102" fmla="*/ 5935736 w 12191999"/>
              <a:gd name="connsiteY102" fmla="*/ 2253318 h 2570073"/>
              <a:gd name="connsiteX103" fmla="*/ 5935736 w 12191999"/>
              <a:gd name="connsiteY103" fmla="*/ 1487489 h 2570073"/>
              <a:gd name="connsiteX104" fmla="*/ 5935733 w 12191999"/>
              <a:gd name="connsiteY104" fmla="*/ 1487489 h 2570073"/>
              <a:gd name="connsiteX105" fmla="*/ 5935733 w 12191999"/>
              <a:gd name="connsiteY105" fmla="*/ 1495639 h 2570073"/>
              <a:gd name="connsiteX106" fmla="*/ 5933197 w 12191999"/>
              <a:gd name="connsiteY106" fmla="*/ 1495639 h 2570073"/>
              <a:gd name="connsiteX107" fmla="*/ 5930616 w 12191999"/>
              <a:gd name="connsiteY107" fmla="*/ 1550153 h 2570073"/>
              <a:gd name="connsiteX108" fmla="*/ 5930144 w 12191999"/>
              <a:gd name="connsiteY108" fmla="*/ 1553460 h 2570073"/>
              <a:gd name="connsiteX109" fmla="*/ 5929922 w 12191999"/>
              <a:gd name="connsiteY109" fmla="*/ 1557867 h 2570073"/>
              <a:gd name="connsiteX110" fmla="*/ 5892782 w 12191999"/>
              <a:gd name="connsiteY110" fmla="*/ 1751829 h 2570073"/>
              <a:gd name="connsiteX111" fmla="*/ 5891264 w 12191999"/>
              <a:gd name="connsiteY111" fmla="*/ 1756392 h 2570073"/>
              <a:gd name="connsiteX112" fmla="*/ 5891075 w 12191999"/>
              <a:gd name="connsiteY112" fmla="*/ 1757179 h 2570073"/>
              <a:gd name="connsiteX113" fmla="*/ 5888400 w 12191999"/>
              <a:gd name="connsiteY113" fmla="*/ 1765008 h 2570073"/>
              <a:gd name="connsiteX114" fmla="*/ 5862137 w 12191999"/>
              <a:gd name="connsiteY114" fmla="*/ 1843996 h 2570073"/>
              <a:gd name="connsiteX115" fmla="*/ 5858638 w 12191999"/>
              <a:gd name="connsiteY115" fmla="*/ 1852103 h 2570073"/>
              <a:gd name="connsiteX116" fmla="*/ 5857585 w 12191999"/>
              <a:gd name="connsiteY116" fmla="*/ 1855185 h 2570073"/>
              <a:gd name="connsiteX117" fmla="*/ 5850118 w 12191999"/>
              <a:gd name="connsiteY117" fmla="*/ 1871843 h 2570073"/>
              <a:gd name="connsiteX118" fmla="*/ 5823957 w 12191999"/>
              <a:gd name="connsiteY118" fmla="*/ 1932441 h 2570073"/>
              <a:gd name="connsiteX119" fmla="*/ 5817877 w 12191999"/>
              <a:gd name="connsiteY119" fmla="*/ 1943751 h 2570073"/>
              <a:gd name="connsiteX120" fmla="*/ 5815570 w 12191999"/>
              <a:gd name="connsiteY120" fmla="*/ 1948897 h 2570073"/>
              <a:gd name="connsiteX121" fmla="*/ 5805396 w 12191999"/>
              <a:gd name="connsiteY121" fmla="*/ 1966972 h 2570073"/>
              <a:gd name="connsiteX122" fmla="*/ 5778623 w 12191999"/>
              <a:gd name="connsiteY122" fmla="*/ 2016780 h 2570073"/>
              <a:gd name="connsiteX123" fmla="*/ 5769413 w 12191999"/>
              <a:gd name="connsiteY123" fmla="*/ 2030895 h 2570073"/>
              <a:gd name="connsiteX124" fmla="*/ 5765499 w 12191999"/>
              <a:gd name="connsiteY124" fmla="*/ 2037850 h 2570073"/>
              <a:gd name="connsiteX125" fmla="*/ 5753645 w 12191999"/>
              <a:gd name="connsiteY125" fmla="*/ 2055061 h 2570073"/>
              <a:gd name="connsiteX126" fmla="*/ 5726521 w 12191999"/>
              <a:gd name="connsiteY126" fmla="*/ 2096629 h 2570073"/>
              <a:gd name="connsiteX127" fmla="*/ 5713673 w 12191999"/>
              <a:gd name="connsiteY127" fmla="*/ 2113099 h 2570073"/>
              <a:gd name="connsiteX128" fmla="*/ 5707835 w 12191999"/>
              <a:gd name="connsiteY128" fmla="*/ 2121576 h 2570073"/>
              <a:gd name="connsiteX129" fmla="*/ 5695020 w 12191999"/>
              <a:gd name="connsiteY129" fmla="*/ 2137011 h 2570073"/>
              <a:gd name="connsiteX130" fmla="*/ 5668036 w 12191999"/>
              <a:gd name="connsiteY130" fmla="*/ 2171603 h 2570073"/>
              <a:gd name="connsiteX131" fmla="*/ 5651086 w 12191999"/>
              <a:gd name="connsiteY131" fmla="*/ 2189926 h 2570073"/>
              <a:gd name="connsiteX132" fmla="*/ 5643047 w 12191999"/>
              <a:gd name="connsiteY132" fmla="*/ 2199608 h 2570073"/>
              <a:gd name="connsiteX133" fmla="*/ 5629847 w 12191999"/>
              <a:gd name="connsiteY133" fmla="*/ 2212888 h 2570073"/>
              <a:gd name="connsiteX134" fmla="*/ 5603549 w 12191999"/>
              <a:gd name="connsiteY134" fmla="*/ 2241318 h 2570073"/>
              <a:gd name="connsiteX135" fmla="*/ 5582078 w 12191999"/>
              <a:gd name="connsiteY135" fmla="*/ 2260943 h 2570073"/>
              <a:gd name="connsiteX136" fmla="*/ 5571603 w 12191999"/>
              <a:gd name="connsiteY136" fmla="*/ 2271480 h 2570073"/>
              <a:gd name="connsiteX137" fmla="*/ 5558506 w 12191999"/>
              <a:gd name="connsiteY137" fmla="*/ 2282487 h 2570073"/>
              <a:gd name="connsiteX138" fmla="*/ 5533446 w 12191999"/>
              <a:gd name="connsiteY138" fmla="*/ 2305391 h 2570073"/>
              <a:gd name="connsiteX139" fmla="*/ 5507066 w 12191999"/>
              <a:gd name="connsiteY139" fmla="*/ 2325718 h 2570073"/>
              <a:gd name="connsiteX140" fmla="*/ 5493966 w 12191999"/>
              <a:gd name="connsiteY140" fmla="*/ 2336726 h 2570073"/>
              <a:gd name="connsiteX141" fmla="*/ 5481407 w 12191999"/>
              <a:gd name="connsiteY141" fmla="*/ 2345487 h 2570073"/>
              <a:gd name="connsiteX142" fmla="*/ 5458113 w 12191999"/>
              <a:gd name="connsiteY142" fmla="*/ 2363435 h 2570073"/>
              <a:gd name="connsiteX143" fmla="*/ 5426450 w 12191999"/>
              <a:gd name="connsiteY143" fmla="*/ 2383826 h 2570073"/>
              <a:gd name="connsiteX144" fmla="*/ 5410605 w 12191999"/>
              <a:gd name="connsiteY144" fmla="*/ 2394879 h 2570073"/>
              <a:gd name="connsiteX145" fmla="*/ 5398974 w 12191999"/>
              <a:gd name="connsiteY145" fmla="*/ 2401520 h 2570073"/>
              <a:gd name="connsiteX146" fmla="*/ 5377932 w 12191999"/>
              <a:gd name="connsiteY146" fmla="*/ 2415069 h 2570073"/>
              <a:gd name="connsiteX147" fmla="*/ 5340606 w 12191999"/>
              <a:gd name="connsiteY147" fmla="*/ 2434842 h 2570073"/>
              <a:gd name="connsiteX148" fmla="*/ 5321988 w 12191999"/>
              <a:gd name="connsiteY148" fmla="*/ 2445471 h 2570073"/>
              <a:gd name="connsiteX149" fmla="*/ 5311629 w 12191999"/>
              <a:gd name="connsiteY149" fmla="*/ 2450191 h 2570073"/>
              <a:gd name="connsiteX150" fmla="*/ 5293289 w 12191999"/>
              <a:gd name="connsiteY150" fmla="*/ 2459906 h 2570073"/>
              <a:gd name="connsiteX151" fmla="*/ 5249843 w 12191999"/>
              <a:gd name="connsiteY151" fmla="*/ 2478347 h 2570073"/>
              <a:gd name="connsiteX152" fmla="*/ 5228578 w 12191999"/>
              <a:gd name="connsiteY152" fmla="*/ 2488037 h 2570073"/>
              <a:gd name="connsiteX153" fmla="*/ 5219811 w 12191999"/>
              <a:gd name="connsiteY153" fmla="*/ 2491093 h 2570073"/>
              <a:gd name="connsiteX154" fmla="*/ 5204566 w 12191999"/>
              <a:gd name="connsiteY154" fmla="*/ 2497564 h 2570073"/>
              <a:gd name="connsiteX155" fmla="*/ 5154326 w 12191999"/>
              <a:gd name="connsiteY155" fmla="*/ 2513923 h 2570073"/>
              <a:gd name="connsiteX156" fmla="*/ 5130842 w 12191999"/>
              <a:gd name="connsiteY156" fmla="*/ 2522110 h 2570073"/>
              <a:gd name="connsiteX157" fmla="*/ 5123955 w 12191999"/>
              <a:gd name="connsiteY157" fmla="*/ 2523813 h 2570073"/>
              <a:gd name="connsiteX158" fmla="*/ 5112149 w 12191999"/>
              <a:gd name="connsiteY158" fmla="*/ 2527657 h 2570073"/>
              <a:gd name="connsiteX159" fmla="*/ 5053798 w 12191999"/>
              <a:gd name="connsiteY159" fmla="*/ 2541156 h 2570073"/>
              <a:gd name="connsiteX160" fmla="*/ 5029250 w 12191999"/>
              <a:gd name="connsiteY160" fmla="*/ 2547223 h 2570073"/>
              <a:gd name="connsiteX161" fmla="*/ 5024496 w 12191999"/>
              <a:gd name="connsiteY161" fmla="*/ 2547934 h 2570073"/>
              <a:gd name="connsiteX162" fmla="*/ 5016422 w 12191999"/>
              <a:gd name="connsiteY162" fmla="*/ 2549802 h 2570073"/>
              <a:gd name="connsiteX163" fmla="*/ 4946225 w 12191999"/>
              <a:gd name="connsiteY163" fmla="*/ 2559629 h 2570073"/>
              <a:gd name="connsiteX164" fmla="*/ 4924267 w 12191999"/>
              <a:gd name="connsiteY164" fmla="*/ 2562910 h 2570073"/>
              <a:gd name="connsiteX165" fmla="*/ 4921957 w 12191999"/>
              <a:gd name="connsiteY165" fmla="*/ 2563027 h 2570073"/>
              <a:gd name="connsiteX166" fmla="*/ 4917769 w 12191999"/>
              <a:gd name="connsiteY166" fmla="*/ 2563613 h 2570073"/>
              <a:gd name="connsiteX167" fmla="*/ 4869084 w 12191999"/>
              <a:gd name="connsiteY167" fmla="*/ 2565918 h 2570073"/>
              <a:gd name="connsiteX168" fmla="*/ 4869084 w 12191999"/>
              <a:gd name="connsiteY168" fmla="*/ 2568728 h 2570073"/>
              <a:gd name="connsiteX169" fmla="*/ 4824196 w 12191999"/>
              <a:gd name="connsiteY169" fmla="*/ 2568728 h 2570073"/>
              <a:gd name="connsiteX170" fmla="*/ 4809749 w 12191999"/>
              <a:gd name="connsiteY170" fmla="*/ 2568728 h 2570073"/>
              <a:gd name="connsiteX171" fmla="*/ 4809411 w 12191999"/>
              <a:gd name="connsiteY171" fmla="*/ 2568728 h 2570073"/>
              <a:gd name="connsiteX172" fmla="*/ 4809411 w 12191999"/>
              <a:gd name="connsiteY172" fmla="*/ 2570073 h 2570073"/>
              <a:gd name="connsiteX173" fmla="*/ 3481005 w 12191999"/>
              <a:gd name="connsiteY173" fmla="*/ 2570073 h 2570073"/>
              <a:gd name="connsiteX174" fmla="*/ 2454730 w 12191999"/>
              <a:gd name="connsiteY174" fmla="*/ 2570073 h 2570073"/>
              <a:gd name="connsiteX175" fmla="*/ 2395058 w 12191999"/>
              <a:gd name="connsiteY175" fmla="*/ 2570073 h 2570073"/>
              <a:gd name="connsiteX176" fmla="*/ 1126324 w 12191999"/>
              <a:gd name="connsiteY176" fmla="*/ 2570073 h 2570073"/>
              <a:gd name="connsiteX177" fmla="*/ 1066652 w 12191999"/>
              <a:gd name="connsiteY177" fmla="*/ 2570073 h 2570073"/>
              <a:gd name="connsiteX178" fmla="*/ 1066652 w 12191999"/>
              <a:gd name="connsiteY178" fmla="*/ 2568741 h 2570073"/>
              <a:gd name="connsiteX179" fmla="*/ 1 w 12191999"/>
              <a:gd name="connsiteY179" fmla="*/ 2568741 h 2570073"/>
              <a:gd name="connsiteX180" fmla="*/ 1 w 12191999"/>
              <a:gd name="connsiteY180" fmla="*/ 2253318 h 2570073"/>
              <a:gd name="connsiteX181" fmla="*/ 1 w 12191999"/>
              <a:gd name="connsiteY181" fmla="*/ 1443429 h 2570073"/>
              <a:gd name="connsiteX182" fmla="*/ 1 w 12191999"/>
              <a:gd name="connsiteY182" fmla="*/ 1442766 h 2570073"/>
              <a:gd name="connsiteX183" fmla="*/ 0 w 12191999"/>
              <a:gd name="connsiteY183" fmla="*/ 1442755 h 2570073"/>
              <a:gd name="connsiteX184" fmla="*/ 1 w 12191999"/>
              <a:gd name="connsiteY184" fmla="*/ 1442744 h 2570073"/>
              <a:gd name="connsiteX185" fmla="*/ 1 w 12191999"/>
              <a:gd name="connsiteY185" fmla="*/ 1389857 h 2570073"/>
              <a:gd name="connsiteX186" fmla="*/ 1 w 12191999"/>
              <a:gd name="connsiteY186" fmla="*/ 1128007 h 2570073"/>
              <a:gd name="connsiteX187" fmla="*/ 1 w 12191999"/>
              <a:gd name="connsiteY187" fmla="*/ 1127343 h 2570073"/>
              <a:gd name="connsiteX188" fmla="*/ 0 w 12191999"/>
              <a:gd name="connsiteY188" fmla="*/ 1127332 h 2570073"/>
              <a:gd name="connsiteX189" fmla="*/ 1 w 12191999"/>
              <a:gd name="connsiteY189" fmla="*/ 1127322 h 2570073"/>
              <a:gd name="connsiteX190" fmla="*/ 1 w 12191999"/>
              <a:gd name="connsiteY190" fmla="*/ 1074434 h 2570073"/>
              <a:gd name="connsiteX191" fmla="*/ 2538 w 12191999"/>
              <a:gd name="connsiteY191" fmla="*/ 1074434 h 2570073"/>
              <a:gd name="connsiteX192" fmla="*/ 5119 w 12191999"/>
              <a:gd name="connsiteY192" fmla="*/ 1019920 h 2570073"/>
              <a:gd name="connsiteX193" fmla="*/ 5592 w 12191999"/>
              <a:gd name="connsiteY193" fmla="*/ 1016613 h 2570073"/>
              <a:gd name="connsiteX194" fmla="*/ 5814 w 12191999"/>
              <a:gd name="connsiteY194" fmla="*/ 1012207 h 2570073"/>
              <a:gd name="connsiteX195" fmla="*/ 42953 w 12191999"/>
              <a:gd name="connsiteY195" fmla="*/ 818244 h 2570073"/>
              <a:gd name="connsiteX196" fmla="*/ 44470 w 12191999"/>
              <a:gd name="connsiteY196" fmla="*/ 813682 h 2570073"/>
              <a:gd name="connsiteX197" fmla="*/ 44660 w 12191999"/>
              <a:gd name="connsiteY197" fmla="*/ 812894 h 2570073"/>
              <a:gd name="connsiteX198" fmla="*/ 47335 w 12191999"/>
              <a:gd name="connsiteY198" fmla="*/ 805066 h 2570073"/>
              <a:gd name="connsiteX199" fmla="*/ 73597 w 12191999"/>
              <a:gd name="connsiteY199" fmla="*/ 726078 h 2570073"/>
              <a:gd name="connsiteX200" fmla="*/ 77097 w 12191999"/>
              <a:gd name="connsiteY200" fmla="*/ 717971 h 2570073"/>
              <a:gd name="connsiteX201" fmla="*/ 78150 w 12191999"/>
              <a:gd name="connsiteY201" fmla="*/ 714889 h 2570073"/>
              <a:gd name="connsiteX202" fmla="*/ 85619 w 12191999"/>
              <a:gd name="connsiteY202" fmla="*/ 698231 h 2570073"/>
              <a:gd name="connsiteX203" fmla="*/ 111778 w 12191999"/>
              <a:gd name="connsiteY203" fmla="*/ 637633 h 2570073"/>
              <a:gd name="connsiteX204" fmla="*/ 117857 w 12191999"/>
              <a:gd name="connsiteY204" fmla="*/ 626323 h 2570073"/>
              <a:gd name="connsiteX205" fmla="*/ 120165 w 12191999"/>
              <a:gd name="connsiteY205" fmla="*/ 621176 h 2570073"/>
              <a:gd name="connsiteX206" fmla="*/ 130339 w 12191999"/>
              <a:gd name="connsiteY206" fmla="*/ 603101 h 2570073"/>
              <a:gd name="connsiteX207" fmla="*/ 157112 w 12191999"/>
              <a:gd name="connsiteY207" fmla="*/ 553294 h 2570073"/>
              <a:gd name="connsiteX208" fmla="*/ 166322 w 12191999"/>
              <a:gd name="connsiteY208" fmla="*/ 539178 h 2570073"/>
              <a:gd name="connsiteX209" fmla="*/ 170237 w 12191999"/>
              <a:gd name="connsiteY209" fmla="*/ 532224 h 2570073"/>
              <a:gd name="connsiteX210" fmla="*/ 182090 w 12191999"/>
              <a:gd name="connsiteY210" fmla="*/ 515013 h 2570073"/>
              <a:gd name="connsiteX211" fmla="*/ 209214 w 12191999"/>
              <a:gd name="connsiteY211" fmla="*/ 473445 h 2570073"/>
              <a:gd name="connsiteX212" fmla="*/ 222062 w 12191999"/>
              <a:gd name="connsiteY212" fmla="*/ 456974 h 2570073"/>
              <a:gd name="connsiteX213" fmla="*/ 227900 w 12191999"/>
              <a:gd name="connsiteY213" fmla="*/ 448498 h 2570073"/>
              <a:gd name="connsiteX214" fmla="*/ 240715 w 12191999"/>
              <a:gd name="connsiteY214" fmla="*/ 433062 h 2570073"/>
              <a:gd name="connsiteX215" fmla="*/ 267700 w 12191999"/>
              <a:gd name="connsiteY215" fmla="*/ 398470 h 2570073"/>
              <a:gd name="connsiteX216" fmla="*/ 284649 w 12191999"/>
              <a:gd name="connsiteY216" fmla="*/ 380147 h 2570073"/>
              <a:gd name="connsiteX217" fmla="*/ 292687 w 12191999"/>
              <a:gd name="connsiteY217" fmla="*/ 370466 h 2570073"/>
              <a:gd name="connsiteX218" fmla="*/ 305888 w 12191999"/>
              <a:gd name="connsiteY218" fmla="*/ 357186 h 2570073"/>
              <a:gd name="connsiteX219" fmla="*/ 332186 w 12191999"/>
              <a:gd name="connsiteY219" fmla="*/ 328755 h 2570073"/>
              <a:gd name="connsiteX220" fmla="*/ 353657 w 12191999"/>
              <a:gd name="connsiteY220" fmla="*/ 309131 h 2570073"/>
              <a:gd name="connsiteX221" fmla="*/ 364133 w 12191999"/>
              <a:gd name="connsiteY221" fmla="*/ 298593 h 2570073"/>
              <a:gd name="connsiteX222" fmla="*/ 377228 w 12191999"/>
              <a:gd name="connsiteY222" fmla="*/ 287587 h 2570073"/>
              <a:gd name="connsiteX223" fmla="*/ 402288 w 12191999"/>
              <a:gd name="connsiteY223" fmla="*/ 264683 h 2570073"/>
              <a:gd name="connsiteX224" fmla="*/ 428670 w 12191999"/>
              <a:gd name="connsiteY224" fmla="*/ 244356 h 2570073"/>
              <a:gd name="connsiteX225" fmla="*/ 441769 w 12191999"/>
              <a:gd name="connsiteY225" fmla="*/ 233348 h 2570073"/>
              <a:gd name="connsiteX226" fmla="*/ 454327 w 12191999"/>
              <a:gd name="connsiteY226" fmla="*/ 224587 h 2570073"/>
              <a:gd name="connsiteX227" fmla="*/ 477622 w 12191999"/>
              <a:gd name="connsiteY227" fmla="*/ 206638 h 2570073"/>
              <a:gd name="connsiteX228" fmla="*/ 509285 w 12191999"/>
              <a:gd name="connsiteY228" fmla="*/ 186248 h 2570073"/>
              <a:gd name="connsiteX229" fmla="*/ 525129 w 12191999"/>
              <a:gd name="connsiteY229" fmla="*/ 175195 h 2570073"/>
              <a:gd name="connsiteX230" fmla="*/ 536762 w 12191999"/>
              <a:gd name="connsiteY230" fmla="*/ 168554 h 2570073"/>
              <a:gd name="connsiteX231" fmla="*/ 557803 w 12191999"/>
              <a:gd name="connsiteY231" fmla="*/ 155005 h 2570073"/>
              <a:gd name="connsiteX232" fmla="*/ 595129 w 12191999"/>
              <a:gd name="connsiteY232" fmla="*/ 135232 h 2570073"/>
              <a:gd name="connsiteX233" fmla="*/ 613748 w 12191999"/>
              <a:gd name="connsiteY233" fmla="*/ 124603 h 2570073"/>
              <a:gd name="connsiteX234" fmla="*/ 624106 w 12191999"/>
              <a:gd name="connsiteY234" fmla="*/ 119882 h 2570073"/>
              <a:gd name="connsiteX235" fmla="*/ 642446 w 12191999"/>
              <a:gd name="connsiteY235" fmla="*/ 110167 h 2570073"/>
              <a:gd name="connsiteX236" fmla="*/ 685893 w 12191999"/>
              <a:gd name="connsiteY236" fmla="*/ 91726 h 2570073"/>
              <a:gd name="connsiteX237" fmla="*/ 707157 w 12191999"/>
              <a:gd name="connsiteY237" fmla="*/ 82036 h 2570073"/>
              <a:gd name="connsiteX238" fmla="*/ 715923 w 12191999"/>
              <a:gd name="connsiteY238" fmla="*/ 78980 h 2570073"/>
              <a:gd name="connsiteX239" fmla="*/ 731168 w 12191999"/>
              <a:gd name="connsiteY239" fmla="*/ 72509 h 2570073"/>
              <a:gd name="connsiteX240" fmla="*/ 781408 w 12191999"/>
              <a:gd name="connsiteY240" fmla="*/ 56150 h 2570073"/>
              <a:gd name="connsiteX241" fmla="*/ 804892 w 12191999"/>
              <a:gd name="connsiteY241" fmla="*/ 47963 h 2570073"/>
              <a:gd name="connsiteX242" fmla="*/ 811780 w 12191999"/>
              <a:gd name="connsiteY242" fmla="*/ 46260 h 2570073"/>
              <a:gd name="connsiteX243" fmla="*/ 823585 w 12191999"/>
              <a:gd name="connsiteY243" fmla="*/ 42416 h 2570073"/>
              <a:gd name="connsiteX244" fmla="*/ 881937 w 12191999"/>
              <a:gd name="connsiteY244" fmla="*/ 28918 h 2570073"/>
              <a:gd name="connsiteX245" fmla="*/ 906484 w 12191999"/>
              <a:gd name="connsiteY245" fmla="*/ 22850 h 2570073"/>
              <a:gd name="connsiteX246" fmla="*/ 911239 w 12191999"/>
              <a:gd name="connsiteY246" fmla="*/ 22139 h 2570073"/>
              <a:gd name="connsiteX247" fmla="*/ 919312 w 12191999"/>
              <a:gd name="connsiteY247" fmla="*/ 20272 h 2570073"/>
              <a:gd name="connsiteX248" fmla="*/ 989509 w 12191999"/>
              <a:gd name="connsiteY248" fmla="*/ 10445 h 2570073"/>
              <a:gd name="connsiteX249" fmla="*/ 1011467 w 12191999"/>
              <a:gd name="connsiteY249" fmla="*/ 7163 h 2570073"/>
              <a:gd name="connsiteX250" fmla="*/ 1013779 w 12191999"/>
              <a:gd name="connsiteY250" fmla="*/ 7047 h 2570073"/>
              <a:gd name="connsiteX251" fmla="*/ 1017965 w 12191999"/>
              <a:gd name="connsiteY251" fmla="*/ 6460 h 2570073"/>
              <a:gd name="connsiteX252" fmla="*/ 1066652 w 12191999"/>
              <a:gd name="connsiteY252" fmla="*/ 4155 h 2570073"/>
              <a:gd name="connsiteX253" fmla="*/ 1066652 w 12191999"/>
              <a:gd name="connsiteY253" fmla="*/ 1346 h 2570073"/>
              <a:gd name="connsiteX254" fmla="*/ 1111538 w 12191999"/>
              <a:gd name="connsiteY254" fmla="*/ 1346 h 2570073"/>
              <a:gd name="connsiteX255" fmla="*/ 1125987 w 12191999"/>
              <a:gd name="connsiteY255" fmla="*/ 1346 h 2570073"/>
              <a:gd name="connsiteX256" fmla="*/ 1126324 w 12191999"/>
              <a:gd name="connsiteY256" fmla="*/ 1346 h 2570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</a:cxnLst>
            <a:rect l="l" t="t" r="r" b="b"/>
            <a:pathLst>
              <a:path w="12191999" h="2570073">
                <a:moveTo>
                  <a:pt x="1126324" y="0"/>
                </a:moveTo>
                <a:lnTo>
                  <a:pt x="2454730" y="0"/>
                </a:lnTo>
                <a:lnTo>
                  <a:pt x="3481005" y="0"/>
                </a:lnTo>
                <a:lnTo>
                  <a:pt x="3540677" y="0"/>
                </a:lnTo>
                <a:lnTo>
                  <a:pt x="4809411" y="0"/>
                </a:lnTo>
                <a:lnTo>
                  <a:pt x="4869084" y="0"/>
                </a:lnTo>
                <a:lnTo>
                  <a:pt x="4869084" y="1332"/>
                </a:lnTo>
                <a:lnTo>
                  <a:pt x="5935733" y="1332"/>
                </a:lnTo>
                <a:lnTo>
                  <a:pt x="5935733" y="316755"/>
                </a:lnTo>
                <a:lnTo>
                  <a:pt x="5935733" y="1082676"/>
                </a:lnTo>
                <a:lnTo>
                  <a:pt x="5935736" y="1082676"/>
                </a:lnTo>
                <a:lnTo>
                  <a:pt x="5935736" y="1074434"/>
                </a:lnTo>
                <a:lnTo>
                  <a:pt x="5938272" y="1074434"/>
                </a:lnTo>
                <a:lnTo>
                  <a:pt x="5940853" y="1019920"/>
                </a:lnTo>
                <a:lnTo>
                  <a:pt x="5941325" y="1016613"/>
                </a:lnTo>
                <a:lnTo>
                  <a:pt x="5941548" y="1012207"/>
                </a:lnTo>
                <a:cubicBezTo>
                  <a:pt x="5948305" y="945669"/>
                  <a:pt x="5960856" y="880845"/>
                  <a:pt x="5978687" y="818244"/>
                </a:cubicBezTo>
                <a:lnTo>
                  <a:pt x="5980204" y="813682"/>
                </a:lnTo>
                <a:lnTo>
                  <a:pt x="5980394" y="812894"/>
                </a:lnTo>
                <a:lnTo>
                  <a:pt x="5983069" y="805066"/>
                </a:lnTo>
                <a:lnTo>
                  <a:pt x="6009331" y="726078"/>
                </a:lnTo>
                <a:lnTo>
                  <a:pt x="6012831" y="717971"/>
                </a:lnTo>
                <a:lnTo>
                  <a:pt x="6013884" y="714889"/>
                </a:lnTo>
                <a:lnTo>
                  <a:pt x="6021353" y="698231"/>
                </a:lnTo>
                <a:lnTo>
                  <a:pt x="6047512" y="637633"/>
                </a:lnTo>
                <a:lnTo>
                  <a:pt x="6053591" y="626323"/>
                </a:lnTo>
                <a:lnTo>
                  <a:pt x="6055898" y="621176"/>
                </a:lnTo>
                <a:lnTo>
                  <a:pt x="6066073" y="603101"/>
                </a:lnTo>
                <a:lnTo>
                  <a:pt x="6092845" y="553294"/>
                </a:lnTo>
                <a:lnTo>
                  <a:pt x="6102056" y="539178"/>
                </a:lnTo>
                <a:lnTo>
                  <a:pt x="6105971" y="532224"/>
                </a:lnTo>
                <a:lnTo>
                  <a:pt x="6117824" y="515013"/>
                </a:lnTo>
                <a:lnTo>
                  <a:pt x="6144948" y="473445"/>
                </a:lnTo>
                <a:lnTo>
                  <a:pt x="6157796" y="456974"/>
                </a:lnTo>
                <a:lnTo>
                  <a:pt x="6163633" y="448498"/>
                </a:lnTo>
                <a:lnTo>
                  <a:pt x="6176449" y="433062"/>
                </a:lnTo>
                <a:lnTo>
                  <a:pt x="6203434" y="398470"/>
                </a:lnTo>
                <a:lnTo>
                  <a:pt x="6220382" y="380147"/>
                </a:lnTo>
                <a:lnTo>
                  <a:pt x="6228421" y="370466"/>
                </a:lnTo>
                <a:lnTo>
                  <a:pt x="6241622" y="357186"/>
                </a:lnTo>
                <a:lnTo>
                  <a:pt x="6267920" y="328755"/>
                </a:lnTo>
                <a:lnTo>
                  <a:pt x="6289391" y="309131"/>
                </a:lnTo>
                <a:lnTo>
                  <a:pt x="6299866" y="298593"/>
                </a:lnTo>
                <a:lnTo>
                  <a:pt x="6312962" y="287587"/>
                </a:lnTo>
                <a:lnTo>
                  <a:pt x="6338022" y="264683"/>
                </a:lnTo>
                <a:lnTo>
                  <a:pt x="6364404" y="244356"/>
                </a:lnTo>
                <a:lnTo>
                  <a:pt x="6377502" y="233348"/>
                </a:lnTo>
                <a:lnTo>
                  <a:pt x="6390060" y="224587"/>
                </a:lnTo>
                <a:lnTo>
                  <a:pt x="6413355" y="206638"/>
                </a:lnTo>
                <a:lnTo>
                  <a:pt x="6445019" y="186248"/>
                </a:lnTo>
                <a:lnTo>
                  <a:pt x="6460863" y="175195"/>
                </a:lnTo>
                <a:lnTo>
                  <a:pt x="6472496" y="168554"/>
                </a:lnTo>
                <a:lnTo>
                  <a:pt x="6493536" y="155005"/>
                </a:lnTo>
                <a:lnTo>
                  <a:pt x="6530863" y="135232"/>
                </a:lnTo>
                <a:lnTo>
                  <a:pt x="6549482" y="124603"/>
                </a:lnTo>
                <a:lnTo>
                  <a:pt x="6559839" y="119882"/>
                </a:lnTo>
                <a:lnTo>
                  <a:pt x="6578180" y="110167"/>
                </a:lnTo>
                <a:lnTo>
                  <a:pt x="6621627" y="91726"/>
                </a:lnTo>
                <a:lnTo>
                  <a:pt x="6642891" y="82036"/>
                </a:lnTo>
                <a:lnTo>
                  <a:pt x="6651657" y="78980"/>
                </a:lnTo>
                <a:lnTo>
                  <a:pt x="6666902" y="72509"/>
                </a:lnTo>
                <a:lnTo>
                  <a:pt x="6717142" y="56150"/>
                </a:lnTo>
                <a:lnTo>
                  <a:pt x="6740626" y="47963"/>
                </a:lnTo>
                <a:lnTo>
                  <a:pt x="6747514" y="46260"/>
                </a:lnTo>
                <a:lnTo>
                  <a:pt x="6759319" y="42416"/>
                </a:lnTo>
                <a:lnTo>
                  <a:pt x="6817670" y="28918"/>
                </a:lnTo>
                <a:lnTo>
                  <a:pt x="6842218" y="22850"/>
                </a:lnTo>
                <a:lnTo>
                  <a:pt x="6846973" y="22139"/>
                </a:lnTo>
                <a:lnTo>
                  <a:pt x="6855046" y="20272"/>
                </a:lnTo>
                <a:lnTo>
                  <a:pt x="6925243" y="10445"/>
                </a:lnTo>
                <a:lnTo>
                  <a:pt x="6947201" y="7163"/>
                </a:lnTo>
                <a:lnTo>
                  <a:pt x="6949512" y="7047"/>
                </a:lnTo>
                <a:lnTo>
                  <a:pt x="6953699" y="6460"/>
                </a:lnTo>
                <a:lnTo>
                  <a:pt x="7002386" y="4155"/>
                </a:lnTo>
                <a:lnTo>
                  <a:pt x="7002386" y="1346"/>
                </a:lnTo>
                <a:lnTo>
                  <a:pt x="7047272" y="1346"/>
                </a:lnTo>
                <a:lnTo>
                  <a:pt x="7061721" y="1346"/>
                </a:lnTo>
                <a:lnTo>
                  <a:pt x="7062058" y="1346"/>
                </a:lnTo>
                <a:lnTo>
                  <a:pt x="7062058" y="0"/>
                </a:lnTo>
                <a:lnTo>
                  <a:pt x="9416738" y="0"/>
                </a:lnTo>
                <a:lnTo>
                  <a:pt x="9476411" y="0"/>
                </a:lnTo>
                <a:lnTo>
                  <a:pt x="9476411" y="1332"/>
                </a:lnTo>
                <a:lnTo>
                  <a:pt x="9621926" y="1332"/>
                </a:lnTo>
                <a:lnTo>
                  <a:pt x="9621926" y="1232695"/>
                </a:lnTo>
                <a:lnTo>
                  <a:pt x="9621927" y="1232695"/>
                </a:lnTo>
                <a:lnTo>
                  <a:pt x="9621927" y="1224666"/>
                </a:lnTo>
                <a:lnTo>
                  <a:pt x="9624974" y="1224666"/>
                </a:lnTo>
                <a:lnTo>
                  <a:pt x="9628560" y="1153649"/>
                </a:lnTo>
                <a:cubicBezTo>
                  <a:pt x="9694367" y="505662"/>
                  <a:pt x="10241613" y="0"/>
                  <a:pt x="10906963" y="0"/>
                </a:cubicBezTo>
                <a:cubicBezTo>
                  <a:pt x="11616669" y="0"/>
                  <a:pt x="12191999" y="575331"/>
                  <a:pt x="12191999" y="1285037"/>
                </a:cubicBezTo>
                <a:cubicBezTo>
                  <a:pt x="12191999" y="1950386"/>
                  <a:pt x="11686337" y="2497632"/>
                  <a:pt x="11038350" y="2563438"/>
                </a:cubicBezTo>
                <a:lnTo>
                  <a:pt x="10924212" y="2569202"/>
                </a:lnTo>
                <a:lnTo>
                  <a:pt x="10924212" y="2570073"/>
                </a:lnTo>
                <a:lnTo>
                  <a:pt x="10906963" y="2570073"/>
                </a:lnTo>
                <a:lnTo>
                  <a:pt x="10572749" y="2570073"/>
                </a:lnTo>
                <a:lnTo>
                  <a:pt x="9621927" y="2570073"/>
                </a:lnTo>
                <a:lnTo>
                  <a:pt x="9416738" y="2570073"/>
                </a:lnTo>
                <a:lnTo>
                  <a:pt x="7062058" y="2570073"/>
                </a:lnTo>
                <a:lnTo>
                  <a:pt x="7002386" y="2570073"/>
                </a:lnTo>
                <a:lnTo>
                  <a:pt x="6572249" y="2570073"/>
                </a:lnTo>
                <a:lnTo>
                  <a:pt x="6572249" y="2568741"/>
                </a:lnTo>
                <a:lnTo>
                  <a:pt x="5935736" y="2568741"/>
                </a:lnTo>
                <a:lnTo>
                  <a:pt x="5935736" y="2253318"/>
                </a:lnTo>
                <a:lnTo>
                  <a:pt x="5935736" y="1487489"/>
                </a:lnTo>
                <a:lnTo>
                  <a:pt x="5935733" y="1487489"/>
                </a:lnTo>
                <a:lnTo>
                  <a:pt x="5935733" y="1495639"/>
                </a:lnTo>
                <a:lnTo>
                  <a:pt x="5933197" y="1495639"/>
                </a:lnTo>
                <a:lnTo>
                  <a:pt x="5930616" y="1550153"/>
                </a:lnTo>
                <a:lnTo>
                  <a:pt x="5930144" y="1553460"/>
                </a:lnTo>
                <a:lnTo>
                  <a:pt x="5929922" y="1557867"/>
                </a:lnTo>
                <a:cubicBezTo>
                  <a:pt x="5923163" y="1624404"/>
                  <a:pt x="5910612" y="1689229"/>
                  <a:pt x="5892782" y="1751829"/>
                </a:cubicBezTo>
                <a:lnTo>
                  <a:pt x="5891264" y="1756392"/>
                </a:lnTo>
                <a:lnTo>
                  <a:pt x="5891075" y="1757179"/>
                </a:lnTo>
                <a:lnTo>
                  <a:pt x="5888400" y="1765008"/>
                </a:lnTo>
                <a:lnTo>
                  <a:pt x="5862137" y="1843996"/>
                </a:lnTo>
                <a:lnTo>
                  <a:pt x="5858638" y="1852103"/>
                </a:lnTo>
                <a:lnTo>
                  <a:pt x="5857585" y="1855185"/>
                </a:lnTo>
                <a:lnTo>
                  <a:pt x="5850118" y="1871843"/>
                </a:lnTo>
                <a:lnTo>
                  <a:pt x="5823957" y="1932441"/>
                </a:lnTo>
                <a:lnTo>
                  <a:pt x="5817877" y="1943751"/>
                </a:lnTo>
                <a:lnTo>
                  <a:pt x="5815570" y="1948897"/>
                </a:lnTo>
                <a:lnTo>
                  <a:pt x="5805396" y="1966972"/>
                </a:lnTo>
                <a:lnTo>
                  <a:pt x="5778623" y="2016780"/>
                </a:lnTo>
                <a:lnTo>
                  <a:pt x="5769413" y="2030895"/>
                </a:lnTo>
                <a:lnTo>
                  <a:pt x="5765499" y="2037850"/>
                </a:lnTo>
                <a:lnTo>
                  <a:pt x="5753645" y="2055061"/>
                </a:lnTo>
                <a:lnTo>
                  <a:pt x="5726521" y="2096629"/>
                </a:lnTo>
                <a:lnTo>
                  <a:pt x="5713673" y="2113099"/>
                </a:lnTo>
                <a:lnTo>
                  <a:pt x="5707835" y="2121576"/>
                </a:lnTo>
                <a:lnTo>
                  <a:pt x="5695020" y="2137011"/>
                </a:lnTo>
                <a:lnTo>
                  <a:pt x="5668036" y="2171603"/>
                </a:lnTo>
                <a:lnTo>
                  <a:pt x="5651086" y="2189926"/>
                </a:lnTo>
                <a:lnTo>
                  <a:pt x="5643047" y="2199608"/>
                </a:lnTo>
                <a:lnTo>
                  <a:pt x="5629847" y="2212888"/>
                </a:lnTo>
                <a:lnTo>
                  <a:pt x="5603549" y="2241318"/>
                </a:lnTo>
                <a:lnTo>
                  <a:pt x="5582078" y="2260943"/>
                </a:lnTo>
                <a:lnTo>
                  <a:pt x="5571603" y="2271480"/>
                </a:lnTo>
                <a:lnTo>
                  <a:pt x="5558506" y="2282487"/>
                </a:lnTo>
                <a:lnTo>
                  <a:pt x="5533446" y="2305391"/>
                </a:lnTo>
                <a:lnTo>
                  <a:pt x="5507066" y="2325718"/>
                </a:lnTo>
                <a:lnTo>
                  <a:pt x="5493966" y="2336726"/>
                </a:lnTo>
                <a:lnTo>
                  <a:pt x="5481407" y="2345487"/>
                </a:lnTo>
                <a:lnTo>
                  <a:pt x="5458113" y="2363435"/>
                </a:lnTo>
                <a:lnTo>
                  <a:pt x="5426450" y="2383826"/>
                </a:lnTo>
                <a:lnTo>
                  <a:pt x="5410605" y="2394879"/>
                </a:lnTo>
                <a:lnTo>
                  <a:pt x="5398974" y="2401520"/>
                </a:lnTo>
                <a:lnTo>
                  <a:pt x="5377932" y="2415069"/>
                </a:lnTo>
                <a:lnTo>
                  <a:pt x="5340606" y="2434842"/>
                </a:lnTo>
                <a:lnTo>
                  <a:pt x="5321988" y="2445471"/>
                </a:lnTo>
                <a:lnTo>
                  <a:pt x="5311629" y="2450191"/>
                </a:lnTo>
                <a:lnTo>
                  <a:pt x="5293289" y="2459906"/>
                </a:lnTo>
                <a:lnTo>
                  <a:pt x="5249843" y="2478347"/>
                </a:lnTo>
                <a:lnTo>
                  <a:pt x="5228578" y="2488037"/>
                </a:lnTo>
                <a:lnTo>
                  <a:pt x="5219811" y="2491093"/>
                </a:lnTo>
                <a:lnTo>
                  <a:pt x="5204566" y="2497564"/>
                </a:lnTo>
                <a:lnTo>
                  <a:pt x="5154326" y="2513923"/>
                </a:lnTo>
                <a:lnTo>
                  <a:pt x="5130842" y="2522110"/>
                </a:lnTo>
                <a:lnTo>
                  <a:pt x="5123955" y="2523813"/>
                </a:lnTo>
                <a:lnTo>
                  <a:pt x="5112149" y="2527657"/>
                </a:lnTo>
                <a:lnTo>
                  <a:pt x="5053798" y="2541156"/>
                </a:lnTo>
                <a:lnTo>
                  <a:pt x="5029250" y="2547223"/>
                </a:lnTo>
                <a:lnTo>
                  <a:pt x="5024496" y="2547934"/>
                </a:lnTo>
                <a:lnTo>
                  <a:pt x="5016422" y="2549802"/>
                </a:lnTo>
                <a:lnTo>
                  <a:pt x="4946225" y="2559629"/>
                </a:lnTo>
                <a:lnTo>
                  <a:pt x="4924267" y="2562910"/>
                </a:lnTo>
                <a:lnTo>
                  <a:pt x="4921957" y="2563027"/>
                </a:lnTo>
                <a:lnTo>
                  <a:pt x="4917769" y="2563613"/>
                </a:lnTo>
                <a:lnTo>
                  <a:pt x="4869084" y="2565918"/>
                </a:lnTo>
                <a:lnTo>
                  <a:pt x="4869084" y="2568728"/>
                </a:lnTo>
                <a:lnTo>
                  <a:pt x="4824196" y="2568728"/>
                </a:lnTo>
                <a:lnTo>
                  <a:pt x="4809749" y="2568728"/>
                </a:lnTo>
                <a:lnTo>
                  <a:pt x="4809411" y="2568728"/>
                </a:lnTo>
                <a:lnTo>
                  <a:pt x="4809411" y="2570073"/>
                </a:lnTo>
                <a:lnTo>
                  <a:pt x="3481005" y="2570073"/>
                </a:lnTo>
                <a:lnTo>
                  <a:pt x="2454730" y="2570073"/>
                </a:lnTo>
                <a:lnTo>
                  <a:pt x="2395058" y="2570073"/>
                </a:lnTo>
                <a:lnTo>
                  <a:pt x="1126324" y="2570073"/>
                </a:lnTo>
                <a:lnTo>
                  <a:pt x="1066652" y="2570073"/>
                </a:lnTo>
                <a:lnTo>
                  <a:pt x="1066652" y="2568741"/>
                </a:lnTo>
                <a:lnTo>
                  <a:pt x="1" y="2568741"/>
                </a:lnTo>
                <a:lnTo>
                  <a:pt x="1" y="2253318"/>
                </a:lnTo>
                <a:lnTo>
                  <a:pt x="1" y="1443429"/>
                </a:lnTo>
                <a:lnTo>
                  <a:pt x="1" y="1442766"/>
                </a:lnTo>
                <a:lnTo>
                  <a:pt x="0" y="1442755"/>
                </a:lnTo>
                <a:lnTo>
                  <a:pt x="1" y="1442744"/>
                </a:lnTo>
                <a:lnTo>
                  <a:pt x="1" y="1389857"/>
                </a:lnTo>
                <a:lnTo>
                  <a:pt x="1" y="1128007"/>
                </a:lnTo>
                <a:lnTo>
                  <a:pt x="1" y="1127343"/>
                </a:lnTo>
                <a:lnTo>
                  <a:pt x="0" y="1127332"/>
                </a:lnTo>
                <a:lnTo>
                  <a:pt x="1" y="1127322"/>
                </a:lnTo>
                <a:lnTo>
                  <a:pt x="1" y="1074434"/>
                </a:lnTo>
                <a:lnTo>
                  <a:pt x="2538" y="1074434"/>
                </a:lnTo>
                <a:lnTo>
                  <a:pt x="5119" y="1019920"/>
                </a:lnTo>
                <a:lnTo>
                  <a:pt x="5592" y="1016613"/>
                </a:lnTo>
                <a:lnTo>
                  <a:pt x="5814" y="1012207"/>
                </a:lnTo>
                <a:cubicBezTo>
                  <a:pt x="12572" y="945669"/>
                  <a:pt x="25122" y="880845"/>
                  <a:pt x="42953" y="818244"/>
                </a:cubicBezTo>
                <a:lnTo>
                  <a:pt x="44470" y="813682"/>
                </a:lnTo>
                <a:lnTo>
                  <a:pt x="44660" y="812894"/>
                </a:lnTo>
                <a:lnTo>
                  <a:pt x="47335" y="805066"/>
                </a:lnTo>
                <a:lnTo>
                  <a:pt x="73597" y="726078"/>
                </a:lnTo>
                <a:lnTo>
                  <a:pt x="77097" y="717971"/>
                </a:lnTo>
                <a:lnTo>
                  <a:pt x="78150" y="714889"/>
                </a:lnTo>
                <a:lnTo>
                  <a:pt x="85619" y="698231"/>
                </a:lnTo>
                <a:lnTo>
                  <a:pt x="111778" y="637633"/>
                </a:lnTo>
                <a:lnTo>
                  <a:pt x="117857" y="626323"/>
                </a:lnTo>
                <a:lnTo>
                  <a:pt x="120165" y="621176"/>
                </a:lnTo>
                <a:lnTo>
                  <a:pt x="130339" y="603101"/>
                </a:lnTo>
                <a:lnTo>
                  <a:pt x="157112" y="553294"/>
                </a:lnTo>
                <a:lnTo>
                  <a:pt x="166322" y="539178"/>
                </a:lnTo>
                <a:lnTo>
                  <a:pt x="170237" y="532224"/>
                </a:lnTo>
                <a:lnTo>
                  <a:pt x="182090" y="515013"/>
                </a:lnTo>
                <a:lnTo>
                  <a:pt x="209214" y="473445"/>
                </a:lnTo>
                <a:lnTo>
                  <a:pt x="222062" y="456974"/>
                </a:lnTo>
                <a:lnTo>
                  <a:pt x="227900" y="448498"/>
                </a:lnTo>
                <a:lnTo>
                  <a:pt x="240715" y="433062"/>
                </a:lnTo>
                <a:lnTo>
                  <a:pt x="267700" y="398470"/>
                </a:lnTo>
                <a:lnTo>
                  <a:pt x="284649" y="380147"/>
                </a:lnTo>
                <a:lnTo>
                  <a:pt x="292687" y="370466"/>
                </a:lnTo>
                <a:lnTo>
                  <a:pt x="305888" y="357186"/>
                </a:lnTo>
                <a:lnTo>
                  <a:pt x="332186" y="328755"/>
                </a:lnTo>
                <a:lnTo>
                  <a:pt x="353657" y="309131"/>
                </a:lnTo>
                <a:lnTo>
                  <a:pt x="364133" y="298593"/>
                </a:lnTo>
                <a:lnTo>
                  <a:pt x="377228" y="287587"/>
                </a:lnTo>
                <a:lnTo>
                  <a:pt x="402288" y="264683"/>
                </a:lnTo>
                <a:lnTo>
                  <a:pt x="428670" y="244356"/>
                </a:lnTo>
                <a:lnTo>
                  <a:pt x="441769" y="233348"/>
                </a:lnTo>
                <a:lnTo>
                  <a:pt x="454327" y="224587"/>
                </a:lnTo>
                <a:lnTo>
                  <a:pt x="477622" y="206638"/>
                </a:lnTo>
                <a:lnTo>
                  <a:pt x="509285" y="186248"/>
                </a:lnTo>
                <a:lnTo>
                  <a:pt x="525129" y="175195"/>
                </a:lnTo>
                <a:lnTo>
                  <a:pt x="536762" y="168554"/>
                </a:lnTo>
                <a:lnTo>
                  <a:pt x="557803" y="155005"/>
                </a:lnTo>
                <a:lnTo>
                  <a:pt x="595129" y="135232"/>
                </a:lnTo>
                <a:lnTo>
                  <a:pt x="613748" y="124603"/>
                </a:lnTo>
                <a:lnTo>
                  <a:pt x="624106" y="119882"/>
                </a:lnTo>
                <a:lnTo>
                  <a:pt x="642446" y="110167"/>
                </a:lnTo>
                <a:lnTo>
                  <a:pt x="685893" y="91726"/>
                </a:lnTo>
                <a:lnTo>
                  <a:pt x="707157" y="82036"/>
                </a:lnTo>
                <a:lnTo>
                  <a:pt x="715923" y="78980"/>
                </a:lnTo>
                <a:lnTo>
                  <a:pt x="731168" y="72509"/>
                </a:lnTo>
                <a:lnTo>
                  <a:pt x="781408" y="56150"/>
                </a:lnTo>
                <a:lnTo>
                  <a:pt x="804892" y="47963"/>
                </a:lnTo>
                <a:lnTo>
                  <a:pt x="811780" y="46260"/>
                </a:lnTo>
                <a:lnTo>
                  <a:pt x="823585" y="42416"/>
                </a:lnTo>
                <a:lnTo>
                  <a:pt x="881937" y="28918"/>
                </a:lnTo>
                <a:lnTo>
                  <a:pt x="906484" y="22850"/>
                </a:lnTo>
                <a:lnTo>
                  <a:pt x="911239" y="22139"/>
                </a:lnTo>
                <a:lnTo>
                  <a:pt x="919312" y="20272"/>
                </a:lnTo>
                <a:lnTo>
                  <a:pt x="989509" y="10445"/>
                </a:lnTo>
                <a:lnTo>
                  <a:pt x="1011467" y="7163"/>
                </a:lnTo>
                <a:lnTo>
                  <a:pt x="1013779" y="7047"/>
                </a:lnTo>
                <a:lnTo>
                  <a:pt x="1017965" y="6460"/>
                </a:lnTo>
                <a:lnTo>
                  <a:pt x="1066652" y="4155"/>
                </a:lnTo>
                <a:lnTo>
                  <a:pt x="1066652" y="1346"/>
                </a:lnTo>
                <a:lnTo>
                  <a:pt x="1111538" y="1346"/>
                </a:lnTo>
                <a:lnTo>
                  <a:pt x="1125987" y="1346"/>
                </a:lnTo>
                <a:lnTo>
                  <a:pt x="1126324" y="134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1581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7C4926E-FE39-4D92-B15E-E7E84687505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00496" y="3967737"/>
            <a:ext cx="2187798" cy="2187798"/>
          </a:xfrm>
          <a:custGeom>
            <a:avLst/>
            <a:gdLst>
              <a:gd name="connsiteX0" fmla="*/ 1079216 w 2187798"/>
              <a:gd name="connsiteY0" fmla="*/ 0 h 2187798"/>
              <a:gd name="connsiteX1" fmla="*/ 1093899 w 2187798"/>
              <a:gd name="connsiteY1" fmla="*/ 0 h 2187798"/>
              <a:gd name="connsiteX2" fmla="*/ 2187798 w 2187798"/>
              <a:gd name="connsiteY2" fmla="*/ 0 h 2187798"/>
              <a:gd name="connsiteX3" fmla="*/ 2187798 w 2187798"/>
              <a:gd name="connsiteY3" fmla="*/ 1093889 h 2187798"/>
              <a:gd name="connsiteX4" fmla="*/ 2187798 w 2187798"/>
              <a:gd name="connsiteY4" fmla="*/ 1093899 h 2187798"/>
              <a:gd name="connsiteX5" fmla="*/ 2187798 w 2187798"/>
              <a:gd name="connsiteY5" fmla="*/ 1093910 h 2187798"/>
              <a:gd name="connsiteX6" fmla="*/ 2187798 w 2187798"/>
              <a:gd name="connsiteY6" fmla="*/ 1145290 h 2187798"/>
              <a:gd name="connsiteX7" fmla="*/ 2185204 w 2187798"/>
              <a:gd name="connsiteY7" fmla="*/ 1145290 h 2187798"/>
              <a:gd name="connsiteX8" fmla="*/ 2182151 w 2187798"/>
              <a:gd name="connsiteY8" fmla="*/ 1205743 h 2187798"/>
              <a:gd name="connsiteX9" fmla="*/ 1093899 w 2187798"/>
              <a:gd name="connsiteY9" fmla="*/ 2187798 h 2187798"/>
              <a:gd name="connsiteX10" fmla="*/ 0 w 2187798"/>
              <a:gd name="connsiteY10" fmla="*/ 1093899 h 2187798"/>
              <a:gd name="connsiteX11" fmla="*/ 982055 w 2187798"/>
              <a:gd name="connsiteY11" fmla="*/ 5647 h 2187798"/>
              <a:gd name="connsiteX12" fmla="*/ 1079216 w 2187798"/>
              <a:gd name="connsiteY12" fmla="*/ 741 h 218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87798" h="2187798">
                <a:moveTo>
                  <a:pt x="1079216" y="0"/>
                </a:moveTo>
                <a:lnTo>
                  <a:pt x="1093899" y="0"/>
                </a:lnTo>
                <a:lnTo>
                  <a:pt x="2187798" y="0"/>
                </a:lnTo>
                <a:lnTo>
                  <a:pt x="2187798" y="1093889"/>
                </a:lnTo>
                <a:lnTo>
                  <a:pt x="2187798" y="1093899"/>
                </a:lnTo>
                <a:lnTo>
                  <a:pt x="2187798" y="1093910"/>
                </a:lnTo>
                <a:lnTo>
                  <a:pt x="2187798" y="1145290"/>
                </a:lnTo>
                <a:lnTo>
                  <a:pt x="2185204" y="1145290"/>
                </a:lnTo>
                <a:lnTo>
                  <a:pt x="2182151" y="1205743"/>
                </a:lnTo>
                <a:cubicBezTo>
                  <a:pt x="2126132" y="1757349"/>
                  <a:pt x="1660284" y="2187798"/>
                  <a:pt x="1093899" y="2187798"/>
                </a:cubicBezTo>
                <a:cubicBezTo>
                  <a:pt x="489755" y="2187798"/>
                  <a:pt x="0" y="1698043"/>
                  <a:pt x="0" y="1093899"/>
                </a:cubicBezTo>
                <a:cubicBezTo>
                  <a:pt x="0" y="527514"/>
                  <a:pt x="430449" y="61666"/>
                  <a:pt x="982055" y="5647"/>
                </a:cubicBezTo>
                <a:lnTo>
                  <a:pt x="1079216" y="74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267D55D-E2CE-493C-9AC4-CAFC21A6948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817164" y="722543"/>
            <a:ext cx="1892234" cy="3082398"/>
          </a:xfrm>
          <a:custGeom>
            <a:avLst/>
            <a:gdLst>
              <a:gd name="connsiteX0" fmla="*/ 946123 w 1892234"/>
              <a:gd name="connsiteY0" fmla="*/ 0 h 3082398"/>
              <a:gd name="connsiteX1" fmla="*/ 946132 w 1892234"/>
              <a:gd name="connsiteY1" fmla="*/ 1 h 3082398"/>
              <a:gd name="connsiteX2" fmla="*/ 946689 w 1892234"/>
              <a:gd name="connsiteY2" fmla="*/ 1 h 3082398"/>
              <a:gd name="connsiteX3" fmla="*/ 1891116 w 1892234"/>
              <a:gd name="connsiteY3" fmla="*/ 1 h 3082398"/>
              <a:gd name="connsiteX4" fmla="*/ 1891116 w 1892234"/>
              <a:gd name="connsiteY4" fmla="*/ 243844 h 3082398"/>
              <a:gd name="connsiteX5" fmla="*/ 1891116 w 1892234"/>
              <a:gd name="connsiteY5" fmla="*/ 880579 h 3082398"/>
              <a:gd name="connsiteX6" fmla="*/ 1891105 w 1892234"/>
              <a:gd name="connsiteY6" fmla="*/ 880579 h 3082398"/>
              <a:gd name="connsiteX7" fmla="*/ 1891105 w 1892234"/>
              <a:gd name="connsiteY7" fmla="*/ 881891 h 3082398"/>
              <a:gd name="connsiteX8" fmla="*/ 1888747 w 1892234"/>
              <a:gd name="connsiteY8" fmla="*/ 881891 h 3082398"/>
              <a:gd name="connsiteX9" fmla="*/ 1886812 w 1892234"/>
              <a:gd name="connsiteY9" fmla="*/ 922752 h 3082398"/>
              <a:gd name="connsiteX10" fmla="*/ 1886320 w 1892234"/>
              <a:gd name="connsiteY10" fmla="*/ 926265 h 3082398"/>
              <a:gd name="connsiteX11" fmla="*/ 1886222 w 1892234"/>
              <a:gd name="connsiteY11" fmla="*/ 928206 h 3082398"/>
              <a:gd name="connsiteX12" fmla="*/ 1883469 w 1892234"/>
              <a:gd name="connsiteY12" fmla="*/ 946634 h 3082398"/>
              <a:gd name="connsiteX13" fmla="*/ 1875221 w 1892234"/>
              <a:gd name="connsiteY13" fmla="*/ 1005547 h 3082398"/>
              <a:gd name="connsiteX14" fmla="*/ 1873654 w 1892234"/>
              <a:gd name="connsiteY14" fmla="*/ 1012323 h 3082398"/>
              <a:gd name="connsiteX15" fmla="*/ 1873058 w 1892234"/>
              <a:gd name="connsiteY15" fmla="*/ 1016314 h 3082398"/>
              <a:gd name="connsiteX16" fmla="*/ 1867964 w 1892234"/>
              <a:gd name="connsiteY16" fmla="*/ 1036915 h 3082398"/>
              <a:gd name="connsiteX17" fmla="*/ 1856636 w 1892234"/>
              <a:gd name="connsiteY17" fmla="*/ 1085888 h 3082398"/>
              <a:gd name="connsiteX18" fmla="*/ 1853410 w 1892234"/>
              <a:gd name="connsiteY18" fmla="*/ 1095794 h 3082398"/>
              <a:gd name="connsiteX19" fmla="*/ 1851981 w 1892234"/>
              <a:gd name="connsiteY19" fmla="*/ 1101576 h 3082398"/>
              <a:gd name="connsiteX20" fmla="*/ 1845110 w 1892234"/>
              <a:gd name="connsiteY20" fmla="*/ 1121285 h 3082398"/>
              <a:gd name="connsiteX21" fmla="*/ 1831381 w 1892234"/>
              <a:gd name="connsiteY21" fmla="*/ 1163449 h 3082398"/>
              <a:gd name="connsiteX22" fmla="*/ 1825950 w 1892234"/>
              <a:gd name="connsiteY22" fmla="*/ 1176243 h 3082398"/>
              <a:gd name="connsiteX23" fmla="*/ 1823385 w 1892234"/>
              <a:gd name="connsiteY23" fmla="*/ 1183600 h 3082398"/>
              <a:gd name="connsiteX24" fmla="*/ 1815252 w 1892234"/>
              <a:gd name="connsiteY24" fmla="*/ 1201446 h 3082398"/>
              <a:gd name="connsiteX25" fmla="*/ 1799775 w 1892234"/>
              <a:gd name="connsiteY25" fmla="*/ 1237910 h 3082398"/>
              <a:gd name="connsiteX26" fmla="*/ 1791622 w 1892234"/>
              <a:gd name="connsiteY26" fmla="*/ 1253302 h 3082398"/>
              <a:gd name="connsiteX27" fmla="*/ 1787661 w 1892234"/>
              <a:gd name="connsiteY27" fmla="*/ 1261995 h 3082398"/>
              <a:gd name="connsiteX28" fmla="*/ 1778740 w 1892234"/>
              <a:gd name="connsiteY28" fmla="*/ 1277620 h 3082398"/>
              <a:gd name="connsiteX29" fmla="*/ 1762146 w 1892234"/>
              <a:gd name="connsiteY29" fmla="*/ 1308948 h 3082398"/>
              <a:gd name="connsiteX30" fmla="*/ 1750774 w 1892234"/>
              <a:gd name="connsiteY30" fmla="*/ 1326606 h 3082398"/>
              <a:gd name="connsiteX31" fmla="*/ 1745201 w 1892234"/>
              <a:gd name="connsiteY31" fmla="*/ 1336369 h 3082398"/>
              <a:gd name="connsiteX32" fmla="*/ 1735924 w 1892234"/>
              <a:gd name="connsiteY32" fmla="*/ 1349666 h 3082398"/>
              <a:gd name="connsiteX33" fmla="*/ 1718812 w 1892234"/>
              <a:gd name="connsiteY33" fmla="*/ 1376240 h 3082398"/>
              <a:gd name="connsiteX34" fmla="*/ 1703748 w 1892234"/>
              <a:gd name="connsiteY34" fmla="*/ 1395790 h 3082398"/>
              <a:gd name="connsiteX35" fmla="*/ 1696396 w 1892234"/>
              <a:gd name="connsiteY35" fmla="*/ 1406330 h 3082398"/>
              <a:gd name="connsiteX36" fmla="*/ 1687157 w 1892234"/>
              <a:gd name="connsiteY36" fmla="*/ 1417324 h 3082398"/>
              <a:gd name="connsiteX37" fmla="*/ 1670097 w 1892234"/>
              <a:gd name="connsiteY37" fmla="*/ 1439464 h 3082398"/>
              <a:gd name="connsiteX38" fmla="*/ 1650874 w 1892234"/>
              <a:gd name="connsiteY38" fmla="*/ 1460496 h 3082398"/>
              <a:gd name="connsiteX39" fmla="*/ 1641638 w 1892234"/>
              <a:gd name="connsiteY39" fmla="*/ 1471486 h 3082398"/>
              <a:gd name="connsiteX40" fmla="*/ 1632794 w 1892234"/>
              <a:gd name="connsiteY40" fmla="*/ 1480278 h 3082398"/>
              <a:gd name="connsiteX41" fmla="*/ 1616324 w 1892234"/>
              <a:gd name="connsiteY41" fmla="*/ 1498298 h 3082398"/>
              <a:gd name="connsiteX42" fmla="*/ 1592464 w 1892234"/>
              <a:gd name="connsiteY42" fmla="*/ 1520368 h 3082398"/>
              <a:gd name="connsiteX43" fmla="*/ 1581318 w 1892234"/>
              <a:gd name="connsiteY43" fmla="*/ 1531448 h 3082398"/>
              <a:gd name="connsiteX44" fmla="*/ 1573192 w 1892234"/>
              <a:gd name="connsiteY44" fmla="*/ 1538194 h 3082398"/>
              <a:gd name="connsiteX45" fmla="*/ 1557815 w 1892234"/>
              <a:gd name="connsiteY45" fmla="*/ 1552419 h 3082398"/>
              <a:gd name="connsiteX46" fmla="*/ 1528783 w 1892234"/>
              <a:gd name="connsiteY46" fmla="*/ 1575065 h 3082398"/>
              <a:gd name="connsiteX47" fmla="*/ 1515829 w 1892234"/>
              <a:gd name="connsiteY47" fmla="*/ 1585822 h 3082398"/>
              <a:gd name="connsiteX48" fmla="*/ 1508716 w 1892234"/>
              <a:gd name="connsiteY48" fmla="*/ 1590720 h 3082398"/>
              <a:gd name="connsiteX49" fmla="*/ 1494892 w 1892234"/>
              <a:gd name="connsiteY49" fmla="*/ 1601503 h 3082398"/>
              <a:gd name="connsiteX50" fmla="*/ 1460006 w 1892234"/>
              <a:gd name="connsiteY50" fmla="*/ 1624267 h 3082398"/>
              <a:gd name="connsiteX51" fmla="*/ 1445562 w 1892234"/>
              <a:gd name="connsiteY51" fmla="*/ 1634216 h 3082398"/>
              <a:gd name="connsiteX52" fmla="*/ 1439724 w 1892234"/>
              <a:gd name="connsiteY52" fmla="*/ 1637500 h 3082398"/>
              <a:gd name="connsiteX53" fmla="*/ 1427878 w 1892234"/>
              <a:gd name="connsiteY53" fmla="*/ 1645231 h 3082398"/>
              <a:gd name="connsiteX54" fmla="*/ 1386077 w 1892234"/>
              <a:gd name="connsiteY54" fmla="*/ 1667699 h 3082398"/>
              <a:gd name="connsiteX55" fmla="*/ 1370907 w 1892234"/>
              <a:gd name="connsiteY55" fmla="*/ 1676239 h 3082398"/>
              <a:gd name="connsiteX56" fmla="*/ 1366588 w 1892234"/>
              <a:gd name="connsiteY56" fmla="*/ 1678176 h 3082398"/>
              <a:gd name="connsiteX57" fmla="*/ 1357095 w 1892234"/>
              <a:gd name="connsiteY57" fmla="*/ 1683278 h 3082398"/>
              <a:gd name="connsiteX58" fmla="*/ 1306238 w 1892234"/>
              <a:gd name="connsiteY58" fmla="*/ 1705232 h 3082398"/>
              <a:gd name="connsiteX59" fmla="*/ 1292258 w 1892234"/>
              <a:gd name="connsiteY59" fmla="*/ 1711500 h 3082398"/>
              <a:gd name="connsiteX60" fmla="*/ 1289672 w 1892234"/>
              <a:gd name="connsiteY60" fmla="*/ 1712383 h 3082398"/>
              <a:gd name="connsiteX61" fmla="*/ 1282867 w 1892234"/>
              <a:gd name="connsiteY61" fmla="*/ 1715321 h 3082398"/>
              <a:gd name="connsiteX62" fmla="*/ 1216576 w 1892234"/>
              <a:gd name="connsiteY62" fmla="*/ 1737360 h 3082398"/>
              <a:gd name="connsiteX63" fmla="*/ 1210005 w 1892234"/>
              <a:gd name="connsiteY63" fmla="*/ 1739607 h 3082398"/>
              <a:gd name="connsiteX64" fmla="*/ 1209346 w 1892234"/>
              <a:gd name="connsiteY64" fmla="*/ 1739766 h 3082398"/>
              <a:gd name="connsiteX65" fmla="*/ 1205516 w 1892234"/>
              <a:gd name="connsiteY65" fmla="*/ 1741039 h 3082398"/>
              <a:gd name="connsiteX66" fmla="*/ 1054134 w 1892234"/>
              <a:gd name="connsiteY66" fmla="*/ 1770025 h 3082398"/>
              <a:gd name="connsiteX67" fmla="*/ 1891117 w 1892234"/>
              <a:gd name="connsiteY67" fmla="*/ 1770025 h 3082398"/>
              <a:gd name="connsiteX68" fmla="*/ 1891117 w 1892234"/>
              <a:gd name="connsiteY68" fmla="*/ 1789112 h 3082398"/>
              <a:gd name="connsiteX69" fmla="*/ 1892234 w 1892234"/>
              <a:gd name="connsiteY69" fmla="*/ 1789112 h 3082398"/>
              <a:gd name="connsiteX70" fmla="*/ 1892234 w 1892234"/>
              <a:gd name="connsiteY70" fmla="*/ 1839193 h 3082398"/>
              <a:gd name="connsiteX71" fmla="*/ 1892234 w 1892234"/>
              <a:gd name="connsiteY71" fmla="*/ 1853486 h 3082398"/>
              <a:gd name="connsiteX72" fmla="*/ 1892234 w 1892234"/>
              <a:gd name="connsiteY72" fmla="*/ 1956126 h 3082398"/>
              <a:gd name="connsiteX73" fmla="*/ 1892234 w 1892234"/>
              <a:gd name="connsiteY73" fmla="*/ 2013863 h 3082398"/>
              <a:gd name="connsiteX74" fmla="*/ 1892234 w 1892234"/>
              <a:gd name="connsiteY74" fmla="*/ 2137122 h 3082398"/>
              <a:gd name="connsiteX75" fmla="*/ 1891105 w 1892234"/>
              <a:gd name="connsiteY75" fmla="*/ 2137122 h 3082398"/>
              <a:gd name="connsiteX76" fmla="*/ 1891105 w 1892234"/>
              <a:gd name="connsiteY76" fmla="*/ 2137122 h 3082398"/>
              <a:gd name="connsiteX77" fmla="*/ 1891105 w 1892234"/>
              <a:gd name="connsiteY77" fmla="*/ 2137404 h 3082398"/>
              <a:gd name="connsiteX78" fmla="*/ 1891105 w 1892234"/>
              <a:gd name="connsiteY78" fmla="*/ 2149531 h 3082398"/>
              <a:gd name="connsiteX79" fmla="*/ 1891105 w 1892234"/>
              <a:gd name="connsiteY79" fmla="*/ 2187202 h 3082398"/>
              <a:gd name="connsiteX80" fmla="*/ 1888748 w 1892234"/>
              <a:gd name="connsiteY80" fmla="*/ 2187202 h 3082398"/>
              <a:gd name="connsiteX81" fmla="*/ 1886812 w 1892234"/>
              <a:gd name="connsiteY81" fmla="*/ 2228063 h 3082398"/>
              <a:gd name="connsiteX82" fmla="*/ 1886321 w 1892234"/>
              <a:gd name="connsiteY82" fmla="*/ 2231576 h 3082398"/>
              <a:gd name="connsiteX83" fmla="*/ 1886223 w 1892234"/>
              <a:gd name="connsiteY83" fmla="*/ 2233517 h 3082398"/>
              <a:gd name="connsiteX84" fmla="*/ 1883469 w 1892234"/>
              <a:gd name="connsiteY84" fmla="*/ 2251944 h 3082398"/>
              <a:gd name="connsiteX85" fmla="*/ 1875221 w 1892234"/>
              <a:gd name="connsiteY85" fmla="*/ 2310858 h 3082398"/>
              <a:gd name="connsiteX86" fmla="*/ 1873654 w 1892234"/>
              <a:gd name="connsiteY86" fmla="*/ 2317633 h 3082398"/>
              <a:gd name="connsiteX87" fmla="*/ 1873058 w 1892234"/>
              <a:gd name="connsiteY87" fmla="*/ 2321625 h 3082398"/>
              <a:gd name="connsiteX88" fmla="*/ 1867964 w 1892234"/>
              <a:gd name="connsiteY88" fmla="*/ 2342225 h 3082398"/>
              <a:gd name="connsiteX89" fmla="*/ 1856636 w 1892234"/>
              <a:gd name="connsiteY89" fmla="*/ 2391197 h 3082398"/>
              <a:gd name="connsiteX90" fmla="*/ 1853410 w 1892234"/>
              <a:gd name="connsiteY90" fmla="*/ 2401106 h 3082398"/>
              <a:gd name="connsiteX91" fmla="*/ 1851981 w 1892234"/>
              <a:gd name="connsiteY91" fmla="*/ 2406886 h 3082398"/>
              <a:gd name="connsiteX92" fmla="*/ 1845110 w 1892234"/>
              <a:gd name="connsiteY92" fmla="*/ 2426596 h 3082398"/>
              <a:gd name="connsiteX93" fmla="*/ 1831381 w 1892234"/>
              <a:gd name="connsiteY93" fmla="*/ 2468760 h 3082398"/>
              <a:gd name="connsiteX94" fmla="*/ 1825950 w 1892234"/>
              <a:gd name="connsiteY94" fmla="*/ 2481555 h 3082398"/>
              <a:gd name="connsiteX95" fmla="*/ 1823386 w 1892234"/>
              <a:gd name="connsiteY95" fmla="*/ 2488910 h 3082398"/>
              <a:gd name="connsiteX96" fmla="*/ 1815252 w 1892234"/>
              <a:gd name="connsiteY96" fmla="*/ 2506756 h 3082398"/>
              <a:gd name="connsiteX97" fmla="*/ 1799776 w 1892234"/>
              <a:gd name="connsiteY97" fmla="*/ 2543220 h 3082398"/>
              <a:gd name="connsiteX98" fmla="*/ 1791622 w 1892234"/>
              <a:gd name="connsiteY98" fmla="*/ 2558613 h 3082398"/>
              <a:gd name="connsiteX99" fmla="*/ 1787661 w 1892234"/>
              <a:gd name="connsiteY99" fmla="*/ 2567306 h 3082398"/>
              <a:gd name="connsiteX100" fmla="*/ 1778740 w 1892234"/>
              <a:gd name="connsiteY100" fmla="*/ 2582931 h 3082398"/>
              <a:gd name="connsiteX101" fmla="*/ 1762146 w 1892234"/>
              <a:gd name="connsiteY101" fmla="*/ 2614258 h 3082398"/>
              <a:gd name="connsiteX102" fmla="*/ 1750775 w 1892234"/>
              <a:gd name="connsiteY102" fmla="*/ 2631917 h 3082398"/>
              <a:gd name="connsiteX103" fmla="*/ 1745202 w 1892234"/>
              <a:gd name="connsiteY103" fmla="*/ 2641680 h 3082398"/>
              <a:gd name="connsiteX104" fmla="*/ 1735924 w 1892234"/>
              <a:gd name="connsiteY104" fmla="*/ 2654977 h 3082398"/>
              <a:gd name="connsiteX105" fmla="*/ 1718812 w 1892234"/>
              <a:gd name="connsiteY105" fmla="*/ 2681551 h 3082398"/>
              <a:gd name="connsiteX106" fmla="*/ 1703748 w 1892234"/>
              <a:gd name="connsiteY106" fmla="*/ 2701101 h 3082398"/>
              <a:gd name="connsiteX107" fmla="*/ 1696396 w 1892234"/>
              <a:gd name="connsiteY107" fmla="*/ 2711641 h 3082398"/>
              <a:gd name="connsiteX108" fmla="*/ 1687157 w 1892234"/>
              <a:gd name="connsiteY108" fmla="*/ 2722633 h 3082398"/>
              <a:gd name="connsiteX109" fmla="*/ 1670098 w 1892234"/>
              <a:gd name="connsiteY109" fmla="*/ 2744774 h 3082398"/>
              <a:gd name="connsiteX110" fmla="*/ 1650874 w 1892234"/>
              <a:gd name="connsiteY110" fmla="*/ 2765807 h 3082398"/>
              <a:gd name="connsiteX111" fmla="*/ 1641638 w 1892234"/>
              <a:gd name="connsiteY111" fmla="*/ 2776797 h 3082398"/>
              <a:gd name="connsiteX112" fmla="*/ 1632794 w 1892234"/>
              <a:gd name="connsiteY112" fmla="*/ 2785589 h 3082398"/>
              <a:gd name="connsiteX113" fmla="*/ 1616324 w 1892234"/>
              <a:gd name="connsiteY113" fmla="*/ 2803608 h 3082398"/>
              <a:gd name="connsiteX114" fmla="*/ 1592464 w 1892234"/>
              <a:gd name="connsiteY114" fmla="*/ 2825679 h 3082398"/>
              <a:gd name="connsiteX115" fmla="*/ 1581318 w 1892234"/>
              <a:gd name="connsiteY115" fmla="*/ 2836758 h 3082398"/>
              <a:gd name="connsiteX116" fmla="*/ 1573192 w 1892234"/>
              <a:gd name="connsiteY116" fmla="*/ 2843504 h 3082398"/>
              <a:gd name="connsiteX117" fmla="*/ 1557815 w 1892234"/>
              <a:gd name="connsiteY117" fmla="*/ 2857728 h 3082398"/>
              <a:gd name="connsiteX118" fmla="*/ 1528783 w 1892234"/>
              <a:gd name="connsiteY118" fmla="*/ 2880377 h 3082398"/>
              <a:gd name="connsiteX119" fmla="*/ 1515829 w 1892234"/>
              <a:gd name="connsiteY119" fmla="*/ 2891132 h 3082398"/>
              <a:gd name="connsiteX120" fmla="*/ 1508715 w 1892234"/>
              <a:gd name="connsiteY120" fmla="*/ 2896031 h 3082398"/>
              <a:gd name="connsiteX121" fmla="*/ 1494892 w 1892234"/>
              <a:gd name="connsiteY121" fmla="*/ 2906814 h 3082398"/>
              <a:gd name="connsiteX122" fmla="*/ 1460006 w 1892234"/>
              <a:gd name="connsiteY122" fmla="*/ 2929578 h 3082398"/>
              <a:gd name="connsiteX123" fmla="*/ 1445562 w 1892234"/>
              <a:gd name="connsiteY123" fmla="*/ 2939527 h 3082398"/>
              <a:gd name="connsiteX124" fmla="*/ 1439724 w 1892234"/>
              <a:gd name="connsiteY124" fmla="*/ 2942811 h 3082398"/>
              <a:gd name="connsiteX125" fmla="*/ 1427878 w 1892234"/>
              <a:gd name="connsiteY125" fmla="*/ 2950541 h 3082398"/>
              <a:gd name="connsiteX126" fmla="*/ 1386077 w 1892234"/>
              <a:gd name="connsiteY126" fmla="*/ 2973010 h 3082398"/>
              <a:gd name="connsiteX127" fmla="*/ 1370907 w 1892234"/>
              <a:gd name="connsiteY127" fmla="*/ 2981550 h 3082398"/>
              <a:gd name="connsiteX128" fmla="*/ 1366588 w 1892234"/>
              <a:gd name="connsiteY128" fmla="*/ 2983486 h 3082398"/>
              <a:gd name="connsiteX129" fmla="*/ 1357095 w 1892234"/>
              <a:gd name="connsiteY129" fmla="*/ 2988588 h 3082398"/>
              <a:gd name="connsiteX130" fmla="*/ 1306238 w 1892234"/>
              <a:gd name="connsiteY130" fmla="*/ 3010542 h 3082398"/>
              <a:gd name="connsiteX131" fmla="*/ 1292258 w 1892234"/>
              <a:gd name="connsiteY131" fmla="*/ 3016810 h 3082398"/>
              <a:gd name="connsiteX132" fmla="*/ 1289672 w 1892234"/>
              <a:gd name="connsiteY132" fmla="*/ 3017694 h 3082398"/>
              <a:gd name="connsiteX133" fmla="*/ 1282867 w 1892234"/>
              <a:gd name="connsiteY133" fmla="*/ 3020632 h 3082398"/>
              <a:gd name="connsiteX134" fmla="*/ 1216576 w 1892234"/>
              <a:gd name="connsiteY134" fmla="*/ 3042672 h 3082398"/>
              <a:gd name="connsiteX135" fmla="*/ 1210005 w 1892234"/>
              <a:gd name="connsiteY135" fmla="*/ 3044917 h 3082398"/>
              <a:gd name="connsiteX136" fmla="*/ 1209346 w 1892234"/>
              <a:gd name="connsiteY136" fmla="*/ 3045077 h 3082398"/>
              <a:gd name="connsiteX137" fmla="*/ 1205516 w 1892234"/>
              <a:gd name="connsiteY137" fmla="*/ 3046349 h 3082398"/>
              <a:gd name="connsiteX138" fmla="*/ 1042731 w 1892234"/>
              <a:gd name="connsiteY138" fmla="*/ 3077519 h 3082398"/>
              <a:gd name="connsiteX139" fmla="*/ 1039034 w 1892234"/>
              <a:gd name="connsiteY139" fmla="*/ 3077705 h 3082398"/>
              <a:gd name="connsiteX140" fmla="*/ 1036258 w 1892234"/>
              <a:gd name="connsiteY140" fmla="*/ 3078102 h 3082398"/>
              <a:gd name="connsiteX141" fmla="*/ 990506 w 1892234"/>
              <a:gd name="connsiteY141" fmla="*/ 3080270 h 3082398"/>
              <a:gd name="connsiteX142" fmla="*/ 990506 w 1892234"/>
              <a:gd name="connsiteY142" fmla="*/ 3082397 h 3082398"/>
              <a:gd name="connsiteX143" fmla="*/ 946121 w 1892234"/>
              <a:gd name="connsiteY143" fmla="*/ 3082397 h 3082398"/>
              <a:gd name="connsiteX144" fmla="*/ 946111 w 1892234"/>
              <a:gd name="connsiteY144" fmla="*/ 3082398 h 3082398"/>
              <a:gd name="connsiteX145" fmla="*/ 946102 w 1892234"/>
              <a:gd name="connsiteY145" fmla="*/ 3082397 h 3082398"/>
              <a:gd name="connsiteX146" fmla="*/ 945545 w 1892234"/>
              <a:gd name="connsiteY146" fmla="*/ 3082397 h 3082398"/>
              <a:gd name="connsiteX147" fmla="*/ 1118 w 1892234"/>
              <a:gd name="connsiteY147" fmla="*/ 3082397 h 3082398"/>
              <a:gd name="connsiteX148" fmla="*/ 1118 w 1892234"/>
              <a:gd name="connsiteY148" fmla="*/ 2187202 h 3082398"/>
              <a:gd name="connsiteX149" fmla="*/ 0 w 1892234"/>
              <a:gd name="connsiteY149" fmla="*/ 2187202 h 3082398"/>
              <a:gd name="connsiteX150" fmla="*/ 0 w 1892234"/>
              <a:gd name="connsiteY150" fmla="*/ 2137122 h 3082398"/>
              <a:gd name="connsiteX151" fmla="*/ 0 w 1892234"/>
              <a:gd name="connsiteY151" fmla="*/ 2013863 h 3082398"/>
              <a:gd name="connsiteX152" fmla="*/ 0 w 1892234"/>
              <a:gd name="connsiteY152" fmla="*/ 1956126 h 3082398"/>
              <a:gd name="connsiteX153" fmla="*/ 0 w 1892234"/>
              <a:gd name="connsiteY153" fmla="*/ 1853486 h 3082398"/>
              <a:gd name="connsiteX154" fmla="*/ 0 w 1892234"/>
              <a:gd name="connsiteY154" fmla="*/ 1839193 h 3082398"/>
              <a:gd name="connsiteX155" fmla="*/ 1129 w 1892234"/>
              <a:gd name="connsiteY155" fmla="*/ 1839193 h 3082398"/>
              <a:gd name="connsiteX156" fmla="*/ 1129 w 1892234"/>
              <a:gd name="connsiteY156" fmla="*/ 1838909 h 3082398"/>
              <a:gd name="connsiteX157" fmla="*/ 1129 w 1892234"/>
              <a:gd name="connsiteY157" fmla="*/ 1826783 h 3082398"/>
              <a:gd name="connsiteX158" fmla="*/ 1129 w 1892234"/>
              <a:gd name="connsiteY158" fmla="*/ 1789112 h 3082398"/>
              <a:gd name="connsiteX159" fmla="*/ 3487 w 1892234"/>
              <a:gd name="connsiteY159" fmla="*/ 1789112 h 3082398"/>
              <a:gd name="connsiteX160" fmla="*/ 4057 w 1892234"/>
              <a:gd name="connsiteY160" fmla="*/ 1777087 h 3082398"/>
              <a:gd name="connsiteX161" fmla="*/ 1118 w 1892234"/>
              <a:gd name="connsiteY161" fmla="*/ 1777087 h 3082398"/>
              <a:gd name="connsiteX162" fmla="*/ 1118 w 1892234"/>
              <a:gd name="connsiteY162" fmla="*/ 1533244 h 3082398"/>
              <a:gd name="connsiteX163" fmla="*/ 1118 w 1892234"/>
              <a:gd name="connsiteY163" fmla="*/ 881891 h 3082398"/>
              <a:gd name="connsiteX164" fmla="*/ 0 w 1892234"/>
              <a:gd name="connsiteY164" fmla="*/ 881891 h 3082398"/>
              <a:gd name="connsiteX165" fmla="*/ 0 w 1892234"/>
              <a:gd name="connsiteY165" fmla="*/ 880579 h 3082398"/>
              <a:gd name="connsiteX166" fmla="*/ 4179 w 1892234"/>
              <a:gd name="connsiteY166" fmla="*/ 880579 h 3082398"/>
              <a:gd name="connsiteX167" fmla="*/ 5421 w 1892234"/>
              <a:gd name="connsiteY167" fmla="*/ 854335 h 3082398"/>
              <a:gd name="connsiteX168" fmla="*/ 5913 w 1892234"/>
              <a:gd name="connsiteY168" fmla="*/ 850822 h 3082398"/>
              <a:gd name="connsiteX169" fmla="*/ 6011 w 1892234"/>
              <a:gd name="connsiteY169" fmla="*/ 848881 h 3082398"/>
              <a:gd name="connsiteX170" fmla="*/ 8765 w 1892234"/>
              <a:gd name="connsiteY170" fmla="*/ 830453 h 3082398"/>
              <a:gd name="connsiteX171" fmla="*/ 17013 w 1892234"/>
              <a:gd name="connsiteY171" fmla="*/ 771540 h 3082398"/>
              <a:gd name="connsiteX172" fmla="*/ 18581 w 1892234"/>
              <a:gd name="connsiteY172" fmla="*/ 764764 h 3082398"/>
              <a:gd name="connsiteX173" fmla="*/ 19177 w 1892234"/>
              <a:gd name="connsiteY173" fmla="*/ 760774 h 3082398"/>
              <a:gd name="connsiteX174" fmla="*/ 24270 w 1892234"/>
              <a:gd name="connsiteY174" fmla="*/ 740172 h 3082398"/>
              <a:gd name="connsiteX175" fmla="*/ 35598 w 1892234"/>
              <a:gd name="connsiteY175" fmla="*/ 691201 h 3082398"/>
              <a:gd name="connsiteX176" fmla="*/ 38824 w 1892234"/>
              <a:gd name="connsiteY176" fmla="*/ 681293 h 3082398"/>
              <a:gd name="connsiteX177" fmla="*/ 40253 w 1892234"/>
              <a:gd name="connsiteY177" fmla="*/ 675511 h 3082398"/>
              <a:gd name="connsiteX178" fmla="*/ 47124 w 1892234"/>
              <a:gd name="connsiteY178" fmla="*/ 655802 h 3082398"/>
              <a:gd name="connsiteX179" fmla="*/ 60853 w 1892234"/>
              <a:gd name="connsiteY179" fmla="*/ 613639 h 3082398"/>
              <a:gd name="connsiteX180" fmla="*/ 66284 w 1892234"/>
              <a:gd name="connsiteY180" fmla="*/ 600844 h 3082398"/>
              <a:gd name="connsiteX181" fmla="*/ 68849 w 1892234"/>
              <a:gd name="connsiteY181" fmla="*/ 593488 h 3082398"/>
              <a:gd name="connsiteX182" fmla="*/ 76982 w 1892234"/>
              <a:gd name="connsiteY182" fmla="*/ 575641 h 3082398"/>
              <a:gd name="connsiteX183" fmla="*/ 92458 w 1892234"/>
              <a:gd name="connsiteY183" fmla="*/ 539178 h 3082398"/>
              <a:gd name="connsiteX184" fmla="*/ 100612 w 1892234"/>
              <a:gd name="connsiteY184" fmla="*/ 523785 h 3082398"/>
              <a:gd name="connsiteX185" fmla="*/ 104574 w 1892234"/>
              <a:gd name="connsiteY185" fmla="*/ 515093 h 3082398"/>
              <a:gd name="connsiteX186" fmla="*/ 113494 w 1892234"/>
              <a:gd name="connsiteY186" fmla="*/ 499467 h 3082398"/>
              <a:gd name="connsiteX187" fmla="*/ 130088 w 1892234"/>
              <a:gd name="connsiteY187" fmla="*/ 468140 h 3082398"/>
              <a:gd name="connsiteX188" fmla="*/ 141460 w 1892234"/>
              <a:gd name="connsiteY188" fmla="*/ 450482 h 3082398"/>
              <a:gd name="connsiteX189" fmla="*/ 147033 w 1892234"/>
              <a:gd name="connsiteY189" fmla="*/ 440718 h 3082398"/>
              <a:gd name="connsiteX190" fmla="*/ 156310 w 1892234"/>
              <a:gd name="connsiteY190" fmla="*/ 427422 h 3082398"/>
              <a:gd name="connsiteX191" fmla="*/ 173421 w 1892234"/>
              <a:gd name="connsiteY191" fmla="*/ 400847 h 3082398"/>
              <a:gd name="connsiteX192" fmla="*/ 188487 w 1892234"/>
              <a:gd name="connsiteY192" fmla="*/ 381297 h 3082398"/>
              <a:gd name="connsiteX193" fmla="*/ 195838 w 1892234"/>
              <a:gd name="connsiteY193" fmla="*/ 370757 h 3082398"/>
              <a:gd name="connsiteX194" fmla="*/ 205077 w 1892234"/>
              <a:gd name="connsiteY194" fmla="*/ 359764 h 3082398"/>
              <a:gd name="connsiteX195" fmla="*/ 222137 w 1892234"/>
              <a:gd name="connsiteY195" fmla="*/ 337623 h 3082398"/>
              <a:gd name="connsiteX196" fmla="*/ 241360 w 1892234"/>
              <a:gd name="connsiteY196" fmla="*/ 316591 h 3082398"/>
              <a:gd name="connsiteX197" fmla="*/ 250596 w 1892234"/>
              <a:gd name="connsiteY197" fmla="*/ 305601 h 3082398"/>
              <a:gd name="connsiteX198" fmla="*/ 259441 w 1892234"/>
              <a:gd name="connsiteY198" fmla="*/ 296809 h 3082398"/>
              <a:gd name="connsiteX199" fmla="*/ 275910 w 1892234"/>
              <a:gd name="connsiteY199" fmla="*/ 278790 h 3082398"/>
              <a:gd name="connsiteX200" fmla="*/ 299770 w 1892234"/>
              <a:gd name="connsiteY200" fmla="*/ 256718 h 3082398"/>
              <a:gd name="connsiteX201" fmla="*/ 310917 w 1892234"/>
              <a:gd name="connsiteY201" fmla="*/ 245640 h 3082398"/>
              <a:gd name="connsiteX202" fmla="*/ 319042 w 1892234"/>
              <a:gd name="connsiteY202" fmla="*/ 238894 h 3082398"/>
              <a:gd name="connsiteX203" fmla="*/ 334419 w 1892234"/>
              <a:gd name="connsiteY203" fmla="*/ 224670 h 3082398"/>
              <a:gd name="connsiteX204" fmla="*/ 363451 w 1892234"/>
              <a:gd name="connsiteY204" fmla="*/ 202021 h 3082398"/>
              <a:gd name="connsiteX205" fmla="*/ 376405 w 1892234"/>
              <a:gd name="connsiteY205" fmla="*/ 191265 h 3082398"/>
              <a:gd name="connsiteX206" fmla="*/ 383520 w 1892234"/>
              <a:gd name="connsiteY206" fmla="*/ 186367 h 3082398"/>
              <a:gd name="connsiteX207" fmla="*/ 397342 w 1892234"/>
              <a:gd name="connsiteY207" fmla="*/ 175584 h 3082398"/>
              <a:gd name="connsiteX208" fmla="*/ 432228 w 1892234"/>
              <a:gd name="connsiteY208" fmla="*/ 152820 h 3082398"/>
              <a:gd name="connsiteX209" fmla="*/ 446672 w 1892234"/>
              <a:gd name="connsiteY209" fmla="*/ 142871 h 3082398"/>
              <a:gd name="connsiteX210" fmla="*/ 452509 w 1892234"/>
              <a:gd name="connsiteY210" fmla="*/ 139587 h 3082398"/>
              <a:gd name="connsiteX211" fmla="*/ 464357 w 1892234"/>
              <a:gd name="connsiteY211" fmla="*/ 131856 h 3082398"/>
              <a:gd name="connsiteX212" fmla="*/ 506157 w 1892234"/>
              <a:gd name="connsiteY212" fmla="*/ 109388 h 3082398"/>
              <a:gd name="connsiteX213" fmla="*/ 521327 w 1892234"/>
              <a:gd name="connsiteY213" fmla="*/ 100848 h 3082398"/>
              <a:gd name="connsiteX214" fmla="*/ 525647 w 1892234"/>
              <a:gd name="connsiteY214" fmla="*/ 98911 h 3082398"/>
              <a:gd name="connsiteX215" fmla="*/ 535138 w 1892234"/>
              <a:gd name="connsiteY215" fmla="*/ 93810 h 3082398"/>
              <a:gd name="connsiteX216" fmla="*/ 585996 w 1892234"/>
              <a:gd name="connsiteY216" fmla="*/ 71856 h 3082398"/>
              <a:gd name="connsiteX217" fmla="*/ 599976 w 1892234"/>
              <a:gd name="connsiteY217" fmla="*/ 65587 h 3082398"/>
              <a:gd name="connsiteX218" fmla="*/ 602562 w 1892234"/>
              <a:gd name="connsiteY218" fmla="*/ 64704 h 3082398"/>
              <a:gd name="connsiteX219" fmla="*/ 609367 w 1892234"/>
              <a:gd name="connsiteY219" fmla="*/ 61766 h 3082398"/>
              <a:gd name="connsiteX220" fmla="*/ 675658 w 1892234"/>
              <a:gd name="connsiteY220" fmla="*/ 39725 h 3082398"/>
              <a:gd name="connsiteX221" fmla="*/ 682229 w 1892234"/>
              <a:gd name="connsiteY221" fmla="*/ 37481 h 3082398"/>
              <a:gd name="connsiteX222" fmla="*/ 682888 w 1892234"/>
              <a:gd name="connsiteY222" fmla="*/ 37321 h 3082398"/>
              <a:gd name="connsiteX223" fmla="*/ 686718 w 1892234"/>
              <a:gd name="connsiteY223" fmla="*/ 36049 h 3082398"/>
              <a:gd name="connsiteX224" fmla="*/ 849503 w 1892234"/>
              <a:gd name="connsiteY224" fmla="*/ 4878 h 3082398"/>
              <a:gd name="connsiteX225" fmla="*/ 853201 w 1892234"/>
              <a:gd name="connsiteY225" fmla="*/ 4692 h 3082398"/>
              <a:gd name="connsiteX226" fmla="*/ 855977 w 1892234"/>
              <a:gd name="connsiteY226" fmla="*/ 4296 h 3082398"/>
              <a:gd name="connsiteX227" fmla="*/ 901728 w 1892234"/>
              <a:gd name="connsiteY227" fmla="*/ 2129 h 3082398"/>
              <a:gd name="connsiteX228" fmla="*/ 901728 w 1892234"/>
              <a:gd name="connsiteY228" fmla="*/ 1 h 3082398"/>
              <a:gd name="connsiteX229" fmla="*/ 946114 w 1892234"/>
              <a:gd name="connsiteY229" fmla="*/ 1 h 308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2234" h="3082398">
                <a:moveTo>
                  <a:pt x="946123" y="0"/>
                </a:moveTo>
                <a:lnTo>
                  <a:pt x="946132" y="1"/>
                </a:lnTo>
                <a:lnTo>
                  <a:pt x="946689" y="1"/>
                </a:lnTo>
                <a:lnTo>
                  <a:pt x="1891116" y="1"/>
                </a:lnTo>
                <a:lnTo>
                  <a:pt x="1891116" y="243844"/>
                </a:lnTo>
                <a:lnTo>
                  <a:pt x="1891116" y="880579"/>
                </a:lnTo>
                <a:lnTo>
                  <a:pt x="1891105" y="880579"/>
                </a:lnTo>
                <a:lnTo>
                  <a:pt x="1891105" y="881891"/>
                </a:lnTo>
                <a:lnTo>
                  <a:pt x="1888747" y="881891"/>
                </a:lnTo>
                <a:lnTo>
                  <a:pt x="1886812" y="922752"/>
                </a:lnTo>
                <a:lnTo>
                  <a:pt x="1886320" y="926265"/>
                </a:lnTo>
                <a:lnTo>
                  <a:pt x="1886222" y="928206"/>
                </a:lnTo>
                <a:lnTo>
                  <a:pt x="1883469" y="946634"/>
                </a:lnTo>
                <a:lnTo>
                  <a:pt x="1875221" y="1005547"/>
                </a:lnTo>
                <a:lnTo>
                  <a:pt x="1873654" y="1012323"/>
                </a:lnTo>
                <a:lnTo>
                  <a:pt x="1873058" y="1016314"/>
                </a:lnTo>
                <a:lnTo>
                  <a:pt x="1867964" y="1036915"/>
                </a:lnTo>
                <a:lnTo>
                  <a:pt x="1856636" y="1085888"/>
                </a:lnTo>
                <a:lnTo>
                  <a:pt x="1853410" y="1095794"/>
                </a:lnTo>
                <a:lnTo>
                  <a:pt x="1851981" y="1101576"/>
                </a:lnTo>
                <a:lnTo>
                  <a:pt x="1845110" y="1121285"/>
                </a:lnTo>
                <a:lnTo>
                  <a:pt x="1831381" y="1163449"/>
                </a:lnTo>
                <a:lnTo>
                  <a:pt x="1825950" y="1176243"/>
                </a:lnTo>
                <a:lnTo>
                  <a:pt x="1823385" y="1183600"/>
                </a:lnTo>
                <a:lnTo>
                  <a:pt x="1815252" y="1201446"/>
                </a:lnTo>
                <a:lnTo>
                  <a:pt x="1799775" y="1237910"/>
                </a:lnTo>
                <a:lnTo>
                  <a:pt x="1791622" y="1253302"/>
                </a:lnTo>
                <a:lnTo>
                  <a:pt x="1787661" y="1261995"/>
                </a:lnTo>
                <a:lnTo>
                  <a:pt x="1778740" y="1277620"/>
                </a:lnTo>
                <a:lnTo>
                  <a:pt x="1762146" y="1308948"/>
                </a:lnTo>
                <a:lnTo>
                  <a:pt x="1750774" y="1326606"/>
                </a:lnTo>
                <a:lnTo>
                  <a:pt x="1745201" y="1336369"/>
                </a:lnTo>
                <a:lnTo>
                  <a:pt x="1735924" y="1349666"/>
                </a:lnTo>
                <a:lnTo>
                  <a:pt x="1718812" y="1376240"/>
                </a:lnTo>
                <a:lnTo>
                  <a:pt x="1703748" y="1395790"/>
                </a:lnTo>
                <a:lnTo>
                  <a:pt x="1696396" y="1406330"/>
                </a:lnTo>
                <a:lnTo>
                  <a:pt x="1687157" y="1417324"/>
                </a:lnTo>
                <a:lnTo>
                  <a:pt x="1670097" y="1439464"/>
                </a:lnTo>
                <a:lnTo>
                  <a:pt x="1650874" y="1460496"/>
                </a:lnTo>
                <a:lnTo>
                  <a:pt x="1641638" y="1471486"/>
                </a:lnTo>
                <a:lnTo>
                  <a:pt x="1632794" y="1480278"/>
                </a:lnTo>
                <a:lnTo>
                  <a:pt x="1616324" y="1498298"/>
                </a:lnTo>
                <a:lnTo>
                  <a:pt x="1592464" y="1520368"/>
                </a:lnTo>
                <a:lnTo>
                  <a:pt x="1581318" y="1531448"/>
                </a:lnTo>
                <a:lnTo>
                  <a:pt x="1573192" y="1538194"/>
                </a:lnTo>
                <a:lnTo>
                  <a:pt x="1557815" y="1552419"/>
                </a:lnTo>
                <a:lnTo>
                  <a:pt x="1528783" y="1575065"/>
                </a:lnTo>
                <a:lnTo>
                  <a:pt x="1515829" y="1585822"/>
                </a:lnTo>
                <a:lnTo>
                  <a:pt x="1508716" y="1590720"/>
                </a:lnTo>
                <a:lnTo>
                  <a:pt x="1494892" y="1601503"/>
                </a:lnTo>
                <a:lnTo>
                  <a:pt x="1460006" y="1624267"/>
                </a:lnTo>
                <a:lnTo>
                  <a:pt x="1445562" y="1634216"/>
                </a:lnTo>
                <a:lnTo>
                  <a:pt x="1439724" y="1637500"/>
                </a:lnTo>
                <a:lnTo>
                  <a:pt x="1427878" y="1645231"/>
                </a:lnTo>
                <a:lnTo>
                  <a:pt x="1386077" y="1667699"/>
                </a:lnTo>
                <a:lnTo>
                  <a:pt x="1370907" y="1676239"/>
                </a:lnTo>
                <a:lnTo>
                  <a:pt x="1366588" y="1678176"/>
                </a:lnTo>
                <a:lnTo>
                  <a:pt x="1357095" y="1683278"/>
                </a:lnTo>
                <a:lnTo>
                  <a:pt x="1306238" y="1705232"/>
                </a:lnTo>
                <a:lnTo>
                  <a:pt x="1292258" y="1711500"/>
                </a:lnTo>
                <a:lnTo>
                  <a:pt x="1289672" y="1712383"/>
                </a:lnTo>
                <a:lnTo>
                  <a:pt x="1282867" y="1715321"/>
                </a:lnTo>
                <a:lnTo>
                  <a:pt x="1216576" y="1737360"/>
                </a:lnTo>
                <a:lnTo>
                  <a:pt x="1210005" y="1739607"/>
                </a:lnTo>
                <a:lnTo>
                  <a:pt x="1209346" y="1739766"/>
                </a:lnTo>
                <a:lnTo>
                  <a:pt x="1205516" y="1741039"/>
                </a:lnTo>
                <a:lnTo>
                  <a:pt x="1054134" y="1770025"/>
                </a:lnTo>
                <a:lnTo>
                  <a:pt x="1891117" y="1770025"/>
                </a:lnTo>
                <a:lnTo>
                  <a:pt x="1891117" y="1789112"/>
                </a:lnTo>
                <a:lnTo>
                  <a:pt x="1892234" y="1789112"/>
                </a:lnTo>
                <a:lnTo>
                  <a:pt x="1892234" y="1839193"/>
                </a:lnTo>
                <a:lnTo>
                  <a:pt x="1892234" y="1853486"/>
                </a:lnTo>
                <a:lnTo>
                  <a:pt x="1892234" y="1956126"/>
                </a:lnTo>
                <a:lnTo>
                  <a:pt x="1892234" y="2013863"/>
                </a:lnTo>
                <a:lnTo>
                  <a:pt x="1892234" y="2137122"/>
                </a:lnTo>
                <a:lnTo>
                  <a:pt x="1891105" y="2137122"/>
                </a:lnTo>
                <a:lnTo>
                  <a:pt x="1891105" y="2137122"/>
                </a:lnTo>
                <a:lnTo>
                  <a:pt x="1891105" y="2137404"/>
                </a:lnTo>
                <a:lnTo>
                  <a:pt x="1891105" y="2149531"/>
                </a:lnTo>
                <a:lnTo>
                  <a:pt x="1891105" y="2187202"/>
                </a:lnTo>
                <a:lnTo>
                  <a:pt x="1888748" y="2187202"/>
                </a:lnTo>
                <a:lnTo>
                  <a:pt x="1886812" y="2228063"/>
                </a:lnTo>
                <a:lnTo>
                  <a:pt x="1886321" y="2231576"/>
                </a:lnTo>
                <a:lnTo>
                  <a:pt x="1886223" y="2233517"/>
                </a:lnTo>
                <a:lnTo>
                  <a:pt x="1883469" y="2251944"/>
                </a:lnTo>
                <a:lnTo>
                  <a:pt x="1875221" y="2310858"/>
                </a:lnTo>
                <a:lnTo>
                  <a:pt x="1873654" y="2317633"/>
                </a:lnTo>
                <a:lnTo>
                  <a:pt x="1873058" y="2321625"/>
                </a:lnTo>
                <a:lnTo>
                  <a:pt x="1867964" y="2342225"/>
                </a:lnTo>
                <a:lnTo>
                  <a:pt x="1856636" y="2391197"/>
                </a:lnTo>
                <a:lnTo>
                  <a:pt x="1853410" y="2401106"/>
                </a:lnTo>
                <a:lnTo>
                  <a:pt x="1851981" y="2406886"/>
                </a:lnTo>
                <a:lnTo>
                  <a:pt x="1845110" y="2426596"/>
                </a:lnTo>
                <a:lnTo>
                  <a:pt x="1831381" y="2468760"/>
                </a:lnTo>
                <a:lnTo>
                  <a:pt x="1825950" y="2481555"/>
                </a:lnTo>
                <a:lnTo>
                  <a:pt x="1823386" y="2488910"/>
                </a:lnTo>
                <a:lnTo>
                  <a:pt x="1815252" y="2506756"/>
                </a:lnTo>
                <a:lnTo>
                  <a:pt x="1799776" y="2543220"/>
                </a:lnTo>
                <a:lnTo>
                  <a:pt x="1791622" y="2558613"/>
                </a:lnTo>
                <a:lnTo>
                  <a:pt x="1787661" y="2567306"/>
                </a:lnTo>
                <a:lnTo>
                  <a:pt x="1778740" y="2582931"/>
                </a:lnTo>
                <a:lnTo>
                  <a:pt x="1762146" y="2614258"/>
                </a:lnTo>
                <a:lnTo>
                  <a:pt x="1750775" y="2631917"/>
                </a:lnTo>
                <a:lnTo>
                  <a:pt x="1745202" y="2641680"/>
                </a:lnTo>
                <a:lnTo>
                  <a:pt x="1735924" y="2654977"/>
                </a:lnTo>
                <a:lnTo>
                  <a:pt x="1718812" y="2681551"/>
                </a:lnTo>
                <a:lnTo>
                  <a:pt x="1703748" y="2701101"/>
                </a:lnTo>
                <a:lnTo>
                  <a:pt x="1696396" y="2711641"/>
                </a:lnTo>
                <a:lnTo>
                  <a:pt x="1687157" y="2722633"/>
                </a:lnTo>
                <a:lnTo>
                  <a:pt x="1670098" y="2744774"/>
                </a:lnTo>
                <a:lnTo>
                  <a:pt x="1650874" y="2765807"/>
                </a:lnTo>
                <a:lnTo>
                  <a:pt x="1641638" y="2776797"/>
                </a:lnTo>
                <a:lnTo>
                  <a:pt x="1632794" y="2785589"/>
                </a:lnTo>
                <a:lnTo>
                  <a:pt x="1616324" y="2803608"/>
                </a:lnTo>
                <a:lnTo>
                  <a:pt x="1592464" y="2825679"/>
                </a:lnTo>
                <a:lnTo>
                  <a:pt x="1581318" y="2836758"/>
                </a:lnTo>
                <a:lnTo>
                  <a:pt x="1573192" y="2843504"/>
                </a:lnTo>
                <a:lnTo>
                  <a:pt x="1557815" y="2857728"/>
                </a:lnTo>
                <a:lnTo>
                  <a:pt x="1528783" y="2880377"/>
                </a:lnTo>
                <a:lnTo>
                  <a:pt x="1515829" y="2891132"/>
                </a:lnTo>
                <a:lnTo>
                  <a:pt x="1508715" y="2896031"/>
                </a:lnTo>
                <a:lnTo>
                  <a:pt x="1494892" y="2906814"/>
                </a:lnTo>
                <a:lnTo>
                  <a:pt x="1460006" y="2929578"/>
                </a:lnTo>
                <a:lnTo>
                  <a:pt x="1445562" y="2939527"/>
                </a:lnTo>
                <a:lnTo>
                  <a:pt x="1439724" y="2942811"/>
                </a:lnTo>
                <a:lnTo>
                  <a:pt x="1427878" y="2950541"/>
                </a:lnTo>
                <a:lnTo>
                  <a:pt x="1386077" y="2973010"/>
                </a:lnTo>
                <a:lnTo>
                  <a:pt x="1370907" y="2981550"/>
                </a:lnTo>
                <a:lnTo>
                  <a:pt x="1366588" y="2983486"/>
                </a:lnTo>
                <a:lnTo>
                  <a:pt x="1357095" y="2988588"/>
                </a:lnTo>
                <a:lnTo>
                  <a:pt x="1306238" y="3010542"/>
                </a:lnTo>
                <a:lnTo>
                  <a:pt x="1292258" y="3016810"/>
                </a:lnTo>
                <a:lnTo>
                  <a:pt x="1289672" y="3017694"/>
                </a:lnTo>
                <a:lnTo>
                  <a:pt x="1282867" y="3020632"/>
                </a:lnTo>
                <a:lnTo>
                  <a:pt x="1216576" y="3042672"/>
                </a:lnTo>
                <a:lnTo>
                  <a:pt x="1210005" y="3044917"/>
                </a:lnTo>
                <a:lnTo>
                  <a:pt x="1209346" y="3045077"/>
                </a:lnTo>
                <a:lnTo>
                  <a:pt x="1205516" y="3046349"/>
                </a:lnTo>
                <a:cubicBezTo>
                  <a:pt x="1152978" y="3061315"/>
                  <a:pt x="1098574" y="3071848"/>
                  <a:pt x="1042731" y="3077519"/>
                </a:cubicBezTo>
                <a:lnTo>
                  <a:pt x="1039034" y="3077705"/>
                </a:lnTo>
                <a:lnTo>
                  <a:pt x="1036258" y="3078102"/>
                </a:lnTo>
                <a:lnTo>
                  <a:pt x="990506" y="3080270"/>
                </a:lnTo>
                <a:lnTo>
                  <a:pt x="990506" y="3082397"/>
                </a:lnTo>
                <a:lnTo>
                  <a:pt x="946121" y="3082397"/>
                </a:lnTo>
                <a:lnTo>
                  <a:pt x="946111" y="3082398"/>
                </a:lnTo>
                <a:lnTo>
                  <a:pt x="946102" y="3082397"/>
                </a:lnTo>
                <a:lnTo>
                  <a:pt x="945545" y="3082397"/>
                </a:lnTo>
                <a:lnTo>
                  <a:pt x="1118" y="3082397"/>
                </a:lnTo>
                <a:lnTo>
                  <a:pt x="1118" y="2187202"/>
                </a:lnTo>
                <a:lnTo>
                  <a:pt x="0" y="2187202"/>
                </a:lnTo>
                <a:lnTo>
                  <a:pt x="0" y="2137122"/>
                </a:lnTo>
                <a:lnTo>
                  <a:pt x="0" y="2013863"/>
                </a:lnTo>
                <a:lnTo>
                  <a:pt x="0" y="1956126"/>
                </a:lnTo>
                <a:lnTo>
                  <a:pt x="0" y="1853486"/>
                </a:lnTo>
                <a:lnTo>
                  <a:pt x="0" y="1839193"/>
                </a:lnTo>
                <a:lnTo>
                  <a:pt x="1129" y="1839193"/>
                </a:lnTo>
                <a:lnTo>
                  <a:pt x="1129" y="1838909"/>
                </a:lnTo>
                <a:lnTo>
                  <a:pt x="1129" y="1826783"/>
                </a:lnTo>
                <a:lnTo>
                  <a:pt x="1129" y="1789112"/>
                </a:lnTo>
                <a:lnTo>
                  <a:pt x="3487" y="1789112"/>
                </a:lnTo>
                <a:lnTo>
                  <a:pt x="4057" y="1777087"/>
                </a:lnTo>
                <a:lnTo>
                  <a:pt x="1118" y="1777087"/>
                </a:lnTo>
                <a:lnTo>
                  <a:pt x="1118" y="1533244"/>
                </a:lnTo>
                <a:lnTo>
                  <a:pt x="1118" y="881891"/>
                </a:lnTo>
                <a:lnTo>
                  <a:pt x="0" y="881891"/>
                </a:lnTo>
                <a:lnTo>
                  <a:pt x="0" y="880579"/>
                </a:lnTo>
                <a:lnTo>
                  <a:pt x="4179" y="880579"/>
                </a:lnTo>
                <a:lnTo>
                  <a:pt x="5421" y="854335"/>
                </a:lnTo>
                <a:lnTo>
                  <a:pt x="5913" y="850822"/>
                </a:lnTo>
                <a:lnTo>
                  <a:pt x="6011" y="848881"/>
                </a:lnTo>
                <a:lnTo>
                  <a:pt x="8765" y="830453"/>
                </a:lnTo>
                <a:lnTo>
                  <a:pt x="17013" y="771540"/>
                </a:lnTo>
                <a:lnTo>
                  <a:pt x="18581" y="764764"/>
                </a:lnTo>
                <a:lnTo>
                  <a:pt x="19177" y="760774"/>
                </a:lnTo>
                <a:lnTo>
                  <a:pt x="24270" y="740172"/>
                </a:lnTo>
                <a:lnTo>
                  <a:pt x="35598" y="691201"/>
                </a:lnTo>
                <a:lnTo>
                  <a:pt x="38824" y="681293"/>
                </a:lnTo>
                <a:lnTo>
                  <a:pt x="40253" y="675511"/>
                </a:lnTo>
                <a:lnTo>
                  <a:pt x="47124" y="655802"/>
                </a:lnTo>
                <a:lnTo>
                  <a:pt x="60853" y="613639"/>
                </a:lnTo>
                <a:lnTo>
                  <a:pt x="66284" y="600844"/>
                </a:lnTo>
                <a:lnTo>
                  <a:pt x="68849" y="593488"/>
                </a:lnTo>
                <a:lnTo>
                  <a:pt x="76982" y="575641"/>
                </a:lnTo>
                <a:lnTo>
                  <a:pt x="92458" y="539178"/>
                </a:lnTo>
                <a:lnTo>
                  <a:pt x="100612" y="523785"/>
                </a:lnTo>
                <a:lnTo>
                  <a:pt x="104574" y="515093"/>
                </a:lnTo>
                <a:lnTo>
                  <a:pt x="113494" y="499467"/>
                </a:lnTo>
                <a:lnTo>
                  <a:pt x="130088" y="468140"/>
                </a:lnTo>
                <a:lnTo>
                  <a:pt x="141460" y="450482"/>
                </a:lnTo>
                <a:lnTo>
                  <a:pt x="147033" y="440718"/>
                </a:lnTo>
                <a:lnTo>
                  <a:pt x="156310" y="427422"/>
                </a:lnTo>
                <a:lnTo>
                  <a:pt x="173421" y="400847"/>
                </a:lnTo>
                <a:lnTo>
                  <a:pt x="188487" y="381297"/>
                </a:lnTo>
                <a:lnTo>
                  <a:pt x="195838" y="370757"/>
                </a:lnTo>
                <a:lnTo>
                  <a:pt x="205077" y="359764"/>
                </a:lnTo>
                <a:lnTo>
                  <a:pt x="222137" y="337623"/>
                </a:lnTo>
                <a:lnTo>
                  <a:pt x="241360" y="316591"/>
                </a:lnTo>
                <a:lnTo>
                  <a:pt x="250596" y="305601"/>
                </a:lnTo>
                <a:lnTo>
                  <a:pt x="259441" y="296809"/>
                </a:lnTo>
                <a:lnTo>
                  <a:pt x="275910" y="278790"/>
                </a:lnTo>
                <a:lnTo>
                  <a:pt x="299770" y="256718"/>
                </a:lnTo>
                <a:lnTo>
                  <a:pt x="310917" y="245640"/>
                </a:lnTo>
                <a:lnTo>
                  <a:pt x="319042" y="238894"/>
                </a:lnTo>
                <a:lnTo>
                  <a:pt x="334419" y="224670"/>
                </a:lnTo>
                <a:lnTo>
                  <a:pt x="363451" y="202021"/>
                </a:lnTo>
                <a:lnTo>
                  <a:pt x="376405" y="191265"/>
                </a:lnTo>
                <a:lnTo>
                  <a:pt x="383520" y="186367"/>
                </a:lnTo>
                <a:lnTo>
                  <a:pt x="397342" y="175584"/>
                </a:lnTo>
                <a:lnTo>
                  <a:pt x="432228" y="152820"/>
                </a:lnTo>
                <a:lnTo>
                  <a:pt x="446672" y="142871"/>
                </a:lnTo>
                <a:lnTo>
                  <a:pt x="452509" y="139587"/>
                </a:lnTo>
                <a:lnTo>
                  <a:pt x="464357" y="131856"/>
                </a:lnTo>
                <a:lnTo>
                  <a:pt x="506157" y="109388"/>
                </a:lnTo>
                <a:lnTo>
                  <a:pt x="521327" y="100848"/>
                </a:lnTo>
                <a:lnTo>
                  <a:pt x="525647" y="98911"/>
                </a:lnTo>
                <a:lnTo>
                  <a:pt x="535138" y="93810"/>
                </a:lnTo>
                <a:lnTo>
                  <a:pt x="585996" y="71856"/>
                </a:lnTo>
                <a:lnTo>
                  <a:pt x="599976" y="65587"/>
                </a:lnTo>
                <a:lnTo>
                  <a:pt x="602562" y="64704"/>
                </a:lnTo>
                <a:lnTo>
                  <a:pt x="609367" y="61766"/>
                </a:lnTo>
                <a:lnTo>
                  <a:pt x="675658" y="39725"/>
                </a:lnTo>
                <a:lnTo>
                  <a:pt x="682229" y="37481"/>
                </a:lnTo>
                <a:lnTo>
                  <a:pt x="682888" y="37321"/>
                </a:lnTo>
                <a:lnTo>
                  <a:pt x="686718" y="36049"/>
                </a:lnTo>
                <a:cubicBezTo>
                  <a:pt x="739256" y="21083"/>
                  <a:pt x="793661" y="10550"/>
                  <a:pt x="849503" y="4878"/>
                </a:cubicBezTo>
                <a:lnTo>
                  <a:pt x="853201" y="4692"/>
                </a:lnTo>
                <a:lnTo>
                  <a:pt x="855977" y="4296"/>
                </a:lnTo>
                <a:lnTo>
                  <a:pt x="901728" y="2129"/>
                </a:lnTo>
                <a:lnTo>
                  <a:pt x="901728" y="1"/>
                </a:lnTo>
                <a:lnTo>
                  <a:pt x="946114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081BAE9-DA5F-4164-A88D-A73E8A30973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05896" y="740780"/>
            <a:ext cx="3082396" cy="3082397"/>
          </a:xfrm>
          <a:custGeom>
            <a:avLst/>
            <a:gdLst>
              <a:gd name="connsiteX0" fmla="*/ 1541197 w 3082396"/>
              <a:gd name="connsiteY0" fmla="*/ 0 h 3082397"/>
              <a:gd name="connsiteX1" fmla="*/ 3074439 w 3082396"/>
              <a:gd name="connsiteY1" fmla="*/ 1383621 h 3082397"/>
              <a:gd name="connsiteX2" fmla="*/ 3081351 w 3082396"/>
              <a:gd name="connsiteY2" fmla="*/ 1520511 h 3082397"/>
              <a:gd name="connsiteX3" fmla="*/ 3082396 w 3082396"/>
              <a:gd name="connsiteY3" fmla="*/ 1520511 h 3082397"/>
              <a:gd name="connsiteX4" fmla="*/ 3082396 w 3082396"/>
              <a:gd name="connsiteY4" fmla="*/ 1541199 h 3082397"/>
              <a:gd name="connsiteX5" fmla="*/ 3082396 w 3082396"/>
              <a:gd name="connsiteY5" fmla="*/ 3082396 h 3082397"/>
              <a:gd name="connsiteX6" fmla="*/ 1541212 w 3082396"/>
              <a:gd name="connsiteY6" fmla="*/ 3082396 h 3082397"/>
              <a:gd name="connsiteX7" fmla="*/ 1541198 w 3082396"/>
              <a:gd name="connsiteY7" fmla="*/ 3082397 h 3082397"/>
              <a:gd name="connsiteX8" fmla="*/ 1541183 w 3082396"/>
              <a:gd name="connsiteY8" fmla="*/ 3082396 h 3082397"/>
              <a:gd name="connsiteX9" fmla="*/ 1468793 w 3082396"/>
              <a:gd name="connsiteY9" fmla="*/ 3082396 h 3082397"/>
              <a:gd name="connsiteX10" fmla="*/ 1468793 w 3082396"/>
              <a:gd name="connsiteY10" fmla="*/ 3078741 h 3082397"/>
              <a:gd name="connsiteX11" fmla="*/ 1383621 w 3082396"/>
              <a:gd name="connsiteY11" fmla="*/ 3074441 h 3082397"/>
              <a:gd name="connsiteX12" fmla="*/ 0 w 3082396"/>
              <a:gd name="connsiteY12" fmla="*/ 1541198 h 3082397"/>
              <a:gd name="connsiteX13" fmla="*/ 1541197 w 3082396"/>
              <a:gd name="connsiteY13" fmla="*/ 0 h 308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082396" h="3082397">
                <a:moveTo>
                  <a:pt x="1541197" y="0"/>
                </a:moveTo>
                <a:cubicBezTo>
                  <a:pt x="2339179" y="0"/>
                  <a:pt x="2995514" y="606461"/>
                  <a:pt x="3074439" y="1383621"/>
                </a:cubicBezTo>
                <a:lnTo>
                  <a:pt x="3081351" y="1520511"/>
                </a:lnTo>
                <a:lnTo>
                  <a:pt x="3082396" y="1520511"/>
                </a:lnTo>
                <a:lnTo>
                  <a:pt x="3082396" y="1541199"/>
                </a:lnTo>
                <a:lnTo>
                  <a:pt x="3082396" y="3082396"/>
                </a:lnTo>
                <a:lnTo>
                  <a:pt x="1541212" y="3082396"/>
                </a:lnTo>
                <a:lnTo>
                  <a:pt x="1541198" y="3082397"/>
                </a:lnTo>
                <a:lnTo>
                  <a:pt x="1541183" y="3082396"/>
                </a:lnTo>
                <a:lnTo>
                  <a:pt x="1468793" y="3082396"/>
                </a:lnTo>
                <a:lnTo>
                  <a:pt x="1468793" y="3078741"/>
                </a:lnTo>
                <a:lnTo>
                  <a:pt x="1383621" y="3074441"/>
                </a:lnTo>
                <a:cubicBezTo>
                  <a:pt x="606461" y="2995515"/>
                  <a:pt x="0" y="2339180"/>
                  <a:pt x="0" y="1541198"/>
                </a:cubicBezTo>
                <a:cubicBezTo>
                  <a:pt x="0" y="690018"/>
                  <a:pt x="690017" y="0"/>
                  <a:pt x="154119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94635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C656358-89EF-4084-ADF6-0BE45ED82F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5410553" cy="6858000"/>
          </a:xfrm>
          <a:custGeom>
            <a:avLst/>
            <a:gdLst>
              <a:gd name="connsiteX0" fmla="*/ 0 w 5410553"/>
              <a:gd name="connsiteY0" fmla="*/ 0 h 6858000"/>
              <a:gd name="connsiteX1" fmla="*/ 1627873 w 5410553"/>
              <a:gd name="connsiteY1" fmla="*/ 0 h 6858000"/>
              <a:gd name="connsiteX2" fmla="*/ 2168929 w 5410553"/>
              <a:gd name="connsiteY2" fmla="*/ 0 h 6858000"/>
              <a:gd name="connsiteX3" fmla="*/ 3241609 w 5410553"/>
              <a:gd name="connsiteY3" fmla="*/ 0 h 6858000"/>
              <a:gd name="connsiteX4" fmla="*/ 3782664 w 5410553"/>
              <a:gd name="connsiteY4" fmla="*/ 0 h 6858000"/>
              <a:gd name="connsiteX5" fmla="*/ 3825750 w 5410553"/>
              <a:gd name="connsiteY5" fmla="*/ 0 h 6858000"/>
              <a:gd name="connsiteX6" fmla="*/ 3825750 w 5410553"/>
              <a:gd name="connsiteY6" fmla="*/ 1 h 6858000"/>
              <a:gd name="connsiteX7" fmla="*/ 3859050 w 5410553"/>
              <a:gd name="connsiteY7" fmla="*/ 1 h 6858000"/>
              <a:gd name="connsiteX8" fmla="*/ 3859050 w 5410553"/>
              <a:gd name="connsiteY8" fmla="*/ 3976 h 6858000"/>
              <a:gd name="connsiteX9" fmla="*/ 3937767 w 5410553"/>
              <a:gd name="connsiteY9" fmla="*/ 8022 h 6858000"/>
              <a:gd name="connsiteX10" fmla="*/ 3942543 w 5410553"/>
              <a:gd name="connsiteY10" fmla="*/ 8764 h 6858000"/>
              <a:gd name="connsiteX11" fmla="*/ 3948907 w 5410553"/>
              <a:gd name="connsiteY11" fmla="*/ 9111 h 6858000"/>
              <a:gd name="connsiteX12" fmla="*/ 4228992 w 5410553"/>
              <a:gd name="connsiteY12" fmla="*/ 67312 h 6858000"/>
              <a:gd name="connsiteX13" fmla="*/ 4235582 w 5410553"/>
              <a:gd name="connsiteY13" fmla="*/ 69688 h 6858000"/>
              <a:gd name="connsiteX14" fmla="*/ 4236717 w 5410553"/>
              <a:gd name="connsiteY14" fmla="*/ 69985 h 6858000"/>
              <a:gd name="connsiteX15" fmla="*/ 4248022 w 5410553"/>
              <a:gd name="connsiteY15" fmla="*/ 74178 h 6858000"/>
              <a:gd name="connsiteX16" fmla="*/ 4362084 w 5410553"/>
              <a:gd name="connsiteY16" fmla="*/ 115332 h 6858000"/>
              <a:gd name="connsiteX17" fmla="*/ 4373791 w 5410553"/>
              <a:gd name="connsiteY17" fmla="*/ 120816 h 6858000"/>
              <a:gd name="connsiteX18" fmla="*/ 4378240 w 5410553"/>
              <a:gd name="connsiteY18" fmla="*/ 122467 h 6858000"/>
              <a:gd name="connsiteX19" fmla="*/ 4402294 w 5410553"/>
              <a:gd name="connsiteY19" fmla="*/ 134171 h 6858000"/>
              <a:gd name="connsiteX20" fmla="*/ 4489799 w 5410553"/>
              <a:gd name="connsiteY20" fmla="*/ 175163 h 6858000"/>
              <a:gd name="connsiteX21" fmla="*/ 4506131 w 5410553"/>
              <a:gd name="connsiteY21" fmla="*/ 184690 h 6858000"/>
              <a:gd name="connsiteX22" fmla="*/ 4513564 w 5410553"/>
              <a:gd name="connsiteY22" fmla="*/ 188306 h 6858000"/>
              <a:gd name="connsiteX23" fmla="*/ 4539665 w 5410553"/>
              <a:gd name="connsiteY23" fmla="*/ 204251 h 6858000"/>
              <a:gd name="connsiteX24" fmla="*/ 4611586 w 5410553"/>
              <a:gd name="connsiteY24" fmla="*/ 246206 h 6858000"/>
              <a:gd name="connsiteX25" fmla="*/ 4631969 w 5410553"/>
              <a:gd name="connsiteY25" fmla="*/ 260639 h 6858000"/>
              <a:gd name="connsiteX26" fmla="*/ 4642014 w 5410553"/>
              <a:gd name="connsiteY26" fmla="*/ 266773 h 6858000"/>
              <a:gd name="connsiteX27" fmla="*/ 4666865 w 5410553"/>
              <a:gd name="connsiteY27" fmla="*/ 285348 h 6858000"/>
              <a:gd name="connsiteX28" fmla="*/ 4726890 w 5410553"/>
              <a:gd name="connsiteY28" fmla="*/ 327853 h 6858000"/>
              <a:gd name="connsiteX29" fmla="*/ 4750674 w 5410553"/>
              <a:gd name="connsiteY29" fmla="*/ 347987 h 6858000"/>
              <a:gd name="connsiteX30" fmla="*/ 4762915 w 5410553"/>
              <a:gd name="connsiteY30" fmla="*/ 357135 h 6858000"/>
              <a:gd name="connsiteX31" fmla="*/ 4785202 w 5410553"/>
              <a:gd name="connsiteY31" fmla="*/ 377217 h 6858000"/>
              <a:gd name="connsiteX32" fmla="*/ 4835155 w 5410553"/>
              <a:gd name="connsiteY32" fmla="*/ 419505 h 6858000"/>
              <a:gd name="connsiteX33" fmla="*/ 4861614 w 5410553"/>
              <a:gd name="connsiteY33" fmla="*/ 446067 h 6858000"/>
              <a:gd name="connsiteX34" fmla="*/ 4875593 w 5410553"/>
              <a:gd name="connsiteY34" fmla="*/ 458661 h 6858000"/>
              <a:gd name="connsiteX35" fmla="*/ 4894771 w 5410553"/>
              <a:gd name="connsiteY35" fmla="*/ 479349 h 6858000"/>
              <a:gd name="connsiteX36" fmla="*/ 4935827 w 5410553"/>
              <a:gd name="connsiteY36" fmla="*/ 520560 h 6858000"/>
              <a:gd name="connsiteX37" fmla="*/ 4964164 w 5410553"/>
              <a:gd name="connsiteY37" fmla="*/ 554208 h 6858000"/>
              <a:gd name="connsiteX38" fmla="*/ 4979380 w 5410553"/>
              <a:gd name="connsiteY38" fmla="*/ 570622 h 6858000"/>
              <a:gd name="connsiteX39" fmla="*/ 4995273 w 5410553"/>
              <a:gd name="connsiteY39" fmla="*/ 591145 h 6858000"/>
              <a:gd name="connsiteX40" fmla="*/ 5028346 w 5410553"/>
              <a:gd name="connsiteY40" fmla="*/ 630415 h 6858000"/>
              <a:gd name="connsiteX41" fmla="*/ 5057701 w 5410553"/>
              <a:gd name="connsiteY41" fmla="*/ 671758 h 6858000"/>
              <a:gd name="connsiteX42" fmla="*/ 5073596 w 5410553"/>
              <a:gd name="connsiteY42" fmla="*/ 692284 h 6858000"/>
              <a:gd name="connsiteX43" fmla="*/ 5086246 w 5410553"/>
              <a:gd name="connsiteY43" fmla="*/ 711964 h 6858000"/>
              <a:gd name="connsiteX44" fmla="*/ 5112165 w 5410553"/>
              <a:gd name="connsiteY44" fmla="*/ 748469 h 6858000"/>
              <a:gd name="connsiteX45" fmla="*/ 5141608 w 5410553"/>
              <a:gd name="connsiteY45" fmla="*/ 798086 h 6858000"/>
              <a:gd name="connsiteX46" fmla="*/ 5157568 w 5410553"/>
              <a:gd name="connsiteY46" fmla="*/ 822915 h 6858000"/>
              <a:gd name="connsiteX47" fmla="*/ 5167158 w 5410553"/>
              <a:gd name="connsiteY47" fmla="*/ 841145 h 6858000"/>
              <a:gd name="connsiteX48" fmla="*/ 5186726 w 5410553"/>
              <a:gd name="connsiteY48" fmla="*/ 874117 h 6858000"/>
              <a:gd name="connsiteX49" fmla="*/ 5215275 w 5410553"/>
              <a:gd name="connsiteY49" fmla="*/ 932612 h 6858000"/>
              <a:gd name="connsiteX50" fmla="*/ 5230626 w 5410553"/>
              <a:gd name="connsiteY50" fmla="*/ 961788 h 6858000"/>
              <a:gd name="connsiteX51" fmla="*/ 5237440 w 5410553"/>
              <a:gd name="connsiteY51" fmla="*/ 978019 h 6858000"/>
              <a:gd name="connsiteX52" fmla="*/ 5251470 w 5410553"/>
              <a:gd name="connsiteY52" fmla="*/ 1006759 h 6858000"/>
              <a:gd name="connsiteX53" fmla="*/ 5278100 w 5410553"/>
              <a:gd name="connsiteY53" fmla="*/ 1074845 h 6858000"/>
              <a:gd name="connsiteX54" fmla="*/ 5292092 w 5410553"/>
              <a:gd name="connsiteY54" fmla="*/ 1108170 h 6858000"/>
              <a:gd name="connsiteX55" fmla="*/ 5296506 w 5410553"/>
              <a:gd name="connsiteY55" fmla="*/ 1121904 h 6858000"/>
              <a:gd name="connsiteX56" fmla="*/ 5305849 w 5410553"/>
              <a:gd name="connsiteY56" fmla="*/ 1145796 h 6858000"/>
              <a:gd name="connsiteX57" fmla="*/ 5329473 w 5410553"/>
              <a:gd name="connsiteY57" fmla="*/ 1224524 h 6858000"/>
              <a:gd name="connsiteX58" fmla="*/ 5341296 w 5410553"/>
              <a:gd name="connsiteY58" fmla="*/ 1261324 h 6858000"/>
              <a:gd name="connsiteX59" fmla="*/ 5343755 w 5410553"/>
              <a:gd name="connsiteY59" fmla="*/ 1272119 h 6858000"/>
              <a:gd name="connsiteX60" fmla="*/ 5349304 w 5410553"/>
              <a:gd name="connsiteY60" fmla="*/ 1290618 h 6858000"/>
              <a:gd name="connsiteX61" fmla="*/ 5368796 w 5410553"/>
              <a:gd name="connsiteY61" fmla="*/ 1382061 h 6858000"/>
              <a:gd name="connsiteX62" fmla="*/ 5377559 w 5410553"/>
              <a:gd name="connsiteY62" fmla="*/ 1420528 h 6858000"/>
              <a:gd name="connsiteX63" fmla="*/ 5378584 w 5410553"/>
              <a:gd name="connsiteY63" fmla="*/ 1427980 h 6858000"/>
              <a:gd name="connsiteX64" fmla="*/ 5381281 w 5410553"/>
              <a:gd name="connsiteY64" fmla="*/ 1440629 h 6858000"/>
              <a:gd name="connsiteX65" fmla="*/ 5395472 w 5410553"/>
              <a:gd name="connsiteY65" fmla="*/ 1550634 h 6858000"/>
              <a:gd name="connsiteX66" fmla="*/ 5400211 w 5410553"/>
              <a:gd name="connsiteY66" fmla="*/ 1585042 h 6858000"/>
              <a:gd name="connsiteX67" fmla="*/ 5400379 w 5410553"/>
              <a:gd name="connsiteY67" fmla="*/ 1588666 h 6858000"/>
              <a:gd name="connsiteX68" fmla="*/ 5401224 w 5410553"/>
              <a:gd name="connsiteY68" fmla="*/ 1595226 h 6858000"/>
              <a:gd name="connsiteX69" fmla="*/ 5404555 w 5410553"/>
              <a:gd name="connsiteY69" fmla="*/ 1671522 h 6858000"/>
              <a:gd name="connsiteX70" fmla="*/ 5408611 w 5410553"/>
              <a:gd name="connsiteY70" fmla="*/ 1671522 h 6858000"/>
              <a:gd name="connsiteX71" fmla="*/ 5408611 w 5410553"/>
              <a:gd name="connsiteY71" fmla="*/ 1741862 h 6858000"/>
              <a:gd name="connsiteX72" fmla="*/ 5408611 w 5410553"/>
              <a:gd name="connsiteY72" fmla="*/ 1764504 h 6858000"/>
              <a:gd name="connsiteX73" fmla="*/ 5408611 w 5410553"/>
              <a:gd name="connsiteY73" fmla="*/ 1765033 h 6858000"/>
              <a:gd name="connsiteX74" fmla="*/ 5410553 w 5410553"/>
              <a:gd name="connsiteY74" fmla="*/ 1765033 h 6858000"/>
              <a:gd name="connsiteX75" fmla="*/ 5410553 w 5410553"/>
              <a:gd name="connsiteY75" fmla="*/ 1944433 h 6858000"/>
              <a:gd name="connsiteX76" fmla="*/ 3825750 w 5410553"/>
              <a:gd name="connsiteY76" fmla="*/ 1944433 h 6858000"/>
              <a:gd name="connsiteX77" fmla="*/ 3825750 w 5410553"/>
              <a:gd name="connsiteY77" fmla="*/ 1944434 h 6858000"/>
              <a:gd name="connsiteX78" fmla="*/ 3859049 w 5410553"/>
              <a:gd name="connsiteY78" fmla="*/ 1944434 h 6858000"/>
              <a:gd name="connsiteX79" fmla="*/ 3859049 w 5410553"/>
              <a:gd name="connsiteY79" fmla="*/ 1948409 h 6858000"/>
              <a:gd name="connsiteX80" fmla="*/ 3937767 w 5410553"/>
              <a:gd name="connsiteY80" fmla="*/ 1952454 h 6858000"/>
              <a:gd name="connsiteX81" fmla="*/ 3942543 w 5410553"/>
              <a:gd name="connsiteY81" fmla="*/ 1953195 h 6858000"/>
              <a:gd name="connsiteX82" fmla="*/ 3948906 w 5410553"/>
              <a:gd name="connsiteY82" fmla="*/ 1953545 h 6858000"/>
              <a:gd name="connsiteX83" fmla="*/ 4228992 w 5410553"/>
              <a:gd name="connsiteY83" fmla="*/ 2011744 h 6858000"/>
              <a:gd name="connsiteX84" fmla="*/ 4235581 w 5410553"/>
              <a:gd name="connsiteY84" fmla="*/ 2014120 h 6858000"/>
              <a:gd name="connsiteX85" fmla="*/ 4236717 w 5410553"/>
              <a:gd name="connsiteY85" fmla="*/ 2014418 h 6858000"/>
              <a:gd name="connsiteX86" fmla="*/ 4248022 w 5410553"/>
              <a:gd name="connsiteY86" fmla="*/ 2018611 h 6858000"/>
              <a:gd name="connsiteX87" fmla="*/ 4362083 w 5410553"/>
              <a:gd name="connsiteY87" fmla="*/ 2059764 h 6858000"/>
              <a:gd name="connsiteX88" fmla="*/ 4373790 w 5410553"/>
              <a:gd name="connsiteY88" fmla="*/ 2065249 h 6858000"/>
              <a:gd name="connsiteX89" fmla="*/ 4378239 w 5410553"/>
              <a:gd name="connsiteY89" fmla="*/ 2066899 h 6858000"/>
              <a:gd name="connsiteX90" fmla="*/ 4402293 w 5410553"/>
              <a:gd name="connsiteY90" fmla="*/ 2078604 h 6858000"/>
              <a:gd name="connsiteX91" fmla="*/ 4489798 w 5410553"/>
              <a:gd name="connsiteY91" fmla="*/ 2119596 h 6858000"/>
              <a:gd name="connsiteX92" fmla="*/ 4506130 w 5410553"/>
              <a:gd name="connsiteY92" fmla="*/ 2129123 h 6858000"/>
              <a:gd name="connsiteX93" fmla="*/ 4513563 w 5410553"/>
              <a:gd name="connsiteY93" fmla="*/ 2132739 h 6858000"/>
              <a:gd name="connsiteX94" fmla="*/ 4539663 w 5410553"/>
              <a:gd name="connsiteY94" fmla="*/ 2148684 h 6858000"/>
              <a:gd name="connsiteX95" fmla="*/ 4611586 w 5410553"/>
              <a:gd name="connsiteY95" fmla="*/ 2190639 h 6858000"/>
              <a:gd name="connsiteX96" fmla="*/ 4631969 w 5410553"/>
              <a:gd name="connsiteY96" fmla="*/ 2205072 h 6858000"/>
              <a:gd name="connsiteX97" fmla="*/ 4642011 w 5410553"/>
              <a:gd name="connsiteY97" fmla="*/ 2211205 h 6858000"/>
              <a:gd name="connsiteX98" fmla="*/ 4666865 w 5410553"/>
              <a:gd name="connsiteY98" fmla="*/ 2229781 h 6858000"/>
              <a:gd name="connsiteX99" fmla="*/ 4726888 w 5410553"/>
              <a:gd name="connsiteY99" fmla="*/ 2272285 h 6858000"/>
              <a:gd name="connsiteX100" fmla="*/ 4750674 w 5410553"/>
              <a:gd name="connsiteY100" fmla="*/ 2292420 h 6858000"/>
              <a:gd name="connsiteX101" fmla="*/ 4762912 w 5410553"/>
              <a:gd name="connsiteY101" fmla="*/ 2301568 h 6858000"/>
              <a:gd name="connsiteX102" fmla="*/ 4785201 w 5410553"/>
              <a:gd name="connsiteY102" fmla="*/ 2321651 h 6858000"/>
              <a:gd name="connsiteX103" fmla="*/ 4835155 w 5410553"/>
              <a:gd name="connsiteY103" fmla="*/ 2363938 h 6858000"/>
              <a:gd name="connsiteX104" fmla="*/ 4861613 w 5410553"/>
              <a:gd name="connsiteY104" fmla="*/ 2390499 h 6858000"/>
              <a:gd name="connsiteX105" fmla="*/ 4875593 w 5410553"/>
              <a:gd name="connsiteY105" fmla="*/ 2403094 h 6858000"/>
              <a:gd name="connsiteX106" fmla="*/ 4894769 w 5410553"/>
              <a:gd name="connsiteY106" fmla="*/ 2423782 h 6858000"/>
              <a:gd name="connsiteX107" fmla="*/ 4935824 w 5410553"/>
              <a:gd name="connsiteY107" fmla="*/ 2464992 h 6858000"/>
              <a:gd name="connsiteX108" fmla="*/ 4964163 w 5410553"/>
              <a:gd name="connsiteY108" fmla="*/ 2498639 h 6858000"/>
              <a:gd name="connsiteX109" fmla="*/ 4979380 w 5410553"/>
              <a:gd name="connsiteY109" fmla="*/ 2515055 h 6858000"/>
              <a:gd name="connsiteX110" fmla="*/ 4995273 w 5410553"/>
              <a:gd name="connsiteY110" fmla="*/ 2535578 h 6858000"/>
              <a:gd name="connsiteX111" fmla="*/ 5028344 w 5410553"/>
              <a:gd name="connsiteY111" fmla="*/ 2574846 h 6858000"/>
              <a:gd name="connsiteX112" fmla="*/ 5057698 w 5410553"/>
              <a:gd name="connsiteY112" fmla="*/ 2616189 h 6858000"/>
              <a:gd name="connsiteX113" fmla="*/ 5073596 w 5410553"/>
              <a:gd name="connsiteY113" fmla="*/ 2636717 h 6858000"/>
              <a:gd name="connsiteX114" fmla="*/ 5086244 w 5410553"/>
              <a:gd name="connsiteY114" fmla="*/ 2656395 h 6858000"/>
              <a:gd name="connsiteX115" fmla="*/ 5112164 w 5410553"/>
              <a:gd name="connsiteY115" fmla="*/ 2692902 h 6858000"/>
              <a:gd name="connsiteX116" fmla="*/ 5141608 w 5410553"/>
              <a:gd name="connsiteY116" fmla="*/ 2742519 h 6858000"/>
              <a:gd name="connsiteX117" fmla="*/ 5157568 w 5410553"/>
              <a:gd name="connsiteY117" fmla="*/ 2767348 h 6858000"/>
              <a:gd name="connsiteX118" fmla="*/ 5167158 w 5410553"/>
              <a:gd name="connsiteY118" fmla="*/ 2785577 h 6858000"/>
              <a:gd name="connsiteX119" fmla="*/ 5186724 w 5410553"/>
              <a:gd name="connsiteY119" fmla="*/ 2818550 h 6858000"/>
              <a:gd name="connsiteX120" fmla="*/ 5215275 w 5410553"/>
              <a:gd name="connsiteY120" fmla="*/ 2877044 h 6858000"/>
              <a:gd name="connsiteX121" fmla="*/ 5230624 w 5410553"/>
              <a:gd name="connsiteY121" fmla="*/ 2906220 h 6858000"/>
              <a:gd name="connsiteX122" fmla="*/ 5237439 w 5410553"/>
              <a:gd name="connsiteY122" fmla="*/ 2922452 h 6858000"/>
              <a:gd name="connsiteX123" fmla="*/ 5251470 w 5410553"/>
              <a:gd name="connsiteY123" fmla="*/ 2951192 h 6858000"/>
              <a:gd name="connsiteX124" fmla="*/ 5278100 w 5410553"/>
              <a:gd name="connsiteY124" fmla="*/ 3019278 h 6858000"/>
              <a:gd name="connsiteX125" fmla="*/ 5292092 w 5410553"/>
              <a:gd name="connsiteY125" fmla="*/ 3052600 h 6858000"/>
              <a:gd name="connsiteX126" fmla="*/ 5296504 w 5410553"/>
              <a:gd name="connsiteY126" fmla="*/ 3066337 h 6858000"/>
              <a:gd name="connsiteX127" fmla="*/ 5305849 w 5410553"/>
              <a:gd name="connsiteY127" fmla="*/ 3090227 h 6858000"/>
              <a:gd name="connsiteX128" fmla="*/ 5329471 w 5410553"/>
              <a:gd name="connsiteY128" fmla="*/ 3168956 h 6858000"/>
              <a:gd name="connsiteX129" fmla="*/ 5341293 w 5410553"/>
              <a:gd name="connsiteY129" fmla="*/ 3205756 h 6858000"/>
              <a:gd name="connsiteX130" fmla="*/ 5343751 w 5410553"/>
              <a:gd name="connsiteY130" fmla="*/ 3216552 h 6858000"/>
              <a:gd name="connsiteX131" fmla="*/ 5349304 w 5410553"/>
              <a:gd name="connsiteY131" fmla="*/ 3235051 h 6858000"/>
              <a:gd name="connsiteX132" fmla="*/ 5368795 w 5410553"/>
              <a:gd name="connsiteY132" fmla="*/ 3326492 h 6858000"/>
              <a:gd name="connsiteX133" fmla="*/ 5377557 w 5410553"/>
              <a:gd name="connsiteY133" fmla="*/ 3364959 h 6858000"/>
              <a:gd name="connsiteX134" fmla="*/ 5378582 w 5410553"/>
              <a:gd name="connsiteY134" fmla="*/ 3372411 h 6858000"/>
              <a:gd name="connsiteX135" fmla="*/ 5381281 w 5410553"/>
              <a:gd name="connsiteY135" fmla="*/ 3385062 h 6858000"/>
              <a:gd name="connsiteX136" fmla="*/ 5395472 w 5410553"/>
              <a:gd name="connsiteY136" fmla="*/ 3495066 h 6858000"/>
              <a:gd name="connsiteX137" fmla="*/ 5400210 w 5410553"/>
              <a:gd name="connsiteY137" fmla="*/ 3529474 h 6858000"/>
              <a:gd name="connsiteX138" fmla="*/ 5400377 w 5410553"/>
              <a:gd name="connsiteY138" fmla="*/ 3533097 h 6858000"/>
              <a:gd name="connsiteX139" fmla="*/ 5401224 w 5410553"/>
              <a:gd name="connsiteY139" fmla="*/ 3539659 h 6858000"/>
              <a:gd name="connsiteX140" fmla="*/ 5404554 w 5410553"/>
              <a:gd name="connsiteY140" fmla="*/ 3615954 h 6858000"/>
              <a:gd name="connsiteX141" fmla="*/ 5408611 w 5410553"/>
              <a:gd name="connsiteY141" fmla="*/ 3615954 h 6858000"/>
              <a:gd name="connsiteX142" fmla="*/ 5408611 w 5410553"/>
              <a:gd name="connsiteY142" fmla="*/ 3686294 h 6858000"/>
              <a:gd name="connsiteX143" fmla="*/ 5408611 w 5410553"/>
              <a:gd name="connsiteY143" fmla="*/ 3708935 h 6858000"/>
              <a:gd name="connsiteX144" fmla="*/ 5408611 w 5410553"/>
              <a:gd name="connsiteY144" fmla="*/ 3709464 h 6858000"/>
              <a:gd name="connsiteX145" fmla="*/ 5410552 w 5410553"/>
              <a:gd name="connsiteY145" fmla="*/ 3709464 h 6858000"/>
              <a:gd name="connsiteX146" fmla="*/ 5410552 w 5410553"/>
              <a:gd name="connsiteY146" fmla="*/ 4047423 h 6858000"/>
              <a:gd name="connsiteX147" fmla="*/ 5410552 w 5410553"/>
              <a:gd name="connsiteY147" fmla="*/ 4755011 h 6858000"/>
              <a:gd name="connsiteX148" fmla="*/ 5410552 w 5410553"/>
              <a:gd name="connsiteY148" fmla="*/ 5092970 h 6858000"/>
              <a:gd name="connsiteX149" fmla="*/ 5410552 w 5410553"/>
              <a:gd name="connsiteY149" fmla="*/ 5186482 h 6858000"/>
              <a:gd name="connsiteX150" fmla="*/ 5408629 w 5410553"/>
              <a:gd name="connsiteY150" fmla="*/ 5186482 h 6858000"/>
              <a:gd name="connsiteX151" fmla="*/ 5408629 w 5410553"/>
              <a:gd name="connsiteY151" fmla="*/ 6857999 h 6858000"/>
              <a:gd name="connsiteX152" fmla="*/ 4867572 w 5410553"/>
              <a:gd name="connsiteY152" fmla="*/ 6857999 h 6858000"/>
              <a:gd name="connsiteX153" fmla="*/ 3794895 w 5410553"/>
              <a:gd name="connsiteY153" fmla="*/ 6857999 h 6858000"/>
              <a:gd name="connsiteX154" fmla="*/ 3783656 w 5410553"/>
              <a:gd name="connsiteY154" fmla="*/ 6857999 h 6858000"/>
              <a:gd name="connsiteX155" fmla="*/ 3782698 w 5410553"/>
              <a:gd name="connsiteY155" fmla="*/ 6857999 h 6858000"/>
              <a:gd name="connsiteX156" fmla="*/ 3782682 w 5410553"/>
              <a:gd name="connsiteY156" fmla="*/ 6858000 h 6858000"/>
              <a:gd name="connsiteX157" fmla="*/ 3782667 w 5410553"/>
              <a:gd name="connsiteY157" fmla="*/ 6857999 h 6858000"/>
              <a:gd name="connsiteX158" fmla="*/ 3706296 w 5410553"/>
              <a:gd name="connsiteY158" fmla="*/ 6857999 h 6858000"/>
              <a:gd name="connsiteX159" fmla="*/ 3253837 w 5410553"/>
              <a:gd name="connsiteY159" fmla="*/ 6857999 h 6858000"/>
              <a:gd name="connsiteX160" fmla="*/ 3242599 w 5410553"/>
              <a:gd name="connsiteY160" fmla="*/ 6857999 h 6858000"/>
              <a:gd name="connsiteX161" fmla="*/ 3241641 w 5410553"/>
              <a:gd name="connsiteY161" fmla="*/ 6857999 h 6858000"/>
              <a:gd name="connsiteX162" fmla="*/ 3241626 w 5410553"/>
              <a:gd name="connsiteY162" fmla="*/ 6858000 h 6858000"/>
              <a:gd name="connsiteX163" fmla="*/ 3241609 w 5410553"/>
              <a:gd name="connsiteY163" fmla="*/ 6857999 h 6858000"/>
              <a:gd name="connsiteX164" fmla="*/ 3165240 w 5410553"/>
              <a:gd name="connsiteY164" fmla="*/ 6857999 h 6858000"/>
              <a:gd name="connsiteX165" fmla="*/ 2169922 w 5410553"/>
              <a:gd name="connsiteY165" fmla="*/ 6857999 h 6858000"/>
              <a:gd name="connsiteX166" fmla="*/ 2168963 w 5410553"/>
              <a:gd name="connsiteY166" fmla="*/ 6857999 h 6858000"/>
              <a:gd name="connsiteX167" fmla="*/ 2168947 w 5410553"/>
              <a:gd name="connsiteY167" fmla="*/ 6858000 h 6858000"/>
              <a:gd name="connsiteX168" fmla="*/ 2168931 w 5410553"/>
              <a:gd name="connsiteY168" fmla="*/ 6857999 h 6858000"/>
              <a:gd name="connsiteX169" fmla="*/ 2092561 w 5410553"/>
              <a:gd name="connsiteY169" fmla="*/ 6857999 h 6858000"/>
              <a:gd name="connsiteX170" fmla="*/ 1628865 w 5410553"/>
              <a:gd name="connsiteY170" fmla="*/ 6857999 h 6858000"/>
              <a:gd name="connsiteX171" fmla="*/ 1627906 w 5410553"/>
              <a:gd name="connsiteY171" fmla="*/ 6857999 h 6858000"/>
              <a:gd name="connsiteX172" fmla="*/ 1627892 w 5410553"/>
              <a:gd name="connsiteY172" fmla="*/ 6858000 h 6858000"/>
              <a:gd name="connsiteX173" fmla="*/ 1627875 w 5410553"/>
              <a:gd name="connsiteY173" fmla="*/ 6857999 h 6858000"/>
              <a:gd name="connsiteX174" fmla="*/ 1551506 w 5410553"/>
              <a:gd name="connsiteY174" fmla="*/ 6857999 h 6858000"/>
              <a:gd name="connsiteX175" fmla="*/ 1551506 w 5410553"/>
              <a:gd name="connsiteY175" fmla="*/ 6854025 h 6858000"/>
              <a:gd name="connsiteX176" fmla="*/ 1472786 w 5410553"/>
              <a:gd name="connsiteY176" fmla="*/ 6849979 h 6858000"/>
              <a:gd name="connsiteX177" fmla="*/ 1468010 w 5410553"/>
              <a:gd name="connsiteY177" fmla="*/ 6849239 h 6858000"/>
              <a:gd name="connsiteX178" fmla="*/ 1461647 w 5410553"/>
              <a:gd name="connsiteY178" fmla="*/ 6848892 h 6858000"/>
              <a:gd name="connsiteX179" fmla="*/ 1181563 w 5410553"/>
              <a:gd name="connsiteY179" fmla="*/ 6790692 h 6858000"/>
              <a:gd name="connsiteX180" fmla="*/ 1174972 w 5410553"/>
              <a:gd name="connsiteY180" fmla="*/ 6788314 h 6858000"/>
              <a:gd name="connsiteX181" fmla="*/ 1173836 w 5410553"/>
              <a:gd name="connsiteY181" fmla="*/ 6788017 h 6858000"/>
              <a:gd name="connsiteX182" fmla="*/ 1162533 w 5410553"/>
              <a:gd name="connsiteY182" fmla="*/ 6783825 h 6858000"/>
              <a:gd name="connsiteX183" fmla="*/ 1048471 w 5410553"/>
              <a:gd name="connsiteY183" fmla="*/ 6742670 h 6858000"/>
              <a:gd name="connsiteX184" fmla="*/ 1036764 w 5410553"/>
              <a:gd name="connsiteY184" fmla="*/ 6737186 h 6858000"/>
              <a:gd name="connsiteX185" fmla="*/ 1032314 w 5410553"/>
              <a:gd name="connsiteY185" fmla="*/ 6735535 h 6858000"/>
              <a:gd name="connsiteX186" fmla="*/ 1008260 w 5410553"/>
              <a:gd name="connsiteY186" fmla="*/ 6723832 h 6858000"/>
              <a:gd name="connsiteX187" fmla="*/ 920755 w 5410553"/>
              <a:gd name="connsiteY187" fmla="*/ 6682839 h 6858000"/>
              <a:gd name="connsiteX188" fmla="*/ 904423 w 5410553"/>
              <a:gd name="connsiteY188" fmla="*/ 6673313 h 6858000"/>
              <a:gd name="connsiteX189" fmla="*/ 896991 w 5410553"/>
              <a:gd name="connsiteY189" fmla="*/ 6669695 h 6858000"/>
              <a:gd name="connsiteX190" fmla="*/ 870891 w 5410553"/>
              <a:gd name="connsiteY190" fmla="*/ 6653750 h 6858000"/>
              <a:gd name="connsiteX191" fmla="*/ 798968 w 5410553"/>
              <a:gd name="connsiteY191" fmla="*/ 6611797 h 6858000"/>
              <a:gd name="connsiteX192" fmla="*/ 778585 w 5410553"/>
              <a:gd name="connsiteY192" fmla="*/ 6597363 h 6858000"/>
              <a:gd name="connsiteX193" fmla="*/ 768542 w 5410553"/>
              <a:gd name="connsiteY193" fmla="*/ 6591229 h 6858000"/>
              <a:gd name="connsiteX194" fmla="*/ 743688 w 5410553"/>
              <a:gd name="connsiteY194" fmla="*/ 6572653 h 6858000"/>
              <a:gd name="connsiteX195" fmla="*/ 683666 w 5410553"/>
              <a:gd name="connsiteY195" fmla="*/ 6530149 h 6858000"/>
              <a:gd name="connsiteX196" fmla="*/ 659881 w 5410553"/>
              <a:gd name="connsiteY196" fmla="*/ 6510014 h 6858000"/>
              <a:gd name="connsiteX197" fmla="*/ 647641 w 5410553"/>
              <a:gd name="connsiteY197" fmla="*/ 6500867 h 6858000"/>
              <a:gd name="connsiteX198" fmla="*/ 625351 w 5410553"/>
              <a:gd name="connsiteY198" fmla="*/ 6480784 h 6858000"/>
              <a:gd name="connsiteX199" fmla="*/ 575400 w 5410553"/>
              <a:gd name="connsiteY199" fmla="*/ 6438495 h 6858000"/>
              <a:gd name="connsiteX200" fmla="*/ 548941 w 5410553"/>
              <a:gd name="connsiteY200" fmla="*/ 6411937 h 6858000"/>
              <a:gd name="connsiteX201" fmla="*/ 534961 w 5410553"/>
              <a:gd name="connsiteY201" fmla="*/ 6399339 h 6858000"/>
              <a:gd name="connsiteX202" fmla="*/ 515783 w 5410553"/>
              <a:gd name="connsiteY202" fmla="*/ 6378653 h 6858000"/>
              <a:gd name="connsiteX203" fmla="*/ 474729 w 5410553"/>
              <a:gd name="connsiteY203" fmla="*/ 6337442 h 6858000"/>
              <a:gd name="connsiteX204" fmla="*/ 446391 w 5410553"/>
              <a:gd name="connsiteY204" fmla="*/ 6303796 h 6858000"/>
              <a:gd name="connsiteX205" fmla="*/ 431175 w 5410553"/>
              <a:gd name="connsiteY205" fmla="*/ 6287380 h 6858000"/>
              <a:gd name="connsiteX206" fmla="*/ 415281 w 5410553"/>
              <a:gd name="connsiteY206" fmla="*/ 6266857 h 6858000"/>
              <a:gd name="connsiteX207" fmla="*/ 382208 w 5410553"/>
              <a:gd name="connsiteY207" fmla="*/ 6227587 h 6858000"/>
              <a:gd name="connsiteX208" fmla="*/ 352856 w 5410553"/>
              <a:gd name="connsiteY208" fmla="*/ 6186244 h 6858000"/>
              <a:gd name="connsiteX209" fmla="*/ 336959 w 5410553"/>
              <a:gd name="connsiteY209" fmla="*/ 6165720 h 6858000"/>
              <a:gd name="connsiteX210" fmla="*/ 324308 w 5410553"/>
              <a:gd name="connsiteY210" fmla="*/ 6146039 h 6858000"/>
              <a:gd name="connsiteX211" fmla="*/ 298389 w 5410553"/>
              <a:gd name="connsiteY211" fmla="*/ 6109534 h 6858000"/>
              <a:gd name="connsiteX212" fmla="*/ 268946 w 5410553"/>
              <a:gd name="connsiteY212" fmla="*/ 6059914 h 6858000"/>
              <a:gd name="connsiteX213" fmla="*/ 252985 w 5410553"/>
              <a:gd name="connsiteY213" fmla="*/ 6035086 h 6858000"/>
              <a:gd name="connsiteX214" fmla="*/ 243395 w 5410553"/>
              <a:gd name="connsiteY214" fmla="*/ 6016857 h 6858000"/>
              <a:gd name="connsiteX215" fmla="*/ 223831 w 5410553"/>
              <a:gd name="connsiteY215" fmla="*/ 5983884 h 6858000"/>
              <a:gd name="connsiteX216" fmla="*/ 195278 w 5410553"/>
              <a:gd name="connsiteY216" fmla="*/ 5925391 h 6858000"/>
              <a:gd name="connsiteX217" fmla="*/ 179929 w 5410553"/>
              <a:gd name="connsiteY217" fmla="*/ 5896214 h 6858000"/>
              <a:gd name="connsiteX218" fmla="*/ 173113 w 5410553"/>
              <a:gd name="connsiteY218" fmla="*/ 5879983 h 6858000"/>
              <a:gd name="connsiteX219" fmla="*/ 159084 w 5410553"/>
              <a:gd name="connsiteY219" fmla="*/ 5851242 h 6858000"/>
              <a:gd name="connsiteX220" fmla="*/ 132456 w 5410553"/>
              <a:gd name="connsiteY220" fmla="*/ 5783156 h 6858000"/>
              <a:gd name="connsiteX221" fmla="*/ 118462 w 5410553"/>
              <a:gd name="connsiteY221" fmla="*/ 5749834 h 6858000"/>
              <a:gd name="connsiteX222" fmla="*/ 114051 w 5410553"/>
              <a:gd name="connsiteY222" fmla="*/ 5736099 h 6858000"/>
              <a:gd name="connsiteX223" fmla="*/ 104705 w 5410553"/>
              <a:gd name="connsiteY223" fmla="*/ 5712207 h 6858000"/>
              <a:gd name="connsiteX224" fmla="*/ 81084 w 5410553"/>
              <a:gd name="connsiteY224" fmla="*/ 5633479 h 6858000"/>
              <a:gd name="connsiteX225" fmla="*/ 69261 w 5410553"/>
              <a:gd name="connsiteY225" fmla="*/ 5596679 h 6858000"/>
              <a:gd name="connsiteX226" fmla="*/ 66802 w 5410553"/>
              <a:gd name="connsiteY226" fmla="*/ 5585881 h 6858000"/>
              <a:gd name="connsiteX227" fmla="*/ 61250 w 5410553"/>
              <a:gd name="connsiteY227" fmla="*/ 5567382 h 6858000"/>
              <a:gd name="connsiteX228" fmla="*/ 41759 w 5410553"/>
              <a:gd name="connsiteY228" fmla="*/ 5475943 h 6858000"/>
              <a:gd name="connsiteX229" fmla="*/ 32996 w 5410553"/>
              <a:gd name="connsiteY229" fmla="*/ 5437474 h 6858000"/>
              <a:gd name="connsiteX230" fmla="*/ 31970 w 5410553"/>
              <a:gd name="connsiteY230" fmla="*/ 5430024 h 6858000"/>
              <a:gd name="connsiteX231" fmla="*/ 29274 w 5410553"/>
              <a:gd name="connsiteY231" fmla="*/ 5417371 h 6858000"/>
              <a:gd name="connsiteX232" fmla="*/ 15083 w 5410553"/>
              <a:gd name="connsiteY232" fmla="*/ 5307370 h 6858000"/>
              <a:gd name="connsiteX233" fmla="*/ 10345 w 5410553"/>
              <a:gd name="connsiteY233" fmla="*/ 5272959 h 6858000"/>
              <a:gd name="connsiteX234" fmla="*/ 10177 w 5410553"/>
              <a:gd name="connsiteY234" fmla="*/ 5269337 h 6858000"/>
              <a:gd name="connsiteX235" fmla="*/ 9329 w 5410553"/>
              <a:gd name="connsiteY235" fmla="*/ 5262776 h 6858000"/>
              <a:gd name="connsiteX236" fmla="*/ 6002 w 5410553"/>
              <a:gd name="connsiteY236" fmla="*/ 5186482 h 6858000"/>
              <a:gd name="connsiteX237" fmla="*/ 1944 w 5410553"/>
              <a:gd name="connsiteY237" fmla="*/ 5186482 h 6858000"/>
              <a:gd name="connsiteX238" fmla="*/ 1944 w 5410553"/>
              <a:gd name="connsiteY238" fmla="*/ 5116140 h 6858000"/>
              <a:gd name="connsiteX239" fmla="*/ 1944 w 5410553"/>
              <a:gd name="connsiteY239" fmla="*/ 5093498 h 6858000"/>
              <a:gd name="connsiteX240" fmla="*/ 1944 w 5410553"/>
              <a:gd name="connsiteY240" fmla="*/ 5092970 h 6858000"/>
              <a:gd name="connsiteX241" fmla="*/ 0 w 5410553"/>
              <a:gd name="connsiteY241" fmla="*/ 5092970 h 6858000"/>
              <a:gd name="connsiteX242" fmla="*/ 0 w 5410553"/>
              <a:gd name="connsiteY242" fmla="*/ 4755011 h 6858000"/>
              <a:gd name="connsiteX243" fmla="*/ 0 w 5410553"/>
              <a:gd name="connsiteY243" fmla="*/ 4047423 h 6858000"/>
              <a:gd name="connsiteX244" fmla="*/ 0 w 5410553"/>
              <a:gd name="connsiteY244" fmla="*/ 3709464 h 6858000"/>
              <a:gd name="connsiteX245" fmla="*/ 0 w 5410553"/>
              <a:gd name="connsiteY245" fmla="*/ 3615954 h 6858000"/>
              <a:gd name="connsiteX246" fmla="*/ 1925 w 5410553"/>
              <a:gd name="connsiteY246" fmla="*/ 3615954 h 6858000"/>
              <a:gd name="connsiteX247" fmla="*/ 1925 w 5410553"/>
              <a:gd name="connsiteY247" fmla="*/ 3603350 h 6858000"/>
              <a:gd name="connsiteX248" fmla="*/ 0 w 5410553"/>
              <a:gd name="connsiteY248" fmla="*/ 3603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5410553" h="6858000">
                <a:moveTo>
                  <a:pt x="0" y="0"/>
                </a:moveTo>
                <a:lnTo>
                  <a:pt x="1627873" y="0"/>
                </a:lnTo>
                <a:lnTo>
                  <a:pt x="2168929" y="0"/>
                </a:lnTo>
                <a:lnTo>
                  <a:pt x="3241609" y="0"/>
                </a:lnTo>
                <a:lnTo>
                  <a:pt x="3782664" y="0"/>
                </a:lnTo>
                <a:lnTo>
                  <a:pt x="3825750" y="0"/>
                </a:lnTo>
                <a:lnTo>
                  <a:pt x="3825750" y="1"/>
                </a:lnTo>
                <a:lnTo>
                  <a:pt x="3859050" y="1"/>
                </a:lnTo>
                <a:lnTo>
                  <a:pt x="3859050" y="3976"/>
                </a:lnTo>
                <a:lnTo>
                  <a:pt x="3937767" y="8022"/>
                </a:lnTo>
                <a:lnTo>
                  <a:pt x="3942543" y="8764"/>
                </a:lnTo>
                <a:lnTo>
                  <a:pt x="3948907" y="9111"/>
                </a:lnTo>
                <a:cubicBezTo>
                  <a:pt x="4044989" y="19700"/>
                  <a:pt x="4138597" y="39368"/>
                  <a:pt x="4228992" y="67312"/>
                </a:cubicBezTo>
                <a:lnTo>
                  <a:pt x="4235582" y="69688"/>
                </a:lnTo>
                <a:lnTo>
                  <a:pt x="4236717" y="69985"/>
                </a:lnTo>
                <a:lnTo>
                  <a:pt x="4248022" y="74178"/>
                </a:lnTo>
                <a:lnTo>
                  <a:pt x="4362084" y="115332"/>
                </a:lnTo>
                <a:lnTo>
                  <a:pt x="4373791" y="120816"/>
                </a:lnTo>
                <a:lnTo>
                  <a:pt x="4378240" y="122467"/>
                </a:lnTo>
                <a:lnTo>
                  <a:pt x="4402294" y="134171"/>
                </a:lnTo>
                <a:lnTo>
                  <a:pt x="4489799" y="175163"/>
                </a:lnTo>
                <a:lnTo>
                  <a:pt x="4506131" y="184690"/>
                </a:lnTo>
                <a:lnTo>
                  <a:pt x="4513564" y="188306"/>
                </a:lnTo>
                <a:lnTo>
                  <a:pt x="4539665" y="204251"/>
                </a:lnTo>
                <a:lnTo>
                  <a:pt x="4611586" y="246206"/>
                </a:lnTo>
                <a:lnTo>
                  <a:pt x="4631969" y="260639"/>
                </a:lnTo>
                <a:lnTo>
                  <a:pt x="4642014" y="266773"/>
                </a:lnTo>
                <a:lnTo>
                  <a:pt x="4666865" y="285348"/>
                </a:lnTo>
                <a:lnTo>
                  <a:pt x="4726890" y="327853"/>
                </a:lnTo>
                <a:lnTo>
                  <a:pt x="4750674" y="347987"/>
                </a:lnTo>
                <a:lnTo>
                  <a:pt x="4762915" y="357135"/>
                </a:lnTo>
                <a:lnTo>
                  <a:pt x="4785202" y="377217"/>
                </a:lnTo>
                <a:lnTo>
                  <a:pt x="4835155" y="419505"/>
                </a:lnTo>
                <a:lnTo>
                  <a:pt x="4861614" y="446067"/>
                </a:lnTo>
                <a:lnTo>
                  <a:pt x="4875593" y="458661"/>
                </a:lnTo>
                <a:lnTo>
                  <a:pt x="4894771" y="479349"/>
                </a:lnTo>
                <a:lnTo>
                  <a:pt x="4935827" y="520560"/>
                </a:lnTo>
                <a:lnTo>
                  <a:pt x="4964164" y="554208"/>
                </a:lnTo>
                <a:lnTo>
                  <a:pt x="4979380" y="570622"/>
                </a:lnTo>
                <a:lnTo>
                  <a:pt x="4995273" y="591145"/>
                </a:lnTo>
                <a:lnTo>
                  <a:pt x="5028346" y="630415"/>
                </a:lnTo>
                <a:lnTo>
                  <a:pt x="5057701" y="671758"/>
                </a:lnTo>
                <a:lnTo>
                  <a:pt x="5073596" y="692284"/>
                </a:lnTo>
                <a:lnTo>
                  <a:pt x="5086246" y="711964"/>
                </a:lnTo>
                <a:lnTo>
                  <a:pt x="5112165" y="748469"/>
                </a:lnTo>
                <a:lnTo>
                  <a:pt x="5141608" y="798086"/>
                </a:lnTo>
                <a:lnTo>
                  <a:pt x="5157568" y="822915"/>
                </a:lnTo>
                <a:lnTo>
                  <a:pt x="5167158" y="841145"/>
                </a:lnTo>
                <a:lnTo>
                  <a:pt x="5186726" y="874117"/>
                </a:lnTo>
                <a:lnTo>
                  <a:pt x="5215275" y="932612"/>
                </a:lnTo>
                <a:lnTo>
                  <a:pt x="5230626" y="961788"/>
                </a:lnTo>
                <a:lnTo>
                  <a:pt x="5237440" y="978019"/>
                </a:lnTo>
                <a:lnTo>
                  <a:pt x="5251470" y="1006759"/>
                </a:lnTo>
                <a:lnTo>
                  <a:pt x="5278100" y="1074845"/>
                </a:lnTo>
                <a:lnTo>
                  <a:pt x="5292092" y="1108170"/>
                </a:lnTo>
                <a:lnTo>
                  <a:pt x="5296506" y="1121904"/>
                </a:lnTo>
                <a:lnTo>
                  <a:pt x="5305849" y="1145796"/>
                </a:lnTo>
                <a:lnTo>
                  <a:pt x="5329473" y="1224524"/>
                </a:lnTo>
                <a:lnTo>
                  <a:pt x="5341296" y="1261324"/>
                </a:lnTo>
                <a:lnTo>
                  <a:pt x="5343755" y="1272119"/>
                </a:lnTo>
                <a:lnTo>
                  <a:pt x="5349304" y="1290618"/>
                </a:lnTo>
                <a:lnTo>
                  <a:pt x="5368796" y="1382061"/>
                </a:lnTo>
                <a:lnTo>
                  <a:pt x="5377559" y="1420528"/>
                </a:lnTo>
                <a:lnTo>
                  <a:pt x="5378584" y="1427980"/>
                </a:lnTo>
                <a:lnTo>
                  <a:pt x="5381281" y="1440629"/>
                </a:lnTo>
                <a:lnTo>
                  <a:pt x="5395472" y="1550634"/>
                </a:lnTo>
                <a:lnTo>
                  <a:pt x="5400211" y="1585042"/>
                </a:lnTo>
                <a:lnTo>
                  <a:pt x="5400379" y="1588666"/>
                </a:lnTo>
                <a:lnTo>
                  <a:pt x="5401224" y="1595226"/>
                </a:lnTo>
                <a:lnTo>
                  <a:pt x="5404555" y="1671522"/>
                </a:lnTo>
                <a:lnTo>
                  <a:pt x="5408611" y="1671522"/>
                </a:lnTo>
                <a:lnTo>
                  <a:pt x="5408611" y="1741862"/>
                </a:lnTo>
                <a:lnTo>
                  <a:pt x="5408611" y="1764504"/>
                </a:lnTo>
                <a:lnTo>
                  <a:pt x="5408611" y="1765033"/>
                </a:lnTo>
                <a:lnTo>
                  <a:pt x="5410553" y="1765033"/>
                </a:lnTo>
                <a:lnTo>
                  <a:pt x="5410553" y="1944433"/>
                </a:lnTo>
                <a:lnTo>
                  <a:pt x="3825750" y="1944433"/>
                </a:lnTo>
                <a:lnTo>
                  <a:pt x="3825750" y="1944434"/>
                </a:lnTo>
                <a:lnTo>
                  <a:pt x="3859049" y="1944434"/>
                </a:lnTo>
                <a:lnTo>
                  <a:pt x="3859049" y="1948409"/>
                </a:lnTo>
                <a:lnTo>
                  <a:pt x="3937767" y="1952454"/>
                </a:lnTo>
                <a:lnTo>
                  <a:pt x="3942543" y="1953195"/>
                </a:lnTo>
                <a:lnTo>
                  <a:pt x="3948906" y="1953545"/>
                </a:lnTo>
                <a:cubicBezTo>
                  <a:pt x="4044987" y="1964132"/>
                  <a:pt x="4138597" y="1983799"/>
                  <a:pt x="4228992" y="2011744"/>
                </a:cubicBezTo>
                <a:lnTo>
                  <a:pt x="4235581" y="2014120"/>
                </a:lnTo>
                <a:lnTo>
                  <a:pt x="4236717" y="2014418"/>
                </a:lnTo>
                <a:lnTo>
                  <a:pt x="4248022" y="2018611"/>
                </a:lnTo>
                <a:lnTo>
                  <a:pt x="4362083" y="2059764"/>
                </a:lnTo>
                <a:lnTo>
                  <a:pt x="4373790" y="2065249"/>
                </a:lnTo>
                <a:lnTo>
                  <a:pt x="4378239" y="2066899"/>
                </a:lnTo>
                <a:lnTo>
                  <a:pt x="4402293" y="2078604"/>
                </a:lnTo>
                <a:lnTo>
                  <a:pt x="4489798" y="2119596"/>
                </a:lnTo>
                <a:lnTo>
                  <a:pt x="4506130" y="2129123"/>
                </a:lnTo>
                <a:lnTo>
                  <a:pt x="4513563" y="2132739"/>
                </a:lnTo>
                <a:lnTo>
                  <a:pt x="4539663" y="2148684"/>
                </a:lnTo>
                <a:lnTo>
                  <a:pt x="4611586" y="2190639"/>
                </a:lnTo>
                <a:lnTo>
                  <a:pt x="4631969" y="2205072"/>
                </a:lnTo>
                <a:lnTo>
                  <a:pt x="4642011" y="2211205"/>
                </a:lnTo>
                <a:lnTo>
                  <a:pt x="4666865" y="2229781"/>
                </a:lnTo>
                <a:lnTo>
                  <a:pt x="4726888" y="2272285"/>
                </a:lnTo>
                <a:lnTo>
                  <a:pt x="4750674" y="2292420"/>
                </a:lnTo>
                <a:lnTo>
                  <a:pt x="4762912" y="2301568"/>
                </a:lnTo>
                <a:lnTo>
                  <a:pt x="4785201" y="2321651"/>
                </a:lnTo>
                <a:lnTo>
                  <a:pt x="4835155" y="2363938"/>
                </a:lnTo>
                <a:lnTo>
                  <a:pt x="4861613" y="2390499"/>
                </a:lnTo>
                <a:lnTo>
                  <a:pt x="4875593" y="2403094"/>
                </a:lnTo>
                <a:lnTo>
                  <a:pt x="4894769" y="2423782"/>
                </a:lnTo>
                <a:lnTo>
                  <a:pt x="4935824" y="2464992"/>
                </a:lnTo>
                <a:lnTo>
                  <a:pt x="4964163" y="2498639"/>
                </a:lnTo>
                <a:lnTo>
                  <a:pt x="4979380" y="2515055"/>
                </a:lnTo>
                <a:lnTo>
                  <a:pt x="4995273" y="2535578"/>
                </a:lnTo>
                <a:lnTo>
                  <a:pt x="5028344" y="2574846"/>
                </a:lnTo>
                <a:lnTo>
                  <a:pt x="5057698" y="2616189"/>
                </a:lnTo>
                <a:lnTo>
                  <a:pt x="5073596" y="2636717"/>
                </a:lnTo>
                <a:lnTo>
                  <a:pt x="5086244" y="2656395"/>
                </a:lnTo>
                <a:lnTo>
                  <a:pt x="5112164" y="2692902"/>
                </a:lnTo>
                <a:lnTo>
                  <a:pt x="5141608" y="2742519"/>
                </a:lnTo>
                <a:lnTo>
                  <a:pt x="5157568" y="2767348"/>
                </a:lnTo>
                <a:lnTo>
                  <a:pt x="5167158" y="2785577"/>
                </a:lnTo>
                <a:lnTo>
                  <a:pt x="5186724" y="2818550"/>
                </a:lnTo>
                <a:lnTo>
                  <a:pt x="5215275" y="2877044"/>
                </a:lnTo>
                <a:lnTo>
                  <a:pt x="5230624" y="2906220"/>
                </a:lnTo>
                <a:lnTo>
                  <a:pt x="5237439" y="2922452"/>
                </a:lnTo>
                <a:lnTo>
                  <a:pt x="5251470" y="2951192"/>
                </a:lnTo>
                <a:lnTo>
                  <a:pt x="5278100" y="3019278"/>
                </a:lnTo>
                <a:lnTo>
                  <a:pt x="5292092" y="3052600"/>
                </a:lnTo>
                <a:lnTo>
                  <a:pt x="5296504" y="3066337"/>
                </a:lnTo>
                <a:lnTo>
                  <a:pt x="5305849" y="3090227"/>
                </a:lnTo>
                <a:lnTo>
                  <a:pt x="5329471" y="3168956"/>
                </a:lnTo>
                <a:lnTo>
                  <a:pt x="5341293" y="3205756"/>
                </a:lnTo>
                <a:lnTo>
                  <a:pt x="5343751" y="3216552"/>
                </a:lnTo>
                <a:lnTo>
                  <a:pt x="5349304" y="3235051"/>
                </a:lnTo>
                <a:lnTo>
                  <a:pt x="5368795" y="3326492"/>
                </a:lnTo>
                <a:lnTo>
                  <a:pt x="5377557" y="3364959"/>
                </a:lnTo>
                <a:lnTo>
                  <a:pt x="5378582" y="3372411"/>
                </a:lnTo>
                <a:lnTo>
                  <a:pt x="5381281" y="3385062"/>
                </a:lnTo>
                <a:lnTo>
                  <a:pt x="5395472" y="3495066"/>
                </a:lnTo>
                <a:lnTo>
                  <a:pt x="5400210" y="3529474"/>
                </a:lnTo>
                <a:lnTo>
                  <a:pt x="5400377" y="3533097"/>
                </a:lnTo>
                <a:lnTo>
                  <a:pt x="5401224" y="3539659"/>
                </a:lnTo>
                <a:lnTo>
                  <a:pt x="5404554" y="3615954"/>
                </a:lnTo>
                <a:lnTo>
                  <a:pt x="5408611" y="3615954"/>
                </a:lnTo>
                <a:lnTo>
                  <a:pt x="5408611" y="3686294"/>
                </a:lnTo>
                <a:lnTo>
                  <a:pt x="5408611" y="3708935"/>
                </a:lnTo>
                <a:lnTo>
                  <a:pt x="5408611" y="3709464"/>
                </a:lnTo>
                <a:lnTo>
                  <a:pt x="5410552" y="3709464"/>
                </a:lnTo>
                <a:lnTo>
                  <a:pt x="5410552" y="4047423"/>
                </a:lnTo>
                <a:lnTo>
                  <a:pt x="5410552" y="4755011"/>
                </a:lnTo>
                <a:lnTo>
                  <a:pt x="5410552" y="5092970"/>
                </a:lnTo>
                <a:lnTo>
                  <a:pt x="5410552" y="5186482"/>
                </a:lnTo>
                <a:lnTo>
                  <a:pt x="5408629" y="5186482"/>
                </a:lnTo>
                <a:lnTo>
                  <a:pt x="5408629" y="6857999"/>
                </a:lnTo>
                <a:lnTo>
                  <a:pt x="4867572" y="6857999"/>
                </a:lnTo>
                <a:lnTo>
                  <a:pt x="3794895" y="6857999"/>
                </a:lnTo>
                <a:lnTo>
                  <a:pt x="3783656" y="6857999"/>
                </a:lnTo>
                <a:lnTo>
                  <a:pt x="3782698" y="6857999"/>
                </a:lnTo>
                <a:lnTo>
                  <a:pt x="3782682" y="6858000"/>
                </a:lnTo>
                <a:lnTo>
                  <a:pt x="3782667" y="6857999"/>
                </a:lnTo>
                <a:lnTo>
                  <a:pt x="3706296" y="6857999"/>
                </a:lnTo>
                <a:lnTo>
                  <a:pt x="3253837" y="6857999"/>
                </a:lnTo>
                <a:lnTo>
                  <a:pt x="3242599" y="6857999"/>
                </a:lnTo>
                <a:lnTo>
                  <a:pt x="3241641" y="6857999"/>
                </a:lnTo>
                <a:lnTo>
                  <a:pt x="3241626" y="6858000"/>
                </a:lnTo>
                <a:lnTo>
                  <a:pt x="3241609" y="6857999"/>
                </a:lnTo>
                <a:lnTo>
                  <a:pt x="3165240" y="6857999"/>
                </a:lnTo>
                <a:lnTo>
                  <a:pt x="2169922" y="6857999"/>
                </a:lnTo>
                <a:lnTo>
                  <a:pt x="2168963" y="6857999"/>
                </a:lnTo>
                <a:lnTo>
                  <a:pt x="2168947" y="6858000"/>
                </a:lnTo>
                <a:lnTo>
                  <a:pt x="2168931" y="6857999"/>
                </a:lnTo>
                <a:lnTo>
                  <a:pt x="2092561" y="6857999"/>
                </a:lnTo>
                <a:lnTo>
                  <a:pt x="1628865" y="6857999"/>
                </a:lnTo>
                <a:lnTo>
                  <a:pt x="1627906" y="6857999"/>
                </a:lnTo>
                <a:lnTo>
                  <a:pt x="1627892" y="6858000"/>
                </a:lnTo>
                <a:lnTo>
                  <a:pt x="1627875" y="6857999"/>
                </a:lnTo>
                <a:lnTo>
                  <a:pt x="1551506" y="6857999"/>
                </a:lnTo>
                <a:lnTo>
                  <a:pt x="1551506" y="6854025"/>
                </a:lnTo>
                <a:lnTo>
                  <a:pt x="1472786" y="6849979"/>
                </a:lnTo>
                <a:lnTo>
                  <a:pt x="1468010" y="6849239"/>
                </a:lnTo>
                <a:lnTo>
                  <a:pt x="1461647" y="6848892"/>
                </a:lnTo>
                <a:cubicBezTo>
                  <a:pt x="1365566" y="6838301"/>
                  <a:pt x="1271960" y="6818634"/>
                  <a:pt x="1181563" y="6790692"/>
                </a:cubicBezTo>
                <a:lnTo>
                  <a:pt x="1174972" y="6788314"/>
                </a:lnTo>
                <a:lnTo>
                  <a:pt x="1173836" y="6788017"/>
                </a:lnTo>
                <a:lnTo>
                  <a:pt x="1162533" y="6783825"/>
                </a:lnTo>
                <a:lnTo>
                  <a:pt x="1048471" y="6742670"/>
                </a:lnTo>
                <a:lnTo>
                  <a:pt x="1036764" y="6737186"/>
                </a:lnTo>
                <a:lnTo>
                  <a:pt x="1032314" y="6735535"/>
                </a:lnTo>
                <a:lnTo>
                  <a:pt x="1008260" y="6723832"/>
                </a:lnTo>
                <a:lnTo>
                  <a:pt x="920755" y="6682839"/>
                </a:lnTo>
                <a:lnTo>
                  <a:pt x="904423" y="6673313"/>
                </a:lnTo>
                <a:lnTo>
                  <a:pt x="896991" y="6669695"/>
                </a:lnTo>
                <a:lnTo>
                  <a:pt x="870891" y="6653750"/>
                </a:lnTo>
                <a:lnTo>
                  <a:pt x="798968" y="6611797"/>
                </a:lnTo>
                <a:lnTo>
                  <a:pt x="778585" y="6597363"/>
                </a:lnTo>
                <a:lnTo>
                  <a:pt x="768542" y="6591229"/>
                </a:lnTo>
                <a:lnTo>
                  <a:pt x="743688" y="6572653"/>
                </a:lnTo>
                <a:lnTo>
                  <a:pt x="683666" y="6530149"/>
                </a:lnTo>
                <a:lnTo>
                  <a:pt x="659881" y="6510014"/>
                </a:lnTo>
                <a:lnTo>
                  <a:pt x="647641" y="6500867"/>
                </a:lnTo>
                <a:lnTo>
                  <a:pt x="625351" y="6480784"/>
                </a:lnTo>
                <a:lnTo>
                  <a:pt x="575400" y="6438495"/>
                </a:lnTo>
                <a:lnTo>
                  <a:pt x="548941" y="6411937"/>
                </a:lnTo>
                <a:lnTo>
                  <a:pt x="534961" y="6399339"/>
                </a:lnTo>
                <a:lnTo>
                  <a:pt x="515783" y="6378653"/>
                </a:lnTo>
                <a:lnTo>
                  <a:pt x="474729" y="6337442"/>
                </a:lnTo>
                <a:lnTo>
                  <a:pt x="446391" y="6303796"/>
                </a:lnTo>
                <a:lnTo>
                  <a:pt x="431175" y="6287380"/>
                </a:lnTo>
                <a:lnTo>
                  <a:pt x="415281" y="6266857"/>
                </a:lnTo>
                <a:lnTo>
                  <a:pt x="382208" y="6227587"/>
                </a:lnTo>
                <a:lnTo>
                  <a:pt x="352856" y="6186244"/>
                </a:lnTo>
                <a:lnTo>
                  <a:pt x="336959" y="6165720"/>
                </a:lnTo>
                <a:lnTo>
                  <a:pt x="324308" y="6146039"/>
                </a:lnTo>
                <a:lnTo>
                  <a:pt x="298389" y="6109534"/>
                </a:lnTo>
                <a:lnTo>
                  <a:pt x="268946" y="6059914"/>
                </a:lnTo>
                <a:lnTo>
                  <a:pt x="252985" y="6035086"/>
                </a:lnTo>
                <a:lnTo>
                  <a:pt x="243395" y="6016857"/>
                </a:lnTo>
                <a:lnTo>
                  <a:pt x="223831" y="5983884"/>
                </a:lnTo>
                <a:lnTo>
                  <a:pt x="195278" y="5925391"/>
                </a:lnTo>
                <a:lnTo>
                  <a:pt x="179929" y="5896214"/>
                </a:lnTo>
                <a:lnTo>
                  <a:pt x="173113" y="5879983"/>
                </a:lnTo>
                <a:lnTo>
                  <a:pt x="159084" y="5851242"/>
                </a:lnTo>
                <a:lnTo>
                  <a:pt x="132456" y="5783156"/>
                </a:lnTo>
                <a:lnTo>
                  <a:pt x="118462" y="5749834"/>
                </a:lnTo>
                <a:lnTo>
                  <a:pt x="114051" y="5736099"/>
                </a:lnTo>
                <a:lnTo>
                  <a:pt x="104705" y="5712207"/>
                </a:lnTo>
                <a:lnTo>
                  <a:pt x="81084" y="5633479"/>
                </a:lnTo>
                <a:lnTo>
                  <a:pt x="69261" y="5596679"/>
                </a:lnTo>
                <a:lnTo>
                  <a:pt x="66802" y="5585881"/>
                </a:lnTo>
                <a:lnTo>
                  <a:pt x="61250" y="5567382"/>
                </a:lnTo>
                <a:lnTo>
                  <a:pt x="41759" y="5475943"/>
                </a:lnTo>
                <a:lnTo>
                  <a:pt x="32996" y="5437474"/>
                </a:lnTo>
                <a:lnTo>
                  <a:pt x="31970" y="5430024"/>
                </a:lnTo>
                <a:lnTo>
                  <a:pt x="29274" y="5417371"/>
                </a:lnTo>
                <a:lnTo>
                  <a:pt x="15083" y="5307370"/>
                </a:lnTo>
                <a:lnTo>
                  <a:pt x="10345" y="5272959"/>
                </a:lnTo>
                <a:lnTo>
                  <a:pt x="10177" y="5269337"/>
                </a:lnTo>
                <a:lnTo>
                  <a:pt x="9329" y="5262776"/>
                </a:lnTo>
                <a:lnTo>
                  <a:pt x="6002" y="5186482"/>
                </a:lnTo>
                <a:lnTo>
                  <a:pt x="1944" y="5186482"/>
                </a:lnTo>
                <a:lnTo>
                  <a:pt x="1944" y="5116140"/>
                </a:lnTo>
                <a:lnTo>
                  <a:pt x="1944" y="5093498"/>
                </a:lnTo>
                <a:lnTo>
                  <a:pt x="1944" y="5092970"/>
                </a:lnTo>
                <a:lnTo>
                  <a:pt x="0" y="5092970"/>
                </a:lnTo>
                <a:lnTo>
                  <a:pt x="0" y="4755011"/>
                </a:lnTo>
                <a:lnTo>
                  <a:pt x="0" y="4047423"/>
                </a:lnTo>
                <a:lnTo>
                  <a:pt x="0" y="3709464"/>
                </a:lnTo>
                <a:lnTo>
                  <a:pt x="0" y="3615954"/>
                </a:lnTo>
                <a:lnTo>
                  <a:pt x="1925" y="3615954"/>
                </a:lnTo>
                <a:lnTo>
                  <a:pt x="1925" y="3603350"/>
                </a:lnTo>
                <a:lnTo>
                  <a:pt x="0" y="360335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55465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9A901EF-4FE4-4A53-865E-60C6E33C45A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00251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4EF0C10-64E7-4AC4-8106-3BEAF12FB06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15086" y="659946"/>
            <a:ext cx="3035892" cy="3573476"/>
          </a:xfrm>
          <a:custGeom>
            <a:avLst/>
            <a:gdLst>
              <a:gd name="connsiteX0" fmla="*/ 1517955 w 3035892"/>
              <a:gd name="connsiteY0" fmla="*/ 0 h 3573476"/>
              <a:gd name="connsiteX1" fmla="*/ 1517970 w 3035892"/>
              <a:gd name="connsiteY1" fmla="*/ 1 h 3573476"/>
              <a:gd name="connsiteX2" fmla="*/ 1518863 w 3035892"/>
              <a:gd name="connsiteY2" fmla="*/ 1 h 3573476"/>
              <a:gd name="connsiteX3" fmla="*/ 3034099 w 3035892"/>
              <a:gd name="connsiteY3" fmla="*/ 1 h 3573476"/>
              <a:gd name="connsiteX4" fmla="*/ 3034099 w 3035892"/>
              <a:gd name="connsiteY4" fmla="*/ 1215642 h 3573476"/>
              <a:gd name="connsiteX5" fmla="*/ 3035892 w 3035892"/>
              <a:gd name="connsiteY5" fmla="*/ 1215642 h 3573476"/>
              <a:gd name="connsiteX6" fmla="*/ 3035892 w 3035892"/>
              <a:gd name="connsiteY6" fmla="*/ 1283649 h 3573476"/>
              <a:gd name="connsiteX7" fmla="*/ 3035892 w 3035892"/>
              <a:gd name="connsiteY7" fmla="*/ 1529436 h 3573476"/>
              <a:gd name="connsiteX8" fmla="*/ 3035892 w 3035892"/>
              <a:gd name="connsiteY8" fmla="*/ 2044041 h 3573476"/>
              <a:gd name="connsiteX9" fmla="*/ 3035892 w 3035892"/>
              <a:gd name="connsiteY9" fmla="*/ 2289827 h 3573476"/>
              <a:gd name="connsiteX10" fmla="*/ 3034081 w 3035892"/>
              <a:gd name="connsiteY10" fmla="*/ 2289827 h 3573476"/>
              <a:gd name="connsiteX11" fmla="*/ 3034081 w 3035892"/>
              <a:gd name="connsiteY11" fmla="*/ 2289827 h 3573476"/>
              <a:gd name="connsiteX12" fmla="*/ 3034081 w 3035892"/>
              <a:gd name="connsiteY12" fmla="*/ 2290211 h 3573476"/>
              <a:gd name="connsiteX13" fmla="*/ 3034081 w 3035892"/>
              <a:gd name="connsiteY13" fmla="*/ 2306678 h 3573476"/>
              <a:gd name="connsiteX14" fmla="*/ 3034081 w 3035892"/>
              <a:gd name="connsiteY14" fmla="*/ 2357834 h 3573476"/>
              <a:gd name="connsiteX15" fmla="*/ 3030297 w 3035892"/>
              <a:gd name="connsiteY15" fmla="*/ 2357834 h 3573476"/>
              <a:gd name="connsiteX16" fmla="*/ 3027194 w 3035892"/>
              <a:gd name="connsiteY16" fmla="*/ 2413321 h 3573476"/>
              <a:gd name="connsiteX17" fmla="*/ 3026404 w 3035892"/>
              <a:gd name="connsiteY17" fmla="*/ 2418092 h 3573476"/>
              <a:gd name="connsiteX18" fmla="*/ 3026247 w 3035892"/>
              <a:gd name="connsiteY18" fmla="*/ 2420727 h 3573476"/>
              <a:gd name="connsiteX19" fmla="*/ 3021829 w 3035892"/>
              <a:gd name="connsiteY19" fmla="*/ 2445752 h 3573476"/>
              <a:gd name="connsiteX20" fmla="*/ 3008596 w 3035892"/>
              <a:gd name="connsiteY20" fmla="*/ 2525754 h 3573476"/>
              <a:gd name="connsiteX21" fmla="*/ 3006082 w 3035892"/>
              <a:gd name="connsiteY21" fmla="*/ 2534955 h 3573476"/>
              <a:gd name="connsiteX22" fmla="*/ 3005125 w 3035892"/>
              <a:gd name="connsiteY22" fmla="*/ 2540374 h 3573476"/>
              <a:gd name="connsiteX23" fmla="*/ 2996954 w 3035892"/>
              <a:gd name="connsiteY23" fmla="*/ 2568350 h 3573476"/>
              <a:gd name="connsiteX24" fmla="*/ 2978779 w 3035892"/>
              <a:gd name="connsiteY24" fmla="*/ 2634852 h 3573476"/>
              <a:gd name="connsiteX25" fmla="*/ 2973603 w 3035892"/>
              <a:gd name="connsiteY25" fmla="*/ 2648306 h 3573476"/>
              <a:gd name="connsiteX26" fmla="*/ 2971310 w 3035892"/>
              <a:gd name="connsiteY26" fmla="*/ 2656157 h 3573476"/>
              <a:gd name="connsiteX27" fmla="*/ 2960286 w 3035892"/>
              <a:gd name="connsiteY27" fmla="*/ 2682921 h 3573476"/>
              <a:gd name="connsiteX28" fmla="*/ 2938258 w 3035892"/>
              <a:gd name="connsiteY28" fmla="*/ 2740178 h 3573476"/>
              <a:gd name="connsiteX29" fmla="*/ 2929546 w 3035892"/>
              <a:gd name="connsiteY29" fmla="*/ 2757553 h 3573476"/>
              <a:gd name="connsiteX30" fmla="*/ 2925431 w 3035892"/>
              <a:gd name="connsiteY30" fmla="*/ 2767542 h 3573476"/>
              <a:gd name="connsiteX31" fmla="*/ 2912383 w 3035892"/>
              <a:gd name="connsiteY31" fmla="*/ 2791777 h 3573476"/>
              <a:gd name="connsiteX32" fmla="*/ 2887552 w 3035892"/>
              <a:gd name="connsiteY32" fmla="*/ 2841293 h 3573476"/>
              <a:gd name="connsiteX33" fmla="*/ 2874470 w 3035892"/>
              <a:gd name="connsiteY33" fmla="*/ 2862196 h 3573476"/>
              <a:gd name="connsiteX34" fmla="*/ 2868115 w 3035892"/>
              <a:gd name="connsiteY34" fmla="*/ 2874000 h 3573476"/>
              <a:gd name="connsiteX35" fmla="*/ 2853802 w 3035892"/>
              <a:gd name="connsiteY35" fmla="*/ 2895219 h 3573476"/>
              <a:gd name="connsiteX36" fmla="*/ 2827179 w 3035892"/>
              <a:gd name="connsiteY36" fmla="*/ 2937760 h 3573476"/>
              <a:gd name="connsiteX37" fmla="*/ 2808935 w 3035892"/>
              <a:gd name="connsiteY37" fmla="*/ 2961740 h 3573476"/>
              <a:gd name="connsiteX38" fmla="*/ 2799992 w 3035892"/>
              <a:gd name="connsiteY38" fmla="*/ 2974997 h 3573476"/>
              <a:gd name="connsiteX39" fmla="*/ 2785109 w 3035892"/>
              <a:gd name="connsiteY39" fmla="*/ 2993054 h 3573476"/>
              <a:gd name="connsiteX40" fmla="*/ 2757655 w 3035892"/>
              <a:gd name="connsiteY40" fmla="*/ 3029140 h 3573476"/>
              <a:gd name="connsiteX41" fmla="*/ 2733486 w 3035892"/>
              <a:gd name="connsiteY41" fmla="*/ 3055689 h 3573476"/>
              <a:gd name="connsiteX42" fmla="*/ 2721690 w 3035892"/>
              <a:gd name="connsiteY42" fmla="*/ 3070002 h 3573476"/>
              <a:gd name="connsiteX43" fmla="*/ 2706867 w 3035892"/>
              <a:gd name="connsiteY43" fmla="*/ 3084930 h 3573476"/>
              <a:gd name="connsiteX44" fmla="*/ 2679496 w 3035892"/>
              <a:gd name="connsiteY44" fmla="*/ 3114997 h 3573476"/>
              <a:gd name="connsiteX45" fmla="*/ 2648656 w 3035892"/>
              <a:gd name="connsiteY45" fmla="*/ 3143557 h 3573476"/>
              <a:gd name="connsiteX46" fmla="*/ 2633836 w 3035892"/>
              <a:gd name="connsiteY46" fmla="*/ 3158482 h 3573476"/>
              <a:gd name="connsiteX47" fmla="*/ 2619647 w 3035892"/>
              <a:gd name="connsiteY47" fmla="*/ 3170420 h 3573476"/>
              <a:gd name="connsiteX48" fmla="*/ 2593223 w 3035892"/>
              <a:gd name="connsiteY48" fmla="*/ 3194890 h 3573476"/>
              <a:gd name="connsiteX49" fmla="*/ 2554942 w 3035892"/>
              <a:gd name="connsiteY49" fmla="*/ 3224862 h 3573476"/>
              <a:gd name="connsiteX50" fmla="*/ 2537060 w 3035892"/>
              <a:gd name="connsiteY50" fmla="*/ 3239907 h 3573476"/>
              <a:gd name="connsiteX51" fmla="*/ 2524023 w 3035892"/>
              <a:gd name="connsiteY51" fmla="*/ 3249067 h 3573476"/>
              <a:gd name="connsiteX52" fmla="*/ 2499351 w 3035892"/>
              <a:gd name="connsiteY52" fmla="*/ 3268384 h 3573476"/>
              <a:gd name="connsiteX53" fmla="*/ 2452772 w 3035892"/>
              <a:gd name="connsiteY53" fmla="*/ 3299138 h 3573476"/>
              <a:gd name="connsiteX54" fmla="*/ 2431989 w 3035892"/>
              <a:gd name="connsiteY54" fmla="*/ 3313744 h 3573476"/>
              <a:gd name="connsiteX55" fmla="*/ 2420575 w 3035892"/>
              <a:gd name="connsiteY55" fmla="*/ 3320397 h 3573476"/>
              <a:gd name="connsiteX56" fmla="*/ 2398398 w 3035892"/>
              <a:gd name="connsiteY56" fmla="*/ 3335040 h 3573476"/>
              <a:gd name="connsiteX57" fmla="*/ 2342427 w 3035892"/>
              <a:gd name="connsiteY57" fmla="*/ 3365951 h 3573476"/>
              <a:gd name="connsiteX58" fmla="*/ 2319252 w 3035892"/>
              <a:gd name="connsiteY58" fmla="*/ 3379461 h 3573476"/>
              <a:gd name="connsiteX59" fmla="*/ 2309888 w 3035892"/>
              <a:gd name="connsiteY59" fmla="*/ 3383922 h 3573476"/>
              <a:gd name="connsiteX60" fmla="*/ 2290881 w 3035892"/>
              <a:gd name="connsiteY60" fmla="*/ 3394420 h 3573476"/>
              <a:gd name="connsiteX61" fmla="*/ 2223815 w 3035892"/>
              <a:gd name="connsiteY61" fmla="*/ 3424932 h 3573476"/>
              <a:gd name="connsiteX62" fmla="*/ 2199478 w 3035892"/>
              <a:gd name="connsiteY62" fmla="*/ 3436528 h 3573476"/>
              <a:gd name="connsiteX63" fmla="*/ 2192547 w 3035892"/>
              <a:gd name="connsiteY63" fmla="*/ 3439158 h 3573476"/>
              <a:gd name="connsiteX64" fmla="*/ 2177319 w 3035892"/>
              <a:gd name="connsiteY64" fmla="*/ 3446086 h 3573476"/>
              <a:gd name="connsiteX65" fmla="*/ 2095723 w 3035892"/>
              <a:gd name="connsiteY65" fmla="*/ 3475899 h 3573476"/>
              <a:gd name="connsiteX66" fmla="*/ 2073293 w 3035892"/>
              <a:gd name="connsiteY66" fmla="*/ 3484410 h 3573476"/>
              <a:gd name="connsiteX67" fmla="*/ 2069144 w 3035892"/>
              <a:gd name="connsiteY67" fmla="*/ 3485611 h 3573476"/>
              <a:gd name="connsiteX68" fmla="*/ 2058227 w 3035892"/>
              <a:gd name="connsiteY68" fmla="*/ 3489600 h 3573476"/>
              <a:gd name="connsiteX69" fmla="*/ 1951868 w 3035892"/>
              <a:gd name="connsiteY69" fmla="*/ 3519529 h 3573476"/>
              <a:gd name="connsiteX70" fmla="*/ 1941328 w 3035892"/>
              <a:gd name="connsiteY70" fmla="*/ 3522579 h 3573476"/>
              <a:gd name="connsiteX71" fmla="*/ 1940269 w 3035892"/>
              <a:gd name="connsiteY71" fmla="*/ 3522794 h 3573476"/>
              <a:gd name="connsiteX72" fmla="*/ 1934124 w 3035892"/>
              <a:gd name="connsiteY72" fmla="*/ 3524523 h 3573476"/>
              <a:gd name="connsiteX73" fmla="*/ 1672953 w 3035892"/>
              <a:gd name="connsiteY73" fmla="*/ 3566851 h 3573476"/>
              <a:gd name="connsiteX74" fmla="*/ 1667021 w 3035892"/>
              <a:gd name="connsiteY74" fmla="*/ 3567104 h 3573476"/>
              <a:gd name="connsiteX75" fmla="*/ 1662567 w 3035892"/>
              <a:gd name="connsiteY75" fmla="*/ 3567643 h 3573476"/>
              <a:gd name="connsiteX76" fmla="*/ 1589164 w 3035892"/>
              <a:gd name="connsiteY76" fmla="*/ 3570585 h 3573476"/>
              <a:gd name="connsiteX77" fmla="*/ 1589164 w 3035892"/>
              <a:gd name="connsiteY77" fmla="*/ 3573476 h 3573476"/>
              <a:gd name="connsiteX78" fmla="*/ 1517952 w 3035892"/>
              <a:gd name="connsiteY78" fmla="*/ 3573476 h 3573476"/>
              <a:gd name="connsiteX79" fmla="*/ 1517937 w 3035892"/>
              <a:gd name="connsiteY79" fmla="*/ 3573476 h 3573476"/>
              <a:gd name="connsiteX80" fmla="*/ 1517922 w 3035892"/>
              <a:gd name="connsiteY80" fmla="*/ 3573476 h 3573476"/>
              <a:gd name="connsiteX81" fmla="*/ 1517029 w 3035892"/>
              <a:gd name="connsiteY81" fmla="*/ 3573476 h 3573476"/>
              <a:gd name="connsiteX82" fmla="*/ 1794 w 3035892"/>
              <a:gd name="connsiteY82" fmla="*/ 3573476 h 3573476"/>
              <a:gd name="connsiteX83" fmla="*/ 1794 w 3035892"/>
              <a:gd name="connsiteY83" fmla="*/ 2357835 h 3573476"/>
              <a:gd name="connsiteX84" fmla="*/ 0 w 3035892"/>
              <a:gd name="connsiteY84" fmla="*/ 2357835 h 3573476"/>
              <a:gd name="connsiteX85" fmla="*/ 0 w 3035892"/>
              <a:gd name="connsiteY85" fmla="*/ 2289827 h 3573476"/>
              <a:gd name="connsiteX86" fmla="*/ 0 w 3035892"/>
              <a:gd name="connsiteY86" fmla="*/ 2044041 h 3573476"/>
              <a:gd name="connsiteX87" fmla="*/ 0 w 3035892"/>
              <a:gd name="connsiteY87" fmla="*/ 1529436 h 3573476"/>
              <a:gd name="connsiteX88" fmla="*/ 0 w 3035892"/>
              <a:gd name="connsiteY88" fmla="*/ 1283650 h 3573476"/>
              <a:gd name="connsiteX89" fmla="*/ 1811 w 3035892"/>
              <a:gd name="connsiteY89" fmla="*/ 1283650 h 3573476"/>
              <a:gd name="connsiteX90" fmla="*/ 1811 w 3035892"/>
              <a:gd name="connsiteY90" fmla="*/ 1283649 h 3573476"/>
              <a:gd name="connsiteX91" fmla="*/ 1811 w 3035892"/>
              <a:gd name="connsiteY91" fmla="*/ 1283265 h 3573476"/>
              <a:gd name="connsiteX92" fmla="*/ 1811 w 3035892"/>
              <a:gd name="connsiteY92" fmla="*/ 1266798 h 3573476"/>
              <a:gd name="connsiteX93" fmla="*/ 1811 w 3035892"/>
              <a:gd name="connsiteY93" fmla="*/ 1215642 h 3573476"/>
              <a:gd name="connsiteX94" fmla="*/ 5595 w 3035892"/>
              <a:gd name="connsiteY94" fmla="*/ 1215642 h 3573476"/>
              <a:gd name="connsiteX95" fmla="*/ 8698 w 3035892"/>
              <a:gd name="connsiteY95" fmla="*/ 1160155 h 3573476"/>
              <a:gd name="connsiteX96" fmla="*/ 9488 w 3035892"/>
              <a:gd name="connsiteY96" fmla="*/ 1155383 h 3573476"/>
              <a:gd name="connsiteX97" fmla="*/ 9645 w 3035892"/>
              <a:gd name="connsiteY97" fmla="*/ 1152749 h 3573476"/>
              <a:gd name="connsiteX98" fmla="*/ 14063 w 3035892"/>
              <a:gd name="connsiteY98" fmla="*/ 1127724 h 3573476"/>
              <a:gd name="connsiteX99" fmla="*/ 27296 w 3035892"/>
              <a:gd name="connsiteY99" fmla="*/ 1047722 h 3573476"/>
              <a:gd name="connsiteX100" fmla="*/ 29811 w 3035892"/>
              <a:gd name="connsiteY100" fmla="*/ 1038521 h 3573476"/>
              <a:gd name="connsiteX101" fmla="*/ 30767 w 3035892"/>
              <a:gd name="connsiteY101" fmla="*/ 1033102 h 3573476"/>
              <a:gd name="connsiteX102" fmla="*/ 38938 w 3035892"/>
              <a:gd name="connsiteY102" fmla="*/ 1005126 h 3573476"/>
              <a:gd name="connsiteX103" fmla="*/ 57113 w 3035892"/>
              <a:gd name="connsiteY103" fmla="*/ 938624 h 3573476"/>
              <a:gd name="connsiteX104" fmla="*/ 62289 w 3035892"/>
              <a:gd name="connsiteY104" fmla="*/ 925170 h 3573476"/>
              <a:gd name="connsiteX105" fmla="*/ 64582 w 3035892"/>
              <a:gd name="connsiteY105" fmla="*/ 917319 h 3573476"/>
              <a:gd name="connsiteX106" fmla="*/ 75606 w 3035892"/>
              <a:gd name="connsiteY106" fmla="*/ 890555 h 3573476"/>
              <a:gd name="connsiteX107" fmla="*/ 97634 w 3035892"/>
              <a:gd name="connsiteY107" fmla="*/ 833298 h 3573476"/>
              <a:gd name="connsiteX108" fmla="*/ 106347 w 3035892"/>
              <a:gd name="connsiteY108" fmla="*/ 815923 h 3573476"/>
              <a:gd name="connsiteX109" fmla="*/ 110461 w 3035892"/>
              <a:gd name="connsiteY109" fmla="*/ 805934 h 3573476"/>
              <a:gd name="connsiteX110" fmla="*/ 123509 w 3035892"/>
              <a:gd name="connsiteY110" fmla="*/ 781699 h 3573476"/>
              <a:gd name="connsiteX111" fmla="*/ 148340 w 3035892"/>
              <a:gd name="connsiteY111" fmla="*/ 732182 h 3573476"/>
              <a:gd name="connsiteX112" fmla="*/ 161422 w 3035892"/>
              <a:gd name="connsiteY112" fmla="*/ 711281 h 3573476"/>
              <a:gd name="connsiteX113" fmla="*/ 167777 w 3035892"/>
              <a:gd name="connsiteY113" fmla="*/ 699476 h 3573476"/>
              <a:gd name="connsiteX114" fmla="*/ 182090 w 3035892"/>
              <a:gd name="connsiteY114" fmla="*/ 678257 h 3573476"/>
              <a:gd name="connsiteX115" fmla="*/ 208713 w 3035892"/>
              <a:gd name="connsiteY115" fmla="*/ 635717 h 3573476"/>
              <a:gd name="connsiteX116" fmla="*/ 226957 w 3035892"/>
              <a:gd name="connsiteY116" fmla="*/ 611737 h 3573476"/>
              <a:gd name="connsiteX117" fmla="*/ 235900 w 3035892"/>
              <a:gd name="connsiteY117" fmla="*/ 598479 h 3573476"/>
              <a:gd name="connsiteX118" fmla="*/ 250783 w 3035892"/>
              <a:gd name="connsiteY118" fmla="*/ 580422 h 3573476"/>
              <a:gd name="connsiteX119" fmla="*/ 278237 w 3035892"/>
              <a:gd name="connsiteY119" fmla="*/ 544336 h 3573476"/>
              <a:gd name="connsiteX120" fmla="*/ 302406 w 3035892"/>
              <a:gd name="connsiteY120" fmla="*/ 517787 h 3573476"/>
              <a:gd name="connsiteX121" fmla="*/ 314202 w 3035892"/>
              <a:gd name="connsiteY121" fmla="*/ 503474 h 3573476"/>
              <a:gd name="connsiteX122" fmla="*/ 329025 w 3035892"/>
              <a:gd name="connsiteY122" fmla="*/ 488547 h 3573476"/>
              <a:gd name="connsiteX123" fmla="*/ 356396 w 3035892"/>
              <a:gd name="connsiteY123" fmla="*/ 458480 h 3573476"/>
              <a:gd name="connsiteX124" fmla="*/ 387236 w 3035892"/>
              <a:gd name="connsiteY124" fmla="*/ 429920 h 3573476"/>
              <a:gd name="connsiteX125" fmla="*/ 402056 w 3035892"/>
              <a:gd name="connsiteY125" fmla="*/ 414994 h 3573476"/>
              <a:gd name="connsiteX126" fmla="*/ 416245 w 3035892"/>
              <a:gd name="connsiteY126" fmla="*/ 403056 h 3573476"/>
              <a:gd name="connsiteX127" fmla="*/ 442669 w 3035892"/>
              <a:gd name="connsiteY127" fmla="*/ 378585 h 3573476"/>
              <a:gd name="connsiteX128" fmla="*/ 480950 w 3035892"/>
              <a:gd name="connsiteY128" fmla="*/ 348615 h 3573476"/>
              <a:gd name="connsiteX129" fmla="*/ 498832 w 3035892"/>
              <a:gd name="connsiteY129" fmla="*/ 333570 h 3573476"/>
              <a:gd name="connsiteX130" fmla="*/ 511869 w 3035892"/>
              <a:gd name="connsiteY130" fmla="*/ 324408 h 3573476"/>
              <a:gd name="connsiteX131" fmla="*/ 536541 w 3035892"/>
              <a:gd name="connsiteY131" fmla="*/ 305092 h 3573476"/>
              <a:gd name="connsiteX132" fmla="*/ 583119 w 3035892"/>
              <a:gd name="connsiteY132" fmla="*/ 274338 h 3573476"/>
              <a:gd name="connsiteX133" fmla="*/ 603903 w 3035892"/>
              <a:gd name="connsiteY133" fmla="*/ 259732 h 3573476"/>
              <a:gd name="connsiteX134" fmla="*/ 615316 w 3035892"/>
              <a:gd name="connsiteY134" fmla="*/ 253079 h 3573476"/>
              <a:gd name="connsiteX135" fmla="*/ 637495 w 3035892"/>
              <a:gd name="connsiteY135" fmla="*/ 238436 h 3573476"/>
              <a:gd name="connsiteX136" fmla="*/ 693465 w 3035892"/>
              <a:gd name="connsiteY136" fmla="*/ 207524 h 3573476"/>
              <a:gd name="connsiteX137" fmla="*/ 716640 w 3035892"/>
              <a:gd name="connsiteY137" fmla="*/ 194015 h 3573476"/>
              <a:gd name="connsiteX138" fmla="*/ 726004 w 3035892"/>
              <a:gd name="connsiteY138" fmla="*/ 189554 h 3573476"/>
              <a:gd name="connsiteX139" fmla="*/ 745011 w 3035892"/>
              <a:gd name="connsiteY139" fmla="*/ 179057 h 3573476"/>
              <a:gd name="connsiteX140" fmla="*/ 812077 w 3035892"/>
              <a:gd name="connsiteY140" fmla="*/ 148545 h 3573476"/>
              <a:gd name="connsiteX141" fmla="*/ 836414 w 3035892"/>
              <a:gd name="connsiteY141" fmla="*/ 136949 h 3573476"/>
              <a:gd name="connsiteX142" fmla="*/ 843345 w 3035892"/>
              <a:gd name="connsiteY142" fmla="*/ 134319 h 3573476"/>
              <a:gd name="connsiteX143" fmla="*/ 858574 w 3035892"/>
              <a:gd name="connsiteY143" fmla="*/ 127390 h 3573476"/>
              <a:gd name="connsiteX144" fmla="*/ 940169 w 3035892"/>
              <a:gd name="connsiteY144" fmla="*/ 97577 h 3573476"/>
              <a:gd name="connsiteX145" fmla="*/ 962599 w 3035892"/>
              <a:gd name="connsiteY145" fmla="*/ 89065 h 3573476"/>
              <a:gd name="connsiteX146" fmla="*/ 966748 w 3035892"/>
              <a:gd name="connsiteY146" fmla="*/ 87866 h 3573476"/>
              <a:gd name="connsiteX147" fmla="*/ 977665 w 3035892"/>
              <a:gd name="connsiteY147" fmla="*/ 83877 h 3573476"/>
              <a:gd name="connsiteX148" fmla="*/ 1084024 w 3035892"/>
              <a:gd name="connsiteY148" fmla="*/ 53947 h 3573476"/>
              <a:gd name="connsiteX149" fmla="*/ 1094564 w 3035892"/>
              <a:gd name="connsiteY149" fmla="*/ 50897 h 3573476"/>
              <a:gd name="connsiteX150" fmla="*/ 1095623 w 3035892"/>
              <a:gd name="connsiteY150" fmla="*/ 50681 h 3573476"/>
              <a:gd name="connsiteX151" fmla="*/ 1101768 w 3035892"/>
              <a:gd name="connsiteY151" fmla="*/ 48953 h 3573476"/>
              <a:gd name="connsiteX152" fmla="*/ 1362938 w 3035892"/>
              <a:gd name="connsiteY152" fmla="*/ 6625 h 3573476"/>
              <a:gd name="connsiteX153" fmla="*/ 1368872 w 3035892"/>
              <a:gd name="connsiteY153" fmla="*/ 6373 h 3573476"/>
              <a:gd name="connsiteX154" fmla="*/ 1373325 w 3035892"/>
              <a:gd name="connsiteY154" fmla="*/ 5833 h 3573476"/>
              <a:gd name="connsiteX155" fmla="*/ 1446728 w 3035892"/>
              <a:gd name="connsiteY155" fmla="*/ 2891 h 3573476"/>
              <a:gd name="connsiteX156" fmla="*/ 1446728 w 3035892"/>
              <a:gd name="connsiteY156" fmla="*/ 1 h 3573476"/>
              <a:gd name="connsiteX157" fmla="*/ 1517940 w 3035892"/>
              <a:gd name="connsiteY157" fmla="*/ 1 h 357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3035892" h="3573476">
                <a:moveTo>
                  <a:pt x="1517955" y="0"/>
                </a:moveTo>
                <a:lnTo>
                  <a:pt x="1517970" y="1"/>
                </a:lnTo>
                <a:lnTo>
                  <a:pt x="1518863" y="1"/>
                </a:lnTo>
                <a:lnTo>
                  <a:pt x="3034099" y="1"/>
                </a:lnTo>
                <a:lnTo>
                  <a:pt x="3034099" y="1215642"/>
                </a:lnTo>
                <a:lnTo>
                  <a:pt x="3035892" y="1215642"/>
                </a:lnTo>
                <a:lnTo>
                  <a:pt x="3035892" y="1283649"/>
                </a:lnTo>
                <a:lnTo>
                  <a:pt x="3035892" y="1529436"/>
                </a:lnTo>
                <a:lnTo>
                  <a:pt x="3035892" y="2044041"/>
                </a:lnTo>
                <a:lnTo>
                  <a:pt x="3035892" y="2289827"/>
                </a:lnTo>
                <a:lnTo>
                  <a:pt x="3034081" y="2289827"/>
                </a:lnTo>
                <a:lnTo>
                  <a:pt x="3034081" y="2289827"/>
                </a:lnTo>
                <a:lnTo>
                  <a:pt x="3034081" y="2290211"/>
                </a:lnTo>
                <a:lnTo>
                  <a:pt x="3034081" y="2306678"/>
                </a:lnTo>
                <a:lnTo>
                  <a:pt x="3034081" y="2357834"/>
                </a:lnTo>
                <a:lnTo>
                  <a:pt x="3030297" y="2357834"/>
                </a:lnTo>
                <a:lnTo>
                  <a:pt x="3027194" y="2413321"/>
                </a:lnTo>
                <a:lnTo>
                  <a:pt x="3026404" y="2418092"/>
                </a:lnTo>
                <a:lnTo>
                  <a:pt x="3026247" y="2420727"/>
                </a:lnTo>
                <a:lnTo>
                  <a:pt x="3021829" y="2445752"/>
                </a:lnTo>
                <a:lnTo>
                  <a:pt x="3008596" y="2525754"/>
                </a:lnTo>
                <a:lnTo>
                  <a:pt x="3006082" y="2534955"/>
                </a:lnTo>
                <a:lnTo>
                  <a:pt x="3005125" y="2540374"/>
                </a:lnTo>
                <a:lnTo>
                  <a:pt x="2996954" y="2568350"/>
                </a:lnTo>
                <a:lnTo>
                  <a:pt x="2978779" y="2634852"/>
                </a:lnTo>
                <a:lnTo>
                  <a:pt x="2973603" y="2648306"/>
                </a:lnTo>
                <a:lnTo>
                  <a:pt x="2971310" y="2656157"/>
                </a:lnTo>
                <a:lnTo>
                  <a:pt x="2960286" y="2682921"/>
                </a:lnTo>
                <a:lnTo>
                  <a:pt x="2938258" y="2740178"/>
                </a:lnTo>
                <a:lnTo>
                  <a:pt x="2929546" y="2757553"/>
                </a:lnTo>
                <a:lnTo>
                  <a:pt x="2925431" y="2767542"/>
                </a:lnTo>
                <a:lnTo>
                  <a:pt x="2912383" y="2791777"/>
                </a:lnTo>
                <a:lnTo>
                  <a:pt x="2887552" y="2841293"/>
                </a:lnTo>
                <a:lnTo>
                  <a:pt x="2874470" y="2862196"/>
                </a:lnTo>
                <a:lnTo>
                  <a:pt x="2868115" y="2874000"/>
                </a:lnTo>
                <a:lnTo>
                  <a:pt x="2853802" y="2895219"/>
                </a:lnTo>
                <a:lnTo>
                  <a:pt x="2827179" y="2937760"/>
                </a:lnTo>
                <a:lnTo>
                  <a:pt x="2808935" y="2961740"/>
                </a:lnTo>
                <a:lnTo>
                  <a:pt x="2799992" y="2974997"/>
                </a:lnTo>
                <a:lnTo>
                  <a:pt x="2785109" y="2993054"/>
                </a:lnTo>
                <a:lnTo>
                  <a:pt x="2757655" y="3029140"/>
                </a:lnTo>
                <a:lnTo>
                  <a:pt x="2733486" y="3055689"/>
                </a:lnTo>
                <a:lnTo>
                  <a:pt x="2721690" y="3070002"/>
                </a:lnTo>
                <a:lnTo>
                  <a:pt x="2706867" y="3084930"/>
                </a:lnTo>
                <a:lnTo>
                  <a:pt x="2679496" y="3114997"/>
                </a:lnTo>
                <a:lnTo>
                  <a:pt x="2648656" y="3143557"/>
                </a:lnTo>
                <a:lnTo>
                  <a:pt x="2633836" y="3158482"/>
                </a:lnTo>
                <a:lnTo>
                  <a:pt x="2619647" y="3170420"/>
                </a:lnTo>
                <a:lnTo>
                  <a:pt x="2593223" y="3194890"/>
                </a:lnTo>
                <a:lnTo>
                  <a:pt x="2554942" y="3224862"/>
                </a:lnTo>
                <a:lnTo>
                  <a:pt x="2537060" y="3239907"/>
                </a:lnTo>
                <a:lnTo>
                  <a:pt x="2524023" y="3249067"/>
                </a:lnTo>
                <a:lnTo>
                  <a:pt x="2499351" y="3268384"/>
                </a:lnTo>
                <a:lnTo>
                  <a:pt x="2452772" y="3299138"/>
                </a:lnTo>
                <a:lnTo>
                  <a:pt x="2431989" y="3313744"/>
                </a:lnTo>
                <a:lnTo>
                  <a:pt x="2420575" y="3320397"/>
                </a:lnTo>
                <a:lnTo>
                  <a:pt x="2398398" y="3335040"/>
                </a:lnTo>
                <a:lnTo>
                  <a:pt x="2342427" y="3365951"/>
                </a:lnTo>
                <a:lnTo>
                  <a:pt x="2319252" y="3379461"/>
                </a:lnTo>
                <a:lnTo>
                  <a:pt x="2309888" y="3383922"/>
                </a:lnTo>
                <a:lnTo>
                  <a:pt x="2290881" y="3394420"/>
                </a:lnTo>
                <a:lnTo>
                  <a:pt x="2223815" y="3424932"/>
                </a:lnTo>
                <a:lnTo>
                  <a:pt x="2199478" y="3436528"/>
                </a:lnTo>
                <a:lnTo>
                  <a:pt x="2192547" y="3439158"/>
                </a:lnTo>
                <a:lnTo>
                  <a:pt x="2177319" y="3446086"/>
                </a:lnTo>
                <a:lnTo>
                  <a:pt x="2095723" y="3475899"/>
                </a:lnTo>
                <a:lnTo>
                  <a:pt x="2073293" y="3484410"/>
                </a:lnTo>
                <a:lnTo>
                  <a:pt x="2069144" y="3485611"/>
                </a:lnTo>
                <a:lnTo>
                  <a:pt x="2058227" y="3489600"/>
                </a:lnTo>
                <a:lnTo>
                  <a:pt x="1951868" y="3519529"/>
                </a:lnTo>
                <a:lnTo>
                  <a:pt x="1941328" y="3522579"/>
                </a:lnTo>
                <a:lnTo>
                  <a:pt x="1940269" y="3522794"/>
                </a:lnTo>
                <a:lnTo>
                  <a:pt x="1934124" y="3524523"/>
                </a:lnTo>
                <a:cubicBezTo>
                  <a:pt x="1849832" y="3544846"/>
                  <a:pt x="1762546" y="3559149"/>
                  <a:pt x="1672953" y="3566851"/>
                </a:cubicBezTo>
                <a:lnTo>
                  <a:pt x="1667021" y="3567104"/>
                </a:lnTo>
                <a:lnTo>
                  <a:pt x="1662567" y="3567643"/>
                </a:lnTo>
                <a:lnTo>
                  <a:pt x="1589164" y="3570585"/>
                </a:lnTo>
                <a:lnTo>
                  <a:pt x="1589164" y="3573476"/>
                </a:lnTo>
                <a:lnTo>
                  <a:pt x="1517952" y="3573476"/>
                </a:lnTo>
                <a:lnTo>
                  <a:pt x="1517937" y="3573476"/>
                </a:lnTo>
                <a:lnTo>
                  <a:pt x="1517922" y="3573476"/>
                </a:lnTo>
                <a:lnTo>
                  <a:pt x="1517029" y="3573476"/>
                </a:lnTo>
                <a:lnTo>
                  <a:pt x="1794" y="3573476"/>
                </a:lnTo>
                <a:lnTo>
                  <a:pt x="1794" y="2357835"/>
                </a:lnTo>
                <a:lnTo>
                  <a:pt x="0" y="2357835"/>
                </a:lnTo>
                <a:lnTo>
                  <a:pt x="0" y="2289827"/>
                </a:lnTo>
                <a:lnTo>
                  <a:pt x="0" y="2044041"/>
                </a:lnTo>
                <a:lnTo>
                  <a:pt x="0" y="1529436"/>
                </a:lnTo>
                <a:lnTo>
                  <a:pt x="0" y="1283650"/>
                </a:lnTo>
                <a:lnTo>
                  <a:pt x="1811" y="1283650"/>
                </a:lnTo>
                <a:lnTo>
                  <a:pt x="1811" y="1283649"/>
                </a:lnTo>
                <a:lnTo>
                  <a:pt x="1811" y="1283265"/>
                </a:lnTo>
                <a:lnTo>
                  <a:pt x="1811" y="1266798"/>
                </a:lnTo>
                <a:lnTo>
                  <a:pt x="1811" y="1215642"/>
                </a:lnTo>
                <a:lnTo>
                  <a:pt x="5595" y="1215642"/>
                </a:lnTo>
                <a:lnTo>
                  <a:pt x="8698" y="1160155"/>
                </a:lnTo>
                <a:lnTo>
                  <a:pt x="9488" y="1155383"/>
                </a:lnTo>
                <a:lnTo>
                  <a:pt x="9645" y="1152749"/>
                </a:lnTo>
                <a:lnTo>
                  <a:pt x="14063" y="1127724"/>
                </a:lnTo>
                <a:lnTo>
                  <a:pt x="27296" y="1047722"/>
                </a:lnTo>
                <a:lnTo>
                  <a:pt x="29811" y="1038521"/>
                </a:lnTo>
                <a:lnTo>
                  <a:pt x="30767" y="1033102"/>
                </a:lnTo>
                <a:lnTo>
                  <a:pt x="38938" y="1005126"/>
                </a:lnTo>
                <a:lnTo>
                  <a:pt x="57113" y="938624"/>
                </a:lnTo>
                <a:lnTo>
                  <a:pt x="62289" y="925170"/>
                </a:lnTo>
                <a:lnTo>
                  <a:pt x="64582" y="917319"/>
                </a:lnTo>
                <a:lnTo>
                  <a:pt x="75606" y="890555"/>
                </a:lnTo>
                <a:lnTo>
                  <a:pt x="97634" y="833298"/>
                </a:lnTo>
                <a:lnTo>
                  <a:pt x="106347" y="815923"/>
                </a:lnTo>
                <a:lnTo>
                  <a:pt x="110461" y="805934"/>
                </a:lnTo>
                <a:lnTo>
                  <a:pt x="123509" y="781699"/>
                </a:lnTo>
                <a:lnTo>
                  <a:pt x="148340" y="732182"/>
                </a:lnTo>
                <a:lnTo>
                  <a:pt x="161422" y="711281"/>
                </a:lnTo>
                <a:lnTo>
                  <a:pt x="167777" y="699476"/>
                </a:lnTo>
                <a:lnTo>
                  <a:pt x="182090" y="678257"/>
                </a:lnTo>
                <a:lnTo>
                  <a:pt x="208713" y="635717"/>
                </a:lnTo>
                <a:lnTo>
                  <a:pt x="226957" y="611737"/>
                </a:lnTo>
                <a:lnTo>
                  <a:pt x="235900" y="598479"/>
                </a:lnTo>
                <a:lnTo>
                  <a:pt x="250783" y="580422"/>
                </a:lnTo>
                <a:lnTo>
                  <a:pt x="278237" y="544336"/>
                </a:lnTo>
                <a:lnTo>
                  <a:pt x="302406" y="517787"/>
                </a:lnTo>
                <a:lnTo>
                  <a:pt x="314202" y="503474"/>
                </a:lnTo>
                <a:lnTo>
                  <a:pt x="329025" y="488547"/>
                </a:lnTo>
                <a:lnTo>
                  <a:pt x="356396" y="458480"/>
                </a:lnTo>
                <a:lnTo>
                  <a:pt x="387236" y="429920"/>
                </a:lnTo>
                <a:lnTo>
                  <a:pt x="402056" y="414994"/>
                </a:lnTo>
                <a:lnTo>
                  <a:pt x="416245" y="403056"/>
                </a:lnTo>
                <a:lnTo>
                  <a:pt x="442669" y="378585"/>
                </a:lnTo>
                <a:lnTo>
                  <a:pt x="480950" y="348615"/>
                </a:lnTo>
                <a:lnTo>
                  <a:pt x="498832" y="333570"/>
                </a:lnTo>
                <a:lnTo>
                  <a:pt x="511869" y="324408"/>
                </a:lnTo>
                <a:lnTo>
                  <a:pt x="536541" y="305092"/>
                </a:lnTo>
                <a:lnTo>
                  <a:pt x="583119" y="274338"/>
                </a:lnTo>
                <a:lnTo>
                  <a:pt x="603903" y="259732"/>
                </a:lnTo>
                <a:lnTo>
                  <a:pt x="615316" y="253079"/>
                </a:lnTo>
                <a:lnTo>
                  <a:pt x="637495" y="238436"/>
                </a:lnTo>
                <a:lnTo>
                  <a:pt x="693465" y="207524"/>
                </a:lnTo>
                <a:lnTo>
                  <a:pt x="716640" y="194015"/>
                </a:lnTo>
                <a:lnTo>
                  <a:pt x="726004" y="189554"/>
                </a:lnTo>
                <a:lnTo>
                  <a:pt x="745011" y="179057"/>
                </a:lnTo>
                <a:lnTo>
                  <a:pt x="812077" y="148545"/>
                </a:lnTo>
                <a:lnTo>
                  <a:pt x="836414" y="136949"/>
                </a:lnTo>
                <a:lnTo>
                  <a:pt x="843345" y="134319"/>
                </a:lnTo>
                <a:lnTo>
                  <a:pt x="858574" y="127390"/>
                </a:lnTo>
                <a:lnTo>
                  <a:pt x="940169" y="97577"/>
                </a:lnTo>
                <a:lnTo>
                  <a:pt x="962599" y="89065"/>
                </a:lnTo>
                <a:lnTo>
                  <a:pt x="966748" y="87866"/>
                </a:lnTo>
                <a:lnTo>
                  <a:pt x="977665" y="83877"/>
                </a:lnTo>
                <a:lnTo>
                  <a:pt x="1084024" y="53947"/>
                </a:lnTo>
                <a:lnTo>
                  <a:pt x="1094564" y="50897"/>
                </a:lnTo>
                <a:lnTo>
                  <a:pt x="1095623" y="50681"/>
                </a:lnTo>
                <a:lnTo>
                  <a:pt x="1101768" y="48953"/>
                </a:lnTo>
                <a:cubicBezTo>
                  <a:pt x="1186059" y="28631"/>
                  <a:pt x="1273346" y="14327"/>
                  <a:pt x="1362938" y="6625"/>
                </a:cubicBezTo>
                <a:lnTo>
                  <a:pt x="1368872" y="6373"/>
                </a:lnTo>
                <a:lnTo>
                  <a:pt x="1373325" y="5833"/>
                </a:lnTo>
                <a:lnTo>
                  <a:pt x="1446728" y="2891"/>
                </a:lnTo>
                <a:lnTo>
                  <a:pt x="1446728" y="1"/>
                </a:lnTo>
                <a:lnTo>
                  <a:pt x="1517940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BBF648B-8662-41BD-ABD9-3FC10ADCB0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2728" y="-1"/>
            <a:ext cx="3329446" cy="3963752"/>
          </a:xfrm>
          <a:custGeom>
            <a:avLst/>
            <a:gdLst>
              <a:gd name="connsiteX0" fmla="*/ 0 w 3329446"/>
              <a:gd name="connsiteY0" fmla="*/ 0 h 3963752"/>
              <a:gd name="connsiteX1" fmla="*/ 3323772 w 3329446"/>
              <a:gd name="connsiteY1" fmla="*/ 0 h 3963752"/>
              <a:gd name="connsiteX2" fmla="*/ 3323772 w 3329446"/>
              <a:gd name="connsiteY2" fmla="*/ 1835849 h 3963752"/>
              <a:gd name="connsiteX3" fmla="*/ 3329446 w 3329446"/>
              <a:gd name="connsiteY3" fmla="*/ 1835849 h 3963752"/>
              <a:gd name="connsiteX4" fmla="*/ 3329446 w 3329446"/>
              <a:gd name="connsiteY4" fmla="*/ 2289287 h 3963752"/>
              <a:gd name="connsiteX5" fmla="*/ 3329446 w 3329446"/>
              <a:gd name="connsiteY5" fmla="*/ 2558380 h 3963752"/>
              <a:gd name="connsiteX6" fmla="*/ 3327463 w 3329446"/>
              <a:gd name="connsiteY6" fmla="*/ 2558380 h 3963752"/>
              <a:gd name="connsiteX7" fmla="*/ 3327463 w 3329446"/>
              <a:gd name="connsiteY7" fmla="*/ 2558800 h 3963752"/>
              <a:gd name="connsiteX8" fmla="*/ 3327463 w 3329446"/>
              <a:gd name="connsiteY8" fmla="*/ 2576829 h 3963752"/>
              <a:gd name="connsiteX9" fmla="*/ 3327463 w 3329446"/>
              <a:gd name="connsiteY9" fmla="*/ 2632836 h 3963752"/>
              <a:gd name="connsiteX10" fmla="*/ 3323321 w 3329446"/>
              <a:gd name="connsiteY10" fmla="*/ 2632836 h 3963752"/>
              <a:gd name="connsiteX11" fmla="*/ 3319923 w 3329446"/>
              <a:gd name="connsiteY11" fmla="*/ 2693585 h 3963752"/>
              <a:gd name="connsiteX12" fmla="*/ 3319059 w 3329446"/>
              <a:gd name="connsiteY12" fmla="*/ 2698808 h 3963752"/>
              <a:gd name="connsiteX13" fmla="*/ 3318887 w 3329446"/>
              <a:gd name="connsiteY13" fmla="*/ 2701693 h 3963752"/>
              <a:gd name="connsiteX14" fmla="*/ 3314050 w 3329446"/>
              <a:gd name="connsiteY14" fmla="*/ 2729091 h 3963752"/>
              <a:gd name="connsiteX15" fmla="*/ 3299562 w 3329446"/>
              <a:gd name="connsiteY15" fmla="*/ 2816679 h 3963752"/>
              <a:gd name="connsiteX16" fmla="*/ 3296809 w 3329446"/>
              <a:gd name="connsiteY16" fmla="*/ 2826752 h 3963752"/>
              <a:gd name="connsiteX17" fmla="*/ 3295762 w 3329446"/>
              <a:gd name="connsiteY17" fmla="*/ 2832686 h 3963752"/>
              <a:gd name="connsiteX18" fmla="*/ 3286816 w 3329446"/>
              <a:gd name="connsiteY18" fmla="*/ 2863315 h 3963752"/>
              <a:gd name="connsiteX19" fmla="*/ 3266917 w 3329446"/>
              <a:gd name="connsiteY19" fmla="*/ 2936122 h 3963752"/>
              <a:gd name="connsiteX20" fmla="*/ 3261251 w 3329446"/>
              <a:gd name="connsiteY20" fmla="*/ 2950852 h 3963752"/>
              <a:gd name="connsiteX21" fmla="*/ 3258740 w 3329446"/>
              <a:gd name="connsiteY21" fmla="*/ 2959448 h 3963752"/>
              <a:gd name="connsiteX22" fmla="*/ 3246671 w 3329446"/>
              <a:gd name="connsiteY22" fmla="*/ 2988749 h 3963752"/>
              <a:gd name="connsiteX23" fmla="*/ 3222555 w 3329446"/>
              <a:gd name="connsiteY23" fmla="*/ 3051436 h 3963752"/>
              <a:gd name="connsiteX24" fmla="*/ 3213015 w 3329446"/>
              <a:gd name="connsiteY24" fmla="*/ 3070459 h 3963752"/>
              <a:gd name="connsiteX25" fmla="*/ 3208511 w 3329446"/>
              <a:gd name="connsiteY25" fmla="*/ 3081395 h 3963752"/>
              <a:gd name="connsiteX26" fmla="*/ 3194225 w 3329446"/>
              <a:gd name="connsiteY26" fmla="*/ 3107928 h 3963752"/>
              <a:gd name="connsiteX27" fmla="*/ 3167040 w 3329446"/>
              <a:gd name="connsiteY27" fmla="*/ 3162139 h 3963752"/>
              <a:gd name="connsiteX28" fmla="*/ 3152717 w 3329446"/>
              <a:gd name="connsiteY28" fmla="*/ 3185024 h 3963752"/>
              <a:gd name="connsiteX29" fmla="*/ 3145760 w 3329446"/>
              <a:gd name="connsiteY29" fmla="*/ 3197948 h 3963752"/>
              <a:gd name="connsiteX30" fmla="*/ 3130089 w 3329446"/>
              <a:gd name="connsiteY30" fmla="*/ 3221179 h 3963752"/>
              <a:gd name="connsiteX31" fmla="*/ 3100942 w 3329446"/>
              <a:gd name="connsiteY31" fmla="*/ 3267753 h 3963752"/>
              <a:gd name="connsiteX32" fmla="*/ 3080967 w 3329446"/>
              <a:gd name="connsiteY32" fmla="*/ 3294007 h 3963752"/>
              <a:gd name="connsiteX33" fmla="*/ 3071177 w 3329446"/>
              <a:gd name="connsiteY33" fmla="*/ 3308521 h 3963752"/>
              <a:gd name="connsiteX34" fmla="*/ 3054883 w 3329446"/>
              <a:gd name="connsiteY34" fmla="*/ 3328291 h 3963752"/>
              <a:gd name="connsiteX35" fmla="*/ 3024825 w 3329446"/>
              <a:gd name="connsiteY35" fmla="*/ 3367799 h 3963752"/>
              <a:gd name="connsiteX36" fmla="*/ 2998364 w 3329446"/>
              <a:gd name="connsiteY36" fmla="*/ 3396866 h 3963752"/>
              <a:gd name="connsiteX37" fmla="*/ 2985450 w 3329446"/>
              <a:gd name="connsiteY37" fmla="*/ 3412536 h 3963752"/>
              <a:gd name="connsiteX38" fmla="*/ 2969221 w 3329446"/>
              <a:gd name="connsiteY38" fmla="*/ 3428879 h 3963752"/>
              <a:gd name="connsiteX39" fmla="*/ 2939255 w 3329446"/>
              <a:gd name="connsiteY39" fmla="*/ 3461797 h 3963752"/>
              <a:gd name="connsiteX40" fmla="*/ 2905490 w 3329446"/>
              <a:gd name="connsiteY40" fmla="*/ 3493065 h 3963752"/>
              <a:gd name="connsiteX41" fmla="*/ 2889265 w 3329446"/>
              <a:gd name="connsiteY41" fmla="*/ 3509406 h 3963752"/>
              <a:gd name="connsiteX42" fmla="*/ 2873730 w 3329446"/>
              <a:gd name="connsiteY42" fmla="*/ 3522476 h 3963752"/>
              <a:gd name="connsiteX43" fmla="*/ 2844801 w 3329446"/>
              <a:gd name="connsiteY43" fmla="*/ 3549267 h 3963752"/>
              <a:gd name="connsiteX44" fmla="*/ 2802889 w 3329446"/>
              <a:gd name="connsiteY44" fmla="*/ 3582080 h 3963752"/>
              <a:gd name="connsiteX45" fmla="*/ 2783312 w 3329446"/>
              <a:gd name="connsiteY45" fmla="*/ 3598552 h 3963752"/>
              <a:gd name="connsiteX46" fmla="*/ 2769039 w 3329446"/>
              <a:gd name="connsiteY46" fmla="*/ 3608581 h 3963752"/>
              <a:gd name="connsiteX47" fmla="*/ 2742027 w 3329446"/>
              <a:gd name="connsiteY47" fmla="*/ 3629729 h 3963752"/>
              <a:gd name="connsiteX48" fmla="*/ 2691032 w 3329446"/>
              <a:gd name="connsiteY48" fmla="*/ 3663400 h 3963752"/>
              <a:gd name="connsiteX49" fmla="*/ 2668278 w 3329446"/>
              <a:gd name="connsiteY49" fmla="*/ 3679391 h 3963752"/>
              <a:gd name="connsiteX50" fmla="*/ 2655781 w 3329446"/>
              <a:gd name="connsiteY50" fmla="*/ 3686674 h 3963752"/>
              <a:gd name="connsiteX51" fmla="*/ 2631501 w 3329446"/>
              <a:gd name="connsiteY51" fmla="*/ 3702706 h 3963752"/>
              <a:gd name="connsiteX52" fmla="*/ 2570223 w 3329446"/>
              <a:gd name="connsiteY52" fmla="*/ 3736549 h 3963752"/>
              <a:gd name="connsiteX53" fmla="*/ 2544851 w 3329446"/>
              <a:gd name="connsiteY53" fmla="*/ 3751340 h 3963752"/>
              <a:gd name="connsiteX54" fmla="*/ 2534598 w 3329446"/>
              <a:gd name="connsiteY54" fmla="*/ 3756224 h 3963752"/>
              <a:gd name="connsiteX55" fmla="*/ 2513789 w 3329446"/>
              <a:gd name="connsiteY55" fmla="*/ 3767716 h 3963752"/>
              <a:gd name="connsiteX56" fmla="*/ 2440364 w 3329446"/>
              <a:gd name="connsiteY56" fmla="*/ 3801122 h 3963752"/>
              <a:gd name="connsiteX57" fmla="*/ 2413718 w 3329446"/>
              <a:gd name="connsiteY57" fmla="*/ 3813817 h 3963752"/>
              <a:gd name="connsiteX58" fmla="*/ 2406131 w 3329446"/>
              <a:gd name="connsiteY58" fmla="*/ 3816697 h 3963752"/>
              <a:gd name="connsiteX59" fmla="*/ 2389458 w 3329446"/>
              <a:gd name="connsiteY59" fmla="*/ 3824282 h 3963752"/>
              <a:gd name="connsiteX60" fmla="*/ 2300125 w 3329446"/>
              <a:gd name="connsiteY60" fmla="*/ 3856922 h 3963752"/>
              <a:gd name="connsiteX61" fmla="*/ 2275568 w 3329446"/>
              <a:gd name="connsiteY61" fmla="*/ 3866241 h 3963752"/>
              <a:gd name="connsiteX62" fmla="*/ 2271026 w 3329446"/>
              <a:gd name="connsiteY62" fmla="*/ 3867555 h 3963752"/>
              <a:gd name="connsiteX63" fmla="*/ 2259074 w 3329446"/>
              <a:gd name="connsiteY63" fmla="*/ 3871922 h 3963752"/>
              <a:gd name="connsiteX64" fmla="*/ 2142630 w 3329446"/>
              <a:gd name="connsiteY64" fmla="*/ 3904690 h 3963752"/>
              <a:gd name="connsiteX65" fmla="*/ 2131089 w 3329446"/>
              <a:gd name="connsiteY65" fmla="*/ 3908028 h 3963752"/>
              <a:gd name="connsiteX66" fmla="*/ 2129930 w 3329446"/>
              <a:gd name="connsiteY66" fmla="*/ 3908264 h 3963752"/>
              <a:gd name="connsiteX67" fmla="*/ 2123202 w 3329446"/>
              <a:gd name="connsiteY67" fmla="*/ 3910157 h 3963752"/>
              <a:gd name="connsiteX68" fmla="*/ 1837266 w 3329446"/>
              <a:gd name="connsiteY68" fmla="*/ 3956499 h 3963752"/>
              <a:gd name="connsiteX69" fmla="*/ 1830771 w 3329446"/>
              <a:gd name="connsiteY69" fmla="*/ 3956775 h 3963752"/>
              <a:gd name="connsiteX70" fmla="*/ 1825895 w 3329446"/>
              <a:gd name="connsiteY70" fmla="*/ 3957365 h 3963752"/>
              <a:gd name="connsiteX71" fmla="*/ 1745532 w 3329446"/>
              <a:gd name="connsiteY71" fmla="*/ 3960587 h 3963752"/>
              <a:gd name="connsiteX72" fmla="*/ 1745532 w 3329446"/>
              <a:gd name="connsiteY72" fmla="*/ 3963751 h 3963752"/>
              <a:gd name="connsiteX73" fmla="*/ 1667566 w 3329446"/>
              <a:gd name="connsiteY73" fmla="*/ 3963751 h 3963752"/>
              <a:gd name="connsiteX74" fmla="*/ 1667550 w 3329446"/>
              <a:gd name="connsiteY74" fmla="*/ 3963752 h 3963752"/>
              <a:gd name="connsiteX75" fmla="*/ 1667534 w 3329446"/>
              <a:gd name="connsiteY75" fmla="*/ 3963751 h 3963752"/>
              <a:gd name="connsiteX76" fmla="*/ 1666556 w 3329446"/>
              <a:gd name="connsiteY76" fmla="*/ 3963751 h 3963752"/>
              <a:gd name="connsiteX77" fmla="*/ 7638 w 3329446"/>
              <a:gd name="connsiteY77" fmla="*/ 3963751 h 3963752"/>
              <a:gd name="connsiteX78" fmla="*/ 7638 w 3329446"/>
              <a:gd name="connsiteY78" fmla="*/ 2632836 h 3963752"/>
              <a:gd name="connsiteX79" fmla="*/ 5674 w 3329446"/>
              <a:gd name="connsiteY79" fmla="*/ 2632836 h 3963752"/>
              <a:gd name="connsiteX80" fmla="*/ 5674 w 3329446"/>
              <a:gd name="connsiteY80" fmla="*/ 2558380 h 3963752"/>
              <a:gd name="connsiteX81" fmla="*/ 5674 w 3329446"/>
              <a:gd name="connsiteY81" fmla="*/ 2289287 h 3963752"/>
              <a:gd name="connsiteX82" fmla="*/ 5674 w 3329446"/>
              <a:gd name="connsiteY82" fmla="*/ 1861477 h 3963752"/>
              <a:gd name="connsiteX83" fmla="*/ 0 w 3329446"/>
              <a:gd name="connsiteY83" fmla="*/ 1861477 h 3963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3329446" h="3963752">
                <a:moveTo>
                  <a:pt x="0" y="0"/>
                </a:moveTo>
                <a:lnTo>
                  <a:pt x="3323772" y="0"/>
                </a:lnTo>
                <a:lnTo>
                  <a:pt x="3323772" y="1835849"/>
                </a:lnTo>
                <a:lnTo>
                  <a:pt x="3329446" y="1835849"/>
                </a:lnTo>
                <a:lnTo>
                  <a:pt x="3329446" y="2289287"/>
                </a:lnTo>
                <a:lnTo>
                  <a:pt x="3329446" y="2558380"/>
                </a:lnTo>
                <a:lnTo>
                  <a:pt x="3327463" y="2558380"/>
                </a:lnTo>
                <a:lnTo>
                  <a:pt x="3327463" y="2558800"/>
                </a:lnTo>
                <a:lnTo>
                  <a:pt x="3327463" y="2576829"/>
                </a:lnTo>
                <a:lnTo>
                  <a:pt x="3327463" y="2632836"/>
                </a:lnTo>
                <a:lnTo>
                  <a:pt x="3323321" y="2632836"/>
                </a:lnTo>
                <a:lnTo>
                  <a:pt x="3319923" y="2693585"/>
                </a:lnTo>
                <a:lnTo>
                  <a:pt x="3319059" y="2698808"/>
                </a:lnTo>
                <a:lnTo>
                  <a:pt x="3318887" y="2701693"/>
                </a:lnTo>
                <a:lnTo>
                  <a:pt x="3314050" y="2729091"/>
                </a:lnTo>
                <a:lnTo>
                  <a:pt x="3299562" y="2816679"/>
                </a:lnTo>
                <a:lnTo>
                  <a:pt x="3296809" y="2826752"/>
                </a:lnTo>
                <a:lnTo>
                  <a:pt x="3295762" y="2832686"/>
                </a:lnTo>
                <a:lnTo>
                  <a:pt x="3286816" y="2863315"/>
                </a:lnTo>
                <a:lnTo>
                  <a:pt x="3266917" y="2936122"/>
                </a:lnTo>
                <a:lnTo>
                  <a:pt x="3261251" y="2950852"/>
                </a:lnTo>
                <a:lnTo>
                  <a:pt x="3258740" y="2959448"/>
                </a:lnTo>
                <a:lnTo>
                  <a:pt x="3246671" y="2988749"/>
                </a:lnTo>
                <a:lnTo>
                  <a:pt x="3222555" y="3051436"/>
                </a:lnTo>
                <a:lnTo>
                  <a:pt x="3213015" y="3070459"/>
                </a:lnTo>
                <a:lnTo>
                  <a:pt x="3208511" y="3081395"/>
                </a:lnTo>
                <a:lnTo>
                  <a:pt x="3194225" y="3107928"/>
                </a:lnTo>
                <a:lnTo>
                  <a:pt x="3167040" y="3162139"/>
                </a:lnTo>
                <a:lnTo>
                  <a:pt x="3152717" y="3185024"/>
                </a:lnTo>
                <a:lnTo>
                  <a:pt x="3145760" y="3197948"/>
                </a:lnTo>
                <a:lnTo>
                  <a:pt x="3130089" y="3221179"/>
                </a:lnTo>
                <a:lnTo>
                  <a:pt x="3100942" y="3267753"/>
                </a:lnTo>
                <a:lnTo>
                  <a:pt x="3080967" y="3294007"/>
                </a:lnTo>
                <a:lnTo>
                  <a:pt x="3071177" y="3308521"/>
                </a:lnTo>
                <a:lnTo>
                  <a:pt x="3054883" y="3328291"/>
                </a:lnTo>
                <a:lnTo>
                  <a:pt x="3024825" y="3367799"/>
                </a:lnTo>
                <a:lnTo>
                  <a:pt x="2998364" y="3396866"/>
                </a:lnTo>
                <a:lnTo>
                  <a:pt x="2985450" y="3412536"/>
                </a:lnTo>
                <a:lnTo>
                  <a:pt x="2969221" y="3428879"/>
                </a:lnTo>
                <a:lnTo>
                  <a:pt x="2939255" y="3461797"/>
                </a:lnTo>
                <a:lnTo>
                  <a:pt x="2905490" y="3493065"/>
                </a:lnTo>
                <a:lnTo>
                  <a:pt x="2889265" y="3509406"/>
                </a:lnTo>
                <a:lnTo>
                  <a:pt x="2873730" y="3522476"/>
                </a:lnTo>
                <a:lnTo>
                  <a:pt x="2844801" y="3549267"/>
                </a:lnTo>
                <a:lnTo>
                  <a:pt x="2802889" y="3582080"/>
                </a:lnTo>
                <a:lnTo>
                  <a:pt x="2783312" y="3598552"/>
                </a:lnTo>
                <a:lnTo>
                  <a:pt x="2769039" y="3608581"/>
                </a:lnTo>
                <a:lnTo>
                  <a:pt x="2742027" y="3629729"/>
                </a:lnTo>
                <a:lnTo>
                  <a:pt x="2691032" y="3663400"/>
                </a:lnTo>
                <a:lnTo>
                  <a:pt x="2668278" y="3679391"/>
                </a:lnTo>
                <a:lnTo>
                  <a:pt x="2655781" y="3686674"/>
                </a:lnTo>
                <a:lnTo>
                  <a:pt x="2631501" y="3702706"/>
                </a:lnTo>
                <a:lnTo>
                  <a:pt x="2570223" y="3736549"/>
                </a:lnTo>
                <a:lnTo>
                  <a:pt x="2544851" y="3751340"/>
                </a:lnTo>
                <a:lnTo>
                  <a:pt x="2534598" y="3756224"/>
                </a:lnTo>
                <a:lnTo>
                  <a:pt x="2513789" y="3767716"/>
                </a:lnTo>
                <a:lnTo>
                  <a:pt x="2440364" y="3801122"/>
                </a:lnTo>
                <a:lnTo>
                  <a:pt x="2413718" y="3813817"/>
                </a:lnTo>
                <a:lnTo>
                  <a:pt x="2406131" y="3816697"/>
                </a:lnTo>
                <a:lnTo>
                  <a:pt x="2389458" y="3824282"/>
                </a:lnTo>
                <a:lnTo>
                  <a:pt x="2300125" y="3856922"/>
                </a:lnTo>
                <a:lnTo>
                  <a:pt x="2275568" y="3866241"/>
                </a:lnTo>
                <a:lnTo>
                  <a:pt x="2271026" y="3867555"/>
                </a:lnTo>
                <a:lnTo>
                  <a:pt x="2259074" y="3871922"/>
                </a:lnTo>
                <a:lnTo>
                  <a:pt x="2142630" y="3904690"/>
                </a:lnTo>
                <a:lnTo>
                  <a:pt x="2131089" y="3908028"/>
                </a:lnTo>
                <a:lnTo>
                  <a:pt x="2129930" y="3908264"/>
                </a:lnTo>
                <a:lnTo>
                  <a:pt x="2123202" y="3910157"/>
                </a:lnTo>
                <a:cubicBezTo>
                  <a:pt x="2030918" y="3932407"/>
                  <a:pt x="1935355" y="3948066"/>
                  <a:pt x="1837266" y="3956499"/>
                </a:cubicBezTo>
                <a:lnTo>
                  <a:pt x="1830771" y="3956775"/>
                </a:lnTo>
                <a:lnTo>
                  <a:pt x="1825895" y="3957365"/>
                </a:lnTo>
                <a:lnTo>
                  <a:pt x="1745532" y="3960587"/>
                </a:lnTo>
                <a:lnTo>
                  <a:pt x="1745532" y="3963751"/>
                </a:lnTo>
                <a:lnTo>
                  <a:pt x="1667566" y="3963751"/>
                </a:lnTo>
                <a:lnTo>
                  <a:pt x="1667550" y="3963752"/>
                </a:lnTo>
                <a:lnTo>
                  <a:pt x="1667534" y="3963751"/>
                </a:lnTo>
                <a:lnTo>
                  <a:pt x="1666556" y="3963751"/>
                </a:lnTo>
                <a:lnTo>
                  <a:pt x="7638" y="3963751"/>
                </a:lnTo>
                <a:lnTo>
                  <a:pt x="7638" y="2632836"/>
                </a:lnTo>
                <a:lnTo>
                  <a:pt x="5674" y="2632836"/>
                </a:lnTo>
                <a:lnTo>
                  <a:pt x="5674" y="2558380"/>
                </a:lnTo>
                <a:lnTo>
                  <a:pt x="5674" y="2289287"/>
                </a:lnTo>
                <a:lnTo>
                  <a:pt x="5674" y="1861477"/>
                </a:lnTo>
                <a:lnTo>
                  <a:pt x="0" y="186147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73534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428CA49-FBDD-41D9-BB48-8148C5F0D6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10485" y="1250622"/>
            <a:ext cx="3418030" cy="4878949"/>
          </a:xfrm>
          <a:custGeom>
            <a:avLst/>
            <a:gdLst>
              <a:gd name="connsiteX0" fmla="*/ 1191331 w 3418030"/>
              <a:gd name="connsiteY0" fmla="*/ 0 h 4878949"/>
              <a:gd name="connsiteX1" fmla="*/ 1294432 w 3418030"/>
              <a:gd name="connsiteY1" fmla="*/ 0 h 4878949"/>
              <a:gd name="connsiteX2" fmla="*/ 1457098 w 3418030"/>
              <a:gd name="connsiteY2" fmla="*/ 0 h 4878949"/>
              <a:gd name="connsiteX3" fmla="*/ 1564784 w 3418030"/>
              <a:gd name="connsiteY3" fmla="*/ 0 h 4878949"/>
              <a:gd name="connsiteX4" fmla="*/ 2013538 w 3418030"/>
              <a:gd name="connsiteY4" fmla="*/ 0 h 4878949"/>
              <a:gd name="connsiteX5" fmla="*/ 2038520 w 3418030"/>
              <a:gd name="connsiteY5" fmla="*/ 0 h 4878949"/>
              <a:gd name="connsiteX6" fmla="*/ 2130825 w 3418030"/>
              <a:gd name="connsiteY6" fmla="*/ 0 h 4878949"/>
              <a:gd name="connsiteX7" fmla="*/ 2156238 w 3418030"/>
              <a:gd name="connsiteY7" fmla="*/ 0 h 4878949"/>
              <a:gd name="connsiteX8" fmla="*/ 2221889 w 3418030"/>
              <a:gd name="connsiteY8" fmla="*/ 0 h 4878949"/>
              <a:gd name="connsiteX9" fmla="*/ 2277890 w 3418030"/>
              <a:gd name="connsiteY9" fmla="*/ 0 h 4878949"/>
              <a:gd name="connsiteX10" fmla="*/ 2342770 w 3418030"/>
              <a:gd name="connsiteY10" fmla="*/ 0 h 4878949"/>
              <a:gd name="connsiteX11" fmla="*/ 2399737 w 3418030"/>
              <a:gd name="connsiteY11" fmla="*/ 0 h 4878949"/>
              <a:gd name="connsiteX12" fmla="*/ 2399737 w 3418030"/>
              <a:gd name="connsiteY12" fmla="*/ 1224 h 4878949"/>
              <a:gd name="connsiteX13" fmla="*/ 3278911 w 3418030"/>
              <a:gd name="connsiteY13" fmla="*/ 1224 h 4878949"/>
              <a:gd name="connsiteX14" fmla="*/ 3418030 w 3418030"/>
              <a:gd name="connsiteY14" fmla="*/ 1224 h 4878949"/>
              <a:gd name="connsiteX15" fmla="*/ 3418030 w 3418030"/>
              <a:gd name="connsiteY15" fmla="*/ 70784 h 4878949"/>
              <a:gd name="connsiteX16" fmla="*/ 3418030 w 3418030"/>
              <a:gd name="connsiteY16" fmla="*/ 685938 h 4878949"/>
              <a:gd name="connsiteX17" fmla="*/ 3418030 w 3418030"/>
              <a:gd name="connsiteY17" fmla="*/ 732837 h 4878949"/>
              <a:gd name="connsiteX18" fmla="*/ 3418030 w 3418030"/>
              <a:gd name="connsiteY18" fmla="*/ 755498 h 4878949"/>
              <a:gd name="connsiteX19" fmla="*/ 3418030 w 3418030"/>
              <a:gd name="connsiteY19" fmla="*/ 802397 h 4878949"/>
              <a:gd name="connsiteX20" fmla="*/ 3418030 w 3418030"/>
              <a:gd name="connsiteY20" fmla="*/ 1036312 h 4878949"/>
              <a:gd name="connsiteX21" fmla="*/ 3418030 w 3418030"/>
              <a:gd name="connsiteY21" fmla="*/ 1036923 h 4878949"/>
              <a:gd name="connsiteX22" fmla="*/ 3418030 w 3418030"/>
              <a:gd name="connsiteY22" fmla="*/ 1036933 h 4878949"/>
              <a:gd name="connsiteX23" fmla="*/ 3418030 w 3418030"/>
              <a:gd name="connsiteY23" fmla="*/ 1036943 h 4878949"/>
              <a:gd name="connsiteX24" fmla="*/ 3418030 w 3418030"/>
              <a:gd name="connsiteY24" fmla="*/ 1085589 h 4878949"/>
              <a:gd name="connsiteX25" fmla="*/ 3418030 w 3418030"/>
              <a:gd name="connsiteY25" fmla="*/ 1105871 h 4878949"/>
              <a:gd name="connsiteX26" fmla="*/ 3418030 w 3418030"/>
              <a:gd name="connsiteY26" fmla="*/ 1106482 h 4878949"/>
              <a:gd name="connsiteX27" fmla="*/ 3418030 w 3418030"/>
              <a:gd name="connsiteY27" fmla="*/ 1106491 h 4878949"/>
              <a:gd name="connsiteX28" fmla="*/ 3418030 w 3418030"/>
              <a:gd name="connsiteY28" fmla="*/ 1106501 h 4878949"/>
              <a:gd name="connsiteX29" fmla="*/ 3418030 w 3418030"/>
              <a:gd name="connsiteY29" fmla="*/ 1155149 h 4878949"/>
              <a:gd name="connsiteX30" fmla="*/ 3418030 w 3418030"/>
              <a:gd name="connsiteY30" fmla="*/ 1417551 h 4878949"/>
              <a:gd name="connsiteX31" fmla="*/ 3418030 w 3418030"/>
              <a:gd name="connsiteY31" fmla="*/ 1487111 h 4878949"/>
              <a:gd name="connsiteX32" fmla="*/ 3418030 w 3418030"/>
              <a:gd name="connsiteY32" fmla="*/ 1721026 h 4878949"/>
              <a:gd name="connsiteX33" fmla="*/ 3418030 w 3418030"/>
              <a:gd name="connsiteY33" fmla="*/ 1721637 h 4878949"/>
              <a:gd name="connsiteX34" fmla="*/ 3418030 w 3418030"/>
              <a:gd name="connsiteY34" fmla="*/ 1721646 h 4878949"/>
              <a:gd name="connsiteX35" fmla="*/ 3418030 w 3418030"/>
              <a:gd name="connsiteY35" fmla="*/ 1721657 h 4878949"/>
              <a:gd name="connsiteX36" fmla="*/ 3418030 w 3418030"/>
              <a:gd name="connsiteY36" fmla="*/ 1767925 h 4878949"/>
              <a:gd name="connsiteX37" fmla="*/ 3418030 w 3418030"/>
              <a:gd name="connsiteY37" fmla="*/ 1768536 h 4878949"/>
              <a:gd name="connsiteX38" fmla="*/ 3418030 w 3418030"/>
              <a:gd name="connsiteY38" fmla="*/ 1768546 h 4878949"/>
              <a:gd name="connsiteX39" fmla="*/ 3418030 w 3418030"/>
              <a:gd name="connsiteY39" fmla="*/ 1768556 h 4878949"/>
              <a:gd name="connsiteX40" fmla="*/ 3418030 w 3418030"/>
              <a:gd name="connsiteY40" fmla="*/ 1770303 h 4878949"/>
              <a:gd name="connsiteX41" fmla="*/ 3418030 w 3418030"/>
              <a:gd name="connsiteY41" fmla="*/ 1790585 h 4878949"/>
              <a:gd name="connsiteX42" fmla="*/ 3418030 w 3418030"/>
              <a:gd name="connsiteY42" fmla="*/ 1791196 h 4878949"/>
              <a:gd name="connsiteX43" fmla="*/ 3418030 w 3418030"/>
              <a:gd name="connsiteY43" fmla="*/ 1791205 h 4878949"/>
              <a:gd name="connsiteX44" fmla="*/ 3418030 w 3418030"/>
              <a:gd name="connsiteY44" fmla="*/ 1791215 h 4878949"/>
              <a:gd name="connsiteX45" fmla="*/ 3418030 w 3418030"/>
              <a:gd name="connsiteY45" fmla="*/ 1817203 h 4878949"/>
              <a:gd name="connsiteX46" fmla="*/ 3418030 w 3418030"/>
              <a:gd name="connsiteY46" fmla="*/ 1837484 h 4878949"/>
              <a:gd name="connsiteX47" fmla="*/ 3418030 w 3418030"/>
              <a:gd name="connsiteY47" fmla="*/ 1838095 h 4878949"/>
              <a:gd name="connsiteX48" fmla="*/ 3418030 w 3418030"/>
              <a:gd name="connsiteY48" fmla="*/ 1838105 h 4878949"/>
              <a:gd name="connsiteX49" fmla="*/ 3418030 w 3418030"/>
              <a:gd name="connsiteY49" fmla="*/ 1838115 h 4878949"/>
              <a:gd name="connsiteX50" fmla="*/ 3418030 w 3418030"/>
              <a:gd name="connsiteY50" fmla="*/ 1839863 h 4878949"/>
              <a:gd name="connsiteX51" fmla="*/ 3418030 w 3418030"/>
              <a:gd name="connsiteY51" fmla="*/ 1886762 h 4878949"/>
              <a:gd name="connsiteX52" fmla="*/ 3418030 w 3418030"/>
              <a:gd name="connsiteY52" fmla="*/ 2452639 h 4878949"/>
              <a:gd name="connsiteX53" fmla="*/ 3418030 w 3418030"/>
              <a:gd name="connsiteY53" fmla="*/ 2453250 h 4878949"/>
              <a:gd name="connsiteX54" fmla="*/ 3418030 w 3418030"/>
              <a:gd name="connsiteY54" fmla="*/ 2453260 h 4878949"/>
              <a:gd name="connsiteX55" fmla="*/ 3418030 w 3418030"/>
              <a:gd name="connsiteY55" fmla="*/ 2453270 h 4878949"/>
              <a:gd name="connsiteX56" fmla="*/ 3418030 w 3418030"/>
              <a:gd name="connsiteY56" fmla="*/ 2501917 h 4878949"/>
              <a:gd name="connsiteX57" fmla="*/ 3418030 w 3418030"/>
              <a:gd name="connsiteY57" fmla="*/ 2522198 h 4878949"/>
              <a:gd name="connsiteX58" fmla="*/ 3418030 w 3418030"/>
              <a:gd name="connsiteY58" fmla="*/ 2522809 h 4878949"/>
              <a:gd name="connsiteX59" fmla="*/ 3418030 w 3418030"/>
              <a:gd name="connsiteY59" fmla="*/ 2522819 h 4878949"/>
              <a:gd name="connsiteX60" fmla="*/ 3418030 w 3418030"/>
              <a:gd name="connsiteY60" fmla="*/ 2522830 h 4878949"/>
              <a:gd name="connsiteX61" fmla="*/ 3418030 w 3418030"/>
              <a:gd name="connsiteY61" fmla="*/ 2571476 h 4878949"/>
              <a:gd name="connsiteX62" fmla="*/ 3415609 w 3418030"/>
              <a:gd name="connsiteY62" fmla="*/ 2571476 h 4878949"/>
              <a:gd name="connsiteX63" fmla="*/ 3413143 w 3418030"/>
              <a:gd name="connsiteY63" fmla="*/ 2621619 h 4878949"/>
              <a:gd name="connsiteX64" fmla="*/ 3412693 w 3418030"/>
              <a:gd name="connsiteY64" fmla="*/ 2624661 h 4878949"/>
              <a:gd name="connsiteX65" fmla="*/ 3412480 w 3418030"/>
              <a:gd name="connsiteY65" fmla="*/ 2628713 h 4878949"/>
              <a:gd name="connsiteX66" fmla="*/ 3377025 w 3418030"/>
              <a:gd name="connsiteY66" fmla="*/ 2807125 h 4878949"/>
              <a:gd name="connsiteX67" fmla="*/ 3375576 w 3418030"/>
              <a:gd name="connsiteY67" fmla="*/ 2811322 h 4878949"/>
              <a:gd name="connsiteX68" fmla="*/ 3375395 w 3418030"/>
              <a:gd name="connsiteY68" fmla="*/ 2812045 h 4878949"/>
              <a:gd name="connsiteX69" fmla="*/ 3372842 w 3418030"/>
              <a:gd name="connsiteY69" fmla="*/ 2819247 h 4878949"/>
              <a:gd name="connsiteX70" fmla="*/ 3347771 w 3418030"/>
              <a:gd name="connsiteY70" fmla="*/ 2891903 h 4878949"/>
              <a:gd name="connsiteX71" fmla="*/ 3344429 w 3418030"/>
              <a:gd name="connsiteY71" fmla="*/ 2899360 h 4878949"/>
              <a:gd name="connsiteX72" fmla="*/ 3343424 w 3418030"/>
              <a:gd name="connsiteY72" fmla="*/ 2902194 h 4878949"/>
              <a:gd name="connsiteX73" fmla="*/ 3336294 w 3418030"/>
              <a:gd name="connsiteY73" fmla="*/ 2917516 h 4878949"/>
              <a:gd name="connsiteX74" fmla="*/ 3311321 w 3418030"/>
              <a:gd name="connsiteY74" fmla="*/ 2973257 h 4878949"/>
              <a:gd name="connsiteX75" fmla="*/ 3305517 w 3418030"/>
              <a:gd name="connsiteY75" fmla="*/ 2983659 h 4878949"/>
              <a:gd name="connsiteX76" fmla="*/ 3303314 w 3418030"/>
              <a:gd name="connsiteY76" fmla="*/ 2988394 h 4878949"/>
              <a:gd name="connsiteX77" fmla="*/ 3293601 w 3418030"/>
              <a:gd name="connsiteY77" fmla="*/ 3005019 h 4878949"/>
              <a:gd name="connsiteX78" fmla="*/ 3268042 w 3418030"/>
              <a:gd name="connsiteY78" fmla="*/ 3050833 h 4878949"/>
              <a:gd name="connsiteX79" fmla="*/ 3259248 w 3418030"/>
              <a:gd name="connsiteY79" fmla="*/ 3063817 h 4878949"/>
              <a:gd name="connsiteX80" fmla="*/ 3255513 w 3418030"/>
              <a:gd name="connsiteY80" fmla="*/ 3070215 h 4878949"/>
              <a:gd name="connsiteX81" fmla="*/ 3244196 w 3418030"/>
              <a:gd name="connsiteY81" fmla="*/ 3086045 h 4878949"/>
              <a:gd name="connsiteX82" fmla="*/ 3218302 w 3418030"/>
              <a:gd name="connsiteY82" fmla="*/ 3124280 h 4878949"/>
              <a:gd name="connsiteX83" fmla="*/ 3206037 w 3418030"/>
              <a:gd name="connsiteY83" fmla="*/ 3139430 h 4878949"/>
              <a:gd name="connsiteX84" fmla="*/ 3200464 w 3418030"/>
              <a:gd name="connsiteY84" fmla="*/ 3147227 h 4878949"/>
              <a:gd name="connsiteX85" fmla="*/ 3188229 w 3418030"/>
              <a:gd name="connsiteY85" fmla="*/ 3161424 h 4878949"/>
              <a:gd name="connsiteX86" fmla="*/ 3162468 w 3418030"/>
              <a:gd name="connsiteY86" fmla="*/ 3193243 h 4878949"/>
              <a:gd name="connsiteX87" fmla="*/ 3146287 w 3418030"/>
              <a:gd name="connsiteY87" fmla="*/ 3210097 h 4878949"/>
              <a:gd name="connsiteX88" fmla="*/ 3138613 w 3418030"/>
              <a:gd name="connsiteY88" fmla="*/ 3219003 h 4878949"/>
              <a:gd name="connsiteX89" fmla="*/ 3126010 w 3418030"/>
              <a:gd name="connsiteY89" fmla="*/ 3231219 h 4878949"/>
              <a:gd name="connsiteX90" fmla="*/ 3100905 w 3418030"/>
              <a:gd name="connsiteY90" fmla="*/ 3257369 h 4878949"/>
              <a:gd name="connsiteX91" fmla="*/ 3080407 w 3418030"/>
              <a:gd name="connsiteY91" fmla="*/ 3275420 h 4878949"/>
              <a:gd name="connsiteX92" fmla="*/ 3070407 w 3418030"/>
              <a:gd name="connsiteY92" fmla="*/ 3285113 h 4878949"/>
              <a:gd name="connsiteX93" fmla="*/ 3057904 w 3418030"/>
              <a:gd name="connsiteY93" fmla="*/ 3295236 h 4878949"/>
              <a:gd name="connsiteX94" fmla="*/ 3033981 w 3418030"/>
              <a:gd name="connsiteY94" fmla="*/ 3316304 h 4878949"/>
              <a:gd name="connsiteX95" fmla="*/ 3008795 w 3418030"/>
              <a:gd name="connsiteY95" fmla="*/ 3335002 h 4878949"/>
              <a:gd name="connsiteX96" fmla="*/ 2996290 w 3418030"/>
              <a:gd name="connsiteY96" fmla="*/ 3345128 h 4878949"/>
              <a:gd name="connsiteX97" fmla="*/ 2984301 w 3418030"/>
              <a:gd name="connsiteY97" fmla="*/ 3353185 h 4878949"/>
              <a:gd name="connsiteX98" fmla="*/ 2962062 w 3418030"/>
              <a:gd name="connsiteY98" fmla="*/ 3369695 h 4878949"/>
              <a:gd name="connsiteX99" fmla="*/ 2931835 w 3418030"/>
              <a:gd name="connsiteY99" fmla="*/ 3388450 h 4878949"/>
              <a:gd name="connsiteX100" fmla="*/ 2916709 w 3418030"/>
              <a:gd name="connsiteY100" fmla="*/ 3398618 h 4878949"/>
              <a:gd name="connsiteX101" fmla="*/ 2905603 w 3418030"/>
              <a:gd name="connsiteY101" fmla="*/ 3404726 h 4878949"/>
              <a:gd name="connsiteX102" fmla="*/ 2885517 w 3418030"/>
              <a:gd name="connsiteY102" fmla="*/ 3417189 h 4878949"/>
              <a:gd name="connsiteX103" fmla="*/ 2849882 w 3418030"/>
              <a:gd name="connsiteY103" fmla="*/ 3435375 h 4878949"/>
              <a:gd name="connsiteX104" fmla="*/ 2832108 w 3418030"/>
              <a:gd name="connsiteY104" fmla="*/ 3445153 h 4878949"/>
              <a:gd name="connsiteX105" fmla="*/ 2822219 w 3418030"/>
              <a:gd name="connsiteY105" fmla="*/ 3449494 h 4878949"/>
              <a:gd name="connsiteX106" fmla="*/ 2804710 w 3418030"/>
              <a:gd name="connsiteY106" fmla="*/ 3458432 h 4878949"/>
              <a:gd name="connsiteX107" fmla="*/ 2763233 w 3418030"/>
              <a:gd name="connsiteY107" fmla="*/ 3475393 h 4878949"/>
              <a:gd name="connsiteX108" fmla="*/ 2742933 w 3418030"/>
              <a:gd name="connsiteY108" fmla="*/ 3484308 h 4878949"/>
              <a:gd name="connsiteX109" fmla="*/ 2734565 w 3418030"/>
              <a:gd name="connsiteY109" fmla="*/ 3487117 h 4878949"/>
              <a:gd name="connsiteX110" fmla="*/ 2720010 w 3418030"/>
              <a:gd name="connsiteY110" fmla="*/ 3493070 h 4878949"/>
              <a:gd name="connsiteX111" fmla="*/ 2672049 w 3418030"/>
              <a:gd name="connsiteY111" fmla="*/ 3508117 h 4878949"/>
              <a:gd name="connsiteX112" fmla="*/ 2649630 w 3418030"/>
              <a:gd name="connsiteY112" fmla="*/ 3515648 h 4878949"/>
              <a:gd name="connsiteX113" fmla="*/ 2643052 w 3418030"/>
              <a:gd name="connsiteY113" fmla="*/ 3517214 h 4878949"/>
              <a:gd name="connsiteX114" fmla="*/ 2631783 w 3418030"/>
              <a:gd name="connsiteY114" fmla="*/ 3520749 h 4878949"/>
              <a:gd name="connsiteX115" fmla="*/ 2576079 w 3418030"/>
              <a:gd name="connsiteY115" fmla="*/ 3533167 h 4878949"/>
              <a:gd name="connsiteX116" fmla="*/ 2552643 w 3418030"/>
              <a:gd name="connsiteY116" fmla="*/ 3538747 h 4878949"/>
              <a:gd name="connsiteX117" fmla="*/ 2548104 w 3418030"/>
              <a:gd name="connsiteY117" fmla="*/ 3539401 h 4878949"/>
              <a:gd name="connsiteX118" fmla="*/ 2540397 w 3418030"/>
              <a:gd name="connsiteY118" fmla="*/ 3541118 h 4878949"/>
              <a:gd name="connsiteX119" fmla="*/ 2473383 w 3418030"/>
              <a:gd name="connsiteY119" fmla="*/ 3550158 h 4878949"/>
              <a:gd name="connsiteX120" fmla="*/ 2452420 w 3418030"/>
              <a:gd name="connsiteY120" fmla="*/ 3553176 h 4878949"/>
              <a:gd name="connsiteX121" fmla="*/ 2450212 w 3418030"/>
              <a:gd name="connsiteY121" fmla="*/ 3553284 h 4878949"/>
              <a:gd name="connsiteX122" fmla="*/ 2446216 w 3418030"/>
              <a:gd name="connsiteY122" fmla="*/ 3553824 h 4878949"/>
              <a:gd name="connsiteX123" fmla="*/ 2399737 w 3418030"/>
              <a:gd name="connsiteY123" fmla="*/ 3555943 h 4878949"/>
              <a:gd name="connsiteX124" fmla="*/ 2399737 w 3418030"/>
              <a:gd name="connsiteY124" fmla="*/ 3558529 h 4878949"/>
              <a:gd name="connsiteX125" fmla="*/ 2366297 w 3418030"/>
              <a:gd name="connsiteY125" fmla="*/ 3558529 h 4878949"/>
              <a:gd name="connsiteX126" fmla="*/ 2350286 w 3418030"/>
              <a:gd name="connsiteY126" fmla="*/ 3560726 h 4878949"/>
              <a:gd name="connsiteX127" fmla="*/ 2329679 w 3418030"/>
              <a:gd name="connsiteY127" fmla="*/ 3563743 h 4878949"/>
              <a:gd name="connsiteX128" fmla="*/ 2327509 w 3418030"/>
              <a:gd name="connsiteY128" fmla="*/ 3563851 h 4878949"/>
              <a:gd name="connsiteX129" fmla="*/ 2323580 w 3418030"/>
              <a:gd name="connsiteY129" fmla="*/ 3564391 h 4878949"/>
              <a:gd name="connsiteX130" fmla="*/ 2277890 w 3418030"/>
              <a:gd name="connsiteY130" fmla="*/ 3566510 h 4878949"/>
              <a:gd name="connsiteX131" fmla="*/ 2277890 w 3418030"/>
              <a:gd name="connsiteY131" fmla="*/ 3569096 h 4878949"/>
              <a:gd name="connsiteX132" fmla="*/ 2235765 w 3418030"/>
              <a:gd name="connsiteY132" fmla="*/ 3569096 h 4878949"/>
              <a:gd name="connsiteX133" fmla="*/ 2222205 w 3418030"/>
              <a:gd name="connsiteY133" fmla="*/ 3569096 h 4878949"/>
              <a:gd name="connsiteX134" fmla="*/ 2221889 w 3418030"/>
              <a:gd name="connsiteY134" fmla="*/ 3569096 h 4878949"/>
              <a:gd name="connsiteX135" fmla="*/ 2221889 w 3418030"/>
              <a:gd name="connsiteY135" fmla="*/ 3570333 h 4878949"/>
              <a:gd name="connsiteX136" fmla="*/ 2038520 w 3418030"/>
              <a:gd name="connsiteY136" fmla="*/ 3570333 h 4878949"/>
              <a:gd name="connsiteX137" fmla="*/ 2013539 w 3418030"/>
              <a:gd name="connsiteY137" fmla="*/ 3570333 h 4878949"/>
              <a:gd name="connsiteX138" fmla="*/ 1650818 w 3418030"/>
              <a:gd name="connsiteY138" fmla="*/ 3570333 h 4878949"/>
              <a:gd name="connsiteX139" fmla="*/ 1650818 w 3418030"/>
              <a:gd name="connsiteY139" fmla="*/ 3570744 h 4878949"/>
              <a:gd name="connsiteX140" fmla="*/ 1652012 w 3418030"/>
              <a:gd name="connsiteY140" fmla="*/ 3570744 h 4878949"/>
              <a:gd name="connsiteX141" fmla="*/ 1652012 w 3418030"/>
              <a:gd name="connsiteY141" fmla="*/ 3571721 h 4878949"/>
              <a:gd name="connsiteX142" fmla="*/ 1671221 w 3418030"/>
              <a:gd name="connsiteY142" fmla="*/ 3572716 h 4878949"/>
              <a:gd name="connsiteX143" fmla="*/ 1672387 w 3418030"/>
              <a:gd name="connsiteY143" fmla="*/ 3572898 h 4878949"/>
              <a:gd name="connsiteX144" fmla="*/ 1673940 w 3418030"/>
              <a:gd name="connsiteY144" fmla="*/ 3572984 h 4878949"/>
              <a:gd name="connsiteX145" fmla="*/ 1742290 w 3418030"/>
              <a:gd name="connsiteY145" fmla="*/ 3587296 h 4878949"/>
              <a:gd name="connsiteX146" fmla="*/ 1743898 w 3418030"/>
              <a:gd name="connsiteY146" fmla="*/ 3587880 h 4878949"/>
              <a:gd name="connsiteX147" fmla="*/ 1744176 w 3418030"/>
              <a:gd name="connsiteY147" fmla="*/ 3587953 h 4878949"/>
              <a:gd name="connsiteX148" fmla="*/ 1746934 w 3418030"/>
              <a:gd name="connsiteY148" fmla="*/ 3588984 h 4878949"/>
              <a:gd name="connsiteX149" fmla="*/ 1774769 w 3418030"/>
              <a:gd name="connsiteY149" fmla="*/ 3599104 h 4878949"/>
              <a:gd name="connsiteX150" fmla="*/ 1777626 w 3418030"/>
              <a:gd name="connsiteY150" fmla="*/ 3600453 h 4878949"/>
              <a:gd name="connsiteX151" fmla="*/ 1778712 w 3418030"/>
              <a:gd name="connsiteY151" fmla="*/ 3600858 h 4878949"/>
              <a:gd name="connsiteX152" fmla="*/ 1784582 w 3418030"/>
              <a:gd name="connsiteY152" fmla="*/ 3603737 h 4878949"/>
              <a:gd name="connsiteX153" fmla="*/ 1805936 w 3418030"/>
              <a:gd name="connsiteY153" fmla="*/ 3613817 h 4878949"/>
              <a:gd name="connsiteX154" fmla="*/ 1809922 w 3418030"/>
              <a:gd name="connsiteY154" fmla="*/ 3616160 h 4878949"/>
              <a:gd name="connsiteX155" fmla="*/ 1811736 w 3418030"/>
              <a:gd name="connsiteY155" fmla="*/ 3617049 h 4878949"/>
              <a:gd name="connsiteX156" fmla="*/ 1818105 w 3418030"/>
              <a:gd name="connsiteY156" fmla="*/ 3620970 h 4878949"/>
              <a:gd name="connsiteX157" fmla="*/ 1835657 w 3418030"/>
              <a:gd name="connsiteY157" fmla="*/ 3631287 h 4878949"/>
              <a:gd name="connsiteX158" fmla="*/ 1840631 w 3418030"/>
              <a:gd name="connsiteY158" fmla="*/ 3634836 h 4878949"/>
              <a:gd name="connsiteX159" fmla="*/ 1843082 w 3418030"/>
              <a:gd name="connsiteY159" fmla="*/ 3636344 h 4878949"/>
              <a:gd name="connsiteX160" fmla="*/ 1849146 w 3418030"/>
              <a:gd name="connsiteY160" fmla="*/ 3640912 h 4878949"/>
              <a:gd name="connsiteX161" fmla="*/ 1863794 w 3418030"/>
              <a:gd name="connsiteY161" fmla="*/ 3651364 h 4878949"/>
              <a:gd name="connsiteX162" fmla="*/ 1869598 w 3418030"/>
              <a:gd name="connsiteY162" fmla="*/ 3656316 h 4878949"/>
              <a:gd name="connsiteX163" fmla="*/ 1872586 w 3418030"/>
              <a:gd name="connsiteY163" fmla="*/ 3658565 h 4878949"/>
              <a:gd name="connsiteX164" fmla="*/ 1878025 w 3418030"/>
              <a:gd name="connsiteY164" fmla="*/ 3663504 h 4878949"/>
              <a:gd name="connsiteX165" fmla="*/ 1890215 w 3418030"/>
              <a:gd name="connsiteY165" fmla="*/ 3673902 h 4878949"/>
              <a:gd name="connsiteX166" fmla="*/ 1896672 w 3418030"/>
              <a:gd name="connsiteY166" fmla="*/ 3680434 h 4878949"/>
              <a:gd name="connsiteX167" fmla="*/ 1900084 w 3418030"/>
              <a:gd name="connsiteY167" fmla="*/ 3683531 h 4878949"/>
              <a:gd name="connsiteX168" fmla="*/ 1904763 w 3418030"/>
              <a:gd name="connsiteY168" fmla="*/ 3688618 h 4878949"/>
              <a:gd name="connsiteX169" fmla="*/ 1914782 w 3418030"/>
              <a:gd name="connsiteY169" fmla="*/ 3698752 h 4878949"/>
              <a:gd name="connsiteX170" fmla="*/ 1921697 w 3418030"/>
              <a:gd name="connsiteY170" fmla="*/ 3707026 h 4878949"/>
              <a:gd name="connsiteX171" fmla="*/ 1925411 w 3418030"/>
              <a:gd name="connsiteY171" fmla="*/ 3711062 h 4878949"/>
              <a:gd name="connsiteX172" fmla="*/ 1929289 w 3418030"/>
              <a:gd name="connsiteY172" fmla="*/ 3716109 h 4878949"/>
              <a:gd name="connsiteX173" fmla="*/ 1937360 w 3418030"/>
              <a:gd name="connsiteY173" fmla="*/ 3725766 h 4878949"/>
              <a:gd name="connsiteX174" fmla="*/ 1944523 w 3418030"/>
              <a:gd name="connsiteY174" fmla="*/ 3735932 h 4878949"/>
              <a:gd name="connsiteX175" fmla="*/ 1948403 w 3418030"/>
              <a:gd name="connsiteY175" fmla="*/ 3740980 h 4878949"/>
              <a:gd name="connsiteX176" fmla="*/ 1951490 w 3418030"/>
              <a:gd name="connsiteY176" fmla="*/ 3745819 h 4878949"/>
              <a:gd name="connsiteX177" fmla="*/ 1957815 w 3418030"/>
              <a:gd name="connsiteY177" fmla="*/ 3754796 h 4878949"/>
              <a:gd name="connsiteX178" fmla="*/ 1965000 w 3418030"/>
              <a:gd name="connsiteY178" fmla="*/ 3766998 h 4878949"/>
              <a:gd name="connsiteX179" fmla="*/ 1968895 w 3418030"/>
              <a:gd name="connsiteY179" fmla="*/ 3773103 h 4878949"/>
              <a:gd name="connsiteX180" fmla="*/ 1971236 w 3418030"/>
              <a:gd name="connsiteY180" fmla="*/ 3777586 h 4878949"/>
              <a:gd name="connsiteX181" fmla="*/ 1976010 w 3418030"/>
              <a:gd name="connsiteY181" fmla="*/ 3785694 h 4878949"/>
              <a:gd name="connsiteX182" fmla="*/ 1982978 w 3418030"/>
              <a:gd name="connsiteY182" fmla="*/ 3800078 h 4878949"/>
              <a:gd name="connsiteX183" fmla="*/ 1986724 w 3418030"/>
              <a:gd name="connsiteY183" fmla="*/ 3807252 h 4878949"/>
              <a:gd name="connsiteX184" fmla="*/ 1988387 w 3418030"/>
              <a:gd name="connsiteY184" fmla="*/ 3811244 h 4878949"/>
              <a:gd name="connsiteX185" fmla="*/ 1991811 w 3418030"/>
              <a:gd name="connsiteY185" fmla="*/ 3818312 h 4878949"/>
              <a:gd name="connsiteX186" fmla="*/ 1998309 w 3418030"/>
              <a:gd name="connsiteY186" fmla="*/ 3835054 h 4878949"/>
              <a:gd name="connsiteX187" fmla="*/ 2001724 w 3418030"/>
              <a:gd name="connsiteY187" fmla="*/ 3843248 h 4878949"/>
              <a:gd name="connsiteX188" fmla="*/ 2002801 w 3418030"/>
              <a:gd name="connsiteY188" fmla="*/ 3846626 h 4878949"/>
              <a:gd name="connsiteX189" fmla="*/ 2005081 w 3418030"/>
              <a:gd name="connsiteY189" fmla="*/ 3852501 h 4878949"/>
              <a:gd name="connsiteX190" fmla="*/ 2010846 w 3418030"/>
              <a:gd name="connsiteY190" fmla="*/ 3871861 h 4878949"/>
              <a:gd name="connsiteX191" fmla="*/ 2013730 w 3418030"/>
              <a:gd name="connsiteY191" fmla="*/ 3880910 h 4878949"/>
              <a:gd name="connsiteX192" fmla="*/ 2014331 w 3418030"/>
              <a:gd name="connsiteY192" fmla="*/ 3883565 h 4878949"/>
              <a:gd name="connsiteX193" fmla="*/ 2015685 w 3418030"/>
              <a:gd name="connsiteY193" fmla="*/ 3888114 h 4878949"/>
              <a:gd name="connsiteX194" fmla="*/ 2020442 w 3418030"/>
              <a:gd name="connsiteY194" fmla="*/ 3910600 h 4878949"/>
              <a:gd name="connsiteX195" fmla="*/ 2020535 w 3418030"/>
              <a:gd name="connsiteY195" fmla="*/ 3911014 h 4878949"/>
              <a:gd name="connsiteX196" fmla="*/ 2021162 w 3418030"/>
              <a:gd name="connsiteY196" fmla="*/ 3911014 h 4878949"/>
              <a:gd name="connsiteX197" fmla="*/ 2023207 w 3418030"/>
              <a:gd name="connsiteY197" fmla="*/ 3922096 h 4878949"/>
              <a:gd name="connsiteX198" fmla="*/ 2023457 w 3418030"/>
              <a:gd name="connsiteY198" fmla="*/ 3924341 h 4878949"/>
              <a:gd name="connsiteX199" fmla="*/ 2024115 w 3418030"/>
              <a:gd name="connsiteY199" fmla="*/ 3928152 h 4878949"/>
              <a:gd name="connsiteX200" fmla="*/ 2027578 w 3418030"/>
              <a:gd name="connsiteY200" fmla="*/ 3961293 h 4878949"/>
              <a:gd name="connsiteX201" fmla="*/ 2028734 w 3418030"/>
              <a:gd name="connsiteY201" fmla="*/ 3971660 h 4878949"/>
              <a:gd name="connsiteX202" fmla="*/ 2028775 w 3418030"/>
              <a:gd name="connsiteY202" fmla="*/ 3972751 h 4878949"/>
              <a:gd name="connsiteX203" fmla="*/ 2028982 w 3418030"/>
              <a:gd name="connsiteY203" fmla="*/ 3974727 h 4878949"/>
              <a:gd name="connsiteX204" fmla="*/ 2029794 w 3418030"/>
              <a:gd name="connsiteY204" fmla="*/ 3997713 h 4878949"/>
              <a:gd name="connsiteX205" fmla="*/ 2030784 w 3418030"/>
              <a:gd name="connsiteY205" fmla="*/ 3997713 h 4878949"/>
              <a:gd name="connsiteX206" fmla="*/ 2030784 w 3418030"/>
              <a:gd name="connsiteY206" fmla="*/ 4018905 h 4878949"/>
              <a:gd name="connsiteX207" fmla="*/ 2030784 w 3418030"/>
              <a:gd name="connsiteY207" fmla="*/ 4025726 h 4878949"/>
              <a:gd name="connsiteX208" fmla="*/ 2030784 w 3418030"/>
              <a:gd name="connsiteY208" fmla="*/ 4025885 h 4878949"/>
              <a:gd name="connsiteX209" fmla="*/ 2030784 w 3418030"/>
              <a:gd name="connsiteY209" fmla="*/ 4025886 h 4878949"/>
              <a:gd name="connsiteX210" fmla="*/ 2031258 w 3418030"/>
              <a:gd name="connsiteY210" fmla="*/ 4025886 h 4878949"/>
              <a:gd name="connsiteX211" fmla="*/ 2031258 w 3418030"/>
              <a:gd name="connsiteY211" fmla="*/ 4065384 h 4878949"/>
              <a:gd name="connsiteX212" fmla="*/ 2031258 w 3418030"/>
              <a:gd name="connsiteY212" fmla="*/ 4127703 h 4878949"/>
              <a:gd name="connsiteX213" fmla="*/ 2031258 w 3418030"/>
              <a:gd name="connsiteY213" fmla="*/ 4168958 h 4878949"/>
              <a:gd name="connsiteX214" fmla="*/ 2031258 w 3418030"/>
              <a:gd name="connsiteY214" fmla="*/ 4340879 h 4878949"/>
              <a:gd name="connsiteX215" fmla="*/ 2031258 w 3418030"/>
              <a:gd name="connsiteY215" fmla="*/ 4350450 h 4878949"/>
              <a:gd name="connsiteX216" fmla="*/ 2031258 w 3418030"/>
              <a:gd name="connsiteY216" fmla="*/ 4385812 h 4878949"/>
              <a:gd name="connsiteX217" fmla="*/ 2031258 w 3418030"/>
              <a:gd name="connsiteY217" fmla="*/ 4395548 h 4878949"/>
              <a:gd name="connsiteX218" fmla="*/ 2031258 w 3418030"/>
              <a:gd name="connsiteY218" fmla="*/ 4420700 h 4878949"/>
              <a:gd name="connsiteX219" fmla="*/ 2031258 w 3418030"/>
              <a:gd name="connsiteY219" fmla="*/ 4442154 h 4878949"/>
              <a:gd name="connsiteX220" fmla="*/ 2031258 w 3418030"/>
              <a:gd name="connsiteY220" fmla="*/ 4467010 h 4878949"/>
              <a:gd name="connsiteX221" fmla="*/ 2031258 w 3418030"/>
              <a:gd name="connsiteY221" fmla="*/ 4488834 h 4878949"/>
              <a:gd name="connsiteX222" fmla="*/ 2030789 w 3418030"/>
              <a:gd name="connsiteY222" fmla="*/ 4488834 h 4878949"/>
              <a:gd name="connsiteX223" fmla="*/ 2030789 w 3418030"/>
              <a:gd name="connsiteY223" fmla="*/ 4825652 h 4878949"/>
              <a:gd name="connsiteX224" fmla="*/ 2030789 w 3418030"/>
              <a:gd name="connsiteY224" fmla="*/ 4878949 h 4878949"/>
              <a:gd name="connsiteX225" fmla="*/ 2004140 w 3418030"/>
              <a:gd name="connsiteY225" fmla="*/ 4878949 h 4878949"/>
              <a:gd name="connsiteX226" fmla="*/ 1768470 w 3418030"/>
              <a:gd name="connsiteY226" fmla="*/ 4878949 h 4878949"/>
              <a:gd name="connsiteX227" fmla="*/ 1750503 w 3418030"/>
              <a:gd name="connsiteY227" fmla="*/ 4878949 h 4878949"/>
              <a:gd name="connsiteX228" fmla="*/ 1741822 w 3418030"/>
              <a:gd name="connsiteY228" fmla="*/ 4878949 h 4878949"/>
              <a:gd name="connsiteX229" fmla="*/ 1723854 w 3418030"/>
              <a:gd name="connsiteY229" fmla="*/ 4878949 h 4878949"/>
              <a:gd name="connsiteX230" fmla="*/ 1634240 w 3418030"/>
              <a:gd name="connsiteY230" fmla="*/ 4878949 h 4878949"/>
              <a:gd name="connsiteX231" fmla="*/ 1634005 w 3418030"/>
              <a:gd name="connsiteY231" fmla="*/ 4878949 h 4878949"/>
              <a:gd name="connsiteX232" fmla="*/ 1634002 w 3418030"/>
              <a:gd name="connsiteY232" fmla="*/ 4878949 h 4878949"/>
              <a:gd name="connsiteX233" fmla="*/ 1633998 w 3418030"/>
              <a:gd name="connsiteY233" fmla="*/ 4878949 h 4878949"/>
              <a:gd name="connsiteX234" fmla="*/ 1615361 w 3418030"/>
              <a:gd name="connsiteY234" fmla="*/ 4878949 h 4878949"/>
              <a:gd name="connsiteX235" fmla="*/ 1607591 w 3418030"/>
              <a:gd name="connsiteY235" fmla="*/ 4878949 h 4878949"/>
              <a:gd name="connsiteX236" fmla="*/ 1607357 w 3418030"/>
              <a:gd name="connsiteY236" fmla="*/ 4878949 h 4878949"/>
              <a:gd name="connsiteX237" fmla="*/ 1607354 w 3418030"/>
              <a:gd name="connsiteY237" fmla="*/ 4878949 h 4878949"/>
              <a:gd name="connsiteX238" fmla="*/ 1607350 w 3418030"/>
              <a:gd name="connsiteY238" fmla="*/ 4878949 h 4878949"/>
              <a:gd name="connsiteX239" fmla="*/ 1588712 w 3418030"/>
              <a:gd name="connsiteY239" fmla="*/ 4878949 h 4878949"/>
              <a:gd name="connsiteX240" fmla="*/ 1488184 w 3418030"/>
              <a:gd name="connsiteY240" fmla="*/ 4878949 h 4878949"/>
              <a:gd name="connsiteX241" fmla="*/ 1461535 w 3418030"/>
              <a:gd name="connsiteY241" fmla="*/ 4878949 h 4878949"/>
              <a:gd name="connsiteX242" fmla="*/ 1371921 w 3418030"/>
              <a:gd name="connsiteY242" fmla="*/ 4878949 h 4878949"/>
              <a:gd name="connsiteX243" fmla="*/ 1371687 w 3418030"/>
              <a:gd name="connsiteY243" fmla="*/ 4878949 h 4878949"/>
              <a:gd name="connsiteX244" fmla="*/ 1371683 w 3418030"/>
              <a:gd name="connsiteY244" fmla="*/ 4878949 h 4878949"/>
              <a:gd name="connsiteX245" fmla="*/ 1371679 w 3418030"/>
              <a:gd name="connsiteY245" fmla="*/ 4878949 h 4878949"/>
              <a:gd name="connsiteX246" fmla="*/ 1367507 w 3418030"/>
              <a:gd name="connsiteY246" fmla="*/ 4878949 h 4878949"/>
              <a:gd name="connsiteX247" fmla="*/ 1353954 w 3418030"/>
              <a:gd name="connsiteY247" fmla="*/ 4878949 h 4878949"/>
              <a:gd name="connsiteX248" fmla="*/ 1353719 w 3418030"/>
              <a:gd name="connsiteY248" fmla="*/ 4878949 h 4878949"/>
              <a:gd name="connsiteX249" fmla="*/ 1353716 w 3418030"/>
              <a:gd name="connsiteY249" fmla="*/ 4878949 h 4878949"/>
              <a:gd name="connsiteX250" fmla="*/ 1353712 w 3418030"/>
              <a:gd name="connsiteY250" fmla="*/ 4878949 h 4878949"/>
              <a:gd name="connsiteX251" fmla="*/ 1353043 w 3418030"/>
              <a:gd name="connsiteY251" fmla="*/ 4878949 h 4878949"/>
              <a:gd name="connsiteX252" fmla="*/ 1345272 w 3418030"/>
              <a:gd name="connsiteY252" fmla="*/ 4878949 h 4878949"/>
              <a:gd name="connsiteX253" fmla="*/ 1345038 w 3418030"/>
              <a:gd name="connsiteY253" fmla="*/ 4878949 h 4878949"/>
              <a:gd name="connsiteX254" fmla="*/ 1345035 w 3418030"/>
              <a:gd name="connsiteY254" fmla="*/ 4878949 h 4878949"/>
              <a:gd name="connsiteX255" fmla="*/ 1345031 w 3418030"/>
              <a:gd name="connsiteY255" fmla="*/ 4878949 h 4878949"/>
              <a:gd name="connsiteX256" fmla="*/ 1340858 w 3418030"/>
              <a:gd name="connsiteY256" fmla="*/ 4878949 h 4878949"/>
              <a:gd name="connsiteX257" fmla="*/ 1335075 w 3418030"/>
              <a:gd name="connsiteY257" fmla="*/ 4878949 h 4878949"/>
              <a:gd name="connsiteX258" fmla="*/ 1327305 w 3418030"/>
              <a:gd name="connsiteY258" fmla="*/ 4878949 h 4878949"/>
              <a:gd name="connsiteX259" fmla="*/ 1327071 w 3418030"/>
              <a:gd name="connsiteY259" fmla="*/ 4878949 h 4878949"/>
              <a:gd name="connsiteX260" fmla="*/ 1327067 w 3418030"/>
              <a:gd name="connsiteY260" fmla="*/ 4878949 h 4878949"/>
              <a:gd name="connsiteX261" fmla="*/ 1327063 w 3418030"/>
              <a:gd name="connsiteY261" fmla="*/ 4878949 h 4878949"/>
              <a:gd name="connsiteX262" fmla="*/ 1326394 w 3418030"/>
              <a:gd name="connsiteY262" fmla="*/ 4878949 h 4878949"/>
              <a:gd name="connsiteX263" fmla="*/ 1308426 w 3418030"/>
              <a:gd name="connsiteY263" fmla="*/ 4878949 h 4878949"/>
              <a:gd name="connsiteX264" fmla="*/ 1105188 w 3418030"/>
              <a:gd name="connsiteY264" fmla="*/ 4878949 h 4878949"/>
              <a:gd name="connsiteX265" fmla="*/ 1091635 w 3418030"/>
              <a:gd name="connsiteY265" fmla="*/ 4878949 h 4878949"/>
              <a:gd name="connsiteX266" fmla="*/ 1091401 w 3418030"/>
              <a:gd name="connsiteY266" fmla="*/ 4878949 h 4878949"/>
              <a:gd name="connsiteX267" fmla="*/ 1091397 w 3418030"/>
              <a:gd name="connsiteY267" fmla="*/ 4878949 h 4878949"/>
              <a:gd name="connsiteX268" fmla="*/ 1091393 w 3418030"/>
              <a:gd name="connsiteY268" fmla="*/ 4878949 h 4878949"/>
              <a:gd name="connsiteX269" fmla="*/ 1087221 w 3418030"/>
              <a:gd name="connsiteY269" fmla="*/ 4878949 h 4878949"/>
              <a:gd name="connsiteX270" fmla="*/ 1078540 w 3418030"/>
              <a:gd name="connsiteY270" fmla="*/ 4878949 h 4878949"/>
              <a:gd name="connsiteX271" fmla="*/ 1072756 w 3418030"/>
              <a:gd name="connsiteY271" fmla="*/ 4878949 h 4878949"/>
              <a:gd name="connsiteX272" fmla="*/ 1064986 w 3418030"/>
              <a:gd name="connsiteY272" fmla="*/ 4878949 h 4878949"/>
              <a:gd name="connsiteX273" fmla="*/ 1064752 w 3418030"/>
              <a:gd name="connsiteY273" fmla="*/ 4878949 h 4878949"/>
              <a:gd name="connsiteX274" fmla="*/ 1064748 w 3418030"/>
              <a:gd name="connsiteY274" fmla="*/ 4878949 h 4878949"/>
              <a:gd name="connsiteX275" fmla="*/ 1064745 w 3418030"/>
              <a:gd name="connsiteY275" fmla="*/ 4878949 h 4878949"/>
              <a:gd name="connsiteX276" fmla="*/ 1060572 w 3418030"/>
              <a:gd name="connsiteY276" fmla="*/ 4878949 h 4878949"/>
              <a:gd name="connsiteX277" fmla="*/ 1046108 w 3418030"/>
              <a:gd name="connsiteY277" fmla="*/ 4878949 h 4878949"/>
              <a:gd name="connsiteX278" fmla="*/ 970958 w 3418030"/>
              <a:gd name="connsiteY278" fmla="*/ 4878949 h 4878949"/>
              <a:gd name="connsiteX279" fmla="*/ 970723 w 3418030"/>
              <a:gd name="connsiteY279" fmla="*/ 4878949 h 4878949"/>
              <a:gd name="connsiteX280" fmla="*/ 970720 w 3418030"/>
              <a:gd name="connsiteY280" fmla="*/ 4878949 h 4878949"/>
              <a:gd name="connsiteX281" fmla="*/ 970716 w 3418030"/>
              <a:gd name="connsiteY281" fmla="*/ 4878949 h 4878949"/>
              <a:gd name="connsiteX282" fmla="*/ 952079 w 3418030"/>
              <a:gd name="connsiteY282" fmla="*/ 4878949 h 4878949"/>
              <a:gd name="connsiteX283" fmla="*/ 944309 w 3418030"/>
              <a:gd name="connsiteY283" fmla="*/ 4878949 h 4878949"/>
              <a:gd name="connsiteX284" fmla="*/ 944075 w 3418030"/>
              <a:gd name="connsiteY284" fmla="*/ 4878949 h 4878949"/>
              <a:gd name="connsiteX285" fmla="*/ 944072 w 3418030"/>
              <a:gd name="connsiteY285" fmla="*/ 4878949 h 4878949"/>
              <a:gd name="connsiteX286" fmla="*/ 944068 w 3418030"/>
              <a:gd name="connsiteY286" fmla="*/ 4878949 h 4878949"/>
              <a:gd name="connsiteX287" fmla="*/ 925430 w 3418030"/>
              <a:gd name="connsiteY287" fmla="*/ 4878949 h 4878949"/>
              <a:gd name="connsiteX288" fmla="*/ 824902 w 3418030"/>
              <a:gd name="connsiteY288" fmla="*/ 4878949 h 4878949"/>
              <a:gd name="connsiteX289" fmla="*/ 798253 w 3418030"/>
              <a:gd name="connsiteY289" fmla="*/ 4878949 h 4878949"/>
              <a:gd name="connsiteX290" fmla="*/ 708639 w 3418030"/>
              <a:gd name="connsiteY290" fmla="*/ 4878949 h 4878949"/>
              <a:gd name="connsiteX291" fmla="*/ 708405 w 3418030"/>
              <a:gd name="connsiteY291" fmla="*/ 4878949 h 4878949"/>
              <a:gd name="connsiteX292" fmla="*/ 708401 w 3418030"/>
              <a:gd name="connsiteY292" fmla="*/ 4878949 h 4878949"/>
              <a:gd name="connsiteX293" fmla="*/ 708397 w 3418030"/>
              <a:gd name="connsiteY293" fmla="*/ 4878949 h 4878949"/>
              <a:gd name="connsiteX294" fmla="*/ 690672 w 3418030"/>
              <a:gd name="connsiteY294" fmla="*/ 4878949 h 4878949"/>
              <a:gd name="connsiteX295" fmla="*/ 690437 w 3418030"/>
              <a:gd name="connsiteY295" fmla="*/ 4878949 h 4878949"/>
              <a:gd name="connsiteX296" fmla="*/ 690434 w 3418030"/>
              <a:gd name="connsiteY296" fmla="*/ 4878949 h 4878949"/>
              <a:gd name="connsiteX297" fmla="*/ 690430 w 3418030"/>
              <a:gd name="connsiteY297" fmla="*/ 4878949 h 4878949"/>
              <a:gd name="connsiteX298" fmla="*/ 689761 w 3418030"/>
              <a:gd name="connsiteY298" fmla="*/ 4878949 h 4878949"/>
              <a:gd name="connsiteX299" fmla="*/ 681990 w 3418030"/>
              <a:gd name="connsiteY299" fmla="*/ 4878949 h 4878949"/>
              <a:gd name="connsiteX300" fmla="*/ 681756 w 3418030"/>
              <a:gd name="connsiteY300" fmla="*/ 4878949 h 4878949"/>
              <a:gd name="connsiteX301" fmla="*/ 681753 w 3418030"/>
              <a:gd name="connsiteY301" fmla="*/ 4878949 h 4878949"/>
              <a:gd name="connsiteX302" fmla="*/ 681749 w 3418030"/>
              <a:gd name="connsiteY302" fmla="*/ 4878949 h 4878949"/>
              <a:gd name="connsiteX303" fmla="*/ 671793 w 3418030"/>
              <a:gd name="connsiteY303" fmla="*/ 4878949 h 4878949"/>
              <a:gd name="connsiteX304" fmla="*/ 664023 w 3418030"/>
              <a:gd name="connsiteY304" fmla="*/ 4878949 h 4878949"/>
              <a:gd name="connsiteX305" fmla="*/ 663789 w 3418030"/>
              <a:gd name="connsiteY305" fmla="*/ 4878949 h 4878949"/>
              <a:gd name="connsiteX306" fmla="*/ 663785 w 3418030"/>
              <a:gd name="connsiteY306" fmla="*/ 4878949 h 4878949"/>
              <a:gd name="connsiteX307" fmla="*/ 663781 w 3418030"/>
              <a:gd name="connsiteY307" fmla="*/ 4878949 h 4878949"/>
              <a:gd name="connsiteX308" fmla="*/ 663112 w 3418030"/>
              <a:gd name="connsiteY308" fmla="*/ 4878949 h 4878949"/>
              <a:gd name="connsiteX309" fmla="*/ 645144 w 3418030"/>
              <a:gd name="connsiteY309" fmla="*/ 4878949 h 4878949"/>
              <a:gd name="connsiteX310" fmla="*/ 428353 w 3418030"/>
              <a:gd name="connsiteY310" fmla="*/ 4878949 h 4878949"/>
              <a:gd name="connsiteX311" fmla="*/ 428119 w 3418030"/>
              <a:gd name="connsiteY311" fmla="*/ 4878949 h 4878949"/>
              <a:gd name="connsiteX312" fmla="*/ 428115 w 3418030"/>
              <a:gd name="connsiteY312" fmla="*/ 4878949 h 4878949"/>
              <a:gd name="connsiteX313" fmla="*/ 428111 w 3418030"/>
              <a:gd name="connsiteY313" fmla="*/ 4878949 h 4878949"/>
              <a:gd name="connsiteX314" fmla="*/ 409474 w 3418030"/>
              <a:gd name="connsiteY314" fmla="*/ 4878949 h 4878949"/>
              <a:gd name="connsiteX315" fmla="*/ 401704 w 3418030"/>
              <a:gd name="connsiteY315" fmla="*/ 4878949 h 4878949"/>
              <a:gd name="connsiteX316" fmla="*/ 401470 w 3418030"/>
              <a:gd name="connsiteY316" fmla="*/ 4878949 h 4878949"/>
              <a:gd name="connsiteX317" fmla="*/ 401466 w 3418030"/>
              <a:gd name="connsiteY317" fmla="*/ 4878949 h 4878949"/>
              <a:gd name="connsiteX318" fmla="*/ 401462 w 3418030"/>
              <a:gd name="connsiteY318" fmla="*/ 4878949 h 4878949"/>
              <a:gd name="connsiteX319" fmla="*/ 382826 w 3418030"/>
              <a:gd name="connsiteY319" fmla="*/ 4878949 h 4878949"/>
              <a:gd name="connsiteX320" fmla="*/ 382826 w 3418030"/>
              <a:gd name="connsiteY320" fmla="*/ 4878022 h 4878949"/>
              <a:gd name="connsiteX321" fmla="*/ 363616 w 3418030"/>
              <a:gd name="connsiteY321" fmla="*/ 4877077 h 4878949"/>
              <a:gd name="connsiteX322" fmla="*/ 362450 w 3418030"/>
              <a:gd name="connsiteY322" fmla="*/ 4876905 h 4878949"/>
              <a:gd name="connsiteX323" fmla="*/ 360898 w 3418030"/>
              <a:gd name="connsiteY323" fmla="*/ 4876823 h 4878949"/>
              <a:gd name="connsiteX324" fmla="*/ 292547 w 3418030"/>
              <a:gd name="connsiteY324" fmla="*/ 4863240 h 4878949"/>
              <a:gd name="connsiteX325" fmla="*/ 290939 w 3418030"/>
              <a:gd name="connsiteY325" fmla="*/ 4862685 h 4878949"/>
              <a:gd name="connsiteX326" fmla="*/ 290662 w 3418030"/>
              <a:gd name="connsiteY326" fmla="*/ 4862616 h 4878949"/>
              <a:gd name="connsiteX327" fmla="*/ 287903 w 3418030"/>
              <a:gd name="connsiteY327" fmla="*/ 4861637 h 4878949"/>
              <a:gd name="connsiteX328" fmla="*/ 260068 w 3418030"/>
              <a:gd name="connsiteY328" fmla="*/ 4852032 h 4878949"/>
              <a:gd name="connsiteX329" fmla="*/ 257211 w 3418030"/>
              <a:gd name="connsiteY329" fmla="*/ 4850752 h 4878949"/>
              <a:gd name="connsiteX330" fmla="*/ 256125 w 3418030"/>
              <a:gd name="connsiteY330" fmla="*/ 4850367 h 4878949"/>
              <a:gd name="connsiteX331" fmla="*/ 250255 w 3418030"/>
              <a:gd name="connsiteY331" fmla="*/ 4847636 h 4878949"/>
              <a:gd name="connsiteX332" fmla="*/ 228901 w 3418030"/>
              <a:gd name="connsiteY332" fmla="*/ 4838068 h 4878949"/>
              <a:gd name="connsiteX333" fmla="*/ 224915 w 3418030"/>
              <a:gd name="connsiteY333" fmla="*/ 4835845 h 4878949"/>
              <a:gd name="connsiteX334" fmla="*/ 223101 w 3418030"/>
              <a:gd name="connsiteY334" fmla="*/ 4835001 h 4878949"/>
              <a:gd name="connsiteX335" fmla="*/ 216732 w 3418030"/>
              <a:gd name="connsiteY335" fmla="*/ 4831280 h 4878949"/>
              <a:gd name="connsiteX336" fmla="*/ 199181 w 3418030"/>
              <a:gd name="connsiteY336" fmla="*/ 4821488 h 4878949"/>
              <a:gd name="connsiteX337" fmla="*/ 194206 w 3418030"/>
              <a:gd name="connsiteY337" fmla="*/ 4818119 h 4878949"/>
              <a:gd name="connsiteX338" fmla="*/ 191756 w 3418030"/>
              <a:gd name="connsiteY338" fmla="*/ 4816688 h 4878949"/>
              <a:gd name="connsiteX339" fmla="*/ 185691 w 3418030"/>
              <a:gd name="connsiteY339" fmla="*/ 4812352 h 4878949"/>
              <a:gd name="connsiteX340" fmla="*/ 171043 w 3418030"/>
              <a:gd name="connsiteY340" fmla="*/ 4802432 h 4878949"/>
              <a:gd name="connsiteX341" fmla="*/ 165239 w 3418030"/>
              <a:gd name="connsiteY341" fmla="*/ 4797733 h 4878949"/>
              <a:gd name="connsiteX342" fmla="*/ 162251 w 3418030"/>
              <a:gd name="connsiteY342" fmla="*/ 4795598 h 4878949"/>
              <a:gd name="connsiteX343" fmla="*/ 156813 w 3418030"/>
              <a:gd name="connsiteY343" fmla="*/ 4790911 h 4878949"/>
              <a:gd name="connsiteX344" fmla="*/ 144622 w 3418030"/>
              <a:gd name="connsiteY344" fmla="*/ 4781042 h 4878949"/>
              <a:gd name="connsiteX345" fmla="*/ 138166 w 3418030"/>
              <a:gd name="connsiteY345" fmla="*/ 4774843 h 4878949"/>
              <a:gd name="connsiteX346" fmla="*/ 134753 w 3418030"/>
              <a:gd name="connsiteY346" fmla="*/ 4771903 h 4878949"/>
              <a:gd name="connsiteX347" fmla="*/ 130074 w 3418030"/>
              <a:gd name="connsiteY347" fmla="*/ 4767074 h 4878949"/>
              <a:gd name="connsiteX348" fmla="*/ 120055 w 3418030"/>
              <a:gd name="connsiteY348" fmla="*/ 4757456 h 4878949"/>
              <a:gd name="connsiteX349" fmla="*/ 113141 w 3418030"/>
              <a:gd name="connsiteY349" fmla="*/ 4749604 h 4878949"/>
              <a:gd name="connsiteX350" fmla="*/ 109426 w 3418030"/>
              <a:gd name="connsiteY350" fmla="*/ 4745772 h 4878949"/>
              <a:gd name="connsiteX351" fmla="*/ 105549 w 3418030"/>
              <a:gd name="connsiteY351" fmla="*/ 4740983 h 4878949"/>
              <a:gd name="connsiteX352" fmla="*/ 97477 w 3418030"/>
              <a:gd name="connsiteY352" fmla="*/ 4731817 h 4878949"/>
              <a:gd name="connsiteX353" fmla="*/ 90315 w 3418030"/>
              <a:gd name="connsiteY353" fmla="*/ 4722168 h 4878949"/>
              <a:gd name="connsiteX354" fmla="*/ 86434 w 3418030"/>
              <a:gd name="connsiteY354" fmla="*/ 4717378 h 4878949"/>
              <a:gd name="connsiteX355" fmla="*/ 83347 w 3418030"/>
              <a:gd name="connsiteY355" fmla="*/ 4712785 h 4878949"/>
              <a:gd name="connsiteX356" fmla="*/ 77022 w 3418030"/>
              <a:gd name="connsiteY356" fmla="*/ 4704265 h 4878949"/>
              <a:gd name="connsiteX357" fmla="*/ 69837 w 3418030"/>
              <a:gd name="connsiteY357" fmla="*/ 4692685 h 4878949"/>
              <a:gd name="connsiteX358" fmla="*/ 65942 w 3418030"/>
              <a:gd name="connsiteY358" fmla="*/ 4686890 h 4878949"/>
              <a:gd name="connsiteX359" fmla="*/ 63602 w 3418030"/>
              <a:gd name="connsiteY359" fmla="*/ 4682635 h 4878949"/>
              <a:gd name="connsiteX360" fmla="*/ 58828 w 3418030"/>
              <a:gd name="connsiteY360" fmla="*/ 4674940 h 4878949"/>
              <a:gd name="connsiteX361" fmla="*/ 51860 w 3418030"/>
              <a:gd name="connsiteY361" fmla="*/ 4661288 h 4878949"/>
              <a:gd name="connsiteX362" fmla="*/ 48115 w 3418030"/>
              <a:gd name="connsiteY362" fmla="*/ 4654479 h 4878949"/>
              <a:gd name="connsiteX363" fmla="*/ 46451 w 3418030"/>
              <a:gd name="connsiteY363" fmla="*/ 4650690 h 4878949"/>
              <a:gd name="connsiteX364" fmla="*/ 43027 w 3418030"/>
              <a:gd name="connsiteY364" fmla="*/ 4643982 h 4878949"/>
              <a:gd name="connsiteX365" fmla="*/ 36529 w 3418030"/>
              <a:gd name="connsiteY365" fmla="*/ 4628092 h 4878949"/>
              <a:gd name="connsiteX366" fmla="*/ 33115 w 3418030"/>
              <a:gd name="connsiteY366" fmla="*/ 4620315 h 4878949"/>
              <a:gd name="connsiteX367" fmla="*/ 32037 w 3418030"/>
              <a:gd name="connsiteY367" fmla="*/ 4617109 h 4878949"/>
              <a:gd name="connsiteX368" fmla="*/ 29757 w 3418030"/>
              <a:gd name="connsiteY368" fmla="*/ 4611533 h 4878949"/>
              <a:gd name="connsiteX369" fmla="*/ 23992 w 3418030"/>
              <a:gd name="connsiteY369" fmla="*/ 4593159 h 4878949"/>
              <a:gd name="connsiteX370" fmla="*/ 21107 w 3418030"/>
              <a:gd name="connsiteY370" fmla="*/ 4584570 h 4878949"/>
              <a:gd name="connsiteX371" fmla="*/ 20507 w 3418030"/>
              <a:gd name="connsiteY371" fmla="*/ 4582050 h 4878949"/>
              <a:gd name="connsiteX372" fmla="*/ 19153 w 3418030"/>
              <a:gd name="connsiteY372" fmla="*/ 4577733 h 4878949"/>
              <a:gd name="connsiteX373" fmla="*/ 14395 w 3418030"/>
              <a:gd name="connsiteY373" fmla="*/ 4556392 h 4878949"/>
              <a:gd name="connsiteX374" fmla="*/ 12258 w 3418030"/>
              <a:gd name="connsiteY374" fmla="*/ 4547414 h 4878949"/>
              <a:gd name="connsiteX375" fmla="*/ 12008 w 3418030"/>
              <a:gd name="connsiteY375" fmla="*/ 4545675 h 4878949"/>
              <a:gd name="connsiteX376" fmla="*/ 11349 w 3418030"/>
              <a:gd name="connsiteY376" fmla="*/ 4542722 h 4878949"/>
              <a:gd name="connsiteX377" fmla="*/ 7886 w 3418030"/>
              <a:gd name="connsiteY377" fmla="*/ 4517048 h 4878949"/>
              <a:gd name="connsiteX378" fmla="*/ 6730 w 3418030"/>
              <a:gd name="connsiteY378" fmla="*/ 4509017 h 4878949"/>
              <a:gd name="connsiteX379" fmla="*/ 6688 w 3418030"/>
              <a:gd name="connsiteY379" fmla="*/ 4508172 h 4878949"/>
              <a:gd name="connsiteX380" fmla="*/ 6482 w 3418030"/>
              <a:gd name="connsiteY380" fmla="*/ 4506641 h 4878949"/>
              <a:gd name="connsiteX381" fmla="*/ 5671 w 3418030"/>
              <a:gd name="connsiteY381" fmla="*/ 4488834 h 4878949"/>
              <a:gd name="connsiteX382" fmla="*/ 4679 w 3418030"/>
              <a:gd name="connsiteY382" fmla="*/ 4488834 h 4878949"/>
              <a:gd name="connsiteX383" fmla="*/ 4679 w 3418030"/>
              <a:gd name="connsiteY383" fmla="*/ 4476023 h 4878949"/>
              <a:gd name="connsiteX384" fmla="*/ 3837 w 3418030"/>
              <a:gd name="connsiteY384" fmla="*/ 4469889 h 4878949"/>
              <a:gd name="connsiteX385" fmla="*/ 2681 w 3418030"/>
              <a:gd name="connsiteY385" fmla="*/ 4461995 h 4878949"/>
              <a:gd name="connsiteX386" fmla="*/ 2640 w 3418030"/>
              <a:gd name="connsiteY386" fmla="*/ 4461163 h 4878949"/>
              <a:gd name="connsiteX387" fmla="*/ 2433 w 3418030"/>
              <a:gd name="connsiteY387" fmla="*/ 4459658 h 4878949"/>
              <a:gd name="connsiteX388" fmla="*/ 1621 w 3418030"/>
              <a:gd name="connsiteY388" fmla="*/ 4442154 h 4878949"/>
              <a:gd name="connsiteX389" fmla="*/ 631 w 3418030"/>
              <a:gd name="connsiteY389" fmla="*/ 4442154 h 4878949"/>
              <a:gd name="connsiteX390" fmla="*/ 631 w 3418030"/>
              <a:gd name="connsiteY390" fmla="*/ 4426015 h 4878949"/>
              <a:gd name="connsiteX391" fmla="*/ 631 w 3418030"/>
              <a:gd name="connsiteY391" fmla="*/ 4420821 h 4878949"/>
              <a:gd name="connsiteX392" fmla="*/ 631 w 3418030"/>
              <a:gd name="connsiteY392" fmla="*/ 4420700 h 4878949"/>
              <a:gd name="connsiteX393" fmla="*/ 157 w 3418030"/>
              <a:gd name="connsiteY393" fmla="*/ 4420700 h 4878949"/>
              <a:gd name="connsiteX394" fmla="*/ 157 w 3418030"/>
              <a:gd name="connsiteY394" fmla="*/ 4350450 h 4878949"/>
              <a:gd name="connsiteX395" fmla="*/ 157 w 3418030"/>
              <a:gd name="connsiteY395" fmla="*/ 4340879 h 4878949"/>
              <a:gd name="connsiteX396" fmla="*/ 157 w 3418030"/>
              <a:gd name="connsiteY396" fmla="*/ 4127703 h 4878949"/>
              <a:gd name="connsiteX397" fmla="*/ 157 w 3418030"/>
              <a:gd name="connsiteY397" fmla="*/ 4025885 h 4878949"/>
              <a:gd name="connsiteX398" fmla="*/ 157 w 3418030"/>
              <a:gd name="connsiteY398" fmla="*/ 3997713 h 4878949"/>
              <a:gd name="connsiteX399" fmla="*/ 626 w 3418030"/>
              <a:gd name="connsiteY399" fmla="*/ 3997713 h 4878949"/>
              <a:gd name="connsiteX400" fmla="*/ 626 w 3418030"/>
              <a:gd name="connsiteY400" fmla="*/ 3911014 h 4878949"/>
              <a:gd name="connsiteX401" fmla="*/ 0 w 3418030"/>
              <a:gd name="connsiteY401" fmla="*/ 3911014 h 4878949"/>
              <a:gd name="connsiteX402" fmla="*/ 0 w 3418030"/>
              <a:gd name="connsiteY402" fmla="*/ 3908592 h 4878949"/>
              <a:gd name="connsiteX403" fmla="*/ 0 w 3418030"/>
              <a:gd name="connsiteY403" fmla="*/ 3570744 h 4878949"/>
              <a:gd name="connsiteX404" fmla="*/ 0 w 3418030"/>
              <a:gd name="connsiteY404" fmla="*/ 2076617 h 4878949"/>
              <a:gd name="connsiteX405" fmla="*/ 3302 w 3418030"/>
              <a:gd name="connsiteY405" fmla="*/ 2076617 h 4878949"/>
              <a:gd name="connsiteX406" fmla="*/ 3302 w 3418030"/>
              <a:gd name="connsiteY406" fmla="*/ 2074287 h 4878949"/>
              <a:gd name="connsiteX407" fmla="*/ 3302 w 3418030"/>
              <a:gd name="connsiteY407" fmla="*/ 1850939 h 4878949"/>
              <a:gd name="connsiteX408" fmla="*/ 3302 w 3418030"/>
              <a:gd name="connsiteY408" fmla="*/ 1850328 h 4878949"/>
              <a:gd name="connsiteX409" fmla="*/ 3301 w 3418030"/>
              <a:gd name="connsiteY409" fmla="*/ 1850319 h 4878949"/>
              <a:gd name="connsiteX410" fmla="*/ 3302 w 3418030"/>
              <a:gd name="connsiteY410" fmla="*/ 1850309 h 4878949"/>
              <a:gd name="connsiteX411" fmla="*/ 3302 w 3418030"/>
              <a:gd name="connsiteY411" fmla="*/ 1804040 h 4878949"/>
              <a:gd name="connsiteX412" fmla="*/ 3302 w 3418030"/>
              <a:gd name="connsiteY412" fmla="*/ 1803429 h 4878949"/>
              <a:gd name="connsiteX413" fmla="*/ 3301 w 3418030"/>
              <a:gd name="connsiteY413" fmla="*/ 1803419 h 4878949"/>
              <a:gd name="connsiteX414" fmla="*/ 3302 w 3418030"/>
              <a:gd name="connsiteY414" fmla="*/ 1803409 h 4878949"/>
              <a:gd name="connsiteX415" fmla="*/ 3302 w 3418030"/>
              <a:gd name="connsiteY415" fmla="*/ 1801662 h 4878949"/>
              <a:gd name="connsiteX416" fmla="*/ 3302 w 3418030"/>
              <a:gd name="connsiteY416" fmla="*/ 1770814 h 4878949"/>
              <a:gd name="connsiteX417" fmla="*/ 3302 w 3418030"/>
              <a:gd name="connsiteY417" fmla="*/ 1770203 h 4878949"/>
              <a:gd name="connsiteX418" fmla="*/ 3301 w 3418030"/>
              <a:gd name="connsiteY418" fmla="*/ 1770192 h 4878949"/>
              <a:gd name="connsiteX419" fmla="*/ 3302 w 3418030"/>
              <a:gd name="connsiteY419" fmla="*/ 1770183 h 4878949"/>
              <a:gd name="connsiteX420" fmla="*/ 3302 w 3418030"/>
              <a:gd name="connsiteY420" fmla="*/ 1754762 h 4878949"/>
              <a:gd name="connsiteX421" fmla="*/ 3302 w 3418030"/>
              <a:gd name="connsiteY421" fmla="*/ 1723914 h 4878949"/>
              <a:gd name="connsiteX422" fmla="*/ 3302 w 3418030"/>
              <a:gd name="connsiteY422" fmla="*/ 1723304 h 4878949"/>
              <a:gd name="connsiteX423" fmla="*/ 3301 w 3418030"/>
              <a:gd name="connsiteY423" fmla="*/ 1723293 h 4878949"/>
              <a:gd name="connsiteX424" fmla="*/ 3302 w 3418030"/>
              <a:gd name="connsiteY424" fmla="*/ 1723284 h 4878949"/>
              <a:gd name="connsiteX425" fmla="*/ 3302 w 3418030"/>
              <a:gd name="connsiteY425" fmla="*/ 1721537 h 4878949"/>
              <a:gd name="connsiteX426" fmla="*/ 3302 w 3418030"/>
              <a:gd name="connsiteY426" fmla="*/ 1674636 h 4878949"/>
              <a:gd name="connsiteX427" fmla="*/ 3302 w 3418030"/>
              <a:gd name="connsiteY427" fmla="*/ 1119326 h 4878949"/>
              <a:gd name="connsiteX428" fmla="*/ 3302 w 3418030"/>
              <a:gd name="connsiteY428" fmla="*/ 1118715 h 4878949"/>
              <a:gd name="connsiteX429" fmla="*/ 3301 w 3418030"/>
              <a:gd name="connsiteY429" fmla="*/ 1118705 h 4878949"/>
              <a:gd name="connsiteX430" fmla="*/ 3302 w 3418030"/>
              <a:gd name="connsiteY430" fmla="*/ 1118695 h 4878949"/>
              <a:gd name="connsiteX431" fmla="*/ 3302 w 3418030"/>
              <a:gd name="connsiteY431" fmla="*/ 1070048 h 4878949"/>
              <a:gd name="connsiteX432" fmla="*/ 3302 w 3418030"/>
              <a:gd name="connsiteY432" fmla="*/ 1039200 h 4878949"/>
              <a:gd name="connsiteX433" fmla="*/ 3302 w 3418030"/>
              <a:gd name="connsiteY433" fmla="*/ 1038590 h 4878949"/>
              <a:gd name="connsiteX434" fmla="*/ 3301 w 3418030"/>
              <a:gd name="connsiteY434" fmla="*/ 1038579 h 4878949"/>
              <a:gd name="connsiteX435" fmla="*/ 3302 w 3418030"/>
              <a:gd name="connsiteY435" fmla="*/ 1038570 h 4878949"/>
              <a:gd name="connsiteX436" fmla="*/ 3302 w 3418030"/>
              <a:gd name="connsiteY436" fmla="*/ 989923 h 4878949"/>
              <a:gd name="connsiteX437" fmla="*/ 5852 w 3418030"/>
              <a:gd name="connsiteY437" fmla="*/ 989923 h 4878949"/>
              <a:gd name="connsiteX438" fmla="*/ 8449 w 3418030"/>
              <a:gd name="connsiteY438" fmla="*/ 939781 h 4878949"/>
              <a:gd name="connsiteX439" fmla="*/ 8925 w 3418030"/>
              <a:gd name="connsiteY439" fmla="*/ 936738 h 4878949"/>
              <a:gd name="connsiteX440" fmla="*/ 9149 w 3418030"/>
              <a:gd name="connsiteY440" fmla="*/ 932684 h 4878949"/>
              <a:gd name="connsiteX441" fmla="*/ 46507 w 3418030"/>
              <a:gd name="connsiteY441" fmla="*/ 754274 h 4878949"/>
              <a:gd name="connsiteX442" fmla="*/ 48032 w 3418030"/>
              <a:gd name="connsiteY442" fmla="*/ 750077 h 4878949"/>
              <a:gd name="connsiteX443" fmla="*/ 48222 w 3418030"/>
              <a:gd name="connsiteY443" fmla="*/ 749353 h 4878949"/>
              <a:gd name="connsiteX444" fmla="*/ 50914 w 3418030"/>
              <a:gd name="connsiteY444" fmla="*/ 742152 h 4878949"/>
              <a:gd name="connsiteX445" fmla="*/ 77329 w 3418030"/>
              <a:gd name="connsiteY445" fmla="*/ 669497 h 4878949"/>
              <a:gd name="connsiteX446" fmla="*/ 80849 w 3418030"/>
              <a:gd name="connsiteY446" fmla="*/ 662039 h 4878949"/>
              <a:gd name="connsiteX447" fmla="*/ 81908 w 3418030"/>
              <a:gd name="connsiteY447" fmla="*/ 659204 h 4878949"/>
              <a:gd name="connsiteX448" fmla="*/ 89422 w 3418030"/>
              <a:gd name="connsiteY448" fmla="*/ 643883 h 4878949"/>
              <a:gd name="connsiteX449" fmla="*/ 115734 w 3418030"/>
              <a:gd name="connsiteY449" fmla="*/ 588143 h 4878949"/>
              <a:gd name="connsiteX450" fmla="*/ 121848 w 3418030"/>
              <a:gd name="connsiteY450" fmla="*/ 577740 h 4878949"/>
              <a:gd name="connsiteX451" fmla="*/ 124169 w 3418030"/>
              <a:gd name="connsiteY451" fmla="*/ 573005 h 4878949"/>
              <a:gd name="connsiteX452" fmla="*/ 134403 w 3418030"/>
              <a:gd name="connsiteY452" fmla="*/ 556381 h 4878949"/>
              <a:gd name="connsiteX453" fmla="*/ 161333 w 3418030"/>
              <a:gd name="connsiteY453" fmla="*/ 510566 h 4878949"/>
              <a:gd name="connsiteX454" fmla="*/ 170598 w 3418030"/>
              <a:gd name="connsiteY454" fmla="*/ 497582 h 4878949"/>
              <a:gd name="connsiteX455" fmla="*/ 174534 w 3418030"/>
              <a:gd name="connsiteY455" fmla="*/ 491185 h 4878949"/>
              <a:gd name="connsiteX456" fmla="*/ 186458 w 3418030"/>
              <a:gd name="connsiteY456" fmla="*/ 475354 h 4878949"/>
              <a:gd name="connsiteX457" fmla="*/ 213741 w 3418030"/>
              <a:gd name="connsiteY457" fmla="*/ 437120 h 4878949"/>
              <a:gd name="connsiteX458" fmla="*/ 226666 w 3418030"/>
              <a:gd name="connsiteY458" fmla="*/ 421970 h 4878949"/>
              <a:gd name="connsiteX459" fmla="*/ 232537 w 3418030"/>
              <a:gd name="connsiteY459" fmla="*/ 414172 h 4878949"/>
              <a:gd name="connsiteX460" fmla="*/ 245428 w 3418030"/>
              <a:gd name="connsiteY460" fmla="*/ 399975 h 4878949"/>
              <a:gd name="connsiteX461" fmla="*/ 272569 w 3418030"/>
              <a:gd name="connsiteY461" fmla="*/ 368155 h 4878949"/>
              <a:gd name="connsiteX462" fmla="*/ 289619 w 3418030"/>
              <a:gd name="connsiteY462" fmla="*/ 351302 h 4878949"/>
              <a:gd name="connsiteX463" fmla="*/ 297703 w 3418030"/>
              <a:gd name="connsiteY463" fmla="*/ 342396 h 4878949"/>
              <a:gd name="connsiteX464" fmla="*/ 310983 w 3418030"/>
              <a:gd name="connsiteY464" fmla="*/ 330181 h 4878949"/>
              <a:gd name="connsiteX465" fmla="*/ 337434 w 3418030"/>
              <a:gd name="connsiteY465" fmla="*/ 304029 h 4878949"/>
              <a:gd name="connsiteX466" fmla="*/ 359031 w 3418030"/>
              <a:gd name="connsiteY466" fmla="*/ 285980 h 4878949"/>
              <a:gd name="connsiteX467" fmla="*/ 369567 w 3418030"/>
              <a:gd name="connsiteY467" fmla="*/ 276286 h 4878949"/>
              <a:gd name="connsiteX468" fmla="*/ 382740 w 3418030"/>
              <a:gd name="connsiteY468" fmla="*/ 266163 h 4878949"/>
              <a:gd name="connsiteX469" fmla="*/ 407948 w 3418030"/>
              <a:gd name="connsiteY469" fmla="*/ 245095 h 4878949"/>
              <a:gd name="connsiteX470" fmla="*/ 434483 w 3418030"/>
              <a:gd name="connsiteY470" fmla="*/ 226398 h 4878949"/>
              <a:gd name="connsiteX471" fmla="*/ 447659 w 3418030"/>
              <a:gd name="connsiteY471" fmla="*/ 216272 h 4878949"/>
              <a:gd name="connsiteX472" fmla="*/ 460291 w 3418030"/>
              <a:gd name="connsiteY472" fmla="*/ 208214 h 4878949"/>
              <a:gd name="connsiteX473" fmla="*/ 483722 w 3418030"/>
              <a:gd name="connsiteY473" fmla="*/ 191703 h 4878949"/>
              <a:gd name="connsiteX474" fmla="*/ 515572 w 3418030"/>
              <a:gd name="connsiteY474" fmla="*/ 172948 h 4878949"/>
              <a:gd name="connsiteX475" fmla="*/ 531508 w 3418030"/>
              <a:gd name="connsiteY475" fmla="*/ 162782 h 4878949"/>
              <a:gd name="connsiteX476" fmla="*/ 543209 w 3418030"/>
              <a:gd name="connsiteY476" fmla="*/ 156673 h 4878949"/>
              <a:gd name="connsiteX477" fmla="*/ 564373 w 3418030"/>
              <a:gd name="connsiteY477" fmla="*/ 144210 h 4878949"/>
              <a:gd name="connsiteX478" fmla="*/ 601919 w 3418030"/>
              <a:gd name="connsiteY478" fmla="*/ 126023 h 4878949"/>
              <a:gd name="connsiteX479" fmla="*/ 620646 w 3418030"/>
              <a:gd name="connsiteY479" fmla="*/ 116246 h 4878949"/>
              <a:gd name="connsiteX480" fmla="*/ 631065 w 3418030"/>
              <a:gd name="connsiteY480" fmla="*/ 111905 h 4878949"/>
              <a:gd name="connsiteX481" fmla="*/ 649513 w 3418030"/>
              <a:gd name="connsiteY481" fmla="*/ 102967 h 4878949"/>
              <a:gd name="connsiteX482" fmla="*/ 693215 w 3418030"/>
              <a:gd name="connsiteY482" fmla="*/ 86005 h 4878949"/>
              <a:gd name="connsiteX483" fmla="*/ 714604 w 3418030"/>
              <a:gd name="connsiteY483" fmla="*/ 77091 h 4878949"/>
              <a:gd name="connsiteX484" fmla="*/ 723421 w 3418030"/>
              <a:gd name="connsiteY484" fmla="*/ 74281 h 4878949"/>
              <a:gd name="connsiteX485" fmla="*/ 738755 w 3418030"/>
              <a:gd name="connsiteY485" fmla="*/ 68329 h 4878949"/>
              <a:gd name="connsiteX486" fmla="*/ 789290 w 3418030"/>
              <a:gd name="connsiteY486" fmla="*/ 53281 h 4878949"/>
              <a:gd name="connsiteX487" fmla="*/ 812911 w 3418030"/>
              <a:gd name="connsiteY487" fmla="*/ 45751 h 4878949"/>
              <a:gd name="connsiteX488" fmla="*/ 819840 w 3418030"/>
              <a:gd name="connsiteY488" fmla="*/ 44184 h 4878949"/>
              <a:gd name="connsiteX489" fmla="*/ 831714 w 3418030"/>
              <a:gd name="connsiteY489" fmla="*/ 40649 h 4878949"/>
              <a:gd name="connsiteX490" fmla="*/ 890408 w 3418030"/>
              <a:gd name="connsiteY490" fmla="*/ 28233 h 4878949"/>
              <a:gd name="connsiteX491" fmla="*/ 891488 w 3418030"/>
              <a:gd name="connsiteY491" fmla="*/ 27989 h 4878949"/>
              <a:gd name="connsiteX492" fmla="*/ 891488 w 3418030"/>
              <a:gd name="connsiteY492" fmla="*/ 26353 h 4878949"/>
              <a:gd name="connsiteX493" fmla="*/ 920414 w 3418030"/>
              <a:gd name="connsiteY493" fmla="*/ 21016 h 4878949"/>
              <a:gd name="connsiteX494" fmla="*/ 926275 w 3418030"/>
              <a:gd name="connsiteY494" fmla="*/ 20363 h 4878949"/>
              <a:gd name="connsiteX495" fmla="*/ 936223 w 3418030"/>
              <a:gd name="connsiteY495" fmla="*/ 18645 h 4878949"/>
              <a:gd name="connsiteX496" fmla="*/ 1022729 w 3418030"/>
              <a:gd name="connsiteY496" fmla="*/ 9605 h 4878949"/>
              <a:gd name="connsiteX497" fmla="*/ 1049789 w 3418030"/>
              <a:gd name="connsiteY497" fmla="*/ 6588 h 4878949"/>
              <a:gd name="connsiteX498" fmla="*/ 1052637 w 3418030"/>
              <a:gd name="connsiteY498" fmla="*/ 6482 h 4878949"/>
              <a:gd name="connsiteX499" fmla="*/ 1057795 w 3418030"/>
              <a:gd name="connsiteY499" fmla="*/ 5941 h 4878949"/>
              <a:gd name="connsiteX500" fmla="*/ 1117794 w 3418030"/>
              <a:gd name="connsiteY500" fmla="*/ 3821 h 4878949"/>
              <a:gd name="connsiteX501" fmla="*/ 1117794 w 3418030"/>
              <a:gd name="connsiteY501" fmla="*/ 1237 h 4878949"/>
              <a:gd name="connsiteX502" fmla="*/ 1173109 w 3418030"/>
              <a:gd name="connsiteY502" fmla="*/ 1237 h 4878949"/>
              <a:gd name="connsiteX503" fmla="*/ 1190915 w 3418030"/>
              <a:gd name="connsiteY503" fmla="*/ 1237 h 4878949"/>
              <a:gd name="connsiteX504" fmla="*/ 1191329 w 3418030"/>
              <a:gd name="connsiteY504" fmla="*/ 1237 h 4878949"/>
              <a:gd name="connsiteX505" fmla="*/ 1191331 w 3418030"/>
              <a:gd name="connsiteY505" fmla="*/ 1237 h 487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</a:cxnLst>
            <a:rect l="l" t="t" r="r" b="b"/>
            <a:pathLst>
              <a:path w="3418030" h="4878949">
                <a:moveTo>
                  <a:pt x="1191331" y="0"/>
                </a:moveTo>
                <a:lnTo>
                  <a:pt x="1294432" y="0"/>
                </a:lnTo>
                <a:lnTo>
                  <a:pt x="1457098" y="0"/>
                </a:lnTo>
                <a:lnTo>
                  <a:pt x="1564784" y="0"/>
                </a:lnTo>
                <a:lnTo>
                  <a:pt x="2013538" y="0"/>
                </a:lnTo>
                <a:lnTo>
                  <a:pt x="2038520" y="0"/>
                </a:lnTo>
                <a:lnTo>
                  <a:pt x="2130825" y="0"/>
                </a:lnTo>
                <a:lnTo>
                  <a:pt x="2156238" y="0"/>
                </a:lnTo>
                <a:lnTo>
                  <a:pt x="2221889" y="0"/>
                </a:lnTo>
                <a:lnTo>
                  <a:pt x="2277890" y="0"/>
                </a:lnTo>
                <a:lnTo>
                  <a:pt x="2342770" y="0"/>
                </a:lnTo>
                <a:lnTo>
                  <a:pt x="2399737" y="0"/>
                </a:lnTo>
                <a:lnTo>
                  <a:pt x="2399737" y="1224"/>
                </a:lnTo>
                <a:lnTo>
                  <a:pt x="3278911" y="1224"/>
                </a:lnTo>
                <a:lnTo>
                  <a:pt x="3418030" y="1224"/>
                </a:lnTo>
                <a:lnTo>
                  <a:pt x="3418030" y="70784"/>
                </a:lnTo>
                <a:lnTo>
                  <a:pt x="3418030" y="685938"/>
                </a:lnTo>
                <a:lnTo>
                  <a:pt x="3418030" y="732837"/>
                </a:lnTo>
                <a:lnTo>
                  <a:pt x="3418030" y="755498"/>
                </a:lnTo>
                <a:lnTo>
                  <a:pt x="3418030" y="802397"/>
                </a:lnTo>
                <a:lnTo>
                  <a:pt x="3418030" y="1036312"/>
                </a:lnTo>
                <a:lnTo>
                  <a:pt x="3418030" y="1036923"/>
                </a:lnTo>
                <a:lnTo>
                  <a:pt x="3418030" y="1036933"/>
                </a:lnTo>
                <a:lnTo>
                  <a:pt x="3418030" y="1036943"/>
                </a:lnTo>
                <a:lnTo>
                  <a:pt x="3418030" y="1085589"/>
                </a:lnTo>
                <a:lnTo>
                  <a:pt x="3418030" y="1105871"/>
                </a:lnTo>
                <a:lnTo>
                  <a:pt x="3418030" y="1106482"/>
                </a:lnTo>
                <a:lnTo>
                  <a:pt x="3418030" y="1106491"/>
                </a:lnTo>
                <a:lnTo>
                  <a:pt x="3418030" y="1106501"/>
                </a:lnTo>
                <a:lnTo>
                  <a:pt x="3418030" y="1155149"/>
                </a:lnTo>
                <a:lnTo>
                  <a:pt x="3418030" y="1417551"/>
                </a:lnTo>
                <a:lnTo>
                  <a:pt x="3418030" y="1487111"/>
                </a:lnTo>
                <a:lnTo>
                  <a:pt x="3418030" y="1721026"/>
                </a:lnTo>
                <a:lnTo>
                  <a:pt x="3418030" y="1721637"/>
                </a:lnTo>
                <a:lnTo>
                  <a:pt x="3418030" y="1721646"/>
                </a:lnTo>
                <a:lnTo>
                  <a:pt x="3418030" y="1721657"/>
                </a:lnTo>
                <a:lnTo>
                  <a:pt x="3418030" y="1767925"/>
                </a:lnTo>
                <a:lnTo>
                  <a:pt x="3418030" y="1768536"/>
                </a:lnTo>
                <a:lnTo>
                  <a:pt x="3418030" y="1768546"/>
                </a:lnTo>
                <a:lnTo>
                  <a:pt x="3418030" y="1768556"/>
                </a:lnTo>
                <a:lnTo>
                  <a:pt x="3418030" y="1770303"/>
                </a:lnTo>
                <a:lnTo>
                  <a:pt x="3418030" y="1790585"/>
                </a:lnTo>
                <a:lnTo>
                  <a:pt x="3418030" y="1791196"/>
                </a:lnTo>
                <a:lnTo>
                  <a:pt x="3418030" y="1791205"/>
                </a:lnTo>
                <a:lnTo>
                  <a:pt x="3418030" y="1791215"/>
                </a:lnTo>
                <a:lnTo>
                  <a:pt x="3418030" y="1817203"/>
                </a:lnTo>
                <a:lnTo>
                  <a:pt x="3418030" y="1837484"/>
                </a:lnTo>
                <a:lnTo>
                  <a:pt x="3418030" y="1838095"/>
                </a:lnTo>
                <a:lnTo>
                  <a:pt x="3418030" y="1838105"/>
                </a:lnTo>
                <a:lnTo>
                  <a:pt x="3418030" y="1838115"/>
                </a:lnTo>
                <a:lnTo>
                  <a:pt x="3418030" y="1839863"/>
                </a:lnTo>
                <a:lnTo>
                  <a:pt x="3418030" y="1886762"/>
                </a:lnTo>
                <a:lnTo>
                  <a:pt x="3418030" y="2452639"/>
                </a:lnTo>
                <a:lnTo>
                  <a:pt x="3418030" y="2453250"/>
                </a:lnTo>
                <a:lnTo>
                  <a:pt x="3418030" y="2453260"/>
                </a:lnTo>
                <a:lnTo>
                  <a:pt x="3418030" y="2453270"/>
                </a:lnTo>
                <a:lnTo>
                  <a:pt x="3418030" y="2501917"/>
                </a:lnTo>
                <a:lnTo>
                  <a:pt x="3418030" y="2522198"/>
                </a:lnTo>
                <a:lnTo>
                  <a:pt x="3418030" y="2522809"/>
                </a:lnTo>
                <a:lnTo>
                  <a:pt x="3418030" y="2522819"/>
                </a:lnTo>
                <a:lnTo>
                  <a:pt x="3418030" y="2522830"/>
                </a:lnTo>
                <a:lnTo>
                  <a:pt x="3418030" y="2571476"/>
                </a:lnTo>
                <a:lnTo>
                  <a:pt x="3415609" y="2571476"/>
                </a:lnTo>
                <a:lnTo>
                  <a:pt x="3413143" y="2621619"/>
                </a:lnTo>
                <a:lnTo>
                  <a:pt x="3412693" y="2624661"/>
                </a:lnTo>
                <a:lnTo>
                  <a:pt x="3412480" y="2628713"/>
                </a:lnTo>
                <a:cubicBezTo>
                  <a:pt x="3406029" y="2689917"/>
                  <a:pt x="3394048" y="2749544"/>
                  <a:pt x="3377025" y="2807125"/>
                </a:cubicBezTo>
                <a:lnTo>
                  <a:pt x="3375576" y="2811322"/>
                </a:lnTo>
                <a:lnTo>
                  <a:pt x="3375395" y="2812045"/>
                </a:lnTo>
                <a:lnTo>
                  <a:pt x="3372842" y="2819247"/>
                </a:lnTo>
                <a:lnTo>
                  <a:pt x="3347771" y="2891903"/>
                </a:lnTo>
                <a:lnTo>
                  <a:pt x="3344429" y="2899360"/>
                </a:lnTo>
                <a:lnTo>
                  <a:pt x="3343424" y="2902194"/>
                </a:lnTo>
                <a:lnTo>
                  <a:pt x="3336294" y="2917516"/>
                </a:lnTo>
                <a:lnTo>
                  <a:pt x="3311321" y="2973257"/>
                </a:lnTo>
                <a:lnTo>
                  <a:pt x="3305517" y="2983659"/>
                </a:lnTo>
                <a:lnTo>
                  <a:pt x="3303314" y="2988394"/>
                </a:lnTo>
                <a:lnTo>
                  <a:pt x="3293601" y="3005019"/>
                </a:lnTo>
                <a:lnTo>
                  <a:pt x="3268042" y="3050833"/>
                </a:lnTo>
                <a:lnTo>
                  <a:pt x="3259248" y="3063817"/>
                </a:lnTo>
                <a:lnTo>
                  <a:pt x="3255513" y="3070215"/>
                </a:lnTo>
                <a:lnTo>
                  <a:pt x="3244196" y="3086045"/>
                </a:lnTo>
                <a:lnTo>
                  <a:pt x="3218302" y="3124280"/>
                </a:lnTo>
                <a:lnTo>
                  <a:pt x="3206037" y="3139430"/>
                </a:lnTo>
                <a:lnTo>
                  <a:pt x="3200464" y="3147227"/>
                </a:lnTo>
                <a:lnTo>
                  <a:pt x="3188229" y="3161424"/>
                </a:lnTo>
                <a:lnTo>
                  <a:pt x="3162468" y="3193243"/>
                </a:lnTo>
                <a:lnTo>
                  <a:pt x="3146287" y="3210097"/>
                </a:lnTo>
                <a:lnTo>
                  <a:pt x="3138613" y="3219003"/>
                </a:lnTo>
                <a:lnTo>
                  <a:pt x="3126010" y="3231219"/>
                </a:lnTo>
                <a:lnTo>
                  <a:pt x="3100905" y="3257369"/>
                </a:lnTo>
                <a:lnTo>
                  <a:pt x="3080407" y="3275420"/>
                </a:lnTo>
                <a:lnTo>
                  <a:pt x="3070407" y="3285113"/>
                </a:lnTo>
                <a:lnTo>
                  <a:pt x="3057904" y="3295236"/>
                </a:lnTo>
                <a:lnTo>
                  <a:pt x="3033981" y="3316304"/>
                </a:lnTo>
                <a:lnTo>
                  <a:pt x="3008795" y="3335002"/>
                </a:lnTo>
                <a:lnTo>
                  <a:pt x="2996290" y="3345128"/>
                </a:lnTo>
                <a:lnTo>
                  <a:pt x="2984301" y="3353185"/>
                </a:lnTo>
                <a:lnTo>
                  <a:pt x="2962062" y="3369695"/>
                </a:lnTo>
                <a:lnTo>
                  <a:pt x="2931835" y="3388450"/>
                </a:lnTo>
                <a:lnTo>
                  <a:pt x="2916709" y="3398618"/>
                </a:lnTo>
                <a:lnTo>
                  <a:pt x="2905603" y="3404726"/>
                </a:lnTo>
                <a:lnTo>
                  <a:pt x="2885517" y="3417189"/>
                </a:lnTo>
                <a:lnTo>
                  <a:pt x="2849882" y="3435375"/>
                </a:lnTo>
                <a:lnTo>
                  <a:pt x="2832108" y="3445153"/>
                </a:lnTo>
                <a:lnTo>
                  <a:pt x="2822219" y="3449494"/>
                </a:lnTo>
                <a:lnTo>
                  <a:pt x="2804710" y="3458432"/>
                </a:lnTo>
                <a:lnTo>
                  <a:pt x="2763233" y="3475393"/>
                </a:lnTo>
                <a:lnTo>
                  <a:pt x="2742933" y="3484308"/>
                </a:lnTo>
                <a:lnTo>
                  <a:pt x="2734565" y="3487117"/>
                </a:lnTo>
                <a:lnTo>
                  <a:pt x="2720010" y="3493070"/>
                </a:lnTo>
                <a:lnTo>
                  <a:pt x="2672049" y="3508117"/>
                </a:lnTo>
                <a:lnTo>
                  <a:pt x="2649630" y="3515648"/>
                </a:lnTo>
                <a:lnTo>
                  <a:pt x="2643052" y="3517214"/>
                </a:lnTo>
                <a:lnTo>
                  <a:pt x="2631783" y="3520749"/>
                </a:lnTo>
                <a:lnTo>
                  <a:pt x="2576079" y="3533167"/>
                </a:lnTo>
                <a:lnTo>
                  <a:pt x="2552643" y="3538747"/>
                </a:lnTo>
                <a:lnTo>
                  <a:pt x="2548104" y="3539401"/>
                </a:lnTo>
                <a:lnTo>
                  <a:pt x="2540397" y="3541118"/>
                </a:lnTo>
                <a:lnTo>
                  <a:pt x="2473383" y="3550158"/>
                </a:lnTo>
                <a:lnTo>
                  <a:pt x="2452420" y="3553176"/>
                </a:lnTo>
                <a:lnTo>
                  <a:pt x="2450212" y="3553284"/>
                </a:lnTo>
                <a:lnTo>
                  <a:pt x="2446216" y="3553824"/>
                </a:lnTo>
                <a:lnTo>
                  <a:pt x="2399737" y="3555943"/>
                </a:lnTo>
                <a:lnTo>
                  <a:pt x="2399737" y="3558529"/>
                </a:lnTo>
                <a:lnTo>
                  <a:pt x="2366297" y="3558529"/>
                </a:lnTo>
                <a:lnTo>
                  <a:pt x="2350286" y="3560726"/>
                </a:lnTo>
                <a:lnTo>
                  <a:pt x="2329679" y="3563743"/>
                </a:lnTo>
                <a:lnTo>
                  <a:pt x="2327509" y="3563851"/>
                </a:lnTo>
                <a:lnTo>
                  <a:pt x="2323580" y="3564391"/>
                </a:lnTo>
                <a:lnTo>
                  <a:pt x="2277890" y="3566510"/>
                </a:lnTo>
                <a:lnTo>
                  <a:pt x="2277890" y="3569096"/>
                </a:lnTo>
                <a:lnTo>
                  <a:pt x="2235765" y="3569096"/>
                </a:lnTo>
                <a:lnTo>
                  <a:pt x="2222205" y="3569096"/>
                </a:lnTo>
                <a:lnTo>
                  <a:pt x="2221889" y="3569096"/>
                </a:lnTo>
                <a:lnTo>
                  <a:pt x="2221889" y="3570333"/>
                </a:lnTo>
                <a:lnTo>
                  <a:pt x="2038520" y="3570333"/>
                </a:lnTo>
                <a:lnTo>
                  <a:pt x="2013539" y="3570333"/>
                </a:lnTo>
                <a:lnTo>
                  <a:pt x="1650818" y="3570333"/>
                </a:lnTo>
                <a:lnTo>
                  <a:pt x="1650818" y="3570744"/>
                </a:lnTo>
                <a:lnTo>
                  <a:pt x="1652012" y="3570744"/>
                </a:lnTo>
                <a:lnTo>
                  <a:pt x="1652012" y="3571721"/>
                </a:lnTo>
                <a:lnTo>
                  <a:pt x="1671221" y="3572716"/>
                </a:lnTo>
                <a:lnTo>
                  <a:pt x="1672387" y="3572898"/>
                </a:lnTo>
                <a:lnTo>
                  <a:pt x="1673940" y="3572984"/>
                </a:lnTo>
                <a:cubicBezTo>
                  <a:pt x="1697387" y="3575588"/>
                  <a:pt x="1720231" y="3580424"/>
                  <a:pt x="1742290" y="3587296"/>
                </a:cubicBezTo>
                <a:lnTo>
                  <a:pt x="1743898" y="3587880"/>
                </a:lnTo>
                <a:lnTo>
                  <a:pt x="1744176" y="3587953"/>
                </a:lnTo>
                <a:lnTo>
                  <a:pt x="1746934" y="3588984"/>
                </a:lnTo>
                <a:lnTo>
                  <a:pt x="1774769" y="3599104"/>
                </a:lnTo>
                <a:lnTo>
                  <a:pt x="1777626" y="3600453"/>
                </a:lnTo>
                <a:lnTo>
                  <a:pt x="1778712" y="3600858"/>
                </a:lnTo>
                <a:lnTo>
                  <a:pt x="1784582" y="3603737"/>
                </a:lnTo>
                <a:lnTo>
                  <a:pt x="1805936" y="3613817"/>
                </a:lnTo>
                <a:lnTo>
                  <a:pt x="1809922" y="3616160"/>
                </a:lnTo>
                <a:lnTo>
                  <a:pt x="1811736" y="3617049"/>
                </a:lnTo>
                <a:lnTo>
                  <a:pt x="1818105" y="3620970"/>
                </a:lnTo>
                <a:lnTo>
                  <a:pt x="1835657" y="3631287"/>
                </a:lnTo>
                <a:lnTo>
                  <a:pt x="1840631" y="3634836"/>
                </a:lnTo>
                <a:lnTo>
                  <a:pt x="1843082" y="3636344"/>
                </a:lnTo>
                <a:lnTo>
                  <a:pt x="1849146" y="3640912"/>
                </a:lnTo>
                <a:lnTo>
                  <a:pt x="1863794" y="3651364"/>
                </a:lnTo>
                <a:lnTo>
                  <a:pt x="1869598" y="3656316"/>
                </a:lnTo>
                <a:lnTo>
                  <a:pt x="1872586" y="3658565"/>
                </a:lnTo>
                <a:lnTo>
                  <a:pt x="1878025" y="3663504"/>
                </a:lnTo>
                <a:lnTo>
                  <a:pt x="1890215" y="3673902"/>
                </a:lnTo>
                <a:lnTo>
                  <a:pt x="1896672" y="3680434"/>
                </a:lnTo>
                <a:lnTo>
                  <a:pt x="1900084" y="3683531"/>
                </a:lnTo>
                <a:lnTo>
                  <a:pt x="1904763" y="3688618"/>
                </a:lnTo>
                <a:lnTo>
                  <a:pt x="1914782" y="3698752"/>
                </a:lnTo>
                <a:lnTo>
                  <a:pt x="1921697" y="3707026"/>
                </a:lnTo>
                <a:lnTo>
                  <a:pt x="1925411" y="3711062"/>
                </a:lnTo>
                <a:lnTo>
                  <a:pt x="1929289" y="3716109"/>
                </a:lnTo>
                <a:lnTo>
                  <a:pt x="1937360" y="3725766"/>
                </a:lnTo>
                <a:lnTo>
                  <a:pt x="1944523" y="3735932"/>
                </a:lnTo>
                <a:lnTo>
                  <a:pt x="1948403" y="3740980"/>
                </a:lnTo>
                <a:lnTo>
                  <a:pt x="1951490" y="3745819"/>
                </a:lnTo>
                <a:lnTo>
                  <a:pt x="1957815" y="3754796"/>
                </a:lnTo>
                <a:lnTo>
                  <a:pt x="1965000" y="3766998"/>
                </a:lnTo>
                <a:lnTo>
                  <a:pt x="1968895" y="3773103"/>
                </a:lnTo>
                <a:lnTo>
                  <a:pt x="1971236" y="3777586"/>
                </a:lnTo>
                <a:lnTo>
                  <a:pt x="1976010" y="3785694"/>
                </a:lnTo>
                <a:lnTo>
                  <a:pt x="1982978" y="3800078"/>
                </a:lnTo>
                <a:lnTo>
                  <a:pt x="1986724" y="3807252"/>
                </a:lnTo>
                <a:lnTo>
                  <a:pt x="1988387" y="3811244"/>
                </a:lnTo>
                <a:lnTo>
                  <a:pt x="1991811" y="3818312"/>
                </a:lnTo>
                <a:lnTo>
                  <a:pt x="1998309" y="3835054"/>
                </a:lnTo>
                <a:lnTo>
                  <a:pt x="2001724" y="3843248"/>
                </a:lnTo>
                <a:lnTo>
                  <a:pt x="2002801" y="3846626"/>
                </a:lnTo>
                <a:lnTo>
                  <a:pt x="2005081" y="3852501"/>
                </a:lnTo>
                <a:lnTo>
                  <a:pt x="2010846" y="3871861"/>
                </a:lnTo>
                <a:lnTo>
                  <a:pt x="2013730" y="3880910"/>
                </a:lnTo>
                <a:lnTo>
                  <a:pt x="2014331" y="3883565"/>
                </a:lnTo>
                <a:lnTo>
                  <a:pt x="2015685" y="3888114"/>
                </a:lnTo>
                <a:lnTo>
                  <a:pt x="2020442" y="3910600"/>
                </a:lnTo>
                <a:lnTo>
                  <a:pt x="2020535" y="3911014"/>
                </a:lnTo>
                <a:lnTo>
                  <a:pt x="2021162" y="3911014"/>
                </a:lnTo>
                <a:lnTo>
                  <a:pt x="2023207" y="3922096"/>
                </a:lnTo>
                <a:lnTo>
                  <a:pt x="2023457" y="3924341"/>
                </a:lnTo>
                <a:lnTo>
                  <a:pt x="2024115" y="3928152"/>
                </a:lnTo>
                <a:lnTo>
                  <a:pt x="2027578" y="3961293"/>
                </a:lnTo>
                <a:lnTo>
                  <a:pt x="2028734" y="3971660"/>
                </a:lnTo>
                <a:lnTo>
                  <a:pt x="2028775" y="3972751"/>
                </a:lnTo>
                <a:lnTo>
                  <a:pt x="2028982" y="3974727"/>
                </a:lnTo>
                <a:lnTo>
                  <a:pt x="2029794" y="3997713"/>
                </a:lnTo>
                <a:lnTo>
                  <a:pt x="2030784" y="3997713"/>
                </a:lnTo>
                <a:lnTo>
                  <a:pt x="2030784" y="4018905"/>
                </a:lnTo>
                <a:lnTo>
                  <a:pt x="2030784" y="4025726"/>
                </a:lnTo>
                <a:lnTo>
                  <a:pt x="2030784" y="4025885"/>
                </a:lnTo>
                <a:lnTo>
                  <a:pt x="2030784" y="4025886"/>
                </a:lnTo>
                <a:lnTo>
                  <a:pt x="2031258" y="4025886"/>
                </a:lnTo>
                <a:lnTo>
                  <a:pt x="2031258" y="4065384"/>
                </a:lnTo>
                <a:lnTo>
                  <a:pt x="2031258" y="4127703"/>
                </a:lnTo>
                <a:lnTo>
                  <a:pt x="2031258" y="4168958"/>
                </a:lnTo>
                <a:lnTo>
                  <a:pt x="2031258" y="4340879"/>
                </a:lnTo>
                <a:lnTo>
                  <a:pt x="2031258" y="4350450"/>
                </a:lnTo>
                <a:lnTo>
                  <a:pt x="2031258" y="4385812"/>
                </a:lnTo>
                <a:lnTo>
                  <a:pt x="2031258" y="4395548"/>
                </a:lnTo>
                <a:lnTo>
                  <a:pt x="2031258" y="4420700"/>
                </a:lnTo>
                <a:lnTo>
                  <a:pt x="2031258" y="4442154"/>
                </a:lnTo>
                <a:lnTo>
                  <a:pt x="2031258" y="4467010"/>
                </a:lnTo>
                <a:lnTo>
                  <a:pt x="2031258" y="4488834"/>
                </a:lnTo>
                <a:lnTo>
                  <a:pt x="2030789" y="4488834"/>
                </a:lnTo>
                <a:lnTo>
                  <a:pt x="2030789" y="4825652"/>
                </a:lnTo>
                <a:lnTo>
                  <a:pt x="2030789" y="4878949"/>
                </a:lnTo>
                <a:lnTo>
                  <a:pt x="2004140" y="4878949"/>
                </a:lnTo>
                <a:lnTo>
                  <a:pt x="1768470" y="4878949"/>
                </a:lnTo>
                <a:lnTo>
                  <a:pt x="1750503" y="4878949"/>
                </a:lnTo>
                <a:lnTo>
                  <a:pt x="1741822" y="4878949"/>
                </a:lnTo>
                <a:lnTo>
                  <a:pt x="1723854" y="4878949"/>
                </a:lnTo>
                <a:lnTo>
                  <a:pt x="1634240" y="4878949"/>
                </a:lnTo>
                <a:lnTo>
                  <a:pt x="1634005" y="4878949"/>
                </a:lnTo>
                <a:lnTo>
                  <a:pt x="1634002" y="4878949"/>
                </a:lnTo>
                <a:lnTo>
                  <a:pt x="1633998" y="4878949"/>
                </a:lnTo>
                <a:lnTo>
                  <a:pt x="1615361" y="4878949"/>
                </a:lnTo>
                <a:lnTo>
                  <a:pt x="1607591" y="4878949"/>
                </a:lnTo>
                <a:lnTo>
                  <a:pt x="1607357" y="4878949"/>
                </a:lnTo>
                <a:lnTo>
                  <a:pt x="1607354" y="4878949"/>
                </a:lnTo>
                <a:lnTo>
                  <a:pt x="1607350" y="4878949"/>
                </a:lnTo>
                <a:lnTo>
                  <a:pt x="1588712" y="4878949"/>
                </a:lnTo>
                <a:lnTo>
                  <a:pt x="1488184" y="4878949"/>
                </a:lnTo>
                <a:lnTo>
                  <a:pt x="1461535" y="4878949"/>
                </a:lnTo>
                <a:lnTo>
                  <a:pt x="1371921" y="4878949"/>
                </a:lnTo>
                <a:lnTo>
                  <a:pt x="1371687" y="4878949"/>
                </a:lnTo>
                <a:lnTo>
                  <a:pt x="1371683" y="4878949"/>
                </a:lnTo>
                <a:lnTo>
                  <a:pt x="1371679" y="4878949"/>
                </a:lnTo>
                <a:lnTo>
                  <a:pt x="1367507" y="4878949"/>
                </a:lnTo>
                <a:lnTo>
                  <a:pt x="1353954" y="4878949"/>
                </a:lnTo>
                <a:lnTo>
                  <a:pt x="1353719" y="4878949"/>
                </a:lnTo>
                <a:lnTo>
                  <a:pt x="1353716" y="4878949"/>
                </a:lnTo>
                <a:lnTo>
                  <a:pt x="1353712" y="4878949"/>
                </a:lnTo>
                <a:lnTo>
                  <a:pt x="1353043" y="4878949"/>
                </a:lnTo>
                <a:lnTo>
                  <a:pt x="1345272" y="4878949"/>
                </a:lnTo>
                <a:lnTo>
                  <a:pt x="1345038" y="4878949"/>
                </a:lnTo>
                <a:lnTo>
                  <a:pt x="1345035" y="4878949"/>
                </a:lnTo>
                <a:lnTo>
                  <a:pt x="1345031" y="4878949"/>
                </a:lnTo>
                <a:lnTo>
                  <a:pt x="1340858" y="4878949"/>
                </a:lnTo>
                <a:lnTo>
                  <a:pt x="1335075" y="4878949"/>
                </a:lnTo>
                <a:lnTo>
                  <a:pt x="1327305" y="4878949"/>
                </a:lnTo>
                <a:lnTo>
                  <a:pt x="1327071" y="4878949"/>
                </a:lnTo>
                <a:lnTo>
                  <a:pt x="1327067" y="4878949"/>
                </a:lnTo>
                <a:lnTo>
                  <a:pt x="1327063" y="4878949"/>
                </a:lnTo>
                <a:lnTo>
                  <a:pt x="1326394" y="4878949"/>
                </a:lnTo>
                <a:lnTo>
                  <a:pt x="1308426" y="4878949"/>
                </a:lnTo>
                <a:lnTo>
                  <a:pt x="1105188" y="4878949"/>
                </a:lnTo>
                <a:lnTo>
                  <a:pt x="1091635" y="4878949"/>
                </a:lnTo>
                <a:lnTo>
                  <a:pt x="1091401" y="4878949"/>
                </a:lnTo>
                <a:lnTo>
                  <a:pt x="1091397" y="4878949"/>
                </a:lnTo>
                <a:lnTo>
                  <a:pt x="1091393" y="4878949"/>
                </a:lnTo>
                <a:lnTo>
                  <a:pt x="1087221" y="4878949"/>
                </a:lnTo>
                <a:lnTo>
                  <a:pt x="1078540" y="4878949"/>
                </a:lnTo>
                <a:lnTo>
                  <a:pt x="1072756" y="4878949"/>
                </a:lnTo>
                <a:lnTo>
                  <a:pt x="1064986" y="4878949"/>
                </a:lnTo>
                <a:lnTo>
                  <a:pt x="1064752" y="4878949"/>
                </a:lnTo>
                <a:lnTo>
                  <a:pt x="1064748" y="4878949"/>
                </a:lnTo>
                <a:lnTo>
                  <a:pt x="1064745" y="4878949"/>
                </a:lnTo>
                <a:lnTo>
                  <a:pt x="1060572" y="4878949"/>
                </a:lnTo>
                <a:lnTo>
                  <a:pt x="1046108" y="4878949"/>
                </a:lnTo>
                <a:lnTo>
                  <a:pt x="970958" y="4878949"/>
                </a:lnTo>
                <a:lnTo>
                  <a:pt x="970723" y="4878949"/>
                </a:lnTo>
                <a:lnTo>
                  <a:pt x="970720" y="4878949"/>
                </a:lnTo>
                <a:lnTo>
                  <a:pt x="970716" y="4878949"/>
                </a:lnTo>
                <a:lnTo>
                  <a:pt x="952079" y="4878949"/>
                </a:lnTo>
                <a:lnTo>
                  <a:pt x="944309" y="4878949"/>
                </a:lnTo>
                <a:lnTo>
                  <a:pt x="944075" y="4878949"/>
                </a:lnTo>
                <a:lnTo>
                  <a:pt x="944072" y="4878949"/>
                </a:lnTo>
                <a:lnTo>
                  <a:pt x="944068" y="4878949"/>
                </a:lnTo>
                <a:lnTo>
                  <a:pt x="925430" y="4878949"/>
                </a:lnTo>
                <a:lnTo>
                  <a:pt x="824902" y="4878949"/>
                </a:lnTo>
                <a:lnTo>
                  <a:pt x="798253" y="4878949"/>
                </a:lnTo>
                <a:lnTo>
                  <a:pt x="708639" y="4878949"/>
                </a:lnTo>
                <a:lnTo>
                  <a:pt x="708405" y="4878949"/>
                </a:lnTo>
                <a:lnTo>
                  <a:pt x="708401" y="4878949"/>
                </a:lnTo>
                <a:lnTo>
                  <a:pt x="708397" y="4878949"/>
                </a:lnTo>
                <a:lnTo>
                  <a:pt x="690672" y="4878949"/>
                </a:lnTo>
                <a:lnTo>
                  <a:pt x="690437" y="4878949"/>
                </a:lnTo>
                <a:lnTo>
                  <a:pt x="690434" y="4878949"/>
                </a:lnTo>
                <a:lnTo>
                  <a:pt x="690430" y="4878949"/>
                </a:lnTo>
                <a:lnTo>
                  <a:pt x="689761" y="4878949"/>
                </a:lnTo>
                <a:lnTo>
                  <a:pt x="681990" y="4878949"/>
                </a:lnTo>
                <a:lnTo>
                  <a:pt x="681756" y="4878949"/>
                </a:lnTo>
                <a:lnTo>
                  <a:pt x="681753" y="4878949"/>
                </a:lnTo>
                <a:lnTo>
                  <a:pt x="681749" y="4878949"/>
                </a:lnTo>
                <a:lnTo>
                  <a:pt x="671793" y="4878949"/>
                </a:lnTo>
                <a:lnTo>
                  <a:pt x="664023" y="4878949"/>
                </a:lnTo>
                <a:lnTo>
                  <a:pt x="663789" y="4878949"/>
                </a:lnTo>
                <a:lnTo>
                  <a:pt x="663785" y="4878949"/>
                </a:lnTo>
                <a:lnTo>
                  <a:pt x="663781" y="4878949"/>
                </a:lnTo>
                <a:lnTo>
                  <a:pt x="663112" y="4878949"/>
                </a:lnTo>
                <a:lnTo>
                  <a:pt x="645144" y="4878949"/>
                </a:lnTo>
                <a:lnTo>
                  <a:pt x="428353" y="4878949"/>
                </a:lnTo>
                <a:lnTo>
                  <a:pt x="428119" y="4878949"/>
                </a:lnTo>
                <a:lnTo>
                  <a:pt x="428115" y="4878949"/>
                </a:lnTo>
                <a:lnTo>
                  <a:pt x="428111" y="4878949"/>
                </a:lnTo>
                <a:lnTo>
                  <a:pt x="409474" y="4878949"/>
                </a:lnTo>
                <a:lnTo>
                  <a:pt x="401704" y="4878949"/>
                </a:lnTo>
                <a:lnTo>
                  <a:pt x="401470" y="4878949"/>
                </a:lnTo>
                <a:lnTo>
                  <a:pt x="401466" y="4878949"/>
                </a:lnTo>
                <a:lnTo>
                  <a:pt x="401462" y="4878949"/>
                </a:lnTo>
                <a:lnTo>
                  <a:pt x="382826" y="4878949"/>
                </a:lnTo>
                <a:lnTo>
                  <a:pt x="382826" y="4878022"/>
                </a:lnTo>
                <a:lnTo>
                  <a:pt x="363616" y="4877077"/>
                </a:lnTo>
                <a:lnTo>
                  <a:pt x="362450" y="4876905"/>
                </a:lnTo>
                <a:lnTo>
                  <a:pt x="360898" y="4876823"/>
                </a:lnTo>
                <a:cubicBezTo>
                  <a:pt x="337450" y="4874352"/>
                  <a:pt x="314607" y="4869762"/>
                  <a:pt x="292547" y="4863240"/>
                </a:cubicBezTo>
                <a:lnTo>
                  <a:pt x="290939" y="4862685"/>
                </a:lnTo>
                <a:lnTo>
                  <a:pt x="290662" y="4862616"/>
                </a:lnTo>
                <a:lnTo>
                  <a:pt x="287903" y="4861637"/>
                </a:lnTo>
                <a:lnTo>
                  <a:pt x="260068" y="4852032"/>
                </a:lnTo>
                <a:lnTo>
                  <a:pt x="257211" y="4850752"/>
                </a:lnTo>
                <a:lnTo>
                  <a:pt x="256125" y="4850367"/>
                </a:lnTo>
                <a:lnTo>
                  <a:pt x="250255" y="4847636"/>
                </a:lnTo>
                <a:lnTo>
                  <a:pt x="228901" y="4838068"/>
                </a:lnTo>
                <a:lnTo>
                  <a:pt x="224915" y="4835845"/>
                </a:lnTo>
                <a:lnTo>
                  <a:pt x="223101" y="4835001"/>
                </a:lnTo>
                <a:lnTo>
                  <a:pt x="216732" y="4831280"/>
                </a:lnTo>
                <a:lnTo>
                  <a:pt x="199181" y="4821488"/>
                </a:lnTo>
                <a:lnTo>
                  <a:pt x="194206" y="4818119"/>
                </a:lnTo>
                <a:lnTo>
                  <a:pt x="191756" y="4816688"/>
                </a:lnTo>
                <a:lnTo>
                  <a:pt x="185691" y="4812352"/>
                </a:lnTo>
                <a:lnTo>
                  <a:pt x="171043" y="4802432"/>
                </a:lnTo>
                <a:lnTo>
                  <a:pt x="165239" y="4797733"/>
                </a:lnTo>
                <a:lnTo>
                  <a:pt x="162251" y="4795598"/>
                </a:lnTo>
                <a:lnTo>
                  <a:pt x="156813" y="4790911"/>
                </a:lnTo>
                <a:lnTo>
                  <a:pt x="144622" y="4781042"/>
                </a:lnTo>
                <a:lnTo>
                  <a:pt x="138166" y="4774843"/>
                </a:lnTo>
                <a:lnTo>
                  <a:pt x="134753" y="4771903"/>
                </a:lnTo>
                <a:lnTo>
                  <a:pt x="130074" y="4767074"/>
                </a:lnTo>
                <a:lnTo>
                  <a:pt x="120055" y="4757456"/>
                </a:lnTo>
                <a:lnTo>
                  <a:pt x="113141" y="4749604"/>
                </a:lnTo>
                <a:lnTo>
                  <a:pt x="109426" y="4745772"/>
                </a:lnTo>
                <a:lnTo>
                  <a:pt x="105549" y="4740983"/>
                </a:lnTo>
                <a:lnTo>
                  <a:pt x="97477" y="4731817"/>
                </a:lnTo>
                <a:lnTo>
                  <a:pt x="90315" y="4722168"/>
                </a:lnTo>
                <a:lnTo>
                  <a:pt x="86434" y="4717378"/>
                </a:lnTo>
                <a:lnTo>
                  <a:pt x="83347" y="4712785"/>
                </a:lnTo>
                <a:lnTo>
                  <a:pt x="77022" y="4704265"/>
                </a:lnTo>
                <a:lnTo>
                  <a:pt x="69837" y="4692685"/>
                </a:lnTo>
                <a:lnTo>
                  <a:pt x="65942" y="4686890"/>
                </a:lnTo>
                <a:lnTo>
                  <a:pt x="63602" y="4682635"/>
                </a:lnTo>
                <a:lnTo>
                  <a:pt x="58828" y="4674940"/>
                </a:lnTo>
                <a:lnTo>
                  <a:pt x="51860" y="4661288"/>
                </a:lnTo>
                <a:lnTo>
                  <a:pt x="48115" y="4654479"/>
                </a:lnTo>
                <a:lnTo>
                  <a:pt x="46451" y="4650690"/>
                </a:lnTo>
                <a:lnTo>
                  <a:pt x="43027" y="4643982"/>
                </a:lnTo>
                <a:lnTo>
                  <a:pt x="36529" y="4628092"/>
                </a:lnTo>
                <a:lnTo>
                  <a:pt x="33115" y="4620315"/>
                </a:lnTo>
                <a:lnTo>
                  <a:pt x="32037" y="4617109"/>
                </a:lnTo>
                <a:lnTo>
                  <a:pt x="29757" y="4611533"/>
                </a:lnTo>
                <a:lnTo>
                  <a:pt x="23992" y="4593159"/>
                </a:lnTo>
                <a:lnTo>
                  <a:pt x="21107" y="4584570"/>
                </a:lnTo>
                <a:lnTo>
                  <a:pt x="20507" y="4582050"/>
                </a:lnTo>
                <a:lnTo>
                  <a:pt x="19153" y="4577733"/>
                </a:lnTo>
                <a:lnTo>
                  <a:pt x="14395" y="4556392"/>
                </a:lnTo>
                <a:lnTo>
                  <a:pt x="12258" y="4547414"/>
                </a:lnTo>
                <a:lnTo>
                  <a:pt x="12008" y="4545675"/>
                </a:lnTo>
                <a:lnTo>
                  <a:pt x="11349" y="4542722"/>
                </a:lnTo>
                <a:lnTo>
                  <a:pt x="7886" y="4517048"/>
                </a:lnTo>
                <a:lnTo>
                  <a:pt x="6730" y="4509017"/>
                </a:lnTo>
                <a:lnTo>
                  <a:pt x="6688" y="4508172"/>
                </a:lnTo>
                <a:lnTo>
                  <a:pt x="6482" y="4506641"/>
                </a:lnTo>
                <a:lnTo>
                  <a:pt x="5671" y="4488834"/>
                </a:lnTo>
                <a:lnTo>
                  <a:pt x="4679" y="4488834"/>
                </a:lnTo>
                <a:lnTo>
                  <a:pt x="4679" y="4476023"/>
                </a:lnTo>
                <a:lnTo>
                  <a:pt x="3837" y="4469889"/>
                </a:lnTo>
                <a:lnTo>
                  <a:pt x="2681" y="4461995"/>
                </a:lnTo>
                <a:lnTo>
                  <a:pt x="2640" y="4461163"/>
                </a:lnTo>
                <a:lnTo>
                  <a:pt x="2433" y="4459658"/>
                </a:lnTo>
                <a:lnTo>
                  <a:pt x="1621" y="4442154"/>
                </a:lnTo>
                <a:lnTo>
                  <a:pt x="631" y="4442154"/>
                </a:lnTo>
                <a:lnTo>
                  <a:pt x="631" y="4426015"/>
                </a:lnTo>
                <a:lnTo>
                  <a:pt x="631" y="4420821"/>
                </a:lnTo>
                <a:lnTo>
                  <a:pt x="631" y="4420700"/>
                </a:lnTo>
                <a:lnTo>
                  <a:pt x="157" y="4420700"/>
                </a:lnTo>
                <a:lnTo>
                  <a:pt x="157" y="4350450"/>
                </a:lnTo>
                <a:lnTo>
                  <a:pt x="157" y="4340879"/>
                </a:lnTo>
                <a:lnTo>
                  <a:pt x="157" y="4127703"/>
                </a:lnTo>
                <a:lnTo>
                  <a:pt x="157" y="4025885"/>
                </a:lnTo>
                <a:lnTo>
                  <a:pt x="157" y="3997713"/>
                </a:lnTo>
                <a:lnTo>
                  <a:pt x="626" y="3997713"/>
                </a:lnTo>
                <a:lnTo>
                  <a:pt x="626" y="3911014"/>
                </a:lnTo>
                <a:lnTo>
                  <a:pt x="0" y="3911014"/>
                </a:lnTo>
                <a:lnTo>
                  <a:pt x="0" y="3908592"/>
                </a:lnTo>
                <a:lnTo>
                  <a:pt x="0" y="3570744"/>
                </a:lnTo>
                <a:lnTo>
                  <a:pt x="0" y="2076617"/>
                </a:lnTo>
                <a:lnTo>
                  <a:pt x="3302" y="2076617"/>
                </a:lnTo>
                <a:lnTo>
                  <a:pt x="3302" y="2074287"/>
                </a:lnTo>
                <a:lnTo>
                  <a:pt x="3302" y="1850939"/>
                </a:lnTo>
                <a:lnTo>
                  <a:pt x="3302" y="1850328"/>
                </a:lnTo>
                <a:lnTo>
                  <a:pt x="3301" y="1850319"/>
                </a:lnTo>
                <a:lnTo>
                  <a:pt x="3302" y="1850309"/>
                </a:lnTo>
                <a:lnTo>
                  <a:pt x="3302" y="1804040"/>
                </a:lnTo>
                <a:lnTo>
                  <a:pt x="3302" y="1803429"/>
                </a:lnTo>
                <a:lnTo>
                  <a:pt x="3301" y="1803419"/>
                </a:lnTo>
                <a:lnTo>
                  <a:pt x="3302" y="1803409"/>
                </a:lnTo>
                <a:lnTo>
                  <a:pt x="3302" y="1801662"/>
                </a:lnTo>
                <a:lnTo>
                  <a:pt x="3302" y="1770814"/>
                </a:lnTo>
                <a:lnTo>
                  <a:pt x="3302" y="1770203"/>
                </a:lnTo>
                <a:lnTo>
                  <a:pt x="3301" y="1770192"/>
                </a:lnTo>
                <a:lnTo>
                  <a:pt x="3302" y="1770183"/>
                </a:lnTo>
                <a:lnTo>
                  <a:pt x="3302" y="1754762"/>
                </a:lnTo>
                <a:lnTo>
                  <a:pt x="3302" y="1723914"/>
                </a:lnTo>
                <a:lnTo>
                  <a:pt x="3302" y="1723304"/>
                </a:lnTo>
                <a:lnTo>
                  <a:pt x="3301" y="1723293"/>
                </a:lnTo>
                <a:lnTo>
                  <a:pt x="3302" y="1723284"/>
                </a:lnTo>
                <a:lnTo>
                  <a:pt x="3302" y="1721537"/>
                </a:lnTo>
                <a:lnTo>
                  <a:pt x="3302" y="1674636"/>
                </a:lnTo>
                <a:lnTo>
                  <a:pt x="3302" y="1119326"/>
                </a:lnTo>
                <a:lnTo>
                  <a:pt x="3302" y="1118715"/>
                </a:lnTo>
                <a:lnTo>
                  <a:pt x="3301" y="1118705"/>
                </a:lnTo>
                <a:lnTo>
                  <a:pt x="3302" y="1118695"/>
                </a:lnTo>
                <a:lnTo>
                  <a:pt x="3302" y="1070048"/>
                </a:lnTo>
                <a:lnTo>
                  <a:pt x="3302" y="1039200"/>
                </a:lnTo>
                <a:lnTo>
                  <a:pt x="3302" y="1038590"/>
                </a:lnTo>
                <a:lnTo>
                  <a:pt x="3301" y="1038579"/>
                </a:lnTo>
                <a:lnTo>
                  <a:pt x="3302" y="1038570"/>
                </a:lnTo>
                <a:lnTo>
                  <a:pt x="3302" y="989923"/>
                </a:lnTo>
                <a:lnTo>
                  <a:pt x="5852" y="989923"/>
                </a:lnTo>
                <a:lnTo>
                  <a:pt x="8449" y="939781"/>
                </a:lnTo>
                <a:lnTo>
                  <a:pt x="8925" y="936738"/>
                </a:lnTo>
                <a:lnTo>
                  <a:pt x="9149" y="932684"/>
                </a:lnTo>
                <a:cubicBezTo>
                  <a:pt x="15946" y="871482"/>
                  <a:pt x="28569" y="811856"/>
                  <a:pt x="46507" y="754274"/>
                </a:cubicBezTo>
                <a:lnTo>
                  <a:pt x="48032" y="750077"/>
                </a:lnTo>
                <a:lnTo>
                  <a:pt x="48222" y="749353"/>
                </a:lnTo>
                <a:lnTo>
                  <a:pt x="50914" y="742152"/>
                </a:lnTo>
                <a:lnTo>
                  <a:pt x="77329" y="669497"/>
                </a:lnTo>
                <a:lnTo>
                  <a:pt x="80849" y="662039"/>
                </a:lnTo>
                <a:lnTo>
                  <a:pt x="81908" y="659204"/>
                </a:lnTo>
                <a:lnTo>
                  <a:pt x="89422" y="643883"/>
                </a:lnTo>
                <a:lnTo>
                  <a:pt x="115734" y="588143"/>
                </a:lnTo>
                <a:lnTo>
                  <a:pt x="121848" y="577740"/>
                </a:lnTo>
                <a:lnTo>
                  <a:pt x="124169" y="573005"/>
                </a:lnTo>
                <a:lnTo>
                  <a:pt x="134403" y="556381"/>
                </a:lnTo>
                <a:lnTo>
                  <a:pt x="161333" y="510566"/>
                </a:lnTo>
                <a:lnTo>
                  <a:pt x="170598" y="497582"/>
                </a:lnTo>
                <a:lnTo>
                  <a:pt x="174534" y="491185"/>
                </a:lnTo>
                <a:lnTo>
                  <a:pt x="186458" y="475354"/>
                </a:lnTo>
                <a:lnTo>
                  <a:pt x="213741" y="437120"/>
                </a:lnTo>
                <a:lnTo>
                  <a:pt x="226666" y="421970"/>
                </a:lnTo>
                <a:lnTo>
                  <a:pt x="232537" y="414172"/>
                </a:lnTo>
                <a:lnTo>
                  <a:pt x="245428" y="399975"/>
                </a:lnTo>
                <a:lnTo>
                  <a:pt x="272569" y="368155"/>
                </a:lnTo>
                <a:lnTo>
                  <a:pt x="289619" y="351302"/>
                </a:lnTo>
                <a:lnTo>
                  <a:pt x="297703" y="342396"/>
                </a:lnTo>
                <a:lnTo>
                  <a:pt x="310983" y="330181"/>
                </a:lnTo>
                <a:lnTo>
                  <a:pt x="337434" y="304029"/>
                </a:lnTo>
                <a:lnTo>
                  <a:pt x="359031" y="285980"/>
                </a:lnTo>
                <a:lnTo>
                  <a:pt x="369567" y="276286"/>
                </a:lnTo>
                <a:lnTo>
                  <a:pt x="382740" y="266163"/>
                </a:lnTo>
                <a:lnTo>
                  <a:pt x="407948" y="245095"/>
                </a:lnTo>
                <a:lnTo>
                  <a:pt x="434483" y="226398"/>
                </a:lnTo>
                <a:lnTo>
                  <a:pt x="447659" y="216272"/>
                </a:lnTo>
                <a:lnTo>
                  <a:pt x="460291" y="208214"/>
                </a:lnTo>
                <a:lnTo>
                  <a:pt x="483722" y="191703"/>
                </a:lnTo>
                <a:lnTo>
                  <a:pt x="515572" y="172948"/>
                </a:lnTo>
                <a:lnTo>
                  <a:pt x="531508" y="162782"/>
                </a:lnTo>
                <a:lnTo>
                  <a:pt x="543209" y="156673"/>
                </a:lnTo>
                <a:lnTo>
                  <a:pt x="564373" y="144210"/>
                </a:lnTo>
                <a:lnTo>
                  <a:pt x="601919" y="126023"/>
                </a:lnTo>
                <a:lnTo>
                  <a:pt x="620646" y="116246"/>
                </a:lnTo>
                <a:lnTo>
                  <a:pt x="631065" y="111905"/>
                </a:lnTo>
                <a:lnTo>
                  <a:pt x="649513" y="102967"/>
                </a:lnTo>
                <a:lnTo>
                  <a:pt x="693215" y="86005"/>
                </a:lnTo>
                <a:lnTo>
                  <a:pt x="714604" y="77091"/>
                </a:lnTo>
                <a:lnTo>
                  <a:pt x="723421" y="74281"/>
                </a:lnTo>
                <a:lnTo>
                  <a:pt x="738755" y="68329"/>
                </a:lnTo>
                <a:lnTo>
                  <a:pt x="789290" y="53281"/>
                </a:lnTo>
                <a:lnTo>
                  <a:pt x="812911" y="45751"/>
                </a:lnTo>
                <a:lnTo>
                  <a:pt x="819840" y="44184"/>
                </a:lnTo>
                <a:lnTo>
                  <a:pt x="831714" y="40649"/>
                </a:lnTo>
                <a:lnTo>
                  <a:pt x="890408" y="28233"/>
                </a:lnTo>
                <a:lnTo>
                  <a:pt x="891488" y="27989"/>
                </a:lnTo>
                <a:lnTo>
                  <a:pt x="891488" y="26353"/>
                </a:lnTo>
                <a:lnTo>
                  <a:pt x="920414" y="21016"/>
                </a:lnTo>
                <a:lnTo>
                  <a:pt x="926275" y="20363"/>
                </a:lnTo>
                <a:lnTo>
                  <a:pt x="936223" y="18645"/>
                </a:lnTo>
                <a:lnTo>
                  <a:pt x="1022729" y="9605"/>
                </a:lnTo>
                <a:lnTo>
                  <a:pt x="1049789" y="6588"/>
                </a:lnTo>
                <a:lnTo>
                  <a:pt x="1052637" y="6482"/>
                </a:lnTo>
                <a:lnTo>
                  <a:pt x="1057795" y="5941"/>
                </a:lnTo>
                <a:lnTo>
                  <a:pt x="1117794" y="3821"/>
                </a:lnTo>
                <a:lnTo>
                  <a:pt x="1117794" y="1237"/>
                </a:lnTo>
                <a:lnTo>
                  <a:pt x="1173109" y="1237"/>
                </a:lnTo>
                <a:lnTo>
                  <a:pt x="1190915" y="1237"/>
                </a:lnTo>
                <a:lnTo>
                  <a:pt x="1191329" y="1237"/>
                </a:lnTo>
                <a:lnTo>
                  <a:pt x="1191331" y="12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8294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9D353B-ABC3-44AD-99B2-1F71C10687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38F164-5992-4860-85C0-F3EFE68D64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284E8-7FB5-4841-98C6-1A8F83F53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96E8AB-4F18-46F8-8033-59F187ADC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DAAA37-F541-43E2-8349-1A03A752A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54162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813311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753B3EF-D4B7-4A79-9D8C-1B88C55A45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715251" y="1104900"/>
            <a:ext cx="2181225" cy="4564380"/>
          </a:xfrm>
          <a:custGeom>
            <a:avLst/>
            <a:gdLst>
              <a:gd name="connsiteX0" fmla="*/ 194587 w 2181225"/>
              <a:gd name="connsiteY0" fmla="*/ 0 h 4564380"/>
              <a:gd name="connsiteX1" fmla="*/ 1986638 w 2181225"/>
              <a:gd name="connsiteY1" fmla="*/ 0 h 4564380"/>
              <a:gd name="connsiteX2" fmla="*/ 2181225 w 2181225"/>
              <a:gd name="connsiteY2" fmla="*/ 194587 h 4564380"/>
              <a:gd name="connsiteX3" fmla="*/ 2181225 w 2181225"/>
              <a:gd name="connsiteY3" fmla="*/ 4369793 h 4564380"/>
              <a:gd name="connsiteX4" fmla="*/ 1986638 w 2181225"/>
              <a:gd name="connsiteY4" fmla="*/ 4564380 h 4564380"/>
              <a:gd name="connsiteX5" fmla="*/ 194587 w 2181225"/>
              <a:gd name="connsiteY5" fmla="*/ 4564380 h 4564380"/>
              <a:gd name="connsiteX6" fmla="*/ 0 w 2181225"/>
              <a:gd name="connsiteY6" fmla="*/ 4369793 h 4564380"/>
              <a:gd name="connsiteX7" fmla="*/ 0 w 2181225"/>
              <a:gd name="connsiteY7" fmla="*/ 194587 h 4564380"/>
              <a:gd name="connsiteX8" fmla="*/ 194587 w 2181225"/>
              <a:gd name="connsiteY8" fmla="*/ 0 h 456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81225" h="4564380">
                <a:moveTo>
                  <a:pt x="194587" y="0"/>
                </a:moveTo>
                <a:lnTo>
                  <a:pt x="1986638" y="0"/>
                </a:lnTo>
                <a:cubicBezTo>
                  <a:pt x="2094105" y="0"/>
                  <a:pt x="2181225" y="87120"/>
                  <a:pt x="2181225" y="194587"/>
                </a:cubicBezTo>
                <a:lnTo>
                  <a:pt x="2181225" y="4369793"/>
                </a:lnTo>
                <a:cubicBezTo>
                  <a:pt x="2181225" y="4477260"/>
                  <a:pt x="2094105" y="4564380"/>
                  <a:pt x="1986638" y="4564380"/>
                </a:cubicBezTo>
                <a:lnTo>
                  <a:pt x="194587" y="4564380"/>
                </a:lnTo>
                <a:cubicBezTo>
                  <a:pt x="87120" y="4564380"/>
                  <a:pt x="0" y="4477260"/>
                  <a:pt x="0" y="4369793"/>
                </a:cubicBezTo>
                <a:lnTo>
                  <a:pt x="0" y="194587"/>
                </a:lnTo>
                <a:cubicBezTo>
                  <a:pt x="0" y="87120"/>
                  <a:pt x="87120" y="0"/>
                  <a:pt x="19458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73772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BA3D676-62DA-4803-8CB5-DF82E15887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4299520"/>
            <a:ext cx="12191999" cy="2570073"/>
          </a:xfrm>
          <a:custGeom>
            <a:avLst/>
            <a:gdLst>
              <a:gd name="connsiteX0" fmla="*/ 1126324 w 12191999"/>
              <a:gd name="connsiteY0" fmla="*/ 0 h 2570073"/>
              <a:gd name="connsiteX1" fmla="*/ 2454730 w 12191999"/>
              <a:gd name="connsiteY1" fmla="*/ 0 h 2570073"/>
              <a:gd name="connsiteX2" fmla="*/ 3481005 w 12191999"/>
              <a:gd name="connsiteY2" fmla="*/ 0 h 2570073"/>
              <a:gd name="connsiteX3" fmla="*/ 3540677 w 12191999"/>
              <a:gd name="connsiteY3" fmla="*/ 0 h 2570073"/>
              <a:gd name="connsiteX4" fmla="*/ 4809411 w 12191999"/>
              <a:gd name="connsiteY4" fmla="*/ 0 h 2570073"/>
              <a:gd name="connsiteX5" fmla="*/ 4869085 w 12191999"/>
              <a:gd name="connsiteY5" fmla="*/ 0 h 2570073"/>
              <a:gd name="connsiteX6" fmla="*/ 4869085 w 12191999"/>
              <a:gd name="connsiteY6" fmla="*/ 1332 h 2570073"/>
              <a:gd name="connsiteX7" fmla="*/ 5935733 w 12191999"/>
              <a:gd name="connsiteY7" fmla="*/ 1332 h 2570073"/>
              <a:gd name="connsiteX8" fmla="*/ 5935733 w 12191999"/>
              <a:gd name="connsiteY8" fmla="*/ 316755 h 2570073"/>
              <a:gd name="connsiteX9" fmla="*/ 5935733 w 12191999"/>
              <a:gd name="connsiteY9" fmla="*/ 1082676 h 2570073"/>
              <a:gd name="connsiteX10" fmla="*/ 5935736 w 12191999"/>
              <a:gd name="connsiteY10" fmla="*/ 1082676 h 2570073"/>
              <a:gd name="connsiteX11" fmla="*/ 5935736 w 12191999"/>
              <a:gd name="connsiteY11" fmla="*/ 1074434 h 2570073"/>
              <a:gd name="connsiteX12" fmla="*/ 5938273 w 12191999"/>
              <a:gd name="connsiteY12" fmla="*/ 1074434 h 2570073"/>
              <a:gd name="connsiteX13" fmla="*/ 5940855 w 12191999"/>
              <a:gd name="connsiteY13" fmla="*/ 1019920 h 2570073"/>
              <a:gd name="connsiteX14" fmla="*/ 5941326 w 12191999"/>
              <a:gd name="connsiteY14" fmla="*/ 1016613 h 2570073"/>
              <a:gd name="connsiteX15" fmla="*/ 5941548 w 12191999"/>
              <a:gd name="connsiteY15" fmla="*/ 1012207 h 2570073"/>
              <a:gd name="connsiteX16" fmla="*/ 5978689 w 12191999"/>
              <a:gd name="connsiteY16" fmla="*/ 818244 h 2570073"/>
              <a:gd name="connsiteX17" fmla="*/ 5980205 w 12191999"/>
              <a:gd name="connsiteY17" fmla="*/ 813682 h 2570073"/>
              <a:gd name="connsiteX18" fmla="*/ 5980394 w 12191999"/>
              <a:gd name="connsiteY18" fmla="*/ 812894 h 2570073"/>
              <a:gd name="connsiteX19" fmla="*/ 5983069 w 12191999"/>
              <a:gd name="connsiteY19" fmla="*/ 805066 h 2570073"/>
              <a:gd name="connsiteX20" fmla="*/ 6009331 w 12191999"/>
              <a:gd name="connsiteY20" fmla="*/ 726078 h 2570073"/>
              <a:gd name="connsiteX21" fmla="*/ 6012832 w 12191999"/>
              <a:gd name="connsiteY21" fmla="*/ 717971 h 2570073"/>
              <a:gd name="connsiteX22" fmla="*/ 6013885 w 12191999"/>
              <a:gd name="connsiteY22" fmla="*/ 714889 h 2570073"/>
              <a:gd name="connsiteX23" fmla="*/ 6021353 w 12191999"/>
              <a:gd name="connsiteY23" fmla="*/ 698231 h 2570073"/>
              <a:gd name="connsiteX24" fmla="*/ 6047512 w 12191999"/>
              <a:gd name="connsiteY24" fmla="*/ 637633 h 2570073"/>
              <a:gd name="connsiteX25" fmla="*/ 6053591 w 12191999"/>
              <a:gd name="connsiteY25" fmla="*/ 626323 h 2570073"/>
              <a:gd name="connsiteX26" fmla="*/ 6055899 w 12191999"/>
              <a:gd name="connsiteY26" fmla="*/ 621176 h 2570073"/>
              <a:gd name="connsiteX27" fmla="*/ 6066075 w 12191999"/>
              <a:gd name="connsiteY27" fmla="*/ 603101 h 2570073"/>
              <a:gd name="connsiteX28" fmla="*/ 6092846 w 12191999"/>
              <a:gd name="connsiteY28" fmla="*/ 553294 h 2570073"/>
              <a:gd name="connsiteX29" fmla="*/ 6102058 w 12191999"/>
              <a:gd name="connsiteY29" fmla="*/ 539178 h 2570073"/>
              <a:gd name="connsiteX30" fmla="*/ 6105971 w 12191999"/>
              <a:gd name="connsiteY30" fmla="*/ 532224 h 2570073"/>
              <a:gd name="connsiteX31" fmla="*/ 6117825 w 12191999"/>
              <a:gd name="connsiteY31" fmla="*/ 515013 h 2570073"/>
              <a:gd name="connsiteX32" fmla="*/ 6144948 w 12191999"/>
              <a:gd name="connsiteY32" fmla="*/ 473445 h 2570073"/>
              <a:gd name="connsiteX33" fmla="*/ 6157796 w 12191999"/>
              <a:gd name="connsiteY33" fmla="*/ 456974 h 2570073"/>
              <a:gd name="connsiteX34" fmla="*/ 6163633 w 12191999"/>
              <a:gd name="connsiteY34" fmla="*/ 448498 h 2570073"/>
              <a:gd name="connsiteX35" fmla="*/ 6176451 w 12191999"/>
              <a:gd name="connsiteY35" fmla="*/ 433062 h 2570073"/>
              <a:gd name="connsiteX36" fmla="*/ 6203435 w 12191999"/>
              <a:gd name="connsiteY36" fmla="*/ 398470 h 2570073"/>
              <a:gd name="connsiteX37" fmla="*/ 6220383 w 12191999"/>
              <a:gd name="connsiteY37" fmla="*/ 380147 h 2570073"/>
              <a:gd name="connsiteX38" fmla="*/ 6228423 w 12191999"/>
              <a:gd name="connsiteY38" fmla="*/ 370466 h 2570073"/>
              <a:gd name="connsiteX39" fmla="*/ 6241622 w 12191999"/>
              <a:gd name="connsiteY39" fmla="*/ 357186 h 2570073"/>
              <a:gd name="connsiteX40" fmla="*/ 6267921 w 12191999"/>
              <a:gd name="connsiteY40" fmla="*/ 328755 h 2570073"/>
              <a:gd name="connsiteX41" fmla="*/ 6289392 w 12191999"/>
              <a:gd name="connsiteY41" fmla="*/ 309131 h 2570073"/>
              <a:gd name="connsiteX42" fmla="*/ 6299866 w 12191999"/>
              <a:gd name="connsiteY42" fmla="*/ 298593 h 2570073"/>
              <a:gd name="connsiteX43" fmla="*/ 6312962 w 12191999"/>
              <a:gd name="connsiteY43" fmla="*/ 287587 h 2570073"/>
              <a:gd name="connsiteX44" fmla="*/ 6338022 w 12191999"/>
              <a:gd name="connsiteY44" fmla="*/ 264683 h 2570073"/>
              <a:gd name="connsiteX45" fmla="*/ 6364404 w 12191999"/>
              <a:gd name="connsiteY45" fmla="*/ 244356 h 2570073"/>
              <a:gd name="connsiteX46" fmla="*/ 6377503 w 12191999"/>
              <a:gd name="connsiteY46" fmla="*/ 233348 h 2570073"/>
              <a:gd name="connsiteX47" fmla="*/ 6390061 w 12191999"/>
              <a:gd name="connsiteY47" fmla="*/ 224587 h 2570073"/>
              <a:gd name="connsiteX48" fmla="*/ 6413357 w 12191999"/>
              <a:gd name="connsiteY48" fmla="*/ 206638 h 2570073"/>
              <a:gd name="connsiteX49" fmla="*/ 6445019 w 12191999"/>
              <a:gd name="connsiteY49" fmla="*/ 186248 h 2570073"/>
              <a:gd name="connsiteX50" fmla="*/ 6460863 w 12191999"/>
              <a:gd name="connsiteY50" fmla="*/ 175195 h 2570073"/>
              <a:gd name="connsiteX51" fmla="*/ 6472496 w 12191999"/>
              <a:gd name="connsiteY51" fmla="*/ 168554 h 2570073"/>
              <a:gd name="connsiteX52" fmla="*/ 6493537 w 12191999"/>
              <a:gd name="connsiteY52" fmla="*/ 155005 h 2570073"/>
              <a:gd name="connsiteX53" fmla="*/ 6530864 w 12191999"/>
              <a:gd name="connsiteY53" fmla="*/ 135232 h 2570073"/>
              <a:gd name="connsiteX54" fmla="*/ 6549482 w 12191999"/>
              <a:gd name="connsiteY54" fmla="*/ 124603 h 2570073"/>
              <a:gd name="connsiteX55" fmla="*/ 6559839 w 12191999"/>
              <a:gd name="connsiteY55" fmla="*/ 119882 h 2570073"/>
              <a:gd name="connsiteX56" fmla="*/ 6578180 w 12191999"/>
              <a:gd name="connsiteY56" fmla="*/ 110167 h 2570073"/>
              <a:gd name="connsiteX57" fmla="*/ 6621627 w 12191999"/>
              <a:gd name="connsiteY57" fmla="*/ 91726 h 2570073"/>
              <a:gd name="connsiteX58" fmla="*/ 6642892 w 12191999"/>
              <a:gd name="connsiteY58" fmla="*/ 82036 h 2570073"/>
              <a:gd name="connsiteX59" fmla="*/ 6651657 w 12191999"/>
              <a:gd name="connsiteY59" fmla="*/ 78980 h 2570073"/>
              <a:gd name="connsiteX60" fmla="*/ 6666902 w 12191999"/>
              <a:gd name="connsiteY60" fmla="*/ 72509 h 2570073"/>
              <a:gd name="connsiteX61" fmla="*/ 6717142 w 12191999"/>
              <a:gd name="connsiteY61" fmla="*/ 56150 h 2570073"/>
              <a:gd name="connsiteX62" fmla="*/ 6740626 w 12191999"/>
              <a:gd name="connsiteY62" fmla="*/ 47963 h 2570073"/>
              <a:gd name="connsiteX63" fmla="*/ 6747514 w 12191999"/>
              <a:gd name="connsiteY63" fmla="*/ 46260 h 2570073"/>
              <a:gd name="connsiteX64" fmla="*/ 6759319 w 12191999"/>
              <a:gd name="connsiteY64" fmla="*/ 42416 h 2570073"/>
              <a:gd name="connsiteX65" fmla="*/ 6817670 w 12191999"/>
              <a:gd name="connsiteY65" fmla="*/ 28918 h 2570073"/>
              <a:gd name="connsiteX66" fmla="*/ 6842218 w 12191999"/>
              <a:gd name="connsiteY66" fmla="*/ 22850 h 2570073"/>
              <a:gd name="connsiteX67" fmla="*/ 6846973 w 12191999"/>
              <a:gd name="connsiteY67" fmla="*/ 22139 h 2570073"/>
              <a:gd name="connsiteX68" fmla="*/ 6855046 w 12191999"/>
              <a:gd name="connsiteY68" fmla="*/ 20272 h 2570073"/>
              <a:gd name="connsiteX69" fmla="*/ 6925243 w 12191999"/>
              <a:gd name="connsiteY69" fmla="*/ 10445 h 2570073"/>
              <a:gd name="connsiteX70" fmla="*/ 6947201 w 12191999"/>
              <a:gd name="connsiteY70" fmla="*/ 7163 h 2570073"/>
              <a:gd name="connsiteX71" fmla="*/ 6949512 w 12191999"/>
              <a:gd name="connsiteY71" fmla="*/ 7047 h 2570073"/>
              <a:gd name="connsiteX72" fmla="*/ 6953699 w 12191999"/>
              <a:gd name="connsiteY72" fmla="*/ 6460 h 2570073"/>
              <a:gd name="connsiteX73" fmla="*/ 7002386 w 12191999"/>
              <a:gd name="connsiteY73" fmla="*/ 4155 h 2570073"/>
              <a:gd name="connsiteX74" fmla="*/ 7002386 w 12191999"/>
              <a:gd name="connsiteY74" fmla="*/ 1346 h 2570073"/>
              <a:gd name="connsiteX75" fmla="*/ 7047272 w 12191999"/>
              <a:gd name="connsiteY75" fmla="*/ 1346 h 2570073"/>
              <a:gd name="connsiteX76" fmla="*/ 7061721 w 12191999"/>
              <a:gd name="connsiteY76" fmla="*/ 1346 h 2570073"/>
              <a:gd name="connsiteX77" fmla="*/ 7062058 w 12191999"/>
              <a:gd name="connsiteY77" fmla="*/ 1346 h 2570073"/>
              <a:gd name="connsiteX78" fmla="*/ 7062058 w 12191999"/>
              <a:gd name="connsiteY78" fmla="*/ 0 h 2570073"/>
              <a:gd name="connsiteX79" fmla="*/ 9416738 w 12191999"/>
              <a:gd name="connsiteY79" fmla="*/ 0 h 2570073"/>
              <a:gd name="connsiteX80" fmla="*/ 9476411 w 12191999"/>
              <a:gd name="connsiteY80" fmla="*/ 0 h 2570073"/>
              <a:gd name="connsiteX81" fmla="*/ 9476411 w 12191999"/>
              <a:gd name="connsiteY81" fmla="*/ 1332 h 2570073"/>
              <a:gd name="connsiteX82" fmla="*/ 9621926 w 12191999"/>
              <a:gd name="connsiteY82" fmla="*/ 1332 h 2570073"/>
              <a:gd name="connsiteX83" fmla="*/ 9621926 w 12191999"/>
              <a:gd name="connsiteY83" fmla="*/ 1232695 h 2570073"/>
              <a:gd name="connsiteX84" fmla="*/ 9621927 w 12191999"/>
              <a:gd name="connsiteY84" fmla="*/ 1232695 h 2570073"/>
              <a:gd name="connsiteX85" fmla="*/ 9621927 w 12191999"/>
              <a:gd name="connsiteY85" fmla="*/ 1224666 h 2570073"/>
              <a:gd name="connsiteX86" fmla="*/ 9624974 w 12191999"/>
              <a:gd name="connsiteY86" fmla="*/ 1224666 h 2570073"/>
              <a:gd name="connsiteX87" fmla="*/ 9628560 w 12191999"/>
              <a:gd name="connsiteY87" fmla="*/ 1153649 h 2570073"/>
              <a:gd name="connsiteX88" fmla="*/ 10906963 w 12191999"/>
              <a:gd name="connsiteY88" fmla="*/ 0 h 2570073"/>
              <a:gd name="connsiteX89" fmla="*/ 12191999 w 12191999"/>
              <a:gd name="connsiteY89" fmla="*/ 1285037 h 2570073"/>
              <a:gd name="connsiteX90" fmla="*/ 11038350 w 12191999"/>
              <a:gd name="connsiteY90" fmla="*/ 2563438 h 2570073"/>
              <a:gd name="connsiteX91" fmla="*/ 10924212 w 12191999"/>
              <a:gd name="connsiteY91" fmla="*/ 2569202 h 2570073"/>
              <a:gd name="connsiteX92" fmla="*/ 10924212 w 12191999"/>
              <a:gd name="connsiteY92" fmla="*/ 2570073 h 2570073"/>
              <a:gd name="connsiteX93" fmla="*/ 10906963 w 12191999"/>
              <a:gd name="connsiteY93" fmla="*/ 2570073 h 2570073"/>
              <a:gd name="connsiteX94" fmla="*/ 10572749 w 12191999"/>
              <a:gd name="connsiteY94" fmla="*/ 2570073 h 2570073"/>
              <a:gd name="connsiteX95" fmla="*/ 9621927 w 12191999"/>
              <a:gd name="connsiteY95" fmla="*/ 2570073 h 2570073"/>
              <a:gd name="connsiteX96" fmla="*/ 9416738 w 12191999"/>
              <a:gd name="connsiteY96" fmla="*/ 2570073 h 2570073"/>
              <a:gd name="connsiteX97" fmla="*/ 7062058 w 12191999"/>
              <a:gd name="connsiteY97" fmla="*/ 2570073 h 2570073"/>
              <a:gd name="connsiteX98" fmla="*/ 7002386 w 12191999"/>
              <a:gd name="connsiteY98" fmla="*/ 2570073 h 2570073"/>
              <a:gd name="connsiteX99" fmla="*/ 6572250 w 12191999"/>
              <a:gd name="connsiteY99" fmla="*/ 2570073 h 2570073"/>
              <a:gd name="connsiteX100" fmla="*/ 6572250 w 12191999"/>
              <a:gd name="connsiteY100" fmla="*/ 2568741 h 2570073"/>
              <a:gd name="connsiteX101" fmla="*/ 5935736 w 12191999"/>
              <a:gd name="connsiteY101" fmla="*/ 2568741 h 2570073"/>
              <a:gd name="connsiteX102" fmla="*/ 5935736 w 12191999"/>
              <a:gd name="connsiteY102" fmla="*/ 2253318 h 2570073"/>
              <a:gd name="connsiteX103" fmla="*/ 5935736 w 12191999"/>
              <a:gd name="connsiteY103" fmla="*/ 1487489 h 2570073"/>
              <a:gd name="connsiteX104" fmla="*/ 5935733 w 12191999"/>
              <a:gd name="connsiteY104" fmla="*/ 1487489 h 2570073"/>
              <a:gd name="connsiteX105" fmla="*/ 5935733 w 12191999"/>
              <a:gd name="connsiteY105" fmla="*/ 1495639 h 2570073"/>
              <a:gd name="connsiteX106" fmla="*/ 5933197 w 12191999"/>
              <a:gd name="connsiteY106" fmla="*/ 1495639 h 2570073"/>
              <a:gd name="connsiteX107" fmla="*/ 5930617 w 12191999"/>
              <a:gd name="connsiteY107" fmla="*/ 1550153 h 2570073"/>
              <a:gd name="connsiteX108" fmla="*/ 5930144 w 12191999"/>
              <a:gd name="connsiteY108" fmla="*/ 1553460 h 2570073"/>
              <a:gd name="connsiteX109" fmla="*/ 5929922 w 12191999"/>
              <a:gd name="connsiteY109" fmla="*/ 1557867 h 2570073"/>
              <a:gd name="connsiteX110" fmla="*/ 5892783 w 12191999"/>
              <a:gd name="connsiteY110" fmla="*/ 1751829 h 2570073"/>
              <a:gd name="connsiteX111" fmla="*/ 5891264 w 12191999"/>
              <a:gd name="connsiteY111" fmla="*/ 1756392 h 2570073"/>
              <a:gd name="connsiteX112" fmla="*/ 5891075 w 12191999"/>
              <a:gd name="connsiteY112" fmla="*/ 1757179 h 2570073"/>
              <a:gd name="connsiteX113" fmla="*/ 5888401 w 12191999"/>
              <a:gd name="connsiteY113" fmla="*/ 1765008 h 2570073"/>
              <a:gd name="connsiteX114" fmla="*/ 5862138 w 12191999"/>
              <a:gd name="connsiteY114" fmla="*/ 1843996 h 2570073"/>
              <a:gd name="connsiteX115" fmla="*/ 5858638 w 12191999"/>
              <a:gd name="connsiteY115" fmla="*/ 1852103 h 2570073"/>
              <a:gd name="connsiteX116" fmla="*/ 5857585 w 12191999"/>
              <a:gd name="connsiteY116" fmla="*/ 1855185 h 2570073"/>
              <a:gd name="connsiteX117" fmla="*/ 5850118 w 12191999"/>
              <a:gd name="connsiteY117" fmla="*/ 1871843 h 2570073"/>
              <a:gd name="connsiteX118" fmla="*/ 5823958 w 12191999"/>
              <a:gd name="connsiteY118" fmla="*/ 1932441 h 2570073"/>
              <a:gd name="connsiteX119" fmla="*/ 5817879 w 12191999"/>
              <a:gd name="connsiteY119" fmla="*/ 1943751 h 2570073"/>
              <a:gd name="connsiteX120" fmla="*/ 5815571 w 12191999"/>
              <a:gd name="connsiteY120" fmla="*/ 1948897 h 2570073"/>
              <a:gd name="connsiteX121" fmla="*/ 5805397 w 12191999"/>
              <a:gd name="connsiteY121" fmla="*/ 1966972 h 2570073"/>
              <a:gd name="connsiteX122" fmla="*/ 5778624 w 12191999"/>
              <a:gd name="connsiteY122" fmla="*/ 2016780 h 2570073"/>
              <a:gd name="connsiteX123" fmla="*/ 5769414 w 12191999"/>
              <a:gd name="connsiteY123" fmla="*/ 2030895 h 2570073"/>
              <a:gd name="connsiteX124" fmla="*/ 5765499 w 12191999"/>
              <a:gd name="connsiteY124" fmla="*/ 2037850 h 2570073"/>
              <a:gd name="connsiteX125" fmla="*/ 5753645 w 12191999"/>
              <a:gd name="connsiteY125" fmla="*/ 2055061 h 2570073"/>
              <a:gd name="connsiteX126" fmla="*/ 5726522 w 12191999"/>
              <a:gd name="connsiteY126" fmla="*/ 2096629 h 2570073"/>
              <a:gd name="connsiteX127" fmla="*/ 5713674 w 12191999"/>
              <a:gd name="connsiteY127" fmla="*/ 2113099 h 2570073"/>
              <a:gd name="connsiteX128" fmla="*/ 5707835 w 12191999"/>
              <a:gd name="connsiteY128" fmla="*/ 2121576 h 2570073"/>
              <a:gd name="connsiteX129" fmla="*/ 5695021 w 12191999"/>
              <a:gd name="connsiteY129" fmla="*/ 2137011 h 2570073"/>
              <a:gd name="connsiteX130" fmla="*/ 5668037 w 12191999"/>
              <a:gd name="connsiteY130" fmla="*/ 2171603 h 2570073"/>
              <a:gd name="connsiteX131" fmla="*/ 5651087 w 12191999"/>
              <a:gd name="connsiteY131" fmla="*/ 2189926 h 2570073"/>
              <a:gd name="connsiteX132" fmla="*/ 5643049 w 12191999"/>
              <a:gd name="connsiteY132" fmla="*/ 2199608 h 2570073"/>
              <a:gd name="connsiteX133" fmla="*/ 5629848 w 12191999"/>
              <a:gd name="connsiteY133" fmla="*/ 2212888 h 2570073"/>
              <a:gd name="connsiteX134" fmla="*/ 5603549 w 12191999"/>
              <a:gd name="connsiteY134" fmla="*/ 2241318 h 2570073"/>
              <a:gd name="connsiteX135" fmla="*/ 5582080 w 12191999"/>
              <a:gd name="connsiteY135" fmla="*/ 2260943 h 2570073"/>
              <a:gd name="connsiteX136" fmla="*/ 5571603 w 12191999"/>
              <a:gd name="connsiteY136" fmla="*/ 2271480 h 2570073"/>
              <a:gd name="connsiteX137" fmla="*/ 5558507 w 12191999"/>
              <a:gd name="connsiteY137" fmla="*/ 2282487 h 2570073"/>
              <a:gd name="connsiteX138" fmla="*/ 5533446 w 12191999"/>
              <a:gd name="connsiteY138" fmla="*/ 2305391 h 2570073"/>
              <a:gd name="connsiteX139" fmla="*/ 5507067 w 12191999"/>
              <a:gd name="connsiteY139" fmla="*/ 2325718 h 2570073"/>
              <a:gd name="connsiteX140" fmla="*/ 5493967 w 12191999"/>
              <a:gd name="connsiteY140" fmla="*/ 2336726 h 2570073"/>
              <a:gd name="connsiteX141" fmla="*/ 5481408 w 12191999"/>
              <a:gd name="connsiteY141" fmla="*/ 2345487 h 2570073"/>
              <a:gd name="connsiteX142" fmla="*/ 5458115 w 12191999"/>
              <a:gd name="connsiteY142" fmla="*/ 2363435 h 2570073"/>
              <a:gd name="connsiteX143" fmla="*/ 5426451 w 12191999"/>
              <a:gd name="connsiteY143" fmla="*/ 2383826 h 2570073"/>
              <a:gd name="connsiteX144" fmla="*/ 5410606 w 12191999"/>
              <a:gd name="connsiteY144" fmla="*/ 2394879 h 2570073"/>
              <a:gd name="connsiteX145" fmla="*/ 5398974 w 12191999"/>
              <a:gd name="connsiteY145" fmla="*/ 2401520 h 2570073"/>
              <a:gd name="connsiteX146" fmla="*/ 5377932 w 12191999"/>
              <a:gd name="connsiteY146" fmla="*/ 2415069 h 2570073"/>
              <a:gd name="connsiteX147" fmla="*/ 5340606 w 12191999"/>
              <a:gd name="connsiteY147" fmla="*/ 2434842 h 2570073"/>
              <a:gd name="connsiteX148" fmla="*/ 5321988 w 12191999"/>
              <a:gd name="connsiteY148" fmla="*/ 2445471 h 2570073"/>
              <a:gd name="connsiteX149" fmla="*/ 5311630 w 12191999"/>
              <a:gd name="connsiteY149" fmla="*/ 2450191 h 2570073"/>
              <a:gd name="connsiteX150" fmla="*/ 5293290 w 12191999"/>
              <a:gd name="connsiteY150" fmla="*/ 2459906 h 2570073"/>
              <a:gd name="connsiteX151" fmla="*/ 5249844 w 12191999"/>
              <a:gd name="connsiteY151" fmla="*/ 2478347 h 2570073"/>
              <a:gd name="connsiteX152" fmla="*/ 5228578 w 12191999"/>
              <a:gd name="connsiteY152" fmla="*/ 2488037 h 2570073"/>
              <a:gd name="connsiteX153" fmla="*/ 5219811 w 12191999"/>
              <a:gd name="connsiteY153" fmla="*/ 2491093 h 2570073"/>
              <a:gd name="connsiteX154" fmla="*/ 5204566 w 12191999"/>
              <a:gd name="connsiteY154" fmla="*/ 2497564 h 2570073"/>
              <a:gd name="connsiteX155" fmla="*/ 5154327 w 12191999"/>
              <a:gd name="connsiteY155" fmla="*/ 2513923 h 2570073"/>
              <a:gd name="connsiteX156" fmla="*/ 5130844 w 12191999"/>
              <a:gd name="connsiteY156" fmla="*/ 2522110 h 2570073"/>
              <a:gd name="connsiteX157" fmla="*/ 5123955 w 12191999"/>
              <a:gd name="connsiteY157" fmla="*/ 2523813 h 2570073"/>
              <a:gd name="connsiteX158" fmla="*/ 5112150 w 12191999"/>
              <a:gd name="connsiteY158" fmla="*/ 2527657 h 2570073"/>
              <a:gd name="connsiteX159" fmla="*/ 5053798 w 12191999"/>
              <a:gd name="connsiteY159" fmla="*/ 2541156 h 2570073"/>
              <a:gd name="connsiteX160" fmla="*/ 5029252 w 12191999"/>
              <a:gd name="connsiteY160" fmla="*/ 2547223 h 2570073"/>
              <a:gd name="connsiteX161" fmla="*/ 5024497 w 12191999"/>
              <a:gd name="connsiteY161" fmla="*/ 2547934 h 2570073"/>
              <a:gd name="connsiteX162" fmla="*/ 5016423 w 12191999"/>
              <a:gd name="connsiteY162" fmla="*/ 2549802 h 2570073"/>
              <a:gd name="connsiteX163" fmla="*/ 4946226 w 12191999"/>
              <a:gd name="connsiteY163" fmla="*/ 2559629 h 2570073"/>
              <a:gd name="connsiteX164" fmla="*/ 4924267 w 12191999"/>
              <a:gd name="connsiteY164" fmla="*/ 2562910 h 2570073"/>
              <a:gd name="connsiteX165" fmla="*/ 4921958 w 12191999"/>
              <a:gd name="connsiteY165" fmla="*/ 2563027 h 2570073"/>
              <a:gd name="connsiteX166" fmla="*/ 4917769 w 12191999"/>
              <a:gd name="connsiteY166" fmla="*/ 2563613 h 2570073"/>
              <a:gd name="connsiteX167" fmla="*/ 4869085 w 12191999"/>
              <a:gd name="connsiteY167" fmla="*/ 2565918 h 2570073"/>
              <a:gd name="connsiteX168" fmla="*/ 4869085 w 12191999"/>
              <a:gd name="connsiteY168" fmla="*/ 2568728 h 2570073"/>
              <a:gd name="connsiteX169" fmla="*/ 4824196 w 12191999"/>
              <a:gd name="connsiteY169" fmla="*/ 2568728 h 2570073"/>
              <a:gd name="connsiteX170" fmla="*/ 4809749 w 12191999"/>
              <a:gd name="connsiteY170" fmla="*/ 2568728 h 2570073"/>
              <a:gd name="connsiteX171" fmla="*/ 4809411 w 12191999"/>
              <a:gd name="connsiteY171" fmla="*/ 2568728 h 2570073"/>
              <a:gd name="connsiteX172" fmla="*/ 4809411 w 12191999"/>
              <a:gd name="connsiteY172" fmla="*/ 2570073 h 2570073"/>
              <a:gd name="connsiteX173" fmla="*/ 3481005 w 12191999"/>
              <a:gd name="connsiteY173" fmla="*/ 2570073 h 2570073"/>
              <a:gd name="connsiteX174" fmla="*/ 2454730 w 12191999"/>
              <a:gd name="connsiteY174" fmla="*/ 2570073 h 2570073"/>
              <a:gd name="connsiteX175" fmla="*/ 2395058 w 12191999"/>
              <a:gd name="connsiteY175" fmla="*/ 2570073 h 2570073"/>
              <a:gd name="connsiteX176" fmla="*/ 1126324 w 12191999"/>
              <a:gd name="connsiteY176" fmla="*/ 2570073 h 2570073"/>
              <a:gd name="connsiteX177" fmla="*/ 1066652 w 12191999"/>
              <a:gd name="connsiteY177" fmla="*/ 2570073 h 2570073"/>
              <a:gd name="connsiteX178" fmla="*/ 1066652 w 12191999"/>
              <a:gd name="connsiteY178" fmla="*/ 2568741 h 2570073"/>
              <a:gd name="connsiteX179" fmla="*/ 1 w 12191999"/>
              <a:gd name="connsiteY179" fmla="*/ 2568741 h 2570073"/>
              <a:gd name="connsiteX180" fmla="*/ 1 w 12191999"/>
              <a:gd name="connsiteY180" fmla="*/ 2253318 h 2570073"/>
              <a:gd name="connsiteX181" fmla="*/ 1 w 12191999"/>
              <a:gd name="connsiteY181" fmla="*/ 1443429 h 2570073"/>
              <a:gd name="connsiteX182" fmla="*/ 1 w 12191999"/>
              <a:gd name="connsiteY182" fmla="*/ 1442766 h 2570073"/>
              <a:gd name="connsiteX183" fmla="*/ 0 w 12191999"/>
              <a:gd name="connsiteY183" fmla="*/ 1442755 h 2570073"/>
              <a:gd name="connsiteX184" fmla="*/ 1 w 12191999"/>
              <a:gd name="connsiteY184" fmla="*/ 1442744 h 2570073"/>
              <a:gd name="connsiteX185" fmla="*/ 1 w 12191999"/>
              <a:gd name="connsiteY185" fmla="*/ 1389857 h 2570073"/>
              <a:gd name="connsiteX186" fmla="*/ 1 w 12191999"/>
              <a:gd name="connsiteY186" fmla="*/ 1128007 h 2570073"/>
              <a:gd name="connsiteX187" fmla="*/ 1 w 12191999"/>
              <a:gd name="connsiteY187" fmla="*/ 1127343 h 2570073"/>
              <a:gd name="connsiteX188" fmla="*/ 0 w 12191999"/>
              <a:gd name="connsiteY188" fmla="*/ 1127332 h 2570073"/>
              <a:gd name="connsiteX189" fmla="*/ 1 w 12191999"/>
              <a:gd name="connsiteY189" fmla="*/ 1127322 h 2570073"/>
              <a:gd name="connsiteX190" fmla="*/ 1 w 12191999"/>
              <a:gd name="connsiteY190" fmla="*/ 1074434 h 2570073"/>
              <a:gd name="connsiteX191" fmla="*/ 2538 w 12191999"/>
              <a:gd name="connsiteY191" fmla="*/ 1074434 h 2570073"/>
              <a:gd name="connsiteX192" fmla="*/ 5119 w 12191999"/>
              <a:gd name="connsiteY192" fmla="*/ 1019920 h 2570073"/>
              <a:gd name="connsiteX193" fmla="*/ 5592 w 12191999"/>
              <a:gd name="connsiteY193" fmla="*/ 1016613 h 2570073"/>
              <a:gd name="connsiteX194" fmla="*/ 5814 w 12191999"/>
              <a:gd name="connsiteY194" fmla="*/ 1012207 h 2570073"/>
              <a:gd name="connsiteX195" fmla="*/ 42953 w 12191999"/>
              <a:gd name="connsiteY195" fmla="*/ 818244 h 2570073"/>
              <a:gd name="connsiteX196" fmla="*/ 44470 w 12191999"/>
              <a:gd name="connsiteY196" fmla="*/ 813682 h 2570073"/>
              <a:gd name="connsiteX197" fmla="*/ 44660 w 12191999"/>
              <a:gd name="connsiteY197" fmla="*/ 812894 h 2570073"/>
              <a:gd name="connsiteX198" fmla="*/ 47335 w 12191999"/>
              <a:gd name="connsiteY198" fmla="*/ 805066 h 2570073"/>
              <a:gd name="connsiteX199" fmla="*/ 73597 w 12191999"/>
              <a:gd name="connsiteY199" fmla="*/ 726078 h 2570073"/>
              <a:gd name="connsiteX200" fmla="*/ 77097 w 12191999"/>
              <a:gd name="connsiteY200" fmla="*/ 717971 h 2570073"/>
              <a:gd name="connsiteX201" fmla="*/ 78150 w 12191999"/>
              <a:gd name="connsiteY201" fmla="*/ 714889 h 2570073"/>
              <a:gd name="connsiteX202" fmla="*/ 85619 w 12191999"/>
              <a:gd name="connsiteY202" fmla="*/ 698231 h 2570073"/>
              <a:gd name="connsiteX203" fmla="*/ 111778 w 12191999"/>
              <a:gd name="connsiteY203" fmla="*/ 637633 h 2570073"/>
              <a:gd name="connsiteX204" fmla="*/ 117857 w 12191999"/>
              <a:gd name="connsiteY204" fmla="*/ 626323 h 2570073"/>
              <a:gd name="connsiteX205" fmla="*/ 120165 w 12191999"/>
              <a:gd name="connsiteY205" fmla="*/ 621176 h 2570073"/>
              <a:gd name="connsiteX206" fmla="*/ 130339 w 12191999"/>
              <a:gd name="connsiteY206" fmla="*/ 603101 h 2570073"/>
              <a:gd name="connsiteX207" fmla="*/ 157112 w 12191999"/>
              <a:gd name="connsiteY207" fmla="*/ 553294 h 2570073"/>
              <a:gd name="connsiteX208" fmla="*/ 166322 w 12191999"/>
              <a:gd name="connsiteY208" fmla="*/ 539178 h 2570073"/>
              <a:gd name="connsiteX209" fmla="*/ 170237 w 12191999"/>
              <a:gd name="connsiteY209" fmla="*/ 532224 h 2570073"/>
              <a:gd name="connsiteX210" fmla="*/ 182090 w 12191999"/>
              <a:gd name="connsiteY210" fmla="*/ 515013 h 2570073"/>
              <a:gd name="connsiteX211" fmla="*/ 209214 w 12191999"/>
              <a:gd name="connsiteY211" fmla="*/ 473445 h 2570073"/>
              <a:gd name="connsiteX212" fmla="*/ 222062 w 12191999"/>
              <a:gd name="connsiteY212" fmla="*/ 456974 h 2570073"/>
              <a:gd name="connsiteX213" fmla="*/ 227900 w 12191999"/>
              <a:gd name="connsiteY213" fmla="*/ 448498 h 2570073"/>
              <a:gd name="connsiteX214" fmla="*/ 240715 w 12191999"/>
              <a:gd name="connsiteY214" fmla="*/ 433062 h 2570073"/>
              <a:gd name="connsiteX215" fmla="*/ 267700 w 12191999"/>
              <a:gd name="connsiteY215" fmla="*/ 398470 h 2570073"/>
              <a:gd name="connsiteX216" fmla="*/ 284649 w 12191999"/>
              <a:gd name="connsiteY216" fmla="*/ 380147 h 2570073"/>
              <a:gd name="connsiteX217" fmla="*/ 292687 w 12191999"/>
              <a:gd name="connsiteY217" fmla="*/ 370466 h 2570073"/>
              <a:gd name="connsiteX218" fmla="*/ 305888 w 12191999"/>
              <a:gd name="connsiteY218" fmla="*/ 357186 h 2570073"/>
              <a:gd name="connsiteX219" fmla="*/ 332186 w 12191999"/>
              <a:gd name="connsiteY219" fmla="*/ 328755 h 2570073"/>
              <a:gd name="connsiteX220" fmla="*/ 353657 w 12191999"/>
              <a:gd name="connsiteY220" fmla="*/ 309131 h 2570073"/>
              <a:gd name="connsiteX221" fmla="*/ 364133 w 12191999"/>
              <a:gd name="connsiteY221" fmla="*/ 298593 h 2570073"/>
              <a:gd name="connsiteX222" fmla="*/ 377228 w 12191999"/>
              <a:gd name="connsiteY222" fmla="*/ 287587 h 2570073"/>
              <a:gd name="connsiteX223" fmla="*/ 402288 w 12191999"/>
              <a:gd name="connsiteY223" fmla="*/ 264683 h 2570073"/>
              <a:gd name="connsiteX224" fmla="*/ 428670 w 12191999"/>
              <a:gd name="connsiteY224" fmla="*/ 244356 h 2570073"/>
              <a:gd name="connsiteX225" fmla="*/ 441769 w 12191999"/>
              <a:gd name="connsiteY225" fmla="*/ 233348 h 2570073"/>
              <a:gd name="connsiteX226" fmla="*/ 454327 w 12191999"/>
              <a:gd name="connsiteY226" fmla="*/ 224587 h 2570073"/>
              <a:gd name="connsiteX227" fmla="*/ 477622 w 12191999"/>
              <a:gd name="connsiteY227" fmla="*/ 206638 h 2570073"/>
              <a:gd name="connsiteX228" fmla="*/ 509285 w 12191999"/>
              <a:gd name="connsiteY228" fmla="*/ 186248 h 2570073"/>
              <a:gd name="connsiteX229" fmla="*/ 525129 w 12191999"/>
              <a:gd name="connsiteY229" fmla="*/ 175195 h 2570073"/>
              <a:gd name="connsiteX230" fmla="*/ 536762 w 12191999"/>
              <a:gd name="connsiteY230" fmla="*/ 168554 h 2570073"/>
              <a:gd name="connsiteX231" fmla="*/ 557803 w 12191999"/>
              <a:gd name="connsiteY231" fmla="*/ 155005 h 2570073"/>
              <a:gd name="connsiteX232" fmla="*/ 595129 w 12191999"/>
              <a:gd name="connsiteY232" fmla="*/ 135232 h 2570073"/>
              <a:gd name="connsiteX233" fmla="*/ 613748 w 12191999"/>
              <a:gd name="connsiteY233" fmla="*/ 124603 h 2570073"/>
              <a:gd name="connsiteX234" fmla="*/ 624106 w 12191999"/>
              <a:gd name="connsiteY234" fmla="*/ 119882 h 2570073"/>
              <a:gd name="connsiteX235" fmla="*/ 642446 w 12191999"/>
              <a:gd name="connsiteY235" fmla="*/ 110167 h 2570073"/>
              <a:gd name="connsiteX236" fmla="*/ 685893 w 12191999"/>
              <a:gd name="connsiteY236" fmla="*/ 91726 h 2570073"/>
              <a:gd name="connsiteX237" fmla="*/ 707157 w 12191999"/>
              <a:gd name="connsiteY237" fmla="*/ 82036 h 2570073"/>
              <a:gd name="connsiteX238" fmla="*/ 715923 w 12191999"/>
              <a:gd name="connsiteY238" fmla="*/ 78980 h 2570073"/>
              <a:gd name="connsiteX239" fmla="*/ 731168 w 12191999"/>
              <a:gd name="connsiteY239" fmla="*/ 72509 h 2570073"/>
              <a:gd name="connsiteX240" fmla="*/ 781408 w 12191999"/>
              <a:gd name="connsiteY240" fmla="*/ 56150 h 2570073"/>
              <a:gd name="connsiteX241" fmla="*/ 804892 w 12191999"/>
              <a:gd name="connsiteY241" fmla="*/ 47963 h 2570073"/>
              <a:gd name="connsiteX242" fmla="*/ 811780 w 12191999"/>
              <a:gd name="connsiteY242" fmla="*/ 46260 h 2570073"/>
              <a:gd name="connsiteX243" fmla="*/ 823585 w 12191999"/>
              <a:gd name="connsiteY243" fmla="*/ 42416 h 2570073"/>
              <a:gd name="connsiteX244" fmla="*/ 881937 w 12191999"/>
              <a:gd name="connsiteY244" fmla="*/ 28918 h 2570073"/>
              <a:gd name="connsiteX245" fmla="*/ 906484 w 12191999"/>
              <a:gd name="connsiteY245" fmla="*/ 22850 h 2570073"/>
              <a:gd name="connsiteX246" fmla="*/ 911239 w 12191999"/>
              <a:gd name="connsiteY246" fmla="*/ 22139 h 2570073"/>
              <a:gd name="connsiteX247" fmla="*/ 919312 w 12191999"/>
              <a:gd name="connsiteY247" fmla="*/ 20272 h 2570073"/>
              <a:gd name="connsiteX248" fmla="*/ 989509 w 12191999"/>
              <a:gd name="connsiteY248" fmla="*/ 10445 h 2570073"/>
              <a:gd name="connsiteX249" fmla="*/ 1011467 w 12191999"/>
              <a:gd name="connsiteY249" fmla="*/ 7163 h 2570073"/>
              <a:gd name="connsiteX250" fmla="*/ 1013779 w 12191999"/>
              <a:gd name="connsiteY250" fmla="*/ 7047 h 2570073"/>
              <a:gd name="connsiteX251" fmla="*/ 1017965 w 12191999"/>
              <a:gd name="connsiteY251" fmla="*/ 6460 h 2570073"/>
              <a:gd name="connsiteX252" fmla="*/ 1066652 w 12191999"/>
              <a:gd name="connsiteY252" fmla="*/ 4155 h 2570073"/>
              <a:gd name="connsiteX253" fmla="*/ 1066652 w 12191999"/>
              <a:gd name="connsiteY253" fmla="*/ 1346 h 2570073"/>
              <a:gd name="connsiteX254" fmla="*/ 1111538 w 12191999"/>
              <a:gd name="connsiteY254" fmla="*/ 1346 h 2570073"/>
              <a:gd name="connsiteX255" fmla="*/ 1125987 w 12191999"/>
              <a:gd name="connsiteY255" fmla="*/ 1346 h 2570073"/>
              <a:gd name="connsiteX256" fmla="*/ 1126324 w 12191999"/>
              <a:gd name="connsiteY256" fmla="*/ 1346 h 2570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</a:cxnLst>
            <a:rect l="l" t="t" r="r" b="b"/>
            <a:pathLst>
              <a:path w="12191999" h="2570073">
                <a:moveTo>
                  <a:pt x="1126324" y="0"/>
                </a:moveTo>
                <a:lnTo>
                  <a:pt x="2454730" y="0"/>
                </a:lnTo>
                <a:lnTo>
                  <a:pt x="3481005" y="0"/>
                </a:lnTo>
                <a:lnTo>
                  <a:pt x="3540677" y="0"/>
                </a:lnTo>
                <a:lnTo>
                  <a:pt x="4809411" y="0"/>
                </a:lnTo>
                <a:lnTo>
                  <a:pt x="4869085" y="0"/>
                </a:lnTo>
                <a:lnTo>
                  <a:pt x="4869085" y="1332"/>
                </a:lnTo>
                <a:lnTo>
                  <a:pt x="5935733" y="1332"/>
                </a:lnTo>
                <a:lnTo>
                  <a:pt x="5935733" y="316755"/>
                </a:lnTo>
                <a:lnTo>
                  <a:pt x="5935733" y="1082676"/>
                </a:lnTo>
                <a:lnTo>
                  <a:pt x="5935736" y="1082676"/>
                </a:lnTo>
                <a:lnTo>
                  <a:pt x="5935736" y="1074434"/>
                </a:lnTo>
                <a:lnTo>
                  <a:pt x="5938273" y="1074434"/>
                </a:lnTo>
                <a:lnTo>
                  <a:pt x="5940855" y="1019920"/>
                </a:lnTo>
                <a:lnTo>
                  <a:pt x="5941326" y="1016613"/>
                </a:lnTo>
                <a:lnTo>
                  <a:pt x="5941548" y="1012207"/>
                </a:lnTo>
                <a:cubicBezTo>
                  <a:pt x="5948307" y="945669"/>
                  <a:pt x="5960857" y="880845"/>
                  <a:pt x="5978689" y="818244"/>
                </a:cubicBezTo>
                <a:lnTo>
                  <a:pt x="5980205" y="813682"/>
                </a:lnTo>
                <a:lnTo>
                  <a:pt x="5980394" y="812894"/>
                </a:lnTo>
                <a:lnTo>
                  <a:pt x="5983069" y="805066"/>
                </a:lnTo>
                <a:lnTo>
                  <a:pt x="6009331" y="726078"/>
                </a:lnTo>
                <a:lnTo>
                  <a:pt x="6012832" y="717971"/>
                </a:lnTo>
                <a:lnTo>
                  <a:pt x="6013885" y="714889"/>
                </a:lnTo>
                <a:lnTo>
                  <a:pt x="6021353" y="698231"/>
                </a:lnTo>
                <a:lnTo>
                  <a:pt x="6047512" y="637633"/>
                </a:lnTo>
                <a:lnTo>
                  <a:pt x="6053591" y="626323"/>
                </a:lnTo>
                <a:lnTo>
                  <a:pt x="6055899" y="621176"/>
                </a:lnTo>
                <a:lnTo>
                  <a:pt x="6066075" y="603101"/>
                </a:lnTo>
                <a:lnTo>
                  <a:pt x="6092846" y="553294"/>
                </a:lnTo>
                <a:lnTo>
                  <a:pt x="6102058" y="539178"/>
                </a:lnTo>
                <a:lnTo>
                  <a:pt x="6105971" y="532224"/>
                </a:lnTo>
                <a:lnTo>
                  <a:pt x="6117825" y="515013"/>
                </a:lnTo>
                <a:lnTo>
                  <a:pt x="6144948" y="473445"/>
                </a:lnTo>
                <a:lnTo>
                  <a:pt x="6157796" y="456974"/>
                </a:lnTo>
                <a:lnTo>
                  <a:pt x="6163633" y="448498"/>
                </a:lnTo>
                <a:lnTo>
                  <a:pt x="6176451" y="433062"/>
                </a:lnTo>
                <a:lnTo>
                  <a:pt x="6203435" y="398470"/>
                </a:lnTo>
                <a:lnTo>
                  <a:pt x="6220383" y="380147"/>
                </a:lnTo>
                <a:lnTo>
                  <a:pt x="6228423" y="370466"/>
                </a:lnTo>
                <a:lnTo>
                  <a:pt x="6241622" y="357186"/>
                </a:lnTo>
                <a:lnTo>
                  <a:pt x="6267921" y="328755"/>
                </a:lnTo>
                <a:lnTo>
                  <a:pt x="6289392" y="309131"/>
                </a:lnTo>
                <a:lnTo>
                  <a:pt x="6299866" y="298593"/>
                </a:lnTo>
                <a:lnTo>
                  <a:pt x="6312962" y="287587"/>
                </a:lnTo>
                <a:lnTo>
                  <a:pt x="6338022" y="264683"/>
                </a:lnTo>
                <a:lnTo>
                  <a:pt x="6364404" y="244356"/>
                </a:lnTo>
                <a:lnTo>
                  <a:pt x="6377503" y="233348"/>
                </a:lnTo>
                <a:lnTo>
                  <a:pt x="6390061" y="224587"/>
                </a:lnTo>
                <a:lnTo>
                  <a:pt x="6413357" y="206638"/>
                </a:lnTo>
                <a:lnTo>
                  <a:pt x="6445019" y="186248"/>
                </a:lnTo>
                <a:lnTo>
                  <a:pt x="6460863" y="175195"/>
                </a:lnTo>
                <a:lnTo>
                  <a:pt x="6472496" y="168554"/>
                </a:lnTo>
                <a:lnTo>
                  <a:pt x="6493537" y="155005"/>
                </a:lnTo>
                <a:lnTo>
                  <a:pt x="6530864" y="135232"/>
                </a:lnTo>
                <a:lnTo>
                  <a:pt x="6549482" y="124603"/>
                </a:lnTo>
                <a:lnTo>
                  <a:pt x="6559839" y="119882"/>
                </a:lnTo>
                <a:lnTo>
                  <a:pt x="6578180" y="110167"/>
                </a:lnTo>
                <a:lnTo>
                  <a:pt x="6621627" y="91726"/>
                </a:lnTo>
                <a:lnTo>
                  <a:pt x="6642892" y="82036"/>
                </a:lnTo>
                <a:lnTo>
                  <a:pt x="6651657" y="78980"/>
                </a:lnTo>
                <a:lnTo>
                  <a:pt x="6666902" y="72509"/>
                </a:lnTo>
                <a:lnTo>
                  <a:pt x="6717142" y="56150"/>
                </a:lnTo>
                <a:lnTo>
                  <a:pt x="6740626" y="47963"/>
                </a:lnTo>
                <a:lnTo>
                  <a:pt x="6747514" y="46260"/>
                </a:lnTo>
                <a:lnTo>
                  <a:pt x="6759319" y="42416"/>
                </a:lnTo>
                <a:lnTo>
                  <a:pt x="6817670" y="28918"/>
                </a:lnTo>
                <a:lnTo>
                  <a:pt x="6842218" y="22850"/>
                </a:lnTo>
                <a:lnTo>
                  <a:pt x="6846973" y="22139"/>
                </a:lnTo>
                <a:lnTo>
                  <a:pt x="6855046" y="20272"/>
                </a:lnTo>
                <a:lnTo>
                  <a:pt x="6925243" y="10445"/>
                </a:lnTo>
                <a:lnTo>
                  <a:pt x="6947201" y="7163"/>
                </a:lnTo>
                <a:lnTo>
                  <a:pt x="6949512" y="7047"/>
                </a:lnTo>
                <a:lnTo>
                  <a:pt x="6953699" y="6460"/>
                </a:lnTo>
                <a:lnTo>
                  <a:pt x="7002386" y="4155"/>
                </a:lnTo>
                <a:lnTo>
                  <a:pt x="7002386" y="1346"/>
                </a:lnTo>
                <a:lnTo>
                  <a:pt x="7047272" y="1346"/>
                </a:lnTo>
                <a:lnTo>
                  <a:pt x="7061721" y="1346"/>
                </a:lnTo>
                <a:lnTo>
                  <a:pt x="7062058" y="1346"/>
                </a:lnTo>
                <a:lnTo>
                  <a:pt x="7062058" y="0"/>
                </a:lnTo>
                <a:lnTo>
                  <a:pt x="9416738" y="0"/>
                </a:lnTo>
                <a:lnTo>
                  <a:pt x="9476411" y="0"/>
                </a:lnTo>
                <a:lnTo>
                  <a:pt x="9476411" y="1332"/>
                </a:lnTo>
                <a:lnTo>
                  <a:pt x="9621926" y="1332"/>
                </a:lnTo>
                <a:lnTo>
                  <a:pt x="9621926" y="1232695"/>
                </a:lnTo>
                <a:lnTo>
                  <a:pt x="9621927" y="1232695"/>
                </a:lnTo>
                <a:lnTo>
                  <a:pt x="9621927" y="1224666"/>
                </a:lnTo>
                <a:lnTo>
                  <a:pt x="9624974" y="1224666"/>
                </a:lnTo>
                <a:lnTo>
                  <a:pt x="9628560" y="1153649"/>
                </a:lnTo>
                <a:cubicBezTo>
                  <a:pt x="9694367" y="505662"/>
                  <a:pt x="10241613" y="0"/>
                  <a:pt x="10906963" y="0"/>
                </a:cubicBezTo>
                <a:cubicBezTo>
                  <a:pt x="11616669" y="0"/>
                  <a:pt x="12191999" y="575331"/>
                  <a:pt x="12191999" y="1285037"/>
                </a:cubicBezTo>
                <a:cubicBezTo>
                  <a:pt x="12191999" y="1950386"/>
                  <a:pt x="11686337" y="2497632"/>
                  <a:pt x="11038350" y="2563438"/>
                </a:cubicBezTo>
                <a:lnTo>
                  <a:pt x="10924212" y="2569202"/>
                </a:lnTo>
                <a:lnTo>
                  <a:pt x="10924212" y="2570073"/>
                </a:lnTo>
                <a:lnTo>
                  <a:pt x="10906963" y="2570073"/>
                </a:lnTo>
                <a:lnTo>
                  <a:pt x="10572749" y="2570073"/>
                </a:lnTo>
                <a:lnTo>
                  <a:pt x="9621927" y="2570073"/>
                </a:lnTo>
                <a:lnTo>
                  <a:pt x="9416738" y="2570073"/>
                </a:lnTo>
                <a:lnTo>
                  <a:pt x="7062058" y="2570073"/>
                </a:lnTo>
                <a:lnTo>
                  <a:pt x="7002386" y="2570073"/>
                </a:lnTo>
                <a:lnTo>
                  <a:pt x="6572250" y="2570073"/>
                </a:lnTo>
                <a:lnTo>
                  <a:pt x="6572250" y="2568741"/>
                </a:lnTo>
                <a:lnTo>
                  <a:pt x="5935736" y="2568741"/>
                </a:lnTo>
                <a:lnTo>
                  <a:pt x="5935736" y="2253318"/>
                </a:lnTo>
                <a:lnTo>
                  <a:pt x="5935736" y="1487489"/>
                </a:lnTo>
                <a:lnTo>
                  <a:pt x="5935733" y="1487489"/>
                </a:lnTo>
                <a:lnTo>
                  <a:pt x="5935733" y="1495639"/>
                </a:lnTo>
                <a:lnTo>
                  <a:pt x="5933197" y="1495639"/>
                </a:lnTo>
                <a:lnTo>
                  <a:pt x="5930617" y="1550153"/>
                </a:lnTo>
                <a:lnTo>
                  <a:pt x="5930144" y="1553460"/>
                </a:lnTo>
                <a:lnTo>
                  <a:pt x="5929922" y="1557867"/>
                </a:lnTo>
                <a:cubicBezTo>
                  <a:pt x="5923165" y="1624404"/>
                  <a:pt x="5910612" y="1689229"/>
                  <a:pt x="5892783" y="1751829"/>
                </a:cubicBezTo>
                <a:lnTo>
                  <a:pt x="5891264" y="1756392"/>
                </a:lnTo>
                <a:lnTo>
                  <a:pt x="5891075" y="1757179"/>
                </a:lnTo>
                <a:lnTo>
                  <a:pt x="5888401" y="1765008"/>
                </a:lnTo>
                <a:lnTo>
                  <a:pt x="5862138" y="1843996"/>
                </a:lnTo>
                <a:lnTo>
                  <a:pt x="5858638" y="1852103"/>
                </a:lnTo>
                <a:lnTo>
                  <a:pt x="5857585" y="1855185"/>
                </a:lnTo>
                <a:lnTo>
                  <a:pt x="5850118" y="1871843"/>
                </a:lnTo>
                <a:lnTo>
                  <a:pt x="5823958" y="1932441"/>
                </a:lnTo>
                <a:lnTo>
                  <a:pt x="5817879" y="1943751"/>
                </a:lnTo>
                <a:lnTo>
                  <a:pt x="5815571" y="1948897"/>
                </a:lnTo>
                <a:lnTo>
                  <a:pt x="5805397" y="1966972"/>
                </a:lnTo>
                <a:lnTo>
                  <a:pt x="5778624" y="2016780"/>
                </a:lnTo>
                <a:lnTo>
                  <a:pt x="5769414" y="2030895"/>
                </a:lnTo>
                <a:lnTo>
                  <a:pt x="5765499" y="2037850"/>
                </a:lnTo>
                <a:lnTo>
                  <a:pt x="5753645" y="2055061"/>
                </a:lnTo>
                <a:lnTo>
                  <a:pt x="5726522" y="2096629"/>
                </a:lnTo>
                <a:lnTo>
                  <a:pt x="5713674" y="2113099"/>
                </a:lnTo>
                <a:lnTo>
                  <a:pt x="5707835" y="2121576"/>
                </a:lnTo>
                <a:lnTo>
                  <a:pt x="5695021" y="2137011"/>
                </a:lnTo>
                <a:lnTo>
                  <a:pt x="5668037" y="2171603"/>
                </a:lnTo>
                <a:lnTo>
                  <a:pt x="5651087" y="2189926"/>
                </a:lnTo>
                <a:lnTo>
                  <a:pt x="5643049" y="2199608"/>
                </a:lnTo>
                <a:lnTo>
                  <a:pt x="5629848" y="2212888"/>
                </a:lnTo>
                <a:lnTo>
                  <a:pt x="5603549" y="2241318"/>
                </a:lnTo>
                <a:lnTo>
                  <a:pt x="5582080" y="2260943"/>
                </a:lnTo>
                <a:lnTo>
                  <a:pt x="5571603" y="2271480"/>
                </a:lnTo>
                <a:lnTo>
                  <a:pt x="5558507" y="2282487"/>
                </a:lnTo>
                <a:lnTo>
                  <a:pt x="5533446" y="2305391"/>
                </a:lnTo>
                <a:lnTo>
                  <a:pt x="5507067" y="2325718"/>
                </a:lnTo>
                <a:lnTo>
                  <a:pt x="5493967" y="2336726"/>
                </a:lnTo>
                <a:lnTo>
                  <a:pt x="5481408" y="2345487"/>
                </a:lnTo>
                <a:lnTo>
                  <a:pt x="5458115" y="2363435"/>
                </a:lnTo>
                <a:lnTo>
                  <a:pt x="5426451" y="2383826"/>
                </a:lnTo>
                <a:lnTo>
                  <a:pt x="5410606" y="2394879"/>
                </a:lnTo>
                <a:lnTo>
                  <a:pt x="5398974" y="2401520"/>
                </a:lnTo>
                <a:lnTo>
                  <a:pt x="5377932" y="2415069"/>
                </a:lnTo>
                <a:lnTo>
                  <a:pt x="5340606" y="2434842"/>
                </a:lnTo>
                <a:lnTo>
                  <a:pt x="5321988" y="2445471"/>
                </a:lnTo>
                <a:lnTo>
                  <a:pt x="5311630" y="2450191"/>
                </a:lnTo>
                <a:lnTo>
                  <a:pt x="5293290" y="2459906"/>
                </a:lnTo>
                <a:lnTo>
                  <a:pt x="5249844" y="2478347"/>
                </a:lnTo>
                <a:lnTo>
                  <a:pt x="5228578" y="2488037"/>
                </a:lnTo>
                <a:lnTo>
                  <a:pt x="5219811" y="2491093"/>
                </a:lnTo>
                <a:lnTo>
                  <a:pt x="5204566" y="2497564"/>
                </a:lnTo>
                <a:lnTo>
                  <a:pt x="5154327" y="2513923"/>
                </a:lnTo>
                <a:lnTo>
                  <a:pt x="5130844" y="2522110"/>
                </a:lnTo>
                <a:lnTo>
                  <a:pt x="5123955" y="2523813"/>
                </a:lnTo>
                <a:lnTo>
                  <a:pt x="5112150" y="2527657"/>
                </a:lnTo>
                <a:lnTo>
                  <a:pt x="5053798" y="2541156"/>
                </a:lnTo>
                <a:lnTo>
                  <a:pt x="5029252" y="2547223"/>
                </a:lnTo>
                <a:lnTo>
                  <a:pt x="5024497" y="2547934"/>
                </a:lnTo>
                <a:lnTo>
                  <a:pt x="5016423" y="2549802"/>
                </a:lnTo>
                <a:lnTo>
                  <a:pt x="4946226" y="2559629"/>
                </a:lnTo>
                <a:lnTo>
                  <a:pt x="4924267" y="2562910"/>
                </a:lnTo>
                <a:lnTo>
                  <a:pt x="4921958" y="2563027"/>
                </a:lnTo>
                <a:lnTo>
                  <a:pt x="4917769" y="2563613"/>
                </a:lnTo>
                <a:lnTo>
                  <a:pt x="4869085" y="2565918"/>
                </a:lnTo>
                <a:lnTo>
                  <a:pt x="4869085" y="2568728"/>
                </a:lnTo>
                <a:lnTo>
                  <a:pt x="4824196" y="2568728"/>
                </a:lnTo>
                <a:lnTo>
                  <a:pt x="4809749" y="2568728"/>
                </a:lnTo>
                <a:lnTo>
                  <a:pt x="4809411" y="2568728"/>
                </a:lnTo>
                <a:lnTo>
                  <a:pt x="4809411" y="2570073"/>
                </a:lnTo>
                <a:lnTo>
                  <a:pt x="3481005" y="2570073"/>
                </a:lnTo>
                <a:lnTo>
                  <a:pt x="2454730" y="2570073"/>
                </a:lnTo>
                <a:lnTo>
                  <a:pt x="2395058" y="2570073"/>
                </a:lnTo>
                <a:lnTo>
                  <a:pt x="1126324" y="2570073"/>
                </a:lnTo>
                <a:lnTo>
                  <a:pt x="1066652" y="2570073"/>
                </a:lnTo>
                <a:lnTo>
                  <a:pt x="1066652" y="2568741"/>
                </a:lnTo>
                <a:lnTo>
                  <a:pt x="1" y="2568741"/>
                </a:lnTo>
                <a:lnTo>
                  <a:pt x="1" y="2253318"/>
                </a:lnTo>
                <a:lnTo>
                  <a:pt x="1" y="1443429"/>
                </a:lnTo>
                <a:lnTo>
                  <a:pt x="1" y="1442766"/>
                </a:lnTo>
                <a:lnTo>
                  <a:pt x="0" y="1442755"/>
                </a:lnTo>
                <a:lnTo>
                  <a:pt x="1" y="1442744"/>
                </a:lnTo>
                <a:lnTo>
                  <a:pt x="1" y="1389857"/>
                </a:lnTo>
                <a:lnTo>
                  <a:pt x="1" y="1128007"/>
                </a:lnTo>
                <a:lnTo>
                  <a:pt x="1" y="1127343"/>
                </a:lnTo>
                <a:lnTo>
                  <a:pt x="0" y="1127332"/>
                </a:lnTo>
                <a:lnTo>
                  <a:pt x="1" y="1127322"/>
                </a:lnTo>
                <a:lnTo>
                  <a:pt x="1" y="1074434"/>
                </a:lnTo>
                <a:lnTo>
                  <a:pt x="2538" y="1074434"/>
                </a:lnTo>
                <a:lnTo>
                  <a:pt x="5119" y="1019920"/>
                </a:lnTo>
                <a:lnTo>
                  <a:pt x="5592" y="1016613"/>
                </a:lnTo>
                <a:lnTo>
                  <a:pt x="5814" y="1012207"/>
                </a:lnTo>
                <a:cubicBezTo>
                  <a:pt x="12572" y="945669"/>
                  <a:pt x="25122" y="880845"/>
                  <a:pt x="42953" y="818244"/>
                </a:cubicBezTo>
                <a:lnTo>
                  <a:pt x="44470" y="813682"/>
                </a:lnTo>
                <a:lnTo>
                  <a:pt x="44660" y="812894"/>
                </a:lnTo>
                <a:lnTo>
                  <a:pt x="47335" y="805066"/>
                </a:lnTo>
                <a:lnTo>
                  <a:pt x="73597" y="726078"/>
                </a:lnTo>
                <a:lnTo>
                  <a:pt x="77097" y="717971"/>
                </a:lnTo>
                <a:lnTo>
                  <a:pt x="78150" y="714889"/>
                </a:lnTo>
                <a:lnTo>
                  <a:pt x="85619" y="698231"/>
                </a:lnTo>
                <a:lnTo>
                  <a:pt x="111778" y="637633"/>
                </a:lnTo>
                <a:lnTo>
                  <a:pt x="117857" y="626323"/>
                </a:lnTo>
                <a:lnTo>
                  <a:pt x="120165" y="621176"/>
                </a:lnTo>
                <a:lnTo>
                  <a:pt x="130339" y="603101"/>
                </a:lnTo>
                <a:lnTo>
                  <a:pt x="157112" y="553294"/>
                </a:lnTo>
                <a:lnTo>
                  <a:pt x="166322" y="539178"/>
                </a:lnTo>
                <a:lnTo>
                  <a:pt x="170237" y="532224"/>
                </a:lnTo>
                <a:lnTo>
                  <a:pt x="182090" y="515013"/>
                </a:lnTo>
                <a:lnTo>
                  <a:pt x="209214" y="473445"/>
                </a:lnTo>
                <a:lnTo>
                  <a:pt x="222062" y="456974"/>
                </a:lnTo>
                <a:lnTo>
                  <a:pt x="227900" y="448498"/>
                </a:lnTo>
                <a:lnTo>
                  <a:pt x="240715" y="433062"/>
                </a:lnTo>
                <a:lnTo>
                  <a:pt x="267700" y="398470"/>
                </a:lnTo>
                <a:lnTo>
                  <a:pt x="284649" y="380147"/>
                </a:lnTo>
                <a:lnTo>
                  <a:pt x="292687" y="370466"/>
                </a:lnTo>
                <a:lnTo>
                  <a:pt x="305888" y="357186"/>
                </a:lnTo>
                <a:lnTo>
                  <a:pt x="332186" y="328755"/>
                </a:lnTo>
                <a:lnTo>
                  <a:pt x="353657" y="309131"/>
                </a:lnTo>
                <a:lnTo>
                  <a:pt x="364133" y="298593"/>
                </a:lnTo>
                <a:lnTo>
                  <a:pt x="377228" y="287587"/>
                </a:lnTo>
                <a:lnTo>
                  <a:pt x="402288" y="264683"/>
                </a:lnTo>
                <a:lnTo>
                  <a:pt x="428670" y="244356"/>
                </a:lnTo>
                <a:lnTo>
                  <a:pt x="441769" y="233348"/>
                </a:lnTo>
                <a:lnTo>
                  <a:pt x="454327" y="224587"/>
                </a:lnTo>
                <a:lnTo>
                  <a:pt x="477622" y="206638"/>
                </a:lnTo>
                <a:lnTo>
                  <a:pt x="509285" y="186248"/>
                </a:lnTo>
                <a:lnTo>
                  <a:pt x="525129" y="175195"/>
                </a:lnTo>
                <a:lnTo>
                  <a:pt x="536762" y="168554"/>
                </a:lnTo>
                <a:lnTo>
                  <a:pt x="557803" y="155005"/>
                </a:lnTo>
                <a:lnTo>
                  <a:pt x="595129" y="135232"/>
                </a:lnTo>
                <a:lnTo>
                  <a:pt x="613748" y="124603"/>
                </a:lnTo>
                <a:lnTo>
                  <a:pt x="624106" y="119882"/>
                </a:lnTo>
                <a:lnTo>
                  <a:pt x="642446" y="110167"/>
                </a:lnTo>
                <a:lnTo>
                  <a:pt x="685893" y="91726"/>
                </a:lnTo>
                <a:lnTo>
                  <a:pt x="707157" y="82036"/>
                </a:lnTo>
                <a:lnTo>
                  <a:pt x="715923" y="78980"/>
                </a:lnTo>
                <a:lnTo>
                  <a:pt x="731168" y="72509"/>
                </a:lnTo>
                <a:lnTo>
                  <a:pt x="781408" y="56150"/>
                </a:lnTo>
                <a:lnTo>
                  <a:pt x="804892" y="47963"/>
                </a:lnTo>
                <a:lnTo>
                  <a:pt x="811780" y="46260"/>
                </a:lnTo>
                <a:lnTo>
                  <a:pt x="823585" y="42416"/>
                </a:lnTo>
                <a:lnTo>
                  <a:pt x="881937" y="28918"/>
                </a:lnTo>
                <a:lnTo>
                  <a:pt x="906484" y="22850"/>
                </a:lnTo>
                <a:lnTo>
                  <a:pt x="911239" y="22139"/>
                </a:lnTo>
                <a:lnTo>
                  <a:pt x="919312" y="20272"/>
                </a:lnTo>
                <a:lnTo>
                  <a:pt x="989509" y="10445"/>
                </a:lnTo>
                <a:lnTo>
                  <a:pt x="1011467" y="7163"/>
                </a:lnTo>
                <a:lnTo>
                  <a:pt x="1013779" y="7047"/>
                </a:lnTo>
                <a:lnTo>
                  <a:pt x="1017965" y="6460"/>
                </a:lnTo>
                <a:lnTo>
                  <a:pt x="1066652" y="4155"/>
                </a:lnTo>
                <a:lnTo>
                  <a:pt x="1066652" y="1346"/>
                </a:lnTo>
                <a:lnTo>
                  <a:pt x="1111538" y="1346"/>
                </a:lnTo>
                <a:lnTo>
                  <a:pt x="1125987" y="1346"/>
                </a:lnTo>
                <a:lnTo>
                  <a:pt x="1126324" y="134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8048031-9346-4EA8-B0BB-6AEC838796E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38739" y="1831975"/>
            <a:ext cx="2014092" cy="4290612"/>
          </a:xfrm>
          <a:custGeom>
            <a:avLst/>
            <a:gdLst>
              <a:gd name="connsiteX0" fmla="*/ 249969 w 2014092"/>
              <a:gd name="connsiteY0" fmla="*/ 0 h 4290612"/>
              <a:gd name="connsiteX1" fmla="*/ 1764123 w 2014092"/>
              <a:gd name="connsiteY1" fmla="*/ 0 h 4290612"/>
              <a:gd name="connsiteX2" fmla="*/ 2014092 w 2014092"/>
              <a:gd name="connsiteY2" fmla="*/ 249969 h 4290612"/>
              <a:gd name="connsiteX3" fmla="*/ 2014092 w 2014092"/>
              <a:gd name="connsiteY3" fmla="*/ 4040643 h 4290612"/>
              <a:gd name="connsiteX4" fmla="*/ 1764123 w 2014092"/>
              <a:gd name="connsiteY4" fmla="*/ 4290612 h 4290612"/>
              <a:gd name="connsiteX5" fmla="*/ 249969 w 2014092"/>
              <a:gd name="connsiteY5" fmla="*/ 4290612 h 4290612"/>
              <a:gd name="connsiteX6" fmla="*/ 0 w 2014092"/>
              <a:gd name="connsiteY6" fmla="*/ 4040643 h 4290612"/>
              <a:gd name="connsiteX7" fmla="*/ 0 w 2014092"/>
              <a:gd name="connsiteY7" fmla="*/ 249969 h 4290612"/>
              <a:gd name="connsiteX8" fmla="*/ 249969 w 2014092"/>
              <a:gd name="connsiteY8" fmla="*/ 0 h 4290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4092" h="4290612">
                <a:moveTo>
                  <a:pt x="249969" y="0"/>
                </a:moveTo>
                <a:lnTo>
                  <a:pt x="1764123" y="0"/>
                </a:lnTo>
                <a:cubicBezTo>
                  <a:pt x="1902177" y="0"/>
                  <a:pt x="2014092" y="111915"/>
                  <a:pt x="2014092" y="249969"/>
                </a:cubicBezTo>
                <a:lnTo>
                  <a:pt x="2014092" y="4040643"/>
                </a:lnTo>
                <a:cubicBezTo>
                  <a:pt x="2014092" y="4178697"/>
                  <a:pt x="1902177" y="4290612"/>
                  <a:pt x="1764123" y="4290612"/>
                </a:cubicBezTo>
                <a:lnTo>
                  <a:pt x="249969" y="4290612"/>
                </a:lnTo>
                <a:cubicBezTo>
                  <a:pt x="111915" y="4290612"/>
                  <a:pt x="0" y="4178697"/>
                  <a:pt x="0" y="4040643"/>
                </a:cubicBezTo>
                <a:lnTo>
                  <a:pt x="0" y="249969"/>
                </a:lnTo>
                <a:cubicBezTo>
                  <a:pt x="0" y="111915"/>
                  <a:pt x="111915" y="0"/>
                  <a:pt x="24996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9224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D4529F-0E75-46EC-990D-BB8F30B0F6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85028" y="1473975"/>
            <a:ext cx="4206345" cy="3113438"/>
          </a:xfrm>
          <a:custGeom>
            <a:avLst/>
            <a:gdLst>
              <a:gd name="connsiteX0" fmla="*/ 4184082 w 4206345"/>
              <a:gd name="connsiteY0" fmla="*/ 32 h 3113438"/>
              <a:gd name="connsiteX1" fmla="*/ 4194531 w 4206345"/>
              <a:gd name="connsiteY1" fmla="*/ 7640 h 3113438"/>
              <a:gd name="connsiteX2" fmla="*/ 4196160 w 4206345"/>
              <a:gd name="connsiteY2" fmla="*/ 32415 h 3113438"/>
              <a:gd name="connsiteX3" fmla="*/ 4194083 w 4206345"/>
              <a:gd name="connsiteY3" fmla="*/ 139544 h 3113438"/>
              <a:gd name="connsiteX4" fmla="*/ 4195412 w 4206345"/>
              <a:gd name="connsiteY4" fmla="*/ 500244 h 3113438"/>
              <a:gd name="connsiteX5" fmla="*/ 4196383 w 4206345"/>
              <a:gd name="connsiteY5" fmla="*/ 830282 h 3113438"/>
              <a:gd name="connsiteX6" fmla="*/ 4198700 w 4206345"/>
              <a:gd name="connsiteY6" fmla="*/ 1256440 h 3113438"/>
              <a:gd name="connsiteX7" fmla="*/ 4199834 w 4206345"/>
              <a:gd name="connsiteY7" fmla="*/ 1588956 h 3113438"/>
              <a:gd name="connsiteX8" fmla="*/ 4201553 w 4206345"/>
              <a:gd name="connsiteY8" fmla="*/ 2006030 h 3113438"/>
              <a:gd name="connsiteX9" fmla="*/ 4202688 w 4206345"/>
              <a:gd name="connsiteY9" fmla="*/ 2338544 h 3113438"/>
              <a:gd name="connsiteX10" fmla="*/ 4204732 w 4206345"/>
              <a:gd name="connsiteY10" fmla="*/ 2823610 h 3113438"/>
              <a:gd name="connsiteX11" fmla="*/ 4205390 w 4206345"/>
              <a:gd name="connsiteY11" fmla="*/ 3073216 h 3113438"/>
              <a:gd name="connsiteX12" fmla="*/ 4206345 w 4206345"/>
              <a:gd name="connsiteY12" fmla="*/ 3112964 h 3113438"/>
              <a:gd name="connsiteX13" fmla="*/ 4177344 w 4206345"/>
              <a:gd name="connsiteY13" fmla="*/ 3113212 h 3113438"/>
              <a:gd name="connsiteX14" fmla="*/ 3761930 w 4206345"/>
              <a:gd name="connsiteY14" fmla="*/ 3112324 h 3113438"/>
              <a:gd name="connsiteX15" fmla="*/ 3302549 w 4206345"/>
              <a:gd name="connsiteY15" fmla="*/ 3111008 h 3113438"/>
              <a:gd name="connsiteX16" fmla="*/ 2936882 w 4206345"/>
              <a:gd name="connsiteY16" fmla="*/ 3110164 h 3113438"/>
              <a:gd name="connsiteX17" fmla="*/ 2573692 w 4206345"/>
              <a:gd name="connsiteY17" fmla="*/ 3109160 h 3113438"/>
              <a:gd name="connsiteX18" fmla="*/ 2257825 w 4206345"/>
              <a:gd name="connsiteY18" fmla="*/ 3109192 h 3113438"/>
              <a:gd name="connsiteX19" fmla="*/ 1941850 w 4206345"/>
              <a:gd name="connsiteY19" fmla="*/ 3107572 h 3113438"/>
              <a:gd name="connsiteX20" fmla="*/ 1674078 w 4206345"/>
              <a:gd name="connsiteY20" fmla="*/ 3107758 h 3113438"/>
              <a:gd name="connsiteX21" fmla="*/ 1358104 w 4206345"/>
              <a:gd name="connsiteY21" fmla="*/ 3106138 h 3113438"/>
              <a:gd name="connsiteX22" fmla="*/ 1090332 w 4206345"/>
              <a:gd name="connsiteY22" fmla="*/ 3106324 h 3113438"/>
              <a:gd name="connsiteX23" fmla="*/ 824103 w 4206345"/>
              <a:gd name="connsiteY23" fmla="*/ 3104752 h 3113438"/>
              <a:gd name="connsiteX24" fmla="*/ 606078 w 4206345"/>
              <a:gd name="connsiteY24" fmla="*/ 3104984 h 3113438"/>
              <a:gd name="connsiteX25" fmla="*/ 338198 w 4206345"/>
              <a:gd name="connsiteY25" fmla="*/ 3103520 h 3113438"/>
              <a:gd name="connsiteX26" fmla="*/ 120172 w 4206345"/>
              <a:gd name="connsiteY26" fmla="*/ 3103754 h 3113438"/>
              <a:gd name="connsiteX27" fmla="*/ 869 w 4206345"/>
              <a:gd name="connsiteY27" fmla="*/ 3104962 h 3113438"/>
              <a:gd name="connsiteX28" fmla="*/ 0 w 4206345"/>
              <a:gd name="connsiteY28" fmla="*/ 3091748 h 3113438"/>
              <a:gd name="connsiteX29" fmla="*/ 8104 w 4206345"/>
              <a:gd name="connsiteY29" fmla="*/ 3013252 h 3113438"/>
              <a:gd name="connsiteX30" fmla="*/ 36449 w 4206345"/>
              <a:gd name="connsiteY30" fmla="*/ 2637330 h 3113438"/>
              <a:gd name="connsiteX31" fmla="*/ 61296 w 4206345"/>
              <a:gd name="connsiteY31" fmla="*/ 2296472 h 3113438"/>
              <a:gd name="connsiteX32" fmla="*/ 87978 w 4206345"/>
              <a:gd name="connsiteY32" fmla="*/ 1933100 h 3113438"/>
              <a:gd name="connsiteX33" fmla="*/ 112423 w 4206345"/>
              <a:gd name="connsiteY33" fmla="*/ 1611344 h 3113438"/>
              <a:gd name="connsiteX34" fmla="*/ 137878 w 4206345"/>
              <a:gd name="connsiteY34" fmla="*/ 1267128 h 3113438"/>
              <a:gd name="connsiteX35" fmla="*/ 158259 w 4206345"/>
              <a:gd name="connsiteY35" fmla="*/ 997064 h 3113438"/>
              <a:gd name="connsiteX36" fmla="*/ 168516 w 4206345"/>
              <a:gd name="connsiteY36" fmla="*/ 850414 h 3113438"/>
              <a:gd name="connsiteX37" fmla="*/ 171275 w 4206345"/>
              <a:gd name="connsiteY37" fmla="*/ 841938 h 3113438"/>
              <a:gd name="connsiteX38" fmla="*/ 406788 w 4206345"/>
              <a:gd name="connsiteY38" fmla="*/ 792452 h 3113438"/>
              <a:gd name="connsiteX39" fmla="*/ 648851 w 4206345"/>
              <a:gd name="connsiteY39" fmla="*/ 741700 h 3113438"/>
              <a:gd name="connsiteX40" fmla="*/ 915461 w 4206345"/>
              <a:gd name="connsiteY40" fmla="*/ 686020 h 3113438"/>
              <a:gd name="connsiteX41" fmla="*/ 1180421 w 4206345"/>
              <a:gd name="connsiteY41" fmla="*/ 630450 h 3113438"/>
              <a:gd name="connsiteX42" fmla="*/ 1445380 w 4206345"/>
              <a:gd name="connsiteY42" fmla="*/ 574878 h 3113438"/>
              <a:gd name="connsiteX43" fmla="*/ 1734886 w 4206345"/>
              <a:gd name="connsiteY43" fmla="*/ 514374 h 3113438"/>
              <a:gd name="connsiteX44" fmla="*/ 2046463 w 4206345"/>
              <a:gd name="connsiteY44" fmla="*/ 449102 h 3113438"/>
              <a:gd name="connsiteX45" fmla="*/ 2380992 w 4206345"/>
              <a:gd name="connsiteY45" fmla="*/ 379834 h 3113438"/>
              <a:gd name="connsiteX46" fmla="*/ 2716237 w 4206345"/>
              <a:gd name="connsiteY46" fmla="*/ 308860 h 3113438"/>
              <a:gd name="connsiteX47" fmla="*/ 3097329 w 4206345"/>
              <a:gd name="connsiteY47" fmla="*/ 229065 h 3113438"/>
              <a:gd name="connsiteX48" fmla="*/ 3502144 w 4206345"/>
              <a:gd name="connsiteY48" fmla="*/ 144392 h 3113438"/>
              <a:gd name="connsiteX49" fmla="*/ 3953575 w 4206345"/>
              <a:gd name="connsiteY49" fmla="*/ 50021 h 3113438"/>
              <a:gd name="connsiteX50" fmla="*/ 4171916 w 4206345"/>
              <a:gd name="connsiteY50" fmla="*/ 4149 h 3113438"/>
              <a:gd name="connsiteX51" fmla="*/ 4184082 w 4206345"/>
              <a:gd name="connsiteY51" fmla="*/ 32 h 3113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4206345" h="3113438">
                <a:moveTo>
                  <a:pt x="4184082" y="32"/>
                </a:moveTo>
                <a:cubicBezTo>
                  <a:pt x="4189089" y="533"/>
                  <a:pt x="4195530" y="-2379"/>
                  <a:pt x="4194531" y="7640"/>
                </a:cubicBezTo>
                <a:cubicBezTo>
                  <a:pt x="4193422" y="16006"/>
                  <a:pt x="4195617" y="24156"/>
                  <a:pt x="4196160" y="32415"/>
                </a:cubicBezTo>
                <a:cubicBezTo>
                  <a:pt x="4195192" y="68142"/>
                  <a:pt x="4194224" y="103870"/>
                  <a:pt x="4194083" y="139544"/>
                </a:cubicBezTo>
                <a:cubicBezTo>
                  <a:pt x="4193700" y="259832"/>
                  <a:pt x="4194969" y="380012"/>
                  <a:pt x="4195412" y="500244"/>
                </a:cubicBezTo>
                <a:cubicBezTo>
                  <a:pt x="4196029" y="610514"/>
                  <a:pt x="4196592" y="719958"/>
                  <a:pt x="4196383" y="830282"/>
                </a:cubicBezTo>
                <a:cubicBezTo>
                  <a:pt x="4197413" y="972040"/>
                  <a:pt x="4197671" y="1114682"/>
                  <a:pt x="4198700" y="1256440"/>
                </a:cubicBezTo>
                <a:cubicBezTo>
                  <a:pt x="4198546" y="1367592"/>
                  <a:pt x="4199217" y="1478688"/>
                  <a:pt x="4199834" y="1588956"/>
                </a:cubicBezTo>
                <a:cubicBezTo>
                  <a:pt x="4200700" y="1728238"/>
                  <a:pt x="4200742" y="1867576"/>
                  <a:pt x="4201553" y="2006030"/>
                </a:cubicBezTo>
                <a:cubicBezTo>
                  <a:pt x="4202225" y="2117126"/>
                  <a:pt x="4202896" y="2228222"/>
                  <a:pt x="4202688" y="2338544"/>
                </a:cubicBezTo>
                <a:cubicBezTo>
                  <a:pt x="4203369" y="2500232"/>
                  <a:pt x="4204050" y="2661922"/>
                  <a:pt x="4204732" y="2823610"/>
                </a:cubicBezTo>
                <a:cubicBezTo>
                  <a:pt x="4205262" y="2907344"/>
                  <a:pt x="4205739" y="2990252"/>
                  <a:pt x="4205390" y="3073216"/>
                </a:cubicBezTo>
                <a:cubicBezTo>
                  <a:pt x="4206258" y="3086428"/>
                  <a:pt x="4206247" y="3098872"/>
                  <a:pt x="4206345" y="3112964"/>
                </a:cubicBezTo>
                <a:cubicBezTo>
                  <a:pt x="4195613" y="3113670"/>
                  <a:pt x="4186478" y="3113440"/>
                  <a:pt x="4177344" y="3113212"/>
                </a:cubicBezTo>
                <a:cubicBezTo>
                  <a:pt x="4038891" y="3113192"/>
                  <a:pt x="3900438" y="3113170"/>
                  <a:pt x="3761930" y="3112324"/>
                </a:cubicBezTo>
                <a:cubicBezTo>
                  <a:pt x="3609390" y="3112398"/>
                  <a:pt x="3455970" y="3111704"/>
                  <a:pt x="3302549" y="3111008"/>
                </a:cubicBezTo>
                <a:cubicBezTo>
                  <a:pt x="3180660" y="3110726"/>
                  <a:pt x="3058826" y="3111272"/>
                  <a:pt x="2936882" y="3110164"/>
                </a:cubicBezTo>
                <a:cubicBezTo>
                  <a:pt x="2815819" y="3109832"/>
                  <a:pt x="2694755" y="3109496"/>
                  <a:pt x="2573692" y="3109160"/>
                </a:cubicBezTo>
                <a:cubicBezTo>
                  <a:pt x="2468366" y="3108620"/>
                  <a:pt x="2363096" y="3108906"/>
                  <a:pt x="2257825" y="3109192"/>
                </a:cubicBezTo>
                <a:cubicBezTo>
                  <a:pt x="2152500" y="3108652"/>
                  <a:pt x="2047175" y="3108112"/>
                  <a:pt x="1941850" y="3107572"/>
                </a:cubicBezTo>
                <a:cubicBezTo>
                  <a:pt x="1852317" y="3107652"/>
                  <a:pt x="1762786" y="3107732"/>
                  <a:pt x="1674078" y="3107758"/>
                </a:cubicBezTo>
                <a:cubicBezTo>
                  <a:pt x="1568753" y="3107216"/>
                  <a:pt x="1463428" y="3106678"/>
                  <a:pt x="1358104" y="3106138"/>
                </a:cubicBezTo>
                <a:cubicBezTo>
                  <a:pt x="1268571" y="3106218"/>
                  <a:pt x="1179864" y="3106244"/>
                  <a:pt x="1090332" y="3106324"/>
                </a:cubicBezTo>
                <a:cubicBezTo>
                  <a:pt x="1001571" y="3105524"/>
                  <a:pt x="912809" y="3104724"/>
                  <a:pt x="824103" y="3104752"/>
                </a:cubicBezTo>
                <a:cubicBezTo>
                  <a:pt x="751134" y="3104572"/>
                  <a:pt x="679046" y="3105164"/>
                  <a:pt x="606078" y="3104984"/>
                </a:cubicBezTo>
                <a:cubicBezTo>
                  <a:pt x="516491" y="3104240"/>
                  <a:pt x="427730" y="3103440"/>
                  <a:pt x="338198" y="3103520"/>
                </a:cubicBezTo>
                <a:cubicBezTo>
                  <a:pt x="265229" y="3103340"/>
                  <a:pt x="193087" y="3103108"/>
                  <a:pt x="120172" y="3103754"/>
                </a:cubicBezTo>
                <a:cubicBezTo>
                  <a:pt x="80387" y="3103880"/>
                  <a:pt x="40655" y="3104836"/>
                  <a:pt x="869" y="3104962"/>
                </a:cubicBezTo>
                <a:cubicBezTo>
                  <a:pt x="597" y="3100832"/>
                  <a:pt x="272" y="3095878"/>
                  <a:pt x="0" y="3091748"/>
                </a:cubicBezTo>
                <a:cubicBezTo>
                  <a:pt x="3270" y="3065822"/>
                  <a:pt x="5660" y="3039124"/>
                  <a:pt x="8104" y="3013252"/>
                </a:cubicBezTo>
                <a:cubicBezTo>
                  <a:pt x="17296" y="2888238"/>
                  <a:pt x="27312" y="2763170"/>
                  <a:pt x="36449" y="2637330"/>
                </a:cubicBezTo>
                <a:cubicBezTo>
                  <a:pt x="44749" y="2523984"/>
                  <a:pt x="53050" y="2410640"/>
                  <a:pt x="61296" y="2296472"/>
                </a:cubicBezTo>
                <a:cubicBezTo>
                  <a:pt x="69933" y="2175640"/>
                  <a:pt x="79341" y="2053930"/>
                  <a:pt x="87978" y="1933100"/>
                </a:cubicBezTo>
                <a:cubicBezTo>
                  <a:pt x="96659" y="1825536"/>
                  <a:pt x="104568" y="1718852"/>
                  <a:pt x="112423" y="1611344"/>
                </a:cubicBezTo>
                <a:cubicBezTo>
                  <a:pt x="120669" y="1497174"/>
                  <a:pt x="129687" y="1382124"/>
                  <a:pt x="137878" y="1267128"/>
                </a:cubicBezTo>
                <a:cubicBezTo>
                  <a:pt x="145222" y="1177072"/>
                  <a:pt x="151741" y="1087068"/>
                  <a:pt x="158259" y="997064"/>
                </a:cubicBezTo>
                <a:cubicBezTo>
                  <a:pt x="161715" y="948730"/>
                  <a:pt x="165115" y="899572"/>
                  <a:pt x="168516" y="850414"/>
                </a:cubicBezTo>
                <a:cubicBezTo>
                  <a:pt x="169178" y="847882"/>
                  <a:pt x="169841" y="845352"/>
                  <a:pt x="171275" y="841938"/>
                </a:cubicBezTo>
                <a:cubicBezTo>
                  <a:pt x="249816" y="825994"/>
                  <a:pt x="328302" y="809222"/>
                  <a:pt x="406788" y="792452"/>
                </a:cubicBezTo>
                <a:cubicBezTo>
                  <a:pt x="486925" y="775570"/>
                  <a:pt x="567889" y="758636"/>
                  <a:pt x="648851" y="741700"/>
                </a:cubicBezTo>
                <a:cubicBezTo>
                  <a:pt x="738015" y="723398"/>
                  <a:pt x="826353" y="705150"/>
                  <a:pt x="915461" y="686020"/>
                </a:cubicBezTo>
                <a:cubicBezTo>
                  <a:pt x="1003799" y="667772"/>
                  <a:pt x="1092137" y="649524"/>
                  <a:pt x="1180421" y="630450"/>
                </a:cubicBezTo>
                <a:cubicBezTo>
                  <a:pt x="1268758" y="612200"/>
                  <a:pt x="1357096" y="593952"/>
                  <a:pt x="1445380" y="574878"/>
                </a:cubicBezTo>
                <a:cubicBezTo>
                  <a:pt x="1541918" y="555260"/>
                  <a:pt x="1638403" y="534816"/>
                  <a:pt x="1734886" y="514374"/>
                </a:cubicBezTo>
                <a:cubicBezTo>
                  <a:pt x="1838746" y="492618"/>
                  <a:pt x="1942605" y="470860"/>
                  <a:pt x="2046463" y="449102"/>
                </a:cubicBezTo>
                <a:cubicBezTo>
                  <a:pt x="2157698" y="426032"/>
                  <a:pt x="2269758" y="402906"/>
                  <a:pt x="2380992" y="379834"/>
                </a:cubicBezTo>
                <a:cubicBezTo>
                  <a:pt x="2492997" y="355882"/>
                  <a:pt x="2604231" y="332812"/>
                  <a:pt x="2716237" y="308860"/>
                </a:cubicBezTo>
                <a:cubicBezTo>
                  <a:pt x="2842992" y="282280"/>
                  <a:pt x="2970574" y="255644"/>
                  <a:pt x="3097329" y="229065"/>
                </a:cubicBezTo>
                <a:cubicBezTo>
                  <a:pt x="3232285" y="201117"/>
                  <a:pt x="3367242" y="173167"/>
                  <a:pt x="3502144" y="144392"/>
                </a:cubicBezTo>
                <a:cubicBezTo>
                  <a:pt x="3652621" y="112935"/>
                  <a:pt x="3803098" y="81479"/>
                  <a:pt x="3953575" y="50021"/>
                </a:cubicBezTo>
                <a:cubicBezTo>
                  <a:pt x="4026392" y="35281"/>
                  <a:pt x="4099154" y="19715"/>
                  <a:pt x="4171916" y="4149"/>
                </a:cubicBezTo>
                <a:cubicBezTo>
                  <a:pt x="4176044" y="3878"/>
                  <a:pt x="4180063" y="1955"/>
                  <a:pt x="4184082" y="32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9317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50A6A2E-1603-406A-8350-942C41BEC7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0435" y="2009671"/>
            <a:ext cx="4854545" cy="2775690"/>
          </a:xfrm>
          <a:custGeom>
            <a:avLst/>
            <a:gdLst>
              <a:gd name="connsiteX0" fmla="*/ 0 w 4854545"/>
              <a:gd name="connsiteY0" fmla="*/ 0 h 2775690"/>
              <a:gd name="connsiteX1" fmla="*/ 4854545 w 4854545"/>
              <a:gd name="connsiteY1" fmla="*/ 0 h 2775690"/>
              <a:gd name="connsiteX2" fmla="*/ 4854545 w 4854545"/>
              <a:gd name="connsiteY2" fmla="*/ 2775690 h 2775690"/>
              <a:gd name="connsiteX3" fmla="*/ 0 w 4854545"/>
              <a:gd name="connsiteY3" fmla="*/ 2775690 h 277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45" h="2775690">
                <a:moveTo>
                  <a:pt x="0" y="0"/>
                </a:moveTo>
                <a:lnTo>
                  <a:pt x="4854545" y="0"/>
                </a:lnTo>
                <a:lnTo>
                  <a:pt x="4854545" y="2775690"/>
                </a:lnTo>
                <a:lnTo>
                  <a:pt x="0" y="277569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2375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E8F7024-C752-480A-AFDB-A95221CACBD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86583" y="1"/>
            <a:ext cx="5166485" cy="6855583"/>
          </a:xfrm>
          <a:custGeom>
            <a:avLst/>
            <a:gdLst>
              <a:gd name="connsiteX0" fmla="*/ 1086626 w 5166485"/>
              <a:gd name="connsiteY0" fmla="*/ 3265888 h 6855583"/>
              <a:gd name="connsiteX1" fmla="*/ 1086635 w 5166485"/>
              <a:gd name="connsiteY1" fmla="*/ 3265890 h 6855583"/>
              <a:gd name="connsiteX2" fmla="*/ 1087274 w 5166485"/>
              <a:gd name="connsiteY2" fmla="*/ 3265890 h 6855583"/>
              <a:gd name="connsiteX3" fmla="*/ 1119550 w 5166485"/>
              <a:gd name="connsiteY3" fmla="*/ 3265890 h 6855583"/>
              <a:gd name="connsiteX4" fmla="*/ 1170447 w 5166485"/>
              <a:gd name="connsiteY4" fmla="*/ 3265890 h 6855583"/>
              <a:gd name="connsiteX5" fmla="*/ 1170458 w 5166485"/>
              <a:gd name="connsiteY5" fmla="*/ 3265888 h 6855583"/>
              <a:gd name="connsiteX6" fmla="*/ 1170468 w 5166485"/>
              <a:gd name="connsiteY6" fmla="*/ 3265890 h 6855583"/>
              <a:gd name="connsiteX7" fmla="*/ 1171107 w 5166485"/>
              <a:gd name="connsiteY7" fmla="*/ 3265890 h 6855583"/>
              <a:gd name="connsiteX8" fmla="*/ 1752107 w 5166485"/>
              <a:gd name="connsiteY8" fmla="*/ 3265890 h 6855583"/>
              <a:gd name="connsiteX9" fmla="*/ 1801177 w 5166485"/>
              <a:gd name="connsiteY9" fmla="*/ 3265890 h 6855583"/>
              <a:gd name="connsiteX10" fmla="*/ 1803005 w 5166485"/>
              <a:gd name="connsiteY10" fmla="*/ 3265890 h 6855583"/>
              <a:gd name="connsiteX11" fmla="*/ 1803015 w 5166485"/>
              <a:gd name="connsiteY11" fmla="*/ 3265888 h 6855583"/>
              <a:gd name="connsiteX12" fmla="*/ 1803026 w 5166485"/>
              <a:gd name="connsiteY12" fmla="*/ 3265890 h 6855583"/>
              <a:gd name="connsiteX13" fmla="*/ 1803664 w 5166485"/>
              <a:gd name="connsiteY13" fmla="*/ 3265890 h 6855583"/>
              <a:gd name="connsiteX14" fmla="*/ 1835940 w 5166485"/>
              <a:gd name="connsiteY14" fmla="*/ 3265890 h 6855583"/>
              <a:gd name="connsiteX15" fmla="*/ 1852074 w 5166485"/>
              <a:gd name="connsiteY15" fmla="*/ 3265890 h 6855583"/>
              <a:gd name="connsiteX16" fmla="*/ 1852084 w 5166485"/>
              <a:gd name="connsiteY16" fmla="*/ 3265888 h 6855583"/>
              <a:gd name="connsiteX17" fmla="*/ 1852095 w 5166485"/>
              <a:gd name="connsiteY17" fmla="*/ 3265890 h 6855583"/>
              <a:gd name="connsiteX18" fmla="*/ 1852734 w 5166485"/>
              <a:gd name="connsiteY18" fmla="*/ 3265890 h 6855583"/>
              <a:gd name="connsiteX19" fmla="*/ 1885010 w 5166485"/>
              <a:gd name="connsiteY19" fmla="*/ 3265890 h 6855583"/>
              <a:gd name="connsiteX20" fmla="*/ 1886837 w 5166485"/>
              <a:gd name="connsiteY20" fmla="*/ 3265890 h 6855583"/>
              <a:gd name="connsiteX21" fmla="*/ 1886846 w 5166485"/>
              <a:gd name="connsiteY21" fmla="*/ 3265888 h 6855583"/>
              <a:gd name="connsiteX22" fmla="*/ 1886857 w 5166485"/>
              <a:gd name="connsiteY22" fmla="*/ 3265890 h 6855583"/>
              <a:gd name="connsiteX23" fmla="*/ 1887496 w 5166485"/>
              <a:gd name="connsiteY23" fmla="*/ 3265890 h 6855583"/>
              <a:gd name="connsiteX24" fmla="*/ 1935905 w 5166485"/>
              <a:gd name="connsiteY24" fmla="*/ 3265890 h 6855583"/>
              <a:gd name="connsiteX25" fmla="*/ 1935916 w 5166485"/>
              <a:gd name="connsiteY25" fmla="*/ 3265888 h 6855583"/>
              <a:gd name="connsiteX26" fmla="*/ 1935926 w 5166485"/>
              <a:gd name="connsiteY26" fmla="*/ 3265890 h 6855583"/>
              <a:gd name="connsiteX27" fmla="*/ 1936565 w 5166485"/>
              <a:gd name="connsiteY27" fmla="*/ 3265890 h 6855583"/>
              <a:gd name="connsiteX28" fmla="*/ 2170246 w 5166485"/>
              <a:gd name="connsiteY28" fmla="*/ 3265890 h 6855583"/>
              <a:gd name="connsiteX29" fmla="*/ 2254079 w 5166485"/>
              <a:gd name="connsiteY29" fmla="*/ 3265890 h 6855583"/>
              <a:gd name="connsiteX30" fmla="*/ 2517566 w 5166485"/>
              <a:gd name="connsiteY30" fmla="*/ 3265890 h 6855583"/>
              <a:gd name="connsiteX31" fmla="*/ 2568463 w 5166485"/>
              <a:gd name="connsiteY31" fmla="*/ 3265890 h 6855583"/>
              <a:gd name="connsiteX32" fmla="*/ 2568473 w 5166485"/>
              <a:gd name="connsiteY32" fmla="*/ 3265888 h 6855583"/>
              <a:gd name="connsiteX33" fmla="*/ 2568484 w 5166485"/>
              <a:gd name="connsiteY33" fmla="*/ 3265890 h 6855583"/>
              <a:gd name="connsiteX34" fmla="*/ 2569123 w 5166485"/>
              <a:gd name="connsiteY34" fmla="*/ 3265890 h 6855583"/>
              <a:gd name="connsiteX35" fmla="*/ 2601399 w 5166485"/>
              <a:gd name="connsiteY35" fmla="*/ 3265890 h 6855583"/>
              <a:gd name="connsiteX36" fmla="*/ 2652295 w 5166485"/>
              <a:gd name="connsiteY36" fmla="*/ 3265890 h 6855583"/>
              <a:gd name="connsiteX37" fmla="*/ 2652306 w 5166485"/>
              <a:gd name="connsiteY37" fmla="*/ 3265888 h 6855583"/>
              <a:gd name="connsiteX38" fmla="*/ 2652315 w 5166485"/>
              <a:gd name="connsiteY38" fmla="*/ 3265890 h 6855583"/>
              <a:gd name="connsiteX39" fmla="*/ 2652954 w 5166485"/>
              <a:gd name="connsiteY39" fmla="*/ 3265890 h 6855583"/>
              <a:gd name="connsiteX40" fmla="*/ 2886635 w 5166485"/>
              <a:gd name="connsiteY40" fmla="*/ 3265890 h 6855583"/>
              <a:gd name="connsiteX41" fmla="*/ 2935705 w 5166485"/>
              <a:gd name="connsiteY41" fmla="*/ 3265890 h 6855583"/>
              <a:gd name="connsiteX42" fmla="*/ 2970468 w 5166485"/>
              <a:gd name="connsiteY42" fmla="*/ 3265890 h 6855583"/>
              <a:gd name="connsiteX43" fmla="*/ 3019538 w 5166485"/>
              <a:gd name="connsiteY43" fmla="*/ 3265890 h 6855583"/>
              <a:gd name="connsiteX44" fmla="*/ 3652094 w 5166485"/>
              <a:gd name="connsiteY44" fmla="*/ 3265890 h 6855583"/>
              <a:gd name="connsiteX45" fmla="*/ 3735927 w 5166485"/>
              <a:gd name="connsiteY45" fmla="*/ 3265890 h 6855583"/>
              <a:gd name="connsiteX46" fmla="*/ 3735927 w 5166485"/>
              <a:gd name="connsiteY46" fmla="*/ 4199586 h 6855583"/>
              <a:gd name="connsiteX47" fmla="*/ 3734217 w 5166485"/>
              <a:gd name="connsiteY47" fmla="*/ 4199586 h 6855583"/>
              <a:gd name="connsiteX48" fmla="*/ 3734217 w 5166485"/>
              <a:gd name="connsiteY48" fmla="*/ 4437486 h 6855583"/>
              <a:gd name="connsiteX49" fmla="*/ 3735499 w 5166485"/>
              <a:gd name="connsiteY49" fmla="*/ 4437486 h 6855583"/>
              <a:gd name="connsiteX50" fmla="*/ 3735499 w 5166485"/>
              <a:gd name="connsiteY50" fmla="*/ 4514790 h 6855583"/>
              <a:gd name="connsiteX51" fmla="*/ 3735499 w 5166485"/>
              <a:gd name="connsiteY51" fmla="*/ 4794177 h 6855583"/>
              <a:gd name="connsiteX52" fmla="*/ 3735500 w 5166485"/>
              <a:gd name="connsiteY52" fmla="*/ 5379128 h 6855583"/>
              <a:gd name="connsiteX53" fmla="*/ 3735500 w 5166485"/>
              <a:gd name="connsiteY53" fmla="*/ 5405390 h 6855583"/>
              <a:gd name="connsiteX54" fmla="*/ 3735500 w 5166485"/>
              <a:gd name="connsiteY54" fmla="*/ 5598154 h 6855583"/>
              <a:gd name="connsiteX55" fmla="*/ 3734205 w 5166485"/>
              <a:gd name="connsiteY55" fmla="*/ 5598154 h 6855583"/>
              <a:gd name="connsiteX56" fmla="*/ 3734205 w 5166485"/>
              <a:gd name="connsiteY56" fmla="*/ 5598486 h 6855583"/>
              <a:gd name="connsiteX57" fmla="*/ 3734205 w 5166485"/>
              <a:gd name="connsiteY57" fmla="*/ 5612740 h 6855583"/>
              <a:gd name="connsiteX58" fmla="*/ 3734205 w 5166485"/>
              <a:gd name="connsiteY58" fmla="*/ 5657025 h 6855583"/>
              <a:gd name="connsiteX59" fmla="*/ 3731500 w 5166485"/>
              <a:gd name="connsiteY59" fmla="*/ 5657025 h 6855583"/>
              <a:gd name="connsiteX60" fmla="*/ 3729283 w 5166485"/>
              <a:gd name="connsiteY60" fmla="*/ 5705056 h 6855583"/>
              <a:gd name="connsiteX61" fmla="*/ 3728718 w 5166485"/>
              <a:gd name="connsiteY61" fmla="*/ 5709186 h 6855583"/>
              <a:gd name="connsiteX62" fmla="*/ 3728606 w 5166485"/>
              <a:gd name="connsiteY62" fmla="*/ 5711467 h 6855583"/>
              <a:gd name="connsiteX63" fmla="*/ 3725448 w 5166485"/>
              <a:gd name="connsiteY63" fmla="*/ 5733130 h 6855583"/>
              <a:gd name="connsiteX64" fmla="*/ 3723149 w 5166485"/>
              <a:gd name="connsiteY64" fmla="*/ 5749961 h 6855583"/>
              <a:gd name="connsiteX65" fmla="*/ 3723149 w 5166485"/>
              <a:gd name="connsiteY65" fmla="*/ 5785114 h 6855583"/>
              <a:gd name="connsiteX66" fmla="*/ 3720444 w 5166485"/>
              <a:gd name="connsiteY66" fmla="*/ 5785114 h 6855583"/>
              <a:gd name="connsiteX67" fmla="*/ 3718226 w 5166485"/>
              <a:gd name="connsiteY67" fmla="*/ 5833975 h 6855583"/>
              <a:gd name="connsiteX68" fmla="*/ 3717662 w 5166485"/>
              <a:gd name="connsiteY68" fmla="*/ 5838176 h 6855583"/>
              <a:gd name="connsiteX69" fmla="*/ 3717549 w 5166485"/>
              <a:gd name="connsiteY69" fmla="*/ 5840496 h 6855583"/>
              <a:gd name="connsiteX70" fmla="*/ 3714391 w 5166485"/>
              <a:gd name="connsiteY70" fmla="*/ 5862534 h 6855583"/>
              <a:gd name="connsiteX71" fmla="*/ 3704933 w 5166485"/>
              <a:gd name="connsiteY71" fmla="*/ 5932981 h 6855583"/>
              <a:gd name="connsiteX72" fmla="*/ 3703137 w 5166485"/>
              <a:gd name="connsiteY72" fmla="*/ 5941083 h 6855583"/>
              <a:gd name="connsiteX73" fmla="*/ 3702452 w 5166485"/>
              <a:gd name="connsiteY73" fmla="*/ 5945855 h 6855583"/>
              <a:gd name="connsiteX74" fmla="*/ 3696614 w 5166485"/>
              <a:gd name="connsiteY74" fmla="*/ 5970492 h 6855583"/>
              <a:gd name="connsiteX75" fmla="*/ 3683622 w 5166485"/>
              <a:gd name="connsiteY75" fmla="*/ 6029051 h 6855583"/>
              <a:gd name="connsiteX76" fmla="*/ 3679923 w 5166485"/>
              <a:gd name="connsiteY76" fmla="*/ 6040897 h 6855583"/>
              <a:gd name="connsiteX77" fmla="*/ 3678285 w 5166485"/>
              <a:gd name="connsiteY77" fmla="*/ 6047812 h 6855583"/>
              <a:gd name="connsiteX78" fmla="*/ 3670406 w 5166485"/>
              <a:gd name="connsiteY78" fmla="*/ 6071379 h 6855583"/>
              <a:gd name="connsiteX79" fmla="*/ 3654662 w 5166485"/>
              <a:gd name="connsiteY79" fmla="*/ 6121798 h 6855583"/>
              <a:gd name="connsiteX80" fmla="*/ 3648434 w 5166485"/>
              <a:gd name="connsiteY80" fmla="*/ 6137099 h 6855583"/>
              <a:gd name="connsiteX81" fmla="*/ 3645495 w 5166485"/>
              <a:gd name="connsiteY81" fmla="*/ 6145895 h 6855583"/>
              <a:gd name="connsiteX82" fmla="*/ 3636168 w 5166485"/>
              <a:gd name="connsiteY82" fmla="*/ 6167235 h 6855583"/>
              <a:gd name="connsiteX83" fmla="*/ 3618421 w 5166485"/>
              <a:gd name="connsiteY83" fmla="*/ 6210838 h 6855583"/>
              <a:gd name="connsiteX84" fmla="*/ 3609070 w 5166485"/>
              <a:gd name="connsiteY84" fmla="*/ 6229244 h 6855583"/>
              <a:gd name="connsiteX85" fmla="*/ 3604529 w 5166485"/>
              <a:gd name="connsiteY85" fmla="*/ 6239639 h 6855583"/>
              <a:gd name="connsiteX86" fmla="*/ 3594298 w 5166485"/>
              <a:gd name="connsiteY86" fmla="*/ 6258324 h 6855583"/>
              <a:gd name="connsiteX87" fmla="*/ 3575270 w 5166485"/>
              <a:gd name="connsiteY87" fmla="*/ 6295785 h 6855583"/>
              <a:gd name="connsiteX88" fmla="*/ 3562231 w 5166485"/>
              <a:gd name="connsiteY88" fmla="*/ 6316901 h 6855583"/>
              <a:gd name="connsiteX89" fmla="*/ 3555841 w 5166485"/>
              <a:gd name="connsiteY89" fmla="*/ 6328575 h 6855583"/>
              <a:gd name="connsiteX90" fmla="*/ 3545203 w 5166485"/>
              <a:gd name="connsiteY90" fmla="*/ 6344476 h 6855583"/>
              <a:gd name="connsiteX91" fmla="*/ 3525580 w 5166485"/>
              <a:gd name="connsiteY91" fmla="*/ 6376252 h 6855583"/>
              <a:gd name="connsiteX92" fmla="*/ 3508306 w 5166485"/>
              <a:gd name="connsiteY92" fmla="*/ 6399630 h 6855583"/>
              <a:gd name="connsiteX93" fmla="*/ 3499876 w 5166485"/>
              <a:gd name="connsiteY93" fmla="*/ 6412234 h 6855583"/>
              <a:gd name="connsiteX94" fmla="*/ 3489281 w 5166485"/>
              <a:gd name="connsiteY94" fmla="*/ 6425379 h 6855583"/>
              <a:gd name="connsiteX95" fmla="*/ 3469720 w 5166485"/>
              <a:gd name="connsiteY95" fmla="*/ 6451856 h 6855583"/>
              <a:gd name="connsiteX96" fmla="*/ 3447676 w 5166485"/>
              <a:gd name="connsiteY96" fmla="*/ 6477005 h 6855583"/>
              <a:gd name="connsiteX97" fmla="*/ 3437085 w 5166485"/>
              <a:gd name="connsiteY97" fmla="*/ 6490148 h 6855583"/>
              <a:gd name="connsiteX98" fmla="*/ 3426944 w 5166485"/>
              <a:gd name="connsiteY98" fmla="*/ 6500661 h 6855583"/>
              <a:gd name="connsiteX99" fmla="*/ 3408058 w 5166485"/>
              <a:gd name="connsiteY99" fmla="*/ 6522209 h 6855583"/>
              <a:gd name="connsiteX100" fmla="*/ 3380698 w 5166485"/>
              <a:gd name="connsiteY100" fmla="*/ 6548600 h 6855583"/>
              <a:gd name="connsiteX101" fmla="*/ 3367917 w 5166485"/>
              <a:gd name="connsiteY101" fmla="*/ 6561848 h 6855583"/>
              <a:gd name="connsiteX102" fmla="*/ 3358599 w 5166485"/>
              <a:gd name="connsiteY102" fmla="*/ 6569916 h 6855583"/>
              <a:gd name="connsiteX103" fmla="*/ 3340966 w 5166485"/>
              <a:gd name="connsiteY103" fmla="*/ 6586926 h 6855583"/>
              <a:gd name="connsiteX104" fmla="*/ 3307673 w 5166485"/>
              <a:gd name="connsiteY104" fmla="*/ 6614008 h 6855583"/>
              <a:gd name="connsiteX105" fmla="*/ 3292820 w 5166485"/>
              <a:gd name="connsiteY105" fmla="*/ 6626869 h 6855583"/>
              <a:gd name="connsiteX106" fmla="*/ 3284662 w 5166485"/>
              <a:gd name="connsiteY106" fmla="*/ 6632728 h 6855583"/>
              <a:gd name="connsiteX107" fmla="*/ 3268811 w 5166485"/>
              <a:gd name="connsiteY107" fmla="*/ 6645621 h 6855583"/>
              <a:gd name="connsiteX108" fmla="*/ 3228808 w 5166485"/>
              <a:gd name="connsiteY108" fmla="*/ 6672841 h 6855583"/>
              <a:gd name="connsiteX109" fmla="*/ 3212245 w 5166485"/>
              <a:gd name="connsiteY109" fmla="*/ 6684739 h 6855583"/>
              <a:gd name="connsiteX110" fmla="*/ 3205551 w 5166485"/>
              <a:gd name="connsiteY110" fmla="*/ 6688665 h 6855583"/>
              <a:gd name="connsiteX111" fmla="*/ 3191968 w 5166485"/>
              <a:gd name="connsiteY111" fmla="*/ 6697909 h 6855583"/>
              <a:gd name="connsiteX112" fmla="*/ 3144033 w 5166485"/>
              <a:gd name="connsiteY112" fmla="*/ 6724779 h 6855583"/>
              <a:gd name="connsiteX113" fmla="*/ 3126640 w 5166485"/>
              <a:gd name="connsiteY113" fmla="*/ 6734990 h 6855583"/>
              <a:gd name="connsiteX114" fmla="*/ 3121686 w 5166485"/>
              <a:gd name="connsiteY114" fmla="*/ 6737306 h 6855583"/>
              <a:gd name="connsiteX115" fmla="*/ 3110802 w 5166485"/>
              <a:gd name="connsiteY115" fmla="*/ 6743407 h 6855583"/>
              <a:gd name="connsiteX116" fmla="*/ 3052483 w 5166485"/>
              <a:gd name="connsiteY116" fmla="*/ 6769660 h 6855583"/>
              <a:gd name="connsiteX117" fmla="*/ 3036452 w 5166485"/>
              <a:gd name="connsiteY117" fmla="*/ 6777154 h 6855583"/>
              <a:gd name="connsiteX118" fmla="*/ 3033487 w 5166485"/>
              <a:gd name="connsiteY118" fmla="*/ 6778211 h 6855583"/>
              <a:gd name="connsiteX119" fmla="*/ 3025684 w 5166485"/>
              <a:gd name="connsiteY119" fmla="*/ 6781724 h 6855583"/>
              <a:gd name="connsiteX120" fmla="*/ 2949668 w 5166485"/>
              <a:gd name="connsiteY120" fmla="*/ 6808079 h 6855583"/>
              <a:gd name="connsiteX121" fmla="*/ 2942133 w 5166485"/>
              <a:gd name="connsiteY121" fmla="*/ 6810763 h 6855583"/>
              <a:gd name="connsiteX122" fmla="*/ 2941376 w 5166485"/>
              <a:gd name="connsiteY122" fmla="*/ 6810955 h 6855583"/>
              <a:gd name="connsiteX123" fmla="*/ 2936985 w 5166485"/>
              <a:gd name="connsiteY123" fmla="*/ 6812477 h 6855583"/>
              <a:gd name="connsiteX124" fmla="*/ 2750320 w 5166485"/>
              <a:gd name="connsiteY124" fmla="*/ 6849749 h 6855583"/>
              <a:gd name="connsiteX125" fmla="*/ 2746081 w 5166485"/>
              <a:gd name="connsiteY125" fmla="*/ 6849972 h 6855583"/>
              <a:gd name="connsiteX126" fmla="*/ 2742897 w 5166485"/>
              <a:gd name="connsiteY126" fmla="*/ 6850446 h 6855583"/>
              <a:gd name="connsiteX127" fmla="*/ 2690435 w 5166485"/>
              <a:gd name="connsiteY127" fmla="*/ 6853038 h 6855583"/>
              <a:gd name="connsiteX128" fmla="*/ 2690435 w 5166485"/>
              <a:gd name="connsiteY128" fmla="*/ 6855583 h 6855583"/>
              <a:gd name="connsiteX129" fmla="*/ 2639538 w 5166485"/>
              <a:gd name="connsiteY129" fmla="*/ 6855583 h 6855583"/>
              <a:gd name="connsiteX130" fmla="*/ 2639527 w 5166485"/>
              <a:gd name="connsiteY130" fmla="*/ 6855583 h 6855583"/>
              <a:gd name="connsiteX131" fmla="*/ 2639516 w 5166485"/>
              <a:gd name="connsiteY131" fmla="*/ 6855583 h 6855583"/>
              <a:gd name="connsiteX132" fmla="*/ 2638878 w 5166485"/>
              <a:gd name="connsiteY132" fmla="*/ 6855583 h 6855583"/>
              <a:gd name="connsiteX133" fmla="*/ 2617659 w 5166485"/>
              <a:gd name="connsiteY133" fmla="*/ 6855583 h 6855583"/>
              <a:gd name="connsiteX134" fmla="*/ 2566761 w 5166485"/>
              <a:gd name="connsiteY134" fmla="*/ 6855583 h 6855583"/>
              <a:gd name="connsiteX135" fmla="*/ 2566750 w 5166485"/>
              <a:gd name="connsiteY135" fmla="*/ 6855583 h 6855583"/>
              <a:gd name="connsiteX136" fmla="*/ 2566740 w 5166485"/>
              <a:gd name="connsiteY136" fmla="*/ 6855583 h 6855583"/>
              <a:gd name="connsiteX137" fmla="*/ 2566100 w 5166485"/>
              <a:gd name="connsiteY137" fmla="*/ 6855583 h 6855583"/>
              <a:gd name="connsiteX138" fmla="*/ 1974046 w 5166485"/>
              <a:gd name="connsiteY138" fmla="*/ 6855583 h 6855583"/>
              <a:gd name="connsiteX139" fmla="*/ 1924977 w 5166485"/>
              <a:gd name="connsiteY139" fmla="*/ 6855583 h 6855583"/>
              <a:gd name="connsiteX140" fmla="*/ 1923149 w 5166485"/>
              <a:gd name="connsiteY140" fmla="*/ 6855583 h 6855583"/>
              <a:gd name="connsiteX141" fmla="*/ 1923138 w 5166485"/>
              <a:gd name="connsiteY141" fmla="*/ 6855583 h 6855583"/>
              <a:gd name="connsiteX142" fmla="*/ 1923127 w 5166485"/>
              <a:gd name="connsiteY142" fmla="*/ 6855583 h 6855583"/>
              <a:gd name="connsiteX143" fmla="*/ 1922488 w 5166485"/>
              <a:gd name="connsiteY143" fmla="*/ 6855583 h 6855583"/>
              <a:gd name="connsiteX144" fmla="*/ 1901270 w 5166485"/>
              <a:gd name="connsiteY144" fmla="*/ 6855583 h 6855583"/>
              <a:gd name="connsiteX145" fmla="*/ 1874079 w 5166485"/>
              <a:gd name="connsiteY145" fmla="*/ 6855583 h 6855583"/>
              <a:gd name="connsiteX146" fmla="*/ 1874068 w 5166485"/>
              <a:gd name="connsiteY146" fmla="*/ 6855583 h 6855583"/>
              <a:gd name="connsiteX147" fmla="*/ 1874058 w 5166485"/>
              <a:gd name="connsiteY147" fmla="*/ 6855583 h 6855583"/>
              <a:gd name="connsiteX148" fmla="*/ 1873420 w 5166485"/>
              <a:gd name="connsiteY148" fmla="*/ 6855583 h 6855583"/>
              <a:gd name="connsiteX149" fmla="*/ 1852200 w 5166485"/>
              <a:gd name="connsiteY149" fmla="*/ 6855583 h 6855583"/>
              <a:gd name="connsiteX150" fmla="*/ 1850372 w 5166485"/>
              <a:gd name="connsiteY150" fmla="*/ 6855583 h 6855583"/>
              <a:gd name="connsiteX151" fmla="*/ 1850361 w 5166485"/>
              <a:gd name="connsiteY151" fmla="*/ 6855583 h 6855583"/>
              <a:gd name="connsiteX152" fmla="*/ 1850351 w 5166485"/>
              <a:gd name="connsiteY152" fmla="*/ 6855583 h 6855583"/>
              <a:gd name="connsiteX153" fmla="*/ 1849711 w 5166485"/>
              <a:gd name="connsiteY153" fmla="*/ 6855583 h 6855583"/>
              <a:gd name="connsiteX154" fmla="*/ 1801303 w 5166485"/>
              <a:gd name="connsiteY154" fmla="*/ 6855583 h 6855583"/>
              <a:gd name="connsiteX155" fmla="*/ 1801292 w 5166485"/>
              <a:gd name="connsiteY155" fmla="*/ 6855583 h 6855583"/>
              <a:gd name="connsiteX156" fmla="*/ 1801282 w 5166485"/>
              <a:gd name="connsiteY156" fmla="*/ 6855583 h 6855583"/>
              <a:gd name="connsiteX157" fmla="*/ 1800642 w 5166485"/>
              <a:gd name="connsiteY157" fmla="*/ 6855583 h 6855583"/>
              <a:gd name="connsiteX158" fmla="*/ 1555906 w 5166485"/>
              <a:gd name="connsiteY158" fmla="*/ 6855583 h 6855583"/>
              <a:gd name="connsiteX159" fmla="*/ 1483128 w 5166485"/>
              <a:gd name="connsiteY159" fmla="*/ 6855583 h 6855583"/>
              <a:gd name="connsiteX160" fmla="*/ 1208587 w 5166485"/>
              <a:gd name="connsiteY160" fmla="*/ 6855583 h 6855583"/>
              <a:gd name="connsiteX161" fmla="*/ 1157689 w 5166485"/>
              <a:gd name="connsiteY161" fmla="*/ 6855583 h 6855583"/>
              <a:gd name="connsiteX162" fmla="*/ 1157678 w 5166485"/>
              <a:gd name="connsiteY162" fmla="*/ 6855583 h 6855583"/>
              <a:gd name="connsiteX163" fmla="*/ 1157669 w 5166485"/>
              <a:gd name="connsiteY163" fmla="*/ 6855583 h 6855583"/>
              <a:gd name="connsiteX164" fmla="*/ 1157031 w 5166485"/>
              <a:gd name="connsiteY164" fmla="*/ 6855583 h 6855583"/>
              <a:gd name="connsiteX165" fmla="*/ 1135810 w 5166485"/>
              <a:gd name="connsiteY165" fmla="*/ 6855583 h 6855583"/>
              <a:gd name="connsiteX166" fmla="*/ 1084913 w 5166485"/>
              <a:gd name="connsiteY166" fmla="*/ 6855583 h 6855583"/>
              <a:gd name="connsiteX167" fmla="*/ 1084902 w 5166485"/>
              <a:gd name="connsiteY167" fmla="*/ 6855583 h 6855583"/>
              <a:gd name="connsiteX168" fmla="*/ 1084893 w 5166485"/>
              <a:gd name="connsiteY168" fmla="*/ 6855583 h 6855583"/>
              <a:gd name="connsiteX169" fmla="*/ 1084253 w 5166485"/>
              <a:gd name="connsiteY169" fmla="*/ 6855583 h 6855583"/>
              <a:gd name="connsiteX170" fmla="*/ 839517 w 5166485"/>
              <a:gd name="connsiteY170" fmla="*/ 6855583 h 6855583"/>
              <a:gd name="connsiteX171" fmla="*/ 790448 w 5166485"/>
              <a:gd name="connsiteY171" fmla="*/ 6855583 h 6855583"/>
              <a:gd name="connsiteX172" fmla="*/ 766740 w 5166485"/>
              <a:gd name="connsiteY172" fmla="*/ 6855583 h 6855583"/>
              <a:gd name="connsiteX173" fmla="*/ 717671 w 5166485"/>
              <a:gd name="connsiteY173" fmla="*/ 6855583 h 6855583"/>
              <a:gd name="connsiteX174" fmla="*/ 74059 w 5166485"/>
              <a:gd name="connsiteY174" fmla="*/ 6855583 h 6855583"/>
              <a:gd name="connsiteX175" fmla="*/ 1282 w 5166485"/>
              <a:gd name="connsiteY175" fmla="*/ 6855583 h 6855583"/>
              <a:gd name="connsiteX176" fmla="*/ 1282 w 5166485"/>
              <a:gd name="connsiteY176" fmla="*/ 6709335 h 6855583"/>
              <a:gd name="connsiteX177" fmla="*/ 1282 w 5166485"/>
              <a:gd name="connsiteY177" fmla="*/ 5785114 h 6855583"/>
              <a:gd name="connsiteX178" fmla="*/ 0 w 5166485"/>
              <a:gd name="connsiteY178" fmla="*/ 5785114 h 6855583"/>
              <a:gd name="connsiteX179" fmla="*/ 0 w 5166485"/>
              <a:gd name="connsiteY179" fmla="*/ 5725228 h 6855583"/>
              <a:gd name="connsiteX180" fmla="*/ 0 w 5166485"/>
              <a:gd name="connsiteY180" fmla="*/ 5657025 h 6855583"/>
              <a:gd name="connsiteX181" fmla="*/ 0 w 5166485"/>
              <a:gd name="connsiteY181" fmla="*/ 5598154 h 6855583"/>
              <a:gd name="connsiteX182" fmla="*/ 0 w 5166485"/>
              <a:gd name="connsiteY182" fmla="*/ 5529139 h 6855583"/>
              <a:gd name="connsiteX183" fmla="*/ 0 w 5166485"/>
              <a:gd name="connsiteY183" fmla="*/ 5502424 h 6855583"/>
              <a:gd name="connsiteX184" fmla="*/ 0 w 5166485"/>
              <a:gd name="connsiteY184" fmla="*/ 5405390 h 6855583"/>
              <a:gd name="connsiteX185" fmla="*/ 0 w 5166485"/>
              <a:gd name="connsiteY185" fmla="*/ 5379128 h 6855583"/>
              <a:gd name="connsiteX186" fmla="*/ 0 w 5166485"/>
              <a:gd name="connsiteY186" fmla="*/ 4907380 h 6855583"/>
              <a:gd name="connsiteX187" fmla="*/ 0 w 5166485"/>
              <a:gd name="connsiteY187" fmla="*/ 4794177 h 6855583"/>
              <a:gd name="connsiteX188" fmla="*/ 0 w 5166485"/>
              <a:gd name="connsiteY188" fmla="*/ 4623176 h 6855583"/>
              <a:gd name="connsiteX189" fmla="*/ 0 w 5166485"/>
              <a:gd name="connsiteY189" fmla="*/ 4514791 h 6855583"/>
              <a:gd name="connsiteX190" fmla="*/ 1294 w 5166485"/>
              <a:gd name="connsiteY190" fmla="*/ 4514791 h 6855583"/>
              <a:gd name="connsiteX191" fmla="*/ 1294 w 5166485"/>
              <a:gd name="connsiteY191" fmla="*/ 4514790 h 6855583"/>
              <a:gd name="connsiteX192" fmla="*/ 1294 w 5166485"/>
              <a:gd name="connsiteY192" fmla="*/ 4514355 h 6855583"/>
              <a:gd name="connsiteX193" fmla="*/ 1294 w 5166485"/>
              <a:gd name="connsiteY193" fmla="*/ 4495635 h 6855583"/>
              <a:gd name="connsiteX194" fmla="*/ 1294 w 5166485"/>
              <a:gd name="connsiteY194" fmla="*/ 4437486 h 6855583"/>
              <a:gd name="connsiteX195" fmla="*/ 3998 w 5166485"/>
              <a:gd name="connsiteY195" fmla="*/ 4437486 h 6855583"/>
              <a:gd name="connsiteX196" fmla="*/ 6216 w 5166485"/>
              <a:gd name="connsiteY196" fmla="*/ 4374413 h 6855583"/>
              <a:gd name="connsiteX197" fmla="*/ 6782 w 5166485"/>
              <a:gd name="connsiteY197" fmla="*/ 4368991 h 6855583"/>
              <a:gd name="connsiteX198" fmla="*/ 6892 w 5166485"/>
              <a:gd name="connsiteY198" fmla="*/ 4365997 h 6855583"/>
              <a:gd name="connsiteX199" fmla="*/ 10050 w 5166485"/>
              <a:gd name="connsiteY199" fmla="*/ 4337551 h 6855583"/>
              <a:gd name="connsiteX200" fmla="*/ 19508 w 5166485"/>
              <a:gd name="connsiteY200" fmla="*/ 4246611 h 6855583"/>
              <a:gd name="connsiteX201" fmla="*/ 21306 w 5166485"/>
              <a:gd name="connsiteY201" fmla="*/ 4236154 h 6855583"/>
              <a:gd name="connsiteX202" fmla="*/ 21989 w 5166485"/>
              <a:gd name="connsiteY202" fmla="*/ 4229994 h 6855583"/>
              <a:gd name="connsiteX203" fmla="*/ 27574 w 5166485"/>
              <a:gd name="connsiteY203" fmla="*/ 4199586 h 6855583"/>
              <a:gd name="connsiteX204" fmla="*/ 29284 w 5166485"/>
              <a:gd name="connsiteY204" fmla="*/ 4199586 h 6855583"/>
              <a:gd name="connsiteX205" fmla="*/ 29540 w 5166485"/>
              <a:gd name="connsiteY205" fmla="*/ 4198449 h 6855583"/>
              <a:gd name="connsiteX206" fmla="*/ 42529 w 5166485"/>
              <a:gd name="connsiteY206" fmla="*/ 4136748 h 6855583"/>
              <a:gd name="connsiteX207" fmla="*/ 46228 w 5166485"/>
              <a:gd name="connsiteY207" fmla="*/ 4124266 h 6855583"/>
              <a:gd name="connsiteX208" fmla="*/ 47868 w 5166485"/>
              <a:gd name="connsiteY208" fmla="*/ 4116981 h 6855583"/>
              <a:gd name="connsiteX209" fmla="*/ 55747 w 5166485"/>
              <a:gd name="connsiteY209" fmla="*/ 4092151 h 6855583"/>
              <a:gd name="connsiteX210" fmla="*/ 71490 w 5166485"/>
              <a:gd name="connsiteY210" fmla="*/ 4039027 h 6855583"/>
              <a:gd name="connsiteX211" fmla="*/ 77718 w 5166485"/>
              <a:gd name="connsiteY211" fmla="*/ 4022906 h 6855583"/>
              <a:gd name="connsiteX212" fmla="*/ 80657 w 5166485"/>
              <a:gd name="connsiteY212" fmla="*/ 4013638 h 6855583"/>
              <a:gd name="connsiteX213" fmla="*/ 89984 w 5166485"/>
              <a:gd name="connsiteY213" fmla="*/ 3991153 h 6855583"/>
              <a:gd name="connsiteX214" fmla="*/ 107731 w 5166485"/>
              <a:gd name="connsiteY214" fmla="*/ 3945212 h 6855583"/>
              <a:gd name="connsiteX215" fmla="*/ 117082 w 5166485"/>
              <a:gd name="connsiteY215" fmla="*/ 3925819 h 6855583"/>
              <a:gd name="connsiteX216" fmla="*/ 121624 w 5166485"/>
              <a:gd name="connsiteY216" fmla="*/ 3914866 h 6855583"/>
              <a:gd name="connsiteX217" fmla="*/ 131854 w 5166485"/>
              <a:gd name="connsiteY217" fmla="*/ 3895180 h 6855583"/>
              <a:gd name="connsiteX218" fmla="*/ 150882 w 5166485"/>
              <a:gd name="connsiteY218" fmla="*/ 3855710 h 6855583"/>
              <a:gd name="connsiteX219" fmla="*/ 163921 w 5166485"/>
              <a:gd name="connsiteY219" fmla="*/ 3833461 h 6855583"/>
              <a:gd name="connsiteX220" fmla="*/ 170313 w 5166485"/>
              <a:gd name="connsiteY220" fmla="*/ 3821161 h 6855583"/>
              <a:gd name="connsiteX221" fmla="*/ 180949 w 5166485"/>
              <a:gd name="connsiteY221" fmla="*/ 3804408 h 6855583"/>
              <a:gd name="connsiteX222" fmla="*/ 200571 w 5166485"/>
              <a:gd name="connsiteY222" fmla="*/ 3770926 h 6855583"/>
              <a:gd name="connsiteX223" fmla="*/ 217848 w 5166485"/>
              <a:gd name="connsiteY223" fmla="*/ 3746294 h 6855583"/>
              <a:gd name="connsiteX224" fmla="*/ 226277 w 5166485"/>
              <a:gd name="connsiteY224" fmla="*/ 3733015 h 6855583"/>
              <a:gd name="connsiteX225" fmla="*/ 236872 w 5166485"/>
              <a:gd name="connsiteY225" fmla="*/ 3719164 h 6855583"/>
              <a:gd name="connsiteX226" fmla="*/ 256434 w 5166485"/>
              <a:gd name="connsiteY226" fmla="*/ 3691269 h 6855583"/>
              <a:gd name="connsiteX227" fmla="*/ 278476 w 5166485"/>
              <a:gd name="connsiteY227" fmla="*/ 3664770 h 6855583"/>
              <a:gd name="connsiteX228" fmla="*/ 289068 w 5166485"/>
              <a:gd name="connsiteY228" fmla="*/ 3650922 h 6855583"/>
              <a:gd name="connsiteX229" fmla="*/ 299210 w 5166485"/>
              <a:gd name="connsiteY229" fmla="*/ 3639845 h 6855583"/>
              <a:gd name="connsiteX230" fmla="*/ 318094 w 5166485"/>
              <a:gd name="connsiteY230" fmla="*/ 3617142 h 6855583"/>
              <a:gd name="connsiteX231" fmla="*/ 345456 w 5166485"/>
              <a:gd name="connsiteY231" fmla="*/ 3589336 h 6855583"/>
              <a:gd name="connsiteX232" fmla="*/ 358237 w 5166485"/>
              <a:gd name="connsiteY232" fmla="*/ 3575375 h 6855583"/>
              <a:gd name="connsiteX233" fmla="*/ 367555 w 5166485"/>
              <a:gd name="connsiteY233" fmla="*/ 3566877 h 6855583"/>
              <a:gd name="connsiteX234" fmla="*/ 385187 w 5166485"/>
              <a:gd name="connsiteY234" fmla="*/ 3548953 h 6855583"/>
              <a:gd name="connsiteX235" fmla="*/ 418478 w 5166485"/>
              <a:gd name="connsiteY235" fmla="*/ 3520422 h 6855583"/>
              <a:gd name="connsiteX236" fmla="*/ 433333 w 5166485"/>
              <a:gd name="connsiteY236" fmla="*/ 3506870 h 6855583"/>
              <a:gd name="connsiteX237" fmla="*/ 441492 w 5166485"/>
              <a:gd name="connsiteY237" fmla="*/ 3500699 h 6855583"/>
              <a:gd name="connsiteX238" fmla="*/ 457342 w 5166485"/>
              <a:gd name="connsiteY238" fmla="*/ 3487112 h 6855583"/>
              <a:gd name="connsiteX239" fmla="*/ 497345 w 5166485"/>
              <a:gd name="connsiteY239" fmla="*/ 3458431 h 6855583"/>
              <a:gd name="connsiteX240" fmla="*/ 513909 w 5166485"/>
              <a:gd name="connsiteY240" fmla="*/ 3445896 h 6855583"/>
              <a:gd name="connsiteX241" fmla="*/ 520601 w 5166485"/>
              <a:gd name="connsiteY241" fmla="*/ 3441758 h 6855583"/>
              <a:gd name="connsiteX242" fmla="*/ 534185 w 5166485"/>
              <a:gd name="connsiteY242" fmla="*/ 3432019 h 6855583"/>
              <a:gd name="connsiteX243" fmla="*/ 582120 w 5166485"/>
              <a:gd name="connsiteY243" fmla="*/ 3403709 h 6855583"/>
              <a:gd name="connsiteX244" fmla="*/ 599514 w 5166485"/>
              <a:gd name="connsiteY244" fmla="*/ 3392950 h 6855583"/>
              <a:gd name="connsiteX245" fmla="*/ 604468 w 5166485"/>
              <a:gd name="connsiteY245" fmla="*/ 3390510 h 6855583"/>
              <a:gd name="connsiteX246" fmla="*/ 615351 w 5166485"/>
              <a:gd name="connsiteY246" fmla="*/ 3384083 h 6855583"/>
              <a:gd name="connsiteX247" fmla="*/ 673670 w 5166485"/>
              <a:gd name="connsiteY247" fmla="*/ 3356422 h 6855583"/>
              <a:gd name="connsiteX248" fmla="*/ 689699 w 5166485"/>
              <a:gd name="connsiteY248" fmla="*/ 3348524 h 6855583"/>
              <a:gd name="connsiteX249" fmla="*/ 692665 w 5166485"/>
              <a:gd name="connsiteY249" fmla="*/ 3347410 h 6855583"/>
              <a:gd name="connsiteX250" fmla="*/ 700468 w 5166485"/>
              <a:gd name="connsiteY250" fmla="*/ 3343710 h 6855583"/>
              <a:gd name="connsiteX251" fmla="*/ 776485 w 5166485"/>
              <a:gd name="connsiteY251" fmla="*/ 3315941 h 6855583"/>
              <a:gd name="connsiteX252" fmla="*/ 784019 w 5166485"/>
              <a:gd name="connsiteY252" fmla="*/ 3313112 h 6855583"/>
              <a:gd name="connsiteX253" fmla="*/ 784777 w 5166485"/>
              <a:gd name="connsiteY253" fmla="*/ 3312912 h 6855583"/>
              <a:gd name="connsiteX254" fmla="*/ 789167 w 5166485"/>
              <a:gd name="connsiteY254" fmla="*/ 3311308 h 6855583"/>
              <a:gd name="connsiteX255" fmla="*/ 975831 w 5166485"/>
              <a:gd name="connsiteY255" fmla="*/ 3272037 h 6855583"/>
              <a:gd name="connsiteX256" fmla="*/ 980073 w 5166485"/>
              <a:gd name="connsiteY256" fmla="*/ 3271801 h 6855583"/>
              <a:gd name="connsiteX257" fmla="*/ 983256 w 5166485"/>
              <a:gd name="connsiteY257" fmla="*/ 3271301 h 6855583"/>
              <a:gd name="connsiteX258" fmla="*/ 1035718 w 5166485"/>
              <a:gd name="connsiteY258" fmla="*/ 3268571 h 6855583"/>
              <a:gd name="connsiteX259" fmla="*/ 1035718 w 5166485"/>
              <a:gd name="connsiteY259" fmla="*/ 3265890 h 6855583"/>
              <a:gd name="connsiteX260" fmla="*/ 1086616 w 5166485"/>
              <a:gd name="connsiteY260" fmla="*/ 3265890 h 6855583"/>
              <a:gd name="connsiteX261" fmla="*/ 4098476 w 5166485"/>
              <a:gd name="connsiteY261" fmla="*/ 852993 h 6855583"/>
              <a:gd name="connsiteX262" fmla="*/ 5166485 w 5166485"/>
              <a:gd name="connsiteY262" fmla="*/ 1921002 h 6855583"/>
              <a:gd name="connsiteX263" fmla="*/ 4207674 w 5166485"/>
              <a:gd name="connsiteY263" fmla="*/ 2983496 h 6855583"/>
              <a:gd name="connsiteX264" fmla="*/ 4112812 w 5166485"/>
              <a:gd name="connsiteY264" fmla="*/ 2988286 h 6855583"/>
              <a:gd name="connsiteX265" fmla="*/ 4112812 w 5166485"/>
              <a:gd name="connsiteY265" fmla="*/ 2989010 h 6855583"/>
              <a:gd name="connsiteX266" fmla="*/ 4098476 w 5166485"/>
              <a:gd name="connsiteY266" fmla="*/ 2989010 h 6855583"/>
              <a:gd name="connsiteX267" fmla="*/ 3030468 w 5166485"/>
              <a:gd name="connsiteY267" fmla="*/ 2989010 h 6855583"/>
              <a:gd name="connsiteX268" fmla="*/ 3030468 w 5166485"/>
              <a:gd name="connsiteY268" fmla="*/ 1921011 h 6855583"/>
              <a:gd name="connsiteX269" fmla="*/ 3030468 w 5166485"/>
              <a:gd name="connsiteY269" fmla="*/ 1921002 h 6855583"/>
              <a:gd name="connsiteX270" fmla="*/ 3030468 w 5166485"/>
              <a:gd name="connsiteY270" fmla="*/ 1920991 h 6855583"/>
              <a:gd name="connsiteX271" fmla="*/ 3030468 w 5166485"/>
              <a:gd name="connsiteY271" fmla="*/ 1870827 h 6855583"/>
              <a:gd name="connsiteX272" fmla="*/ 3033002 w 5166485"/>
              <a:gd name="connsiteY272" fmla="*/ 1870827 h 6855583"/>
              <a:gd name="connsiteX273" fmla="*/ 3035982 w 5166485"/>
              <a:gd name="connsiteY273" fmla="*/ 1811804 h 6855583"/>
              <a:gd name="connsiteX274" fmla="*/ 4098476 w 5166485"/>
              <a:gd name="connsiteY274" fmla="*/ 852993 h 6855583"/>
              <a:gd name="connsiteX275" fmla="*/ 988607 w 5166485"/>
              <a:gd name="connsiteY275" fmla="*/ 0 h 6855583"/>
              <a:gd name="connsiteX276" fmla="*/ 988617 w 5166485"/>
              <a:gd name="connsiteY276" fmla="*/ 1 h 6855583"/>
              <a:gd name="connsiteX277" fmla="*/ 989198 w 5166485"/>
              <a:gd name="connsiteY277" fmla="*/ 1 h 6855583"/>
              <a:gd name="connsiteX278" fmla="*/ 1018562 w 5166485"/>
              <a:gd name="connsiteY278" fmla="*/ 1 h 6855583"/>
              <a:gd name="connsiteX279" fmla="*/ 1064868 w 5166485"/>
              <a:gd name="connsiteY279" fmla="*/ 1 h 6855583"/>
              <a:gd name="connsiteX280" fmla="*/ 1064878 w 5166485"/>
              <a:gd name="connsiteY280" fmla="*/ 0 h 6855583"/>
              <a:gd name="connsiteX281" fmla="*/ 1064887 w 5166485"/>
              <a:gd name="connsiteY281" fmla="*/ 1 h 6855583"/>
              <a:gd name="connsiteX282" fmla="*/ 1065468 w 5166485"/>
              <a:gd name="connsiteY282" fmla="*/ 1 h 6855583"/>
              <a:gd name="connsiteX283" fmla="*/ 1638703 w 5166485"/>
              <a:gd name="connsiteY283" fmla="*/ 1 h 6855583"/>
              <a:gd name="connsiteX284" fmla="*/ 1685008 w 5166485"/>
              <a:gd name="connsiteY284" fmla="*/ 1 h 6855583"/>
              <a:gd name="connsiteX285" fmla="*/ 1685018 w 5166485"/>
              <a:gd name="connsiteY285" fmla="*/ 0 h 6855583"/>
              <a:gd name="connsiteX286" fmla="*/ 1685028 w 5166485"/>
              <a:gd name="connsiteY286" fmla="*/ 1 h 6855583"/>
              <a:gd name="connsiteX287" fmla="*/ 1685609 w 5166485"/>
              <a:gd name="connsiteY287" fmla="*/ 1 h 6855583"/>
              <a:gd name="connsiteX288" fmla="*/ 1714972 w 5166485"/>
              <a:gd name="connsiteY288" fmla="*/ 1 h 6855583"/>
              <a:gd name="connsiteX289" fmla="*/ 1761279 w 5166485"/>
              <a:gd name="connsiteY289" fmla="*/ 1 h 6855583"/>
              <a:gd name="connsiteX290" fmla="*/ 1761288 w 5166485"/>
              <a:gd name="connsiteY290" fmla="*/ 0 h 6855583"/>
              <a:gd name="connsiteX291" fmla="*/ 1761297 w 5166485"/>
              <a:gd name="connsiteY291" fmla="*/ 1 h 6855583"/>
              <a:gd name="connsiteX292" fmla="*/ 1761879 w 5166485"/>
              <a:gd name="connsiteY292" fmla="*/ 1 h 6855583"/>
              <a:gd name="connsiteX293" fmla="*/ 1974481 w 5166485"/>
              <a:gd name="connsiteY293" fmla="*/ 1 h 6855583"/>
              <a:gd name="connsiteX294" fmla="*/ 2050751 w 5166485"/>
              <a:gd name="connsiteY294" fmla="*/ 1 h 6855583"/>
              <a:gd name="connsiteX295" fmla="*/ 2670892 w 5166485"/>
              <a:gd name="connsiteY295" fmla="*/ 1 h 6855583"/>
              <a:gd name="connsiteX296" fmla="*/ 2747162 w 5166485"/>
              <a:gd name="connsiteY296" fmla="*/ 1 h 6855583"/>
              <a:gd name="connsiteX297" fmla="*/ 2747162 w 5166485"/>
              <a:gd name="connsiteY297" fmla="*/ 849474 h 6855583"/>
              <a:gd name="connsiteX298" fmla="*/ 2745606 w 5166485"/>
              <a:gd name="connsiteY298" fmla="*/ 849474 h 6855583"/>
              <a:gd name="connsiteX299" fmla="*/ 2745606 w 5166485"/>
              <a:gd name="connsiteY299" fmla="*/ 1065915 h 6855583"/>
              <a:gd name="connsiteX300" fmla="*/ 2746772 w 5166485"/>
              <a:gd name="connsiteY300" fmla="*/ 1065915 h 6855583"/>
              <a:gd name="connsiteX301" fmla="*/ 2746772 w 5166485"/>
              <a:gd name="connsiteY301" fmla="*/ 1136245 h 6855583"/>
              <a:gd name="connsiteX302" fmla="*/ 2746772 w 5166485"/>
              <a:gd name="connsiteY302" fmla="*/ 1390429 h 6855583"/>
              <a:gd name="connsiteX303" fmla="*/ 2746772 w 5166485"/>
              <a:gd name="connsiteY303" fmla="*/ 1922616 h 6855583"/>
              <a:gd name="connsiteX304" fmla="*/ 2746772 w 5166485"/>
              <a:gd name="connsiteY304" fmla="*/ 1946508 h 6855583"/>
              <a:gd name="connsiteX305" fmla="*/ 2746772 w 5166485"/>
              <a:gd name="connsiteY305" fmla="*/ 2121884 h 6855583"/>
              <a:gd name="connsiteX306" fmla="*/ 2745595 w 5166485"/>
              <a:gd name="connsiteY306" fmla="*/ 2121884 h 6855583"/>
              <a:gd name="connsiteX307" fmla="*/ 2745595 w 5166485"/>
              <a:gd name="connsiteY307" fmla="*/ 2122187 h 6855583"/>
              <a:gd name="connsiteX308" fmla="*/ 2745595 w 5166485"/>
              <a:gd name="connsiteY308" fmla="*/ 2135156 h 6855583"/>
              <a:gd name="connsiteX309" fmla="*/ 2745595 w 5166485"/>
              <a:gd name="connsiteY309" fmla="*/ 2175445 h 6855583"/>
              <a:gd name="connsiteX310" fmla="*/ 2743134 w 5166485"/>
              <a:gd name="connsiteY310" fmla="*/ 2175445 h 6855583"/>
              <a:gd name="connsiteX311" fmla="*/ 2741116 w 5166485"/>
              <a:gd name="connsiteY311" fmla="*/ 2219143 h 6855583"/>
              <a:gd name="connsiteX312" fmla="*/ 2740603 w 5166485"/>
              <a:gd name="connsiteY312" fmla="*/ 2222901 h 6855583"/>
              <a:gd name="connsiteX313" fmla="*/ 2740500 w 5166485"/>
              <a:gd name="connsiteY313" fmla="*/ 2224976 h 6855583"/>
              <a:gd name="connsiteX314" fmla="*/ 2737627 w 5166485"/>
              <a:gd name="connsiteY314" fmla="*/ 2244685 h 6855583"/>
              <a:gd name="connsiteX315" fmla="*/ 2735536 w 5166485"/>
              <a:gd name="connsiteY315" fmla="*/ 2259998 h 6855583"/>
              <a:gd name="connsiteX316" fmla="*/ 2735536 w 5166485"/>
              <a:gd name="connsiteY316" fmla="*/ 2291981 h 6855583"/>
              <a:gd name="connsiteX317" fmla="*/ 2733075 w 5166485"/>
              <a:gd name="connsiteY317" fmla="*/ 2291981 h 6855583"/>
              <a:gd name="connsiteX318" fmla="*/ 2731057 w 5166485"/>
              <a:gd name="connsiteY318" fmla="*/ 2336433 h 6855583"/>
              <a:gd name="connsiteX319" fmla="*/ 2730544 w 5166485"/>
              <a:gd name="connsiteY319" fmla="*/ 2340255 h 6855583"/>
              <a:gd name="connsiteX320" fmla="*/ 2730441 w 5166485"/>
              <a:gd name="connsiteY320" fmla="*/ 2342367 h 6855583"/>
              <a:gd name="connsiteX321" fmla="*/ 2727568 w 5166485"/>
              <a:gd name="connsiteY321" fmla="*/ 2362415 h 6855583"/>
              <a:gd name="connsiteX322" fmla="*/ 2718964 w 5166485"/>
              <a:gd name="connsiteY322" fmla="*/ 2426508 h 6855583"/>
              <a:gd name="connsiteX323" fmla="*/ 2717329 w 5166485"/>
              <a:gd name="connsiteY323" fmla="*/ 2433880 h 6855583"/>
              <a:gd name="connsiteX324" fmla="*/ 2716706 w 5166485"/>
              <a:gd name="connsiteY324" fmla="*/ 2438222 h 6855583"/>
              <a:gd name="connsiteX325" fmla="*/ 2711395 w 5166485"/>
              <a:gd name="connsiteY325" fmla="*/ 2460635 h 6855583"/>
              <a:gd name="connsiteX326" fmla="*/ 2699576 w 5166485"/>
              <a:gd name="connsiteY326" fmla="*/ 2513912 h 6855583"/>
              <a:gd name="connsiteX327" fmla="*/ 2696210 w 5166485"/>
              <a:gd name="connsiteY327" fmla="*/ 2524690 h 6855583"/>
              <a:gd name="connsiteX328" fmla="*/ 2694719 w 5166485"/>
              <a:gd name="connsiteY328" fmla="*/ 2530980 h 6855583"/>
              <a:gd name="connsiteX329" fmla="*/ 2687551 w 5166485"/>
              <a:gd name="connsiteY329" fmla="*/ 2552423 h 6855583"/>
              <a:gd name="connsiteX330" fmla="*/ 2673227 w 5166485"/>
              <a:gd name="connsiteY330" fmla="*/ 2598293 h 6855583"/>
              <a:gd name="connsiteX331" fmla="*/ 2667561 w 5166485"/>
              <a:gd name="connsiteY331" fmla="*/ 2612213 h 6855583"/>
              <a:gd name="connsiteX332" fmla="*/ 2664886 w 5166485"/>
              <a:gd name="connsiteY332" fmla="*/ 2620217 h 6855583"/>
              <a:gd name="connsiteX333" fmla="*/ 2656402 w 5166485"/>
              <a:gd name="connsiteY333" fmla="*/ 2639632 h 6855583"/>
              <a:gd name="connsiteX334" fmla="*/ 2640256 w 5166485"/>
              <a:gd name="connsiteY334" fmla="*/ 2679301 h 6855583"/>
              <a:gd name="connsiteX335" fmla="*/ 2631748 w 5166485"/>
              <a:gd name="connsiteY335" fmla="*/ 2696048 h 6855583"/>
              <a:gd name="connsiteX336" fmla="*/ 2627616 w 5166485"/>
              <a:gd name="connsiteY336" fmla="*/ 2705505 h 6855583"/>
              <a:gd name="connsiteX337" fmla="*/ 2618309 w 5166485"/>
              <a:gd name="connsiteY337" fmla="*/ 2722504 h 6855583"/>
              <a:gd name="connsiteX338" fmla="*/ 2600997 w 5166485"/>
              <a:gd name="connsiteY338" fmla="*/ 2756585 h 6855583"/>
              <a:gd name="connsiteX339" fmla="*/ 2589134 w 5166485"/>
              <a:gd name="connsiteY339" fmla="*/ 2775797 h 6855583"/>
              <a:gd name="connsiteX340" fmla="*/ 2583319 w 5166485"/>
              <a:gd name="connsiteY340" fmla="*/ 2786419 h 6855583"/>
              <a:gd name="connsiteX341" fmla="*/ 2573641 w 5166485"/>
              <a:gd name="connsiteY341" fmla="*/ 2800885 h 6855583"/>
              <a:gd name="connsiteX342" fmla="*/ 2555790 w 5166485"/>
              <a:gd name="connsiteY342" fmla="*/ 2829795 h 6855583"/>
              <a:gd name="connsiteX343" fmla="*/ 2540073 w 5166485"/>
              <a:gd name="connsiteY343" fmla="*/ 2851064 h 6855583"/>
              <a:gd name="connsiteX344" fmla="*/ 2532404 w 5166485"/>
              <a:gd name="connsiteY344" fmla="*/ 2862531 h 6855583"/>
              <a:gd name="connsiteX345" fmla="*/ 2522765 w 5166485"/>
              <a:gd name="connsiteY345" fmla="*/ 2874490 h 6855583"/>
              <a:gd name="connsiteX346" fmla="*/ 2504967 w 5166485"/>
              <a:gd name="connsiteY346" fmla="*/ 2898578 h 6855583"/>
              <a:gd name="connsiteX347" fmla="*/ 2484913 w 5166485"/>
              <a:gd name="connsiteY347" fmla="*/ 2921459 h 6855583"/>
              <a:gd name="connsiteX348" fmla="*/ 2475277 w 5166485"/>
              <a:gd name="connsiteY348" fmla="*/ 2933417 h 6855583"/>
              <a:gd name="connsiteX349" fmla="*/ 2466050 w 5166485"/>
              <a:gd name="connsiteY349" fmla="*/ 2942981 h 6855583"/>
              <a:gd name="connsiteX350" fmla="*/ 2448868 w 5166485"/>
              <a:gd name="connsiteY350" fmla="*/ 2962585 h 6855583"/>
              <a:gd name="connsiteX351" fmla="*/ 2423976 w 5166485"/>
              <a:gd name="connsiteY351" fmla="*/ 2986596 h 6855583"/>
              <a:gd name="connsiteX352" fmla="*/ 2412348 w 5166485"/>
              <a:gd name="connsiteY352" fmla="*/ 2998650 h 6855583"/>
              <a:gd name="connsiteX353" fmla="*/ 2403870 w 5166485"/>
              <a:gd name="connsiteY353" fmla="*/ 3005990 h 6855583"/>
              <a:gd name="connsiteX354" fmla="*/ 2387828 w 5166485"/>
              <a:gd name="connsiteY354" fmla="*/ 3021464 h 6855583"/>
              <a:gd name="connsiteX355" fmla="*/ 2357540 w 5166485"/>
              <a:gd name="connsiteY355" fmla="*/ 3046103 h 6855583"/>
              <a:gd name="connsiteX356" fmla="*/ 2344025 w 5166485"/>
              <a:gd name="connsiteY356" fmla="*/ 3057805 h 6855583"/>
              <a:gd name="connsiteX357" fmla="*/ 2336603 w 5166485"/>
              <a:gd name="connsiteY357" fmla="*/ 3063135 h 6855583"/>
              <a:gd name="connsiteX358" fmla="*/ 2322182 w 5166485"/>
              <a:gd name="connsiteY358" fmla="*/ 3074865 h 6855583"/>
              <a:gd name="connsiteX359" fmla="*/ 2285787 w 5166485"/>
              <a:gd name="connsiteY359" fmla="*/ 3099631 h 6855583"/>
              <a:gd name="connsiteX360" fmla="*/ 2270718 w 5166485"/>
              <a:gd name="connsiteY360" fmla="*/ 3110454 h 6855583"/>
              <a:gd name="connsiteX361" fmla="*/ 2264629 w 5166485"/>
              <a:gd name="connsiteY361" fmla="*/ 3114027 h 6855583"/>
              <a:gd name="connsiteX362" fmla="*/ 2252269 w 5166485"/>
              <a:gd name="connsiteY362" fmla="*/ 3122437 h 6855583"/>
              <a:gd name="connsiteX363" fmla="*/ 2208660 w 5166485"/>
              <a:gd name="connsiteY363" fmla="*/ 3146882 h 6855583"/>
              <a:gd name="connsiteX364" fmla="*/ 2192835 w 5166485"/>
              <a:gd name="connsiteY364" fmla="*/ 3156172 h 6855583"/>
              <a:gd name="connsiteX365" fmla="*/ 2188328 w 5166485"/>
              <a:gd name="connsiteY365" fmla="*/ 3158279 h 6855583"/>
              <a:gd name="connsiteX366" fmla="*/ 2178425 w 5166485"/>
              <a:gd name="connsiteY366" fmla="*/ 3163830 h 6855583"/>
              <a:gd name="connsiteX367" fmla="*/ 2125368 w 5166485"/>
              <a:gd name="connsiteY367" fmla="*/ 3187714 h 6855583"/>
              <a:gd name="connsiteX368" fmla="*/ 2110783 w 5166485"/>
              <a:gd name="connsiteY368" fmla="*/ 3194534 h 6855583"/>
              <a:gd name="connsiteX369" fmla="*/ 2108085 w 5166485"/>
              <a:gd name="connsiteY369" fmla="*/ 3195495 h 6855583"/>
              <a:gd name="connsiteX370" fmla="*/ 2100986 w 5166485"/>
              <a:gd name="connsiteY370" fmla="*/ 3198691 h 6855583"/>
              <a:gd name="connsiteX371" fmla="*/ 2031826 w 5166485"/>
              <a:gd name="connsiteY371" fmla="*/ 3222668 h 6855583"/>
              <a:gd name="connsiteX372" fmla="*/ 2024972 w 5166485"/>
              <a:gd name="connsiteY372" fmla="*/ 3225111 h 6855583"/>
              <a:gd name="connsiteX373" fmla="*/ 2024283 w 5166485"/>
              <a:gd name="connsiteY373" fmla="*/ 3225284 h 6855583"/>
              <a:gd name="connsiteX374" fmla="*/ 2020288 w 5166485"/>
              <a:gd name="connsiteY374" fmla="*/ 3226670 h 6855583"/>
              <a:gd name="connsiteX375" fmla="*/ 1850461 w 5166485"/>
              <a:gd name="connsiteY375" fmla="*/ 3260580 h 6855583"/>
              <a:gd name="connsiteX376" fmla="*/ 1846605 w 5166485"/>
              <a:gd name="connsiteY376" fmla="*/ 3260783 h 6855583"/>
              <a:gd name="connsiteX377" fmla="*/ 1843708 w 5166485"/>
              <a:gd name="connsiteY377" fmla="*/ 3261214 h 6855583"/>
              <a:gd name="connsiteX378" fmla="*/ 1795978 w 5166485"/>
              <a:gd name="connsiteY378" fmla="*/ 3263571 h 6855583"/>
              <a:gd name="connsiteX379" fmla="*/ 1795978 w 5166485"/>
              <a:gd name="connsiteY379" fmla="*/ 3265886 h 6855583"/>
              <a:gd name="connsiteX380" fmla="*/ 1749672 w 5166485"/>
              <a:gd name="connsiteY380" fmla="*/ 3265886 h 6855583"/>
              <a:gd name="connsiteX381" fmla="*/ 1749662 w 5166485"/>
              <a:gd name="connsiteY381" fmla="*/ 3265887 h 6855583"/>
              <a:gd name="connsiteX382" fmla="*/ 1749653 w 5166485"/>
              <a:gd name="connsiteY382" fmla="*/ 3265886 h 6855583"/>
              <a:gd name="connsiteX383" fmla="*/ 1749071 w 5166485"/>
              <a:gd name="connsiteY383" fmla="*/ 3265886 h 6855583"/>
              <a:gd name="connsiteX384" fmla="*/ 1729765 w 5166485"/>
              <a:gd name="connsiteY384" fmla="*/ 3265886 h 6855583"/>
              <a:gd name="connsiteX385" fmla="*/ 1683460 w 5166485"/>
              <a:gd name="connsiteY385" fmla="*/ 3265886 h 6855583"/>
              <a:gd name="connsiteX386" fmla="*/ 1683450 w 5166485"/>
              <a:gd name="connsiteY386" fmla="*/ 3265887 h 6855583"/>
              <a:gd name="connsiteX387" fmla="*/ 1683441 w 5166485"/>
              <a:gd name="connsiteY387" fmla="*/ 3265886 h 6855583"/>
              <a:gd name="connsiteX388" fmla="*/ 1682859 w 5166485"/>
              <a:gd name="connsiteY388" fmla="*/ 3265886 h 6855583"/>
              <a:gd name="connsiteX389" fmla="*/ 1099567 w 5166485"/>
              <a:gd name="connsiteY389" fmla="*/ 3265887 h 6855583"/>
              <a:gd name="connsiteX390" fmla="*/ 1053261 w 5166485"/>
              <a:gd name="connsiteY390" fmla="*/ 3265887 h 6855583"/>
              <a:gd name="connsiteX391" fmla="*/ 1053251 w 5166485"/>
              <a:gd name="connsiteY391" fmla="*/ 3265887 h 6855583"/>
              <a:gd name="connsiteX392" fmla="*/ 1053242 w 5166485"/>
              <a:gd name="connsiteY392" fmla="*/ 3265887 h 6855583"/>
              <a:gd name="connsiteX393" fmla="*/ 1052660 w 5166485"/>
              <a:gd name="connsiteY393" fmla="*/ 3265887 h 6855583"/>
              <a:gd name="connsiteX394" fmla="*/ 1033356 w 5166485"/>
              <a:gd name="connsiteY394" fmla="*/ 3265887 h 6855583"/>
              <a:gd name="connsiteX395" fmla="*/ 987049 w 5166485"/>
              <a:gd name="connsiteY395" fmla="*/ 3265887 h 6855583"/>
              <a:gd name="connsiteX396" fmla="*/ 987040 w 5166485"/>
              <a:gd name="connsiteY396" fmla="*/ 3265887 h 6855583"/>
              <a:gd name="connsiteX397" fmla="*/ 987030 w 5166485"/>
              <a:gd name="connsiteY397" fmla="*/ 3265887 h 6855583"/>
              <a:gd name="connsiteX398" fmla="*/ 986449 w 5166485"/>
              <a:gd name="connsiteY398" fmla="*/ 3265887 h 6855583"/>
              <a:gd name="connsiteX399" fmla="*/ 763788 w 5166485"/>
              <a:gd name="connsiteY399" fmla="*/ 3265887 h 6855583"/>
              <a:gd name="connsiteX400" fmla="*/ 697577 w 5166485"/>
              <a:gd name="connsiteY400" fmla="*/ 3265887 h 6855583"/>
              <a:gd name="connsiteX401" fmla="*/ 67379 w 5166485"/>
              <a:gd name="connsiteY401" fmla="*/ 3265887 h 6855583"/>
              <a:gd name="connsiteX402" fmla="*/ 1166 w 5166485"/>
              <a:gd name="connsiteY402" fmla="*/ 3265887 h 6855583"/>
              <a:gd name="connsiteX403" fmla="*/ 1166 w 5166485"/>
              <a:gd name="connsiteY403" fmla="*/ 3132833 h 6855583"/>
              <a:gd name="connsiteX404" fmla="*/ 1166 w 5166485"/>
              <a:gd name="connsiteY404" fmla="*/ 2291981 h 6855583"/>
              <a:gd name="connsiteX405" fmla="*/ 0 w 5166485"/>
              <a:gd name="connsiteY405" fmla="*/ 2291981 h 6855583"/>
              <a:gd name="connsiteX406" fmla="*/ 0 w 5166485"/>
              <a:gd name="connsiteY406" fmla="*/ 2237497 h 6855583"/>
              <a:gd name="connsiteX407" fmla="*/ 0 w 5166485"/>
              <a:gd name="connsiteY407" fmla="*/ 2175445 h 6855583"/>
              <a:gd name="connsiteX408" fmla="*/ 0 w 5166485"/>
              <a:gd name="connsiteY408" fmla="*/ 2121884 h 6855583"/>
              <a:gd name="connsiteX409" fmla="*/ 0 w 5166485"/>
              <a:gd name="connsiteY409" fmla="*/ 2059094 h 6855583"/>
              <a:gd name="connsiteX410" fmla="*/ 0 w 5166485"/>
              <a:gd name="connsiteY410" fmla="*/ 2034789 h 6855583"/>
              <a:gd name="connsiteX411" fmla="*/ 0 w 5166485"/>
              <a:gd name="connsiteY411" fmla="*/ 1946508 h 6855583"/>
              <a:gd name="connsiteX412" fmla="*/ 0 w 5166485"/>
              <a:gd name="connsiteY412" fmla="*/ 1922616 h 6855583"/>
              <a:gd name="connsiteX413" fmla="*/ 0 w 5166485"/>
              <a:gd name="connsiteY413" fmla="*/ 1493422 h 6855583"/>
              <a:gd name="connsiteX414" fmla="*/ 0 w 5166485"/>
              <a:gd name="connsiteY414" fmla="*/ 1390429 h 6855583"/>
              <a:gd name="connsiteX415" fmla="*/ 0 w 5166485"/>
              <a:gd name="connsiteY415" fmla="*/ 1234853 h 6855583"/>
              <a:gd name="connsiteX416" fmla="*/ 0 w 5166485"/>
              <a:gd name="connsiteY416" fmla="*/ 1136246 h 6855583"/>
              <a:gd name="connsiteX417" fmla="*/ 1178 w 5166485"/>
              <a:gd name="connsiteY417" fmla="*/ 1136246 h 6855583"/>
              <a:gd name="connsiteX418" fmla="*/ 1178 w 5166485"/>
              <a:gd name="connsiteY418" fmla="*/ 1136245 h 6855583"/>
              <a:gd name="connsiteX419" fmla="*/ 1178 w 5166485"/>
              <a:gd name="connsiteY419" fmla="*/ 1135849 h 6855583"/>
              <a:gd name="connsiteX420" fmla="*/ 1178 w 5166485"/>
              <a:gd name="connsiteY420" fmla="*/ 1118819 h 6855583"/>
              <a:gd name="connsiteX421" fmla="*/ 1178 w 5166485"/>
              <a:gd name="connsiteY421" fmla="*/ 1065915 h 6855583"/>
              <a:gd name="connsiteX422" fmla="*/ 3638 w 5166485"/>
              <a:gd name="connsiteY422" fmla="*/ 1065915 h 6855583"/>
              <a:gd name="connsiteX423" fmla="*/ 5656 w 5166485"/>
              <a:gd name="connsiteY423" fmla="*/ 1008533 h 6855583"/>
              <a:gd name="connsiteX424" fmla="*/ 6170 w 5166485"/>
              <a:gd name="connsiteY424" fmla="*/ 1003598 h 6855583"/>
              <a:gd name="connsiteX425" fmla="*/ 6271 w 5166485"/>
              <a:gd name="connsiteY425" fmla="*/ 1000874 h 6855583"/>
              <a:gd name="connsiteX426" fmla="*/ 9144 w 5166485"/>
              <a:gd name="connsiteY426" fmla="*/ 974994 h 6855583"/>
              <a:gd name="connsiteX427" fmla="*/ 17749 w 5166485"/>
              <a:gd name="connsiteY427" fmla="*/ 892259 h 6855583"/>
              <a:gd name="connsiteX428" fmla="*/ 19384 w 5166485"/>
              <a:gd name="connsiteY428" fmla="*/ 882743 h 6855583"/>
              <a:gd name="connsiteX429" fmla="*/ 20006 w 5166485"/>
              <a:gd name="connsiteY429" fmla="*/ 877139 h 6855583"/>
              <a:gd name="connsiteX430" fmla="*/ 25086 w 5166485"/>
              <a:gd name="connsiteY430" fmla="*/ 849474 h 6855583"/>
              <a:gd name="connsiteX431" fmla="*/ 26643 w 5166485"/>
              <a:gd name="connsiteY431" fmla="*/ 849474 h 6855583"/>
              <a:gd name="connsiteX432" fmla="*/ 26876 w 5166485"/>
              <a:gd name="connsiteY432" fmla="*/ 848439 h 6855583"/>
              <a:gd name="connsiteX433" fmla="*/ 38694 w 5166485"/>
              <a:gd name="connsiteY433" fmla="*/ 792304 h 6855583"/>
              <a:gd name="connsiteX434" fmla="*/ 42059 w 5166485"/>
              <a:gd name="connsiteY434" fmla="*/ 780948 h 6855583"/>
              <a:gd name="connsiteX435" fmla="*/ 43550 w 5166485"/>
              <a:gd name="connsiteY435" fmla="*/ 774321 h 6855583"/>
              <a:gd name="connsiteX436" fmla="*/ 50718 w 5166485"/>
              <a:gd name="connsiteY436" fmla="*/ 751729 h 6855583"/>
              <a:gd name="connsiteX437" fmla="*/ 65042 w 5166485"/>
              <a:gd name="connsiteY437" fmla="*/ 703398 h 6855583"/>
              <a:gd name="connsiteX438" fmla="*/ 70707 w 5166485"/>
              <a:gd name="connsiteY438" fmla="*/ 688731 h 6855583"/>
              <a:gd name="connsiteX439" fmla="*/ 73382 w 5166485"/>
              <a:gd name="connsiteY439" fmla="*/ 680300 h 6855583"/>
              <a:gd name="connsiteX440" fmla="*/ 81869 w 5166485"/>
              <a:gd name="connsiteY440" fmla="*/ 659842 h 6855583"/>
              <a:gd name="connsiteX441" fmla="*/ 98014 w 5166485"/>
              <a:gd name="connsiteY441" fmla="*/ 618045 h 6855583"/>
              <a:gd name="connsiteX442" fmla="*/ 106521 w 5166485"/>
              <a:gd name="connsiteY442" fmla="*/ 600402 h 6855583"/>
              <a:gd name="connsiteX443" fmla="*/ 110652 w 5166485"/>
              <a:gd name="connsiteY443" fmla="*/ 590437 h 6855583"/>
              <a:gd name="connsiteX444" fmla="*/ 119961 w 5166485"/>
              <a:gd name="connsiteY444" fmla="*/ 572526 h 6855583"/>
              <a:gd name="connsiteX445" fmla="*/ 137272 w 5166485"/>
              <a:gd name="connsiteY445" fmla="*/ 536617 h 6855583"/>
              <a:gd name="connsiteX446" fmla="*/ 149135 w 5166485"/>
              <a:gd name="connsiteY446" fmla="*/ 516375 h 6855583"/>
              <a:gd name="connsiteX447" fmla="*/ 154950 w 5166485"/>
              <a:gd name="connsiteY447" fmla="*/ 505184 h 6855583"/>
              <a:gd name="connsiteX448" fmla="*/ 164628 w 5166485"/>
              <a:gd name="connsiteY448" fmla="*/ 489942 h 6855583"/>
              <a:gd name="connsiteX449" fmla="*/ 182480 w 5166485"/>
              <a:gd name="connsiteY449" fmla="*/ 459481 h 6855583"/>
              <a:gd name="connsiteX450" fmla="*/ 198196 w 5166485"/>
              <a:gd name="connsiteY450" fmla="*/ 437070 h 6855583"/>
              <a:gd name="connsiteX451" fmla="*/ 205866 w 5166485"/>
              <a:gd name="connsiteY451" fmla="*/ 424989 h 6855583"/>
              <a:gd name="connsiteX452" fmla="*/ 215505 w 5166485"/>
              <a:gd name="connsiteY452" fmla="*/ 412388 h 6855583"/>
              <a:gd name="connsiteX453" fmla="*/ 233302 w 5166485"/>
              <a:gd name="connsiteY453" fmla="*/ 387010 h 6855583"/>
              <a:gd name="connsiteX454" fmla="*/ 253356 w 5166485"/>
              <a:gd name="connsiteY454" fmla="*/ 362902 h 6855583"/>
              <a:gd name="connsiteX455" fmla="*/ 262993 w 5166485"/>
              <a:gd name="connsiteY455" fmla="*/ 350303 h 6855583"/>
              <a:gd name="connsiteX456" fmla="*/ 272219 w 5166485"/>
              <a:gd name="connsiteY456" fmla="*/ 340225 h 6855583"/>
              <a:gd name="connsiteX457" fmla="*/ 289401 w 5166485"/>
              <a:gd name="connsiteY457" fmla="*/ 319569 h 6855583"/>
              <a:gd name="connsiteX458" fmla="*/ 314295 w 5166485"/>
              <a:gd name="connsiteY458" fmla="*/ 294271 h 6855583"/>
              <a:gd name="connsiteX459" fmla="*/ 325922 w 5166485"/>
              <a:gd name="connsiteY459" fmla="*/ 281570 h 6855583"/>
              <a:gd name="connsiteX460" fmla="*/ 334399 w 5166485"/>
              <a:gd name="connsiteY460" fmla="*/ 273838 h 6855583"/>
              <a:gd name="connsiteX461" fmla="*/ 350443 w 5166485"/>
              <a:gd name="connsiteY461" fmla="*/ 257532 h 6855583"/>
              <a:gd name="connsiteX462" fmla="*/ 380729 w 5166485"/>
              <a:gd name="connsiteY462" fmla="*/ 231573 h 6855583"/>
              <a:gd name="connsiteX463" fmla="*/ 394244 w 5166485"/>
              <a:gd name="connsiteY463" fmla="*/ 219244 h 6855583"/>
              <a:gd name="connsiteX464" fmla="*/ 401667 w 5166485"/>
              <a:gd name="connsiteY464" fmla="*/ 213629 h 6855583"/>
              <a:gd name="connsiteX465" fmla="*/ 416087 w 5166485"/>
              <a:gd name="connsiteY465" fmla="*/ 201267 h 6855583"/>
              <a:gd name="connsiteX466" fmla="*/ 452481 w 5166485"/>
              <a:gd name="connsiteY466" fmla="*/ 175174 h 6855583"/>
              <a:gd name="connsiteX467" fmla="*/ 467551 w 5166485"/>
              <a:gd name="connsiteY467" fmla="*/ 163770 h 6855583"/>
              <a:gd name="connsiteX468" fmla="*/ 473642 w 5166485"/>
              <a:gd name="connsiteY468" fmla="*/ 160005 h 6855583"/>
              <a:gd name="connsiteX469" fmla="*/ 485999 w 5166485"/>
              <a:gd name="connsiteY469" fmla="*/ 151145 h 6855583"/>
              <a:gd name="connsiteX470" fmla="*/ 529610 w 5166485"/>
              <a:gd name="connsiteY470" fmla="*/ 125388 h 6855583"/>
              <a:gd name="connsiteX471" fmla="*/ 545435 w 5166485"/>
              <a:gd name="connsiteY471" fmla="*/ 115600 h 6855583"/>
              <a:gd name="connsiteX472" fmla="*/ 549942 w 5166485"/>
              <a:gd name="connsiteY472" fmla="*/ 113381 h 6855583"/>
              <a:gd name="connsiteX473" fmla="*/ 559845 w 5166485"/>
              <a:gd name="connsiteY473" fmla="*/ 107533 h 6855583"/>
              <a:gd name="connsiteX474" fmla="*/ 612902 w 5166485"/>
              <a:gd name="connsiteY474" fmla="*/ 82367 h 6855583"/>
              <a:gd name="connsiteX475" fmla="*/ 627487 w 5166485"/>
              <a:gd name="connsiteY475" fmla="*/ 75182 h 6855583"/>
              <a:gd name="connsiteX476" fmla="*/ 630185 w 5166485"/>
              <a:gd name="connsiteY476" fmla="*/ 74169 h 6855583"/>
              <a:gd name="connsiteX477" fmla="*/ 637283 w 5166485"/>
              <a:gd name="connsiteY477" fmla="*/ 70802 h 6855583"/>
              <a:gd name="connsiteX478" fmla="*/ 706443 w 5166485"/>
              <a:gd name="connsiteY478" fmla="*/ 45538 h 6855583"/>
              <a:gd name="connsiteX479" fmla="*/ 713297 w 5166485"/>
              <a:gd name="connsiteY479" fmla="*/ 42964 h 6855583"/>
              <a:gd name="connsiteX480" fmla="*/ 713985 w 5166485"/>
              <a:gd name="connsiteY480" fmla="*/ 42781 h 6855583"/>
              <a:gd name="connsiteX481" fmla="*/ 717981 w 5166485"/>
              <a:gd name="connsiteY481" fmla="*/ 41323 h 6855583"/>
              <a:gd name="connsiteX482" fmla="*/ 887808 w 5166485"/>
              <a:gd name="connsiteY482" fmla="*/ 5593 h 6855583"/>
              <a:gd name="connsiteX483" fmla="*/ 891667 w 5166485"/>
              <a:gd name="connsiteY483" fmla="*/ 5380 h 6855583"/>
              <a:gd name="connsiteX484" fmla="*/ 894562 w 5166485"/>
              <a:gd name="connsiteY484" fmla="*/ 4925 h 6855583"/>
              <a:gd name="connsiteX485" fmla="*/ 942291 w 5166485"/>
              <a:gd name="connsiteY485" fmla="*/ 2441 h 6855583"/>
              <a:gd name="connsiteX486" fmla="*/ 942291 w 5166485"/>
              <a:gd name="connsiteY486" fmla="*/ 1 h 6855583"/>
              <a:gd name="connsiteX487" fmla="*/ 988599 w 5166485"/>
              <a:gd name="connsiteY487" fmla="*/ 1 h 6855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</a:cxnLst>
            <a:rect l="l" t="t" r="r" b="b"/>
            <a:pathLst>
              <a:path w="5166485" h="6855583">
                <a:moveTo>
                  <a:pt x="1086626" y="3265888"/>
                </a:moveTo>
                <a:lnTo>
                  <a:pt x="1086635" y="3265890"/>
                </a:lnTo>
                <a:lnTo>
                  <a:pt x="1087274" y="3265890"/>
                </a:lnTo>
                <a:lnTo>
                  <a:pt x="1119550" y="3265890"/>
                </a:lnTo>
                <a:lnTo>
                  <a:pt x="1170447" y="3265890"/>
                </a:lnTo>
                <a:lnTo>
                  <a:pt x="1170458" y="3265888"/>
                </a:lnTo>
                <a:lnTo>
                  <a:pt x="1170468" y="3265890"/>
                </a:lnTo>
                <a:lnTo>
                  <a:pt x="1171107" y="3265890"/>
                </a:lnTo>
                <a:lnTo>
                  <a:pt x="1752107" y="3265890"/>
                </a:lnTo>
                <a:lnTo>
                  <a:pt x="1801177" y="3265890"/>
                </a:lnTo>
                <a:lnTo>
                  <a:pt x="1803005" y="3265890"/>
                </a:lnTo>
                <a:lnTo>
                  <a:pt x="1803015" y="3265888"/>
                </a:lnTo>
                <a:lnTo>
                  <a:pt x="1803026" y="3265890"/>
                </a:lnTo>
                <a:lnTo>
                  <a:pt x="1803664" y="3265890"/>
                </a:lnTo>
                <a:lnTo>
                  <a:pt x="1835940" y="3265890"/>
                </a:lnTo>
                <a:lnTo>
                  <a:pt x="1852074" y="3265890"/>
                </a:lnTo>
                <a:lnTo>
                  <a:pt x="1852084" y="3265888"/>
                </a:lnTo>
                <a:lnTo>
                  <a:pt x="1852095" y="3265890"/>
                </a:lnTo>
                <a:lnTo>
                  <a:pt x="1852734" y="3265890"/>
                </a:lnTo>
                <a:lnTo>
                  <a:pt x="1885010" y="3265890"/>
                </a:lnTo>
                <a:lnTo>
                  <a:pt x="1886837" y="3265890"/>
                </a:lnTo>
                <a:lnTo>
                  <a:pt x="1886846" y="3265888"/>
                </a:lnTo>
                <a:lnTo>
                  <a:pt x="1886857" y="3265890"/>
                </a:lnTo>
                <a:lnTo>
                  <a:pt x="1887496" y="3265890"/>
                </a:lnTo>
                <a:lnTo>
                  <a:pt x="1935905" y="3265890"/>
                </a:lnTo>
                <a:lnTo>
                  <a:pt x="1935916" y="3265888"/>
                </a:lnTo>
                <a:lnTo>
                  <a:pt x="1935926" y="3265890"/>
                </a:lnTo>
                <a:lnTo>
                  <a:pt x="1936565" y="3265890"/>
                </a:lnTo>
                <a:lnTo>
                  <a:pt x="2170246" y="3265890"/>
                </a:lnTo>
                <a:lnTo>
                  <a:pt x="2254079" y="3265890"/>
                </a:lnTo>
                <a:lnTo>
                  <a:pt x="2517566" y="3265890"/>
                </a:lnTo>
                <a:lnTo>
                  <a:pt x="2568463" y="3265890"/>
                </a:lnTo>
                <a:lnTo>
                  <a:pt x="2568473" y="3265888"/>
                </a:lnTo>
                <a:lnTo>
                  <a:pt x="2568484" y="3265890"/>
                </a:lnTo>
                <a:lnTo>
                  <a:pt x="2569123" y="3265890"/>
                </a:lnTo>
                <a:lnTo>
                  <a:pt x="2601399" y="3265890"/>
                </a:lnTo>
                <a:lnTo>
                  <a:pt x="2652295" y="3265890"/>
                </a:lnTo>
                <a:lnTo>
                  <a:pt x="2652306" y="3265888"/>
                </a:lnTo>
                <a:lnTo>
                  <a:pt x="2652315" y="3265890"/>
                </a:lnTo>
                <a:lnTo>
                  <a:pt x="2652954" y="3265890"/>
                </a:lnTo>
                <a:lnTo>
                  <a:pt x="2886635" y="3265890"/>
                </a:lnTo>
                <a:lnTo>
                  <a:pt x="2935705" y="3265890"/>
                </a:lnTo>
                <a:lnTo>
                  <a:pt x="2970468" y="3265890"/>
                </a:lnTo>
                <a:lnTo>
                  <a:pt x="3019538" y="3265890"/>
                </a:lnTo>
                <a:lnTo>
                  <a:pt x="3652094" y="3265890"/>
                </a:lnTo>
                <a:lnTo>
                  <a:pt x="3735927" y="3265890"/>
                </a:lnTo>
                <a:lnTo>
                  <a:pt x="3735927" y="4199586"/>
                </a:lnTo>
                <a:lnTo>
                  <a:pt x="3734217" y="4199586"/>
                </a:lnTo>
                <a:lnTo>
                  <a:pt x="3734217" y="4437486"/>
                </a:lnTo>
                <a:lnTo>
                  <a:pt x="3735499" y="4437486"/>
                </a:lnTo>
                <a:lnTo>
                  <a:pt x="3735499" y="4514790"/>
                </a:lnTo>
                <a:lnTo>
                  <a:pt x="3735499" y="4794177"/>
                </a:lnTo>
                <a:lnTo>
                  <a:pt x="3735500" y="5379128"/>
                </a:lnTo>
                <a:lnTo>
                  <a:pt x="3735500" y="5405390"/>
                </a:lnTo>
                <a:lnTo>
                  <a:pt x="3735500" y="5598154"/>
                </a:lnTo>
                <a:lnTo>
                  <a:pt x="3734205" y="5598154"/>
                </a:lnTo>
                <a:lnTo>
                  <a:pt x="3734205" y="5598486"/>
                </a:lnTo>
                <a:lnTo>
                  <a:pt x="3734205" y="5612740"/>
                </a:lnTo>
                <a:lnTo>
                  <a:pt x="3734205" y="5657025"/>
                </a:lnTo>
                <a:lnTo>
                  <a:pt x="3731500" y="5657025"/>
                </a:lnTo>
                <a:lnTo>
                  <a:pt x="3729283" y="5705056"/>
                </a:lnTo>
                <a:lnTo>
                  <a:pt x="3728718" y="5709186"/>
                </a:lnTo>
                <a:lnTo>
                  <a:pt x="3728606" y="5711467"/>
                </a:lnTo>
                <a:lnTo>
                  <a:pt x="3725448" y="5733130"/>
                </a:lnTo>
                <a:lnTo>
                  <a:pt x="3723149" y="5749961"/>
                </a:lnTo>
                <a:lnTo>
                  <a:pt x="3723149" y="5785114"/>
                </a:lnTo>
                <a:lnTo>
                  <a:pt x="3720444" y="5785114"/>
                </a:lnTo>
                <a:lnTo>
                  <a:pt x="3718226" y="5833975"/>
                </a:lnTo>
                <a:lnTo>
                  <a:pt x="3717662" y="5838176"/>
                </a:lnTo>
                <a:lnTo>
                  <a:pt x="3717549" y="5840496"/>
                </a:lnTo>
                <a:lnTo>
                  <a:pt x="3714391" y="5862534"/>
                </a:lnTo>
                <a:lnTo>
                  <a:pt x="3704933" y="5932981"/>
                </a:lnTo>
                <a:lnTo>
                  <a:pt x="3703137" y="5941083"/>
                </a:lnTo>
                <a:lnTo>
                  <a:pt x="3702452" y="5945855"/>
                </a:lnTo>
                <a:lnTo>
                  <a:pt x="3696614" y="5970492"/>
                </a:lnTo>
                <a:lnTo>
                  <a:pt x="3683622" y="6029051"/>
                </a:lnTo>
                <a:lnTo>
                  <a:pt x="3679923" y="6040897"/>
                </a:lnTo>
                <a:lnTo>
                  <a:pt x="3678285" y="6047812"/>
                </a:lnTo>
                <a:lnTo>
                  <a:pt x="3670406" y="6071379"/>
                </a:lnTo>
                <a:lnTo>
                  <a:pt x="3654662" y="6121798"/>
                </a:lnTo>
                <a:lnTo>
                  <a:pt x="3648434" y="6137099"/>
                </a:lnTo>
                <a:lnTo>
                  <a:pt x="3645495" y="6145895"/>
                </a:lnTo>
                <a:lnTo>
                  <a:pt x="3636168" y="6167235"/>
                </a:lnTo>
                <a:lnTo>
                  <a:pt x="3618421" y="6210838"/>
                </a:lnTo>
                <a:lnTo>
                  <a:pt x="3609070" y="6229244"/>
                </a:lnTo>
                <a:lnTo>
                  <a:pt x="3604529" y="6239639"/>
                </a:lnTo>
                <a:lnTo>
                  <a:pt x="3594298" y="6258324"/>
                </a:lnTo>
                <a:lnTo>
                  <a:pt x="3575270" y="6295785"/>
                </a:lnTo>
                <a:lnTo>
                  <a:pt x="3562231" y="6316901"/>
                </a:lnTo>
                <a:lnTo>
                  <a:pt x="3555841" y="6328575"/>
                </a:lnTo>
                <a:lnTo>
                  <a:pt x="3545203" y="6344476"/>
                </a:lnTo>
                <a:lnTo>
                  <a:pt x="3525580" y="6376252"/>
                </a:lnTo>
                <a:lnTo>
                  <a:pt x="3508306" y="6399630"/>
                </a:lnTo>
                <a:lnTo>
                  <a:pt x="3499876" y="6412234"/>
                </a:lnTo>
                <a:lnTo>
                  <a:pt x="3489281" y="6425379"/>
                </a:lnTo>
                <a:lnTo>
                  <a:pt x="3469720" y="6451856"/>
                </a:lnTo>
                <a:lnTo>
                  <a:pt x="3447676" y="6477005"/>
                </a:lnTo>
                <a:lnTo>
                  <a:pt x="3437085" y="6490148"/>
                </a:lnTo>
                <a:lnTo>
                  <a:pt x="3426944" y="6500661"/>
                </a:lnTo>
                <a:lnTo>
                  <a:pt x="3408058" y="6522209"/>
                </a:lnTo>
                <a:lnTo>
                  <a:pt x="3380698" y="6548600"/>
                </a:lnTo>
                <a:lnTo>
                  <a:pt x="3367917" y="6561848"/>
                </a:lnTo>
                <a:lnTo>
                  <a:pt x="3358599" y="6569916"/>
                </a:lnTo>
                <a:lnTo>
                  <a:pt x="3340966" y="6586926"/>
                </a:lnTo>
                <a:lnTo>
                  <a:pt x="3307673" y="6614008"/>
                </a:lnTo>
                <a:lnTo>
                  <a:pt x="3292820" y="6626869"/>
                </a:lnTo>
                <a:lnTo>
                  <a:pt x="3284662" y="6632728"/>
                </a:lnTo>
                <a:lnTo>
                  <a:pt x="3268811" y="6645621"/>
                </a:lnTo>
                <a:lnTo>
                  <a:pt x="3228808" y="6672841"/>
                </a:lnTo>
                <a:lnTo>
                  <a:pt x="3212245" y="6684739"/>
                </a:lnTo>
                <a:lnTo>
                  <a:pt x="3205551" y="6688665"/>
                </a:lnTo>
                <a:lnTo>
                  <a:pt x="3191968" y="6697909"/>
                </a:lnTo>
                <a:lnTo>
                  <a:pt x="3144033" y="6724779"/>
                </a:lnTo>
                <a:lnTo>
                  <a:pt x="3126640" y="6734990"/>
                </a:lnTo>
                <a:lnTo>
                  <a:pt x="3121686" y="6737306"/>
                </a:lnTo>
                <a:lnTo>
                  <a:pt x="3110802" y="6743407"/>
                </a:lnTo>
                <a:lnTo>
                  <a:pt x="3052483" y="6769660"/>
                </a:lnTo>
                <a:lnTo>
                  <a:pt x="3036452" y="6777154"/>
                </a:lnTo>
                <a:lnTo>
                  <a:pt x="3033487" y="6778211"/>
                </a:lnTo>
                <a:lnTo>
                  <a:pt x="3025684" y="6781724"/>
                </a:lnTo>
                <a:lnTo>
                  <a:pt x="2949668" y="6808079"/>
                </a:lnTo>
                <a:lnTo>
                  <a:pt x="2942133" y="6810763"/>
                </a:lnTo>
                <a:lnTo>
                  <a:pt x="2941376" y="6810955"/>
                </a:lnTo>
                <a:lnTo>
                  <a:pt x="2936985" y="6812477"/>
                </a:lnTo>
                <a:cubicBezTo>
                  <a:pt x="2876741" y="6830372"/>
                  <a:pt x="2814355" y="6842968"/>
                  <a:pt x="2750320" y="6849749"/>
                </a:cubicBezTo>
                <a:lnTo>
                  <a:pt x="2746081" y="6849972"/>
                </a:lnTo>
                <a:lnTo>
                  <a:pt x="2742897" y="6850446"/>
                </a:lnTo>
                <a:lnTo>
                  <a:pt x="2690435" y="6853038"/>
                </a:lnTo>
                <a:lnTo>
                  <a:pt x="2690435" y="6855583"/>
                </a:lnTo>
                <a:lnTo>
                  <a:pt x="2639538" y="6855583"/>
                </a:lnTo>
                <a:lnTo>
                  <a:pt x="2639527" y="6855583"/>
                </a:lnTo>
                <a:lnTo>
                  <a:pt x="2639516" y="6855583"/>
                </a:lnTo>
                <a:lnTo>
                  <a:pt x="2638878" y="6855583"/>
                </a:lnTo>
                <a:lnTo>
                  <a:pt x="2617659" y="6855583"/>
                </a:lnTo>
                <a:lnTo>
                  <a:pt x="2566761" y="6855583"/>
                </a:lnTo>
                <a:lnTo>
                  <a:pt x="2566750" y="6855583"/>
                </a:lnTo>
                <a:lnTo>
                  <a:pt x="2566740" y="6855583"/>
                </a:lnTo>
                <a:lnTo>
                  <a:pt x="2566100" y="6855583"/>
                </a:lnTo>
                <a:lnTo>
                  <a:pt x="1974046" y="6855583"/>
                </a:lnTo>
                <a:lnTo>
                  <a:pt x="1924977" y="6855583"/>
                </a:lnTo>
                <a:lnTo>
                  <a:pt x="1923149" y="6855583"/>
                </a:lnTo>
                <a:lnTo>
                  <a:pt x="1923138" y="6855583"/>
                </a:lnTo>
                <a:lnTo>
                  <a:pt x="1923127" y="6855583"/>
                </a:lnTo>
                <a:lnTo>
                  <a:pt x="1922488" y="6855583"/>
                </a:lnTo>
                <a:lnTo>
                  <a:pt x="1901270" y="6855583"/>
                </a:lnTo>
                <a:lnTo>
                  <a:pt x="1874079" y="6855583"/>
                </a:lnTo>
                <a:lnTo>
                  <a:pt x="1874068" y="6855583"/>
                </a:lnTo>
                <a:lnTo>
                  <a:pt x="1874058" y="6855583"/>
                </a:lnTo>
                <a:lnTo>
                  <a:pt x="1873420" y="6855583"/>
                </a:lnTo>
                <a:lnTo>
                  <a:pt x="1852200" y="6855583"/>
                </a:lnTo>
                <a:lnTo>
                  <a:pt x="1850372" y="6855583"/>
                </a:lnTo>
                <a:lnTo>
                  <a:pt x="1850361" y="6855583"/>
                </a:lnTo>
                <a:lnTo>
                  <a:pt x="1850351" y="6855583"/>
                </a:lnTo>
                <a:lnTo>
                  <a:pt x="1849711" y="6855583"/>
                </a:lnTo>
                <a:lnTo>
                  <a:pt x="1801303" y="6855583"/>
                </a:lnTo>
                <a:lnTo>
                  <a:pt x="1801292" y="6855583"/>
                </a:lnTo>
                <a:lnTo>
                  <a:pt x="1801282" y="6855583"/>
                </a:lnTo>
                <a:lnTo>
                  <a:pt x="1800642" y="6855583"/>
                </a:lnTo>
                <a:lnTo>
                  <a:pt x="1555906" y="6855583"/>
                </a:lnTo>
                <a:lnTo>
                  <a:pt x="1483128" y="6855583"/>
                </a:lnTo>
                <a:lnTo>
                  <a:pt x="1208587" y="6855583"/>
                </a:lnTo>
                <a:lnTo>
                  <a:pt x="1157689" y="6855583"/>
                </a:lnTo>
                <a:lnTo>
                  <a:pt x="1157678" y="6855583"/>
                </a:lnTo>
                <a:lnTo>
                  <a:pt x="1157669" y="6855583"/>
                </a:lnTo>
                <a:lnTo>
                  <a:pt x="1157031" y="6855583"/>
                </a:lnTo>
                <a:lnTo>
                  <a:pt x="1135810" y="6855583"/>
                </a:lnTo>
                <a:lnTo>
                  <a:pt x="1084913" y="6855583"/>
                </a:lnTo>
                <a:lnTo>
                  <a:pt x="1084902" y="6855583"/>
                </a:lnTo>
                <a:lnTo>
                  <a:pt x="1084893" y="6855583"/>
                </a:lnTo>
                <a:lnTo>
                  <a:pt x="1084253" y="6855583"/>
                </a:lnTo>
                <a:lnTo>
                  <a:pt x="839517" y="6855583"/>
                </a:lnTo>
                <a:lnTo>
                  <a:pt x="790448" y="6855583"/>
                </a:lnTo>
                <a:lnTo>
                  <a:pt x="766740" y="6855583"/>
                </a:lnTo>
                <a:lnTo>
                  <a:pt x="717671" y="6855583"/>
                </a:lnTo>
                <a:lnTo>
                  <a:pt x="74059" y="6855583"/>
                </a:lnTo>
                <a:lnTo>
                  <a:pt x="1282" y="6855583"/>
                </a:lnTo>
                <a:lnTo>
                  <a:pt x="1282" y="6709335"/>
                </a:lnTo>
                <a:lnTo>
                  <a:pt x="1282" y="5785114"/>
                </a:lnTo>
                <a:lnTo>
                  <a:pt x="0" y="5785114"/>
                </a:lnTo>
                <a:lnTo>
                  <a:pt x="0" y="5725228"/>
                </a:lnTo>
                <a:lnTo>
                  <a:pt x="0" y="5657025"/>
                </a:lnTo>
                <a:lnTo>
                  <a:pt x="0" y="5598154"/>
                </a:lnTo>
                <a:lnTo>
                  <a:pt x="0" y="5529139"/>
                </a:lnTo>
                <a:lnTo>
                  <a:pt x="0" y="5502424"/>
                </a:lnTo>
                <a:lnTo>
                  <a:pt x="0" y="5405390"/>
                </a:lnTo>
                <a:lnTo>
                  <a:pt x="0" y="5379128"/>
                </a:lnTo>
                <a:lnTo>
                  <a:pt x="0" y="4907380"/>
                </a:lnTo>
                <a:lnTo>
                  <a:pt x="0" y="4794177"/>
                </a:lnTo>
                <a:lnTo>
                  <a:pt x="0" y="4623176"/>
                </a:lnTo>
                <a:lnTo>
                  <a:pt x="0" y="4514791"/>
                </a:lnTo>
                <a:lnTo>
                  <a:pt x="1294" y="4514791"/>
                </a:lnTo>
                <a:lnTo>
                  <a:pt x="1294" y="4514790"/>
                </a:lnTo>
                <a:lnTo>
                  <a:pt x="1294" y="4514355"/>
                </a:lnTo>
                <a:lnTo>
                  <a:pt x="1294" y="4495635"/>
                </a:lnTo>
                <a:lnTo>
                  <a:pt x="1294" y="4437486"/>
                </a:lnTo>
                <a:lnTo>
                  <a:pt x="3998" y="4437486"/>
                </a:lnTo>
                <a:lnTo>
                  <a:pt x="6216" y="4374413"/>
                </a:lnTo>
                <a:lnTo>
                  <a:pt x="6782" y="4368991"/>
                </a:lnTo>
                <a:lnTo>
                  <a:pt x="6892" y="4365997"/>
                </a:lnTo>
                <a:lnTo>
                  <a:pt x="10050" y="4337551"/>
                </a:lnTo>
                <a:lnTo>
                  <a:pt x="19508" y="4246611"/>
                </a:lnTo>
                <a:lnTo>
                  <a:pt x="21306" y="4236154"/>
                </a:lnTo>
                <a:lnTo>
                  <a:pt x="21989" y="4229994"/>
                </a:lnTo>
                <a:lnTo>
                  <a:pt x="27574" y="4199586"/>
                </a:lnTo>
                <a:lnTo>
                  <a:pt x="29284" y="4199586"/>
                </a:lnTo>
                <a:lnTo>
                  <a:pt x="29540" y="4198449"/>
                </a:lnTo>
                <a:lnTo>
                  <a:pt x="42529" y="4136748"/>
                </a:lnTo>
                <a:lnTo>
                  <a:pt x="46228" y="4124266"/>
                </a:lnTo>
                <a:lnTo>
                  <a:pt x="47868" y="4116981"/>
                </a:lnTo>
                <a:lnTo>
                  <a:pt x="55747" y="4092151"/>
                </a:lnTo>
                <a:lnTo>
                  <a:pt x="71490" y="4039027"/>
                </a:lnTo>
                <a:lnTo>
                  <a:pt x="77718" y="4022906"/>
                </a:lnTo>
                <a:lnTo>
                  <a:pt x="80657" y="4013638"/>
                </a:lnTo>
                <a:lnTo>
                  <a:pt x="89984" y="3991153"/>
                </a:lnTo>
                <a:lnTo>
                  <a:pt x="107731" y="3945212"/>
                </a:lnTo>
                <a:lnTo>
                  <a:pt x="117082" y="3925819"/>
                </a:lnTo>
                <a:lnTo>
                  <a:pt x="121624" y="3914866"/>
                </a:lnTo>
                <a:lnTo>
                  <a:pt x="131854" y="3895180"/>
                </a:lnTo>
                <a:lnTo>
                  <a:pt x="150882" y="3855710"/>
                </a:lnTo>
                <a:lnTo>
                  <a:pt x="163921" y="3833461"/>
                </a:lnTo>
                <a:lnTo>
                  <a:pt x="170313" y="3821161"/>
                </a:lnTo>
                <a:lnTo>
                  <a:pt x="180949" y="3804408"/>
                </a:lnTo>
                <a:lnTo>
                  <a:pt x="200571" y="3770926"/>
                </a:lnTo>
                <a:lnTo>
                  <a:pt x="217848" y="3746294"/>
                </a:lnTo>
                <a:lnTo>
                  <a:pt x="226277" y="3733015"/>
                </a:lnTo>
                <a:lnTo>
                  <a:pt x="236872" y="3719164"/>
                </a:lnTo>
                <a:lnTo>
                  <a:pt x="256434" y="3691269"/>
                </a:lnTo>
                <a:lnTo>
                  <a:pt x="278476" y="3664770"/>
                </a:lnTo>
                <a:lnTo>
                  <a:pt x="289068" y="3650922"/>
                </a:lnTo>
                <a:lnTo>
                  <a:pt x="299210" y="3639845"/>
                </a:lnTo>
                <a:lnTo>
                  <a:pt x="318094" y="3617142"/>
                </a:lnTo>
                <a:lnTo>
                  <a:pt x="345456" y="3589336"/>
                </a:lnTo>
                <a:lnTo>
                  <a:pt x="358237" y="3575375"/>
                </a:lnTo>
                <a:lnTo>
                  <a:pt x="367555" y="3566877"/>
                </a:lnTo>
                <a:lnTo>
                  <a:pt x="385187" y="3548953"/>
                </a:lnTo>
                <a:lnTo>
                  <a:pt x="418478" y="3520422"/>
                </a:lnTo>
                <a:lnTo>
                  <a:pt x="433333" y="3506870"/>
                </a:lnTo>
                <a:lnTo>
                  <a:pt x="441492" y="3500699"/>
                </a:lnTo>
                <a:lnTo>
                  <a:pt x="457342" y="3487112"/>
                </a:lnTo>
                <a:lnTo>
                  <a:pt x="497345" y="3458431"/>
                </a:lnTo>
                <a:lnTo>
                  <a:pt x="513909" y="3445896"/>
                </a:lnTo>
                <a:lnTo>
                  <a:pt x="520601" y="3441758"/>
                </a:lnTo>
                <a:lnTo>
                  <a:pt x="534185" y="3432019"/>
                </a:lnTo>
                <a:lnTo>
                  <a:pt x="582120" y="3403709"/>
                </a:lnTo>
                <a:lnTo>
                  <a:pt x="599514" y="3392950"/>
                </a:lnTo>
                <a:lnTo>
                  <a:pt x="604468" y="3390510"/>
                </a:lnTo>
                <a:lnTo>
                  <a:pt x="615351" y="3384083"/>
                </a:lnTo>
                <a:lnTo>
                  <a:pt x="673670" y="3356422"/>
                </a:lnTo>
                <a:lnTo>
                  <a:pt x="689699" y="3348524"/>
                </a:lnTo>
                <a:lnTo>
                  <a:pt x="692665" y="3347410"/>
                </a:lnTo>
                <a:lnTo>
                  <a:pt x="700468" y="3343710"/>
                </a:lnTo>
                <a:lnTo>
                  <a:pt x="776485" y="3315941"/>
                </a:lnTo>
                <a:lnTo>
                  <a:pt x="784019" y="3313112"/>
                </a:lnTo>
                <a:lnTo>
                  <a:pt x="784777" y="3312912"/>
                </a:lnTo>
                <a:lnTo>
                  <a:pt x="789167" y="3311308"/>
                </a:lnTo>
                <a:cubicBezTo>
                  <a:pt x="849413" y="3292452"/>
                  <a:pt x="911798" y="3279182"/>
                  <a:pt x="975831" y="3272037"/>
                </a:cubicBezTo>
                <a:lnTo>
                  <a:pt x="980073" y="3271801"/>
                </a:lnTo>
                <a:lnTo>
                  <a:pt x="983256" y="3271301"/>
                </a:lnTo>
                <a:lnTo>
                  <a:pt x="1035718" y="3268571"/>
                </a:lnTo>
                <a:lnTo>
                  <a:pt x="1035718" y="3265890"/>
                </a:lnTo>
                <a:lnTo>
                  <a:pt x="1086616" y="3265890"/>
                </a:lnTo>
                <a:close/>
                <a:moveTo>
                  <a:pt x="4098476" y="852993"/>
                </a:moveTo>
                <a:cubicBezTo>
                  <a:pt x="4688321" y="852993"/>
                  <a:pt x="5166485" y="1331157"/>
                  <a:pt x="5166485" y="1921002"/>
                </a:cubicBezTo>
                <a:cubicBezTo>
                  <a:pt x="5166485" y="2473981"/>
                  <a:pt x="4746224" y="2928803"/>
                  <a:pt x="4207674" y="2983496"/>
                </a:cubicBezTo>
                <a:lnTo>
                  <a:pt x="4112812" y="2988286"/>
                </a:lnTo>
                <a:lnTo>
                  <a:pt x="4112812" y="2989010"/>
                </a:lnTo>
                <a:lnTo>
                  <a:pt x="4098476" y="2989010"/>
                </a:lnTo>
                <a:lnTo>
                  <a:pt x="3030468" y="2989010"/>
                </a:lnTo>
                <a:lnTo>
                  <a:pt x="3030468" y="1921011"/>
                </a:lnTo>
                <a:lnTo>
                  <a:pt x="3030468" y="1921002"/>
                </a:lnTo>
                <a:lnTo>
                  <a:pt x="3030468" y="1920991"/>
                </a:lnTo>
                <a:lnTo>
                  <a:pt x="3030468" y="1870827"/>
                </a:lnTo>
                <a:lnTo>
                  <a:pt x="3033002" y="1870827"/>
                </a:lnTo>
                <a:lnTo>
                  <a:pt x="3035982" y="1811804"/>
                </a:lnTo>
                <a:cubicBezTo>
                  <a:pt x="3090675" y="1273254"/>
                  <a:pt x="3545497" y="852993"/>
                  <a:pt x="4098476" y="852993"/>
                </a:cubicBezTo>
                <a:close/>
                <a:moveTo>
                  <a:pt x="988607" y="0"/>
                </a:moveTo>
                <a:lnTo>
                  <a:pt x="988617" y="1"/>
                </a:lnTo>
                <a:lnTo>
                  <a:pt x="989198" y="1"/>
                </a:lnTo>
                <a:lnTo>
                  <a:pt x="1018562" y="1"/>
                </a:lnTo>
                <a:lnTo>
                  <a:pt x="1064868" y="1"/>
                </a:lnTo>
                <a:lnTo>
                  <a:pt x="1064878" y="0"/>
                </a:lnTo>
                <a:lnTo>
                  <a:pt x="1064887" y="1"/>
                </a:lnTo>
                <a:lnTo>
                  <a:pt x="1065468" y="1"/>
                </a:lnTo>
                <a:lnTo>
                  <a:pt x="1638703" y="1"/>
                </a:lnTo>
                <a:lnTo>
                  <a:pt x="1685008" y="1"/>
                </a:lnTo>
                <a:lnTo>
                  <a:pt x="1685018" y="0"/>
                </a:lnTo>
                <a:lnTo>
                  <a:pt x="1685028" y="1"/>
                </a:lnTo>
                <a:lnTo>
                  <a:pt x="1685609" y="1"/>
                </a:lnTo>
                <a:lnTo>
                  <a:pt x="1714972" y="1"/>
                </a:lnTo>
                <a:lnTo>
                  <a:pt x="1761279" y="1"/>
                </a:lnTo>
                <a:lnTo>
                  <a:pt x="1761288" y="0"/>
                </a:lnTo>
                <a:lnTo>
                  <a:pt x="1761297" y="1"/>
                </a:lnTo>
                <a:lnTo>
                  <a:pt x="1761879" y="1"/>
                </a:lnTo>
                <a:lnTo>
                  <a:pt x="1974481" y="1"/>
                </a:lnTo>
                <a:lnTo>
                  <a:pt x="2050751" y="1"/>
                </a:lnTo>
                <a:lnTo>
                  <a:pt x="2670892" y="1"/>
                </a:lnTo>
                <a:lnTo>
                  <a:pt x="2747162" y="1"/>
                </a:lnTo>
                <a:lnTo>
                  <a:pt x="2747162" y="849474"/>
                </a:lnTo>
                <a:lnTo>
                  <a:pt x="2745606" y="849474"/>
                </a:lnTo>
                <a:lnTo>
                  <a:pt x="2745606" y="1065915"/>
                </a:lnTo>
                <a:lnTo>
                  <a:pt x="2746772" y="1065915"/>
                </a:lnTo>
                <a:lnTo>
                  <a:pt x="2746772" y="1136245"/>
                </a:lnTo>
                <a:lnTo>
                  <a:pt x="2746772" y="1390429"/>
                </a:lnTo>
                <a:lnTo>
                  <a:pt x="2746772" y="1922616"/>
                </a:lnTo>
                <a:lnTo>
                  <a:pt x="2746772" y="1946508"/>
                </a:lnTo>
                <a:lnTo>
                  <a:pt x="2746772" y="2121884"/>
                </a:lnTo>
                <a:lnTo>
                  <a:pt x="2745595" y="2121884"/>
                </a:lnTo>
                <a:lnTo>
                  <a:pt x="2745595" y="2122187"/>
                </a:lnTo>
                <a:lnTo>
                  <a:pt x="2745595" y="2135156"/>
                </a:lnTo>
                <a:lnTo>
                  <a:pt x="2745595" y="2175445"/>
                </a:lnTo>
                <a:lnTo>
                  <a:pt x="2743134" y="2175445"/>
                </a:lnTo>
                <a:lnTo>
                  <a:pt x="2741116" y="2219143"/>
                </a:lnTo>
                <a:lnTo>
                  <a:pt x="2740603" y="2222901"/>
                </a:lnTo>
                <a:lnTo>
                  <a:pt x="2740500" y="2224976"/>
                </a:lnTo>
                <a:lnTo>
                  <a:pt x="2737627" y="2244685"/>
                </a:lnTo>
                <a:lnTo>
                  <a:pt x="2735536" y="2259998"/>
                </a:lnTo>
                <a:lnTo>
                  <a:pt x="2735536" y="2291981"/>
                </a:lnTo>
                <a:lnTo>
                  <a:pt x="2733075" y="2291981"/>
                </a:lnTo>
                <a:lnTo>
                  <a:pt x="2731057" y="2336433"/>
                </a:lnTo>
                <a:lnTo>
                  <a:pt x="2730544" y="2340255"/>
                </a:lnTo>
                <a:lnTo>
                  <a:pt x="2730441" y="2342367"/>
                </a:lnTo>
                <a:lnTo>
                  <a:pt x="2727568" y="2362415"/>
                </a:lnTo>
                <a:lnTo>
                  <a:pt x="2718964" y="2426508"/>
                </a:lnTo>
                <a:lnTo>
                  <a:pt x="2717329" y="2433880"/>
                </a:lnTo>
                <a:lnTo>
                  <a:pt x="2716706" y="2438222"/>
                </a:lnTo>
                <a:lnTo>
                  <a:pt x="2711395" y="2460635"/>
                </a:lnTo>
                <a:lnTo>
                  <a:pt x="2699576" y="2513912"/>
                </a:lnTo>
                <a:lnTo>
                  <a:pt x="2696210" y="2524690"/>
                </a:lnTo>
                <a:lnTo>
                  <a:pt x="2694719" y="2530980"/>
                </a:lnTo>
                <a:lnTo>
                  <a:pt x="2687551" y="2552423"/>
                </a:lnTo>
                <a:lnTo>
                  <a:pt x="2673227" y="2598293"/>
                </a:lnTo>
                <a:lnTo>
                  <a:pt x="2667561" y="2612213"/>
                </a:lnTo>
                <a:lnTo>
                  <a:pt x="2664886" y="2620217"/>
                </a:lnTo>
                <a:lnTo>
                  <a:pt x="2656402" y="2639632"/>
                </a:lnTo>
                <a:lnTo>
                  <a:pt x="2640256" y="2679301"/>
                </a:lnTo>
                <a:lnTo>
                  <a:pt x="2631748" y="2696048"/>
                </a:lnTo>
                <a:lnTo>
                  <a:pt x="2627616" y="2705505"/>
                </a:lnTo>
                <a:lnTo>
                  <a:pt x="2618309" y="2722504"/>
                </a:lnTo>
                <a:lnTo>
                  <a:pt x="2600997" y="2756585"/>
                </a:lnTo>
                <a:lnTo>
                  <a:pt x="2589134" y="2775797"/>
                </a:lnTo>
                <a:lnTo>
                  <a:pt x="2583319" y="2786419"/>
                </a:lnTo>
                <a:lnTo>
                  <a:pt x="2573641" y="2800885"/>
                </a:lnTo>
                <a:lnTo>
                  <a:pt x="2555790" y="2829795"/>
                </a:lnTo>
                <a:lnTo>
                  <a:pt x="2540073" y="2851064"/>
                </a:lnTo>
                <a:lnTo>
                  <a:pt x="2532404" y="2862531"/>
                </a:lnTo>
                <a:lnTo>
                  <a:pt x="2522765" y="2874490"/>
                </a:lnTo>
                <a:lnTo>
                  <a:pt x="2504967" y="2898578"/>
                </a:lnTo>
                <a:lnTo>
                  <a:pt x="2484913" y="2921459"/>
                </a:lnTo>
                <a:lnTo>
                  <a:pt x="2475277" y="2933417"/>
                </a:lnTo>
                <a:lnTo>
                  <a:pt x="2466050" y="2942981"/>
                </a:lnTo>
                <a:lnTo>
                  <a:pt x="2448868" y="2962585"/>
                </a:lnTo>
                <a:lnTo>
                  <a:pt x="2423976" y="2986596"/>
                </a:lnTo>
                <a:lnTo>
                  <a:pt x="2412348" y="2998650"/>
                </a:lnTo>
                <a:lnTo>
                  <a:pt x="2403870" y="3005990"/>
                </a:lnTo>
                <a:lnTo>
                  <a:pt x="2387828" y="3021464"/>
                </a:lnTo>
                <a:lnTo>
                  <a:pt x="2357540" y="3046103"/>
                </a:lnTo>
                <a:lnTo>
                  <a:pt x="2344025" y="3057805"/>
                </a:lnTo>
                <a:lnTo>
                  <a:pt x="2336603" y="3063135"/>
                </a:lnTo>
                <a:lnTo>
                  <a:pt x="2322182" y="3074865"/>
                </a:lnTo>
                <a:lnTo>
                  <a:pt x="2285787" y="3099631"/>
                </a:lnTo>
                <a:lnTo>
                  <a:pt x="2270718" y="3110454"/>
                </a:lnTo>
                <a:lnTo>
                  <a:pt x="2264629" y="3114027"/>
                </a:lnTo>
                <a:lnTo>
                  <a:pt x="2252269" y="3122437"/>
                </a:lnTo>
                <a:lnTo>
                  <a:pt x="2208660" y="3146882"/>
                </a:lnTo>
                <a:lnTo>
                  <a:pt x="2192835" y="3156172"/>
                </a:lnTo>
                <a:lnTo>
                  <a:pt x="2188328" y="3158279"/>
                </a:lnTo>
                <a:lnTo>
                  <a:pt x="2178425" y="3163830"/>
                </a:lnTo>
                <a:lnTo>
                  <a:pt x="2125368" y="3187714"/>
                </a:lnTo>
                <a:lnTo>
                  <a:pt x="2110783" y="3194534"/>
                </a:lnTo>
                <a:lnTo>
                  <a:pt x="2108085" y="3195495"/>
                </a:lnTo>
                <a:lnTo>
                  <a:pt x="2100986" y="3198691"/>
                </a:lnTo>
                <a:lnTo>
                  <a:pt x="2031826" y="3222668"/>
                </a:lnTo>
                <a:lnTo>
                  <a:pt x="2024972" y="3225111"/>
                </a:lnTo>
                <a:lnTo>
                  <a:pt x="2024283" y="3225284"/>
                </a:lnTo>
                <a:lnTo>
                  <a:pt x="2020288" y="3226670"/>
                </a:lnTo>
                <a:cubicBezTo>
                  <a:pt x="1965477" y="3242950"/>
                  <a:pt x="1908719" y="3254410"/>
                  <a:pt x="1850461" y="3260580"/>
                </a:cubicBezTo>
                <a:lnTo>
                  <a:pt x="1846605" y="3260783"/>
                </a:lnTo>
                <a:lnTo>
                  <a:pt x="1843708" y="3261214"/>
                </a:lnTo>
                <a:lnTo>
                  <a:pt x="1795978" y="3263571"/>
                </a:lnTo>
                <a:lnTo>
                  <a:pt x="1795978" y="3265886"/>
                </a:lnTo>
                <a:lnTo>
                  <a:pt x="1749672" y="3265886"/>
                </a:lnTo>
                <a:lnTo>
                  <a:pt x="1749662" y="3265887"/>
                </a:lnTo>
                <a:lnTo>
                  <a:pt x="1749653" y="3265886"/>
                </a:lnTo>
                <a:lnTo>
                  <a:pt x="1749071" y="3265886"/>
                </a:lnTo>
                <a:lnTo>
                  <a:pt x="1729765" y="3265886"/>
                </a:lnTo>
                <a:lnTo>
                  <a:pt x="1683460" y="3265886"/>
                </a:lnTo>
                <a:lnTo>
                  <a:pt x="1683450" y="3265887"/>
                </a:lnTo>
                <a:lnTo>
                  <a:pt x="1683441" y="3265886"/>
                </a:lnTo>
                <a:lnTo>
                  <a:pt x="1682859" y="3265886"/>
                </a:lnTo>
                <a:lnTo>
                  <a:pt x="1099567" y="3265887"/>
                </a:lnTo>
                <a:lnTo>
                  <a:pt x="1053261" y="3265887"/>
                </a:lnTo>
                <a:lnTo>
                  <a:pt x="1053251" y="3265887"/>
                </a:lnTo>
                <a:lnTo>
                  <a:pt x="1053242" y="3265887"/>
                </a:lnTo>
                <a:lnTo>
                  <a:pt x="1052660" y="3265887"/>
                </a:lnTo>
                <a:lnTo>
                  <a:pt x="1033356" y="3265887"/>
                </a:lnTo>
                <a:lnTo>
                  <a:pt x="987049" y="3265887"/>
                </a:lnTo>
                <a:lnTo>
                  <a:pt x="987040" y="3265887"/>
                </a:lnTo>
                <a:lnTo>
                  <a:pt x="987030" y="3265887"/>
                </a:lnTo>
                <a:lnTo>
                  <a:pt x="986449" y="3265887"/>
                </a:lnTo>
                <a:lnTo>
                  <a:pt x="763788" y="3265887"/>
                </a:lnTo>
                <a:lnTo>
                  <a:pt x="697577" y="3265887"/>
                </a:lnTo>
                <a:lnTo>
                  <a:pt x="67379" y="3265887"/>
                </a:lnTo>
                <a:lnTo>
                  <a:pt x="1166" y="3265887"/>
                </a:lnTo>
                <a:lnTo>
                  <a:pt x="1166" y="3132833"/>
                </a:lnTo>
                <a:lnTo>
                  <a:pt x="1166" y="2291981"/>
                </a:lnTo>
                <a:lnTo>
                  <a:pt x="0" y="2291981"/>
                </a:lnTo>
                <a:lnTo>
                  <a:pt x="0" y="2237497"/>
                </a:lnTo>
                <a:lnTo>
                  <a:pt x="0" y="2175445"/>
                </a:lnTo>
                <a:lnTo>
                  <a:pt x="0" y="2121884"/>
                </a:lnTo>
                <a:lnTo>
                  <a:pt x="0" y="2059094"/>
                </a:lnTo>
                <a:lnTo>
                  <a:pt x="0" y="2034789"/>
                </a:lnTo>
                <a:lnTo>
                  <a:pt x="0" y="1946508"/>
                </a:lnTo>
                <a:lnTo>
                  <a:pt x="0" y="1922616"/>
                </a:lnTo>
                <a:lnTo>
                  <a:pt x="0" y="1493422"/>
                </a:lnTo>
                <a:lnTo>
                  <a:pt x="0" y="1390429"/>
                </a:lnTo>
                <a:lnTo>
                  <a:pt x="0" y="1234853"/>
                </a:lnTo>
                <a:lnTo>
                  <a:pt x="0" y="1136246"/>
                </a:lnTo>
                <a:lnTo>
                  <a:pt x="1178" y="1136246"/>
                </a:lnTo>
                <a:lnTo>
                  <a:pt x="1178" y="1136245"/>
                </a:lnTo>
                <a:lnTo>
                  <a:pt x="1178" y="1135849"/>
                </a:lnTo>
                <a:lnTo>
                  <a:pt x="1178" y="1118819"/>
                </a:lnTo>
                <a:lnTo>
                  <a:pt x="1178" y="1065915"/>
                </a:lnTo>
                <a:lnTo>
                  <a:pt x="3638" y="1065915"/>
                </a:lnTo>
                <a:lnTo>
                  <a:pt x="5656" y="1008533"/>
                </a:lnTo>
                <a:lnTo>
                  <a:pt x="6170" y="1003598"/>
                </a:lnTo>
                <a:lnTo>
                  <a:pt x="6271" y="1000874"/>
                </a:lnTo>
                <a:lnTo>
                  <a:pt x="9144" y="974994"/>
                </a:lnTo>
                <a:lnTo>
                  <a:pt x="17749" y="892259"/>
                </a:lnTo>
                <a:lnTo>
                  <a:pt x="19384" y="882743"/>
                </a:lnTo>
                <a:lnTo>
                  <a:pt x="20006" y="877139"/>
                </a:lnTo>
                <a:lnTo>
                  <a:pt x="25086" y="849474"/>
                </a:lnTo>
                <a:lnTo>
                  <a:pt x="26643" y="849474"/>
                </a:lnTo>
                <a:lnTo>
                  <a:pt x="26876" y="848439"/>
                </a:lnTo>
                <a:lnTo>
                  <a:pt x="38694" y="792304"/>
                </a:lnTo>
                <a:lnTo>
                  <a:pt x="42059" y="780948"/>
                </a:lnTo>
                <a:lnTo>
                  <a:pt x="43550" y="774321"/>
                </a:lnTo>
                <a:lnTo>
                  <a:pt x="50718" y="751729"/>
                </a:lnTo>
                <a:lnTo>
                  <a:pt x="65042" y="703398"/>
                </a:lnTo>
                <a:lnTo>
                  <a:pt x="70707" y="688731"/>
                </a:lnTo>
                <a:lnTo>
                  <a:pt x="73382" y="680300"/>
                </a:lnTo>
                <a:lnTo>
                  <a:pt x="81869" y="659842"/>
                </a:lnTo>
                <a:lnTo>
                  <a:pt x="98014" y="618045"/>
                </a:lnTo>
                <a:lnTo>
                  <a:pt x="106521" y="600402"/>
                </a:lnTo>
                <a:lnTo>
                  <a:pt x="110652" y="590437"/>
                </a:lnTo>
                <a:lnTo>
                  <a:pt x="119961" y="572526"/>
                </a:lnTo>
                <a:lnTo>
                  <a:pt x="137272" y="536617"/>
                </a:lnTo>
                <a:lnTo>
                  <a:pt x="149135" y="516375"/>
                </a:lnTo>
                <a:lnTo>
                  <a:pt x="154950" y="505184"/>
                </a:lnTo>
                <a:lnTo>
                  <a:pt x="164628" y="489942"/>
                </a:lnTo>
                <a:lnTo>
                  <a:pt x="182480" y="459481"/>
                </a:lnTo>
                <a:lnTo>
                  <a:pt x="198196" y="437070"/>
                </a:lnTo>
                <a:lnTo>
                  <a:pt x="205866" y="424989"/>
                </a:lnTo>
                <a:lnTo>
                  <a:pt x="215505" y="412388"/>
                </a:lnTo>
                <a:lnTo>
                  <a:pt x="233302" y="387010"/>
                </a:lnTo>
                <a:lnTo>
                  <a:pt x="253356" y="362902"/>
                </a:lnTo>
                <a:lnTo>
                  <a:pt x="262993" y="350303"/>
                </a:lnTo>
                <a:lnTo>
                  <a:pt x="272219" y="340225"/>
                </a:lnTo>
                <a:lnTo>
                  <a:pt x="289401" y="319569"/>
                </a:lnTo>
                <a:lnTo>
                  <a:pt x="314295" y="294271"/>
                </a:lnTo>
                <a:lnTo>
                  <a:pt x="325922" y="281570"/>
                </a:lnTo>
                <a:lnTo>
                  <a:pt x="334399" y="273838"/>
                </a:lnTo>
                <a:lnTo>
                  <a:pt x="350443" y="257532"/>
                </a:lnTo>
                <a:lnTo>
                  <a:pt x="380729" y="231573"/>
                </a:lnTo>
                <a:lnTo>
                  <a:pt x="394244" y="219244"/>
                </a:lnTo>
                <a:lnTo>
                  <a:pt x="401667" y="213629"/>
                </a:lnTo>
                <a:lnTo>
                  <a:pt x="416087" y="201267"/>
                </a:lnTo>
                <a:lnTo>
                  <a:pt x="452481" y="175174"/>
                </a:lnTo>
                <a:lnTo>
                  <a:pt x="467551" y="163770"/>
                </a:lnTo>
                <a:lnTo>
                  <a:pt x="473642" y="160005"/>
                </a:lnTo>
                <a:lnTo>
                  <a:pt x="485999" y="151145"/>
                </a:lnTo>
                <a:lnTo>
                  <a:pt x="529610" y="125388"/>
                </a:lnTo>
                <a:lnTo>
                  <a:pt x="545435" y="115600"/>
                </a:lnTo>
                <a:lnTo>
                  <a:pt x="549942" y="113381"/>
                </a:lnTo>
                <a:lnTo>
                  <a:pt x="559845" y="107533"/>
                </a:lnTo>
                <a:lnTo>
                  <a:pt x="612902" y="82367"/>
                </a:lnTo>
                <a:lnTo>
                  <a:pt x="627487" y="75182"/>
                </a:lnTo>
                <a:lnTo>
                  <a:pt x="630185" y="74169"/>
                </a:lnTo>
                <a:lnTo>
                  <a:pt x="637283" y="70802"/>
                </a:lnTo>
                <a:lnTo>
                  <a:pt x="706443" y="45538"/>
                </a:lnTo>
                <a:lnTo>
                  <a:pt x="713297" y="42964"/>
                </a:lnTo>
                <a:lnTo>
                  <a:pt x="713985" y="42781"/>
                </a:lnTo>
                <a:lnTo>
                  <a:pt x="717981" y="41323"/>
                </a:lnTo>
                <a:cubicBezTo>
                  <a:pt x="772791" y="24167"/>
                  <a:pt x="829549" y="12094"/>
                  <a:pt x="887808" y="5593"/>
                </a:cubicBezTo>
                <a:lnTo>
                  <a:pt x="891667" y="5380"/>
                </a:lnTo>
                <a:lnTo>
                  <a:pt x="894562" y="4925"/>
                </a:lnTo>
                <a:lnTo>
                  <a:pt x="942291" y="2441"/>
                </a:lnTo>
                <a:lnTo>
                  <a:pt x="942291" y="1"/>
                </a:lnTo>
                <a:lnTo>
                  <a:pt x="988599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60717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C450B92-4B37-4F18-BB97-A5E278988E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64566" y="543887"/>
            <a:ext cx="4936834" cy="4844056"/>
          </a:xfrm>
          <a:custGeom>
            <a:avLst/>
            <a:gdLst>
              <a:gd name="connsiteX0" fmla="*/ 1925955 w 3851910"/>
              <a:gd name="connsiteY0" fmla="*/ 0 h 3779520"/>
              <a:gd name="connsiteX1" fmla="*/ 3851910 w 3851910"/>
              <a:gd name="connsiteY1" fmla="*/ 1889760 h 3779520"/>
              <a:gd name="connsiteX2" fmla="*/ 1925955 w 3851910"/>
              <a:gd name="connsiteY2" fmla="*/ 3779520 h 3779520"/>
              <a:gd name="connsiteX3" fmla="*/ 0 w 3851910"/>
              <a:gd name="connsiteY3" fmla="*/ 1889760 h 3779520"/>
              <a:gd name="connsiteX4" fmla="*/ 1925955 w 3851910"/>
              <a:gd name="connsiteY4" fmla="*/ 0 h 3779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1910" h="3779520">
                <a:moveTo>
                  <a:pt x="1925955" y="0"/>
                </a:moveTo>
                <a:cubicBezTo>
                  <a:pt x="2989631" y="0"/>
                  <a:pt x="3851910" y="846074"/>
                  <a:pt x="3851910" y="1889760"/>
                </a:cubicBezTo>
                <a:cubicBezTo>
                  <a:pt x="3851910" y="2933446"/>
                  <a:pt x="2989631" y="3779520"/>
                  <a:pt x="1925955" y="3779520"/>
                </a:cubicBezTo>
                <a:cubicBezTo>
                  <a:pt x="862279" y="3779520"/>
                  <a:pt x="0" y="2933446"/>
                  <a:pt x="0" y="1889760"/>
                </a:cubicBezTo>
                <a:cubicBezTo>
                  <a:pt x="0" y="846074"/>
                  <a:pt x="862279" y="0"/>
                  <a:pt x="192595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45396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301177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605542-4BA6-49E2-9186-328C7257F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3AE337-4659-4614-A3B2-9A3295D4F3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377AB3-EA0F-4564-BA11-CE86CEC2B74E}" type="datetimeFigureOut">
              <a:rPr lang="en-US" smtClean="0"/>
              <a:t>7/16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D358D3-5A6A-496C-A8B2-A7B60581D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A4B1E0-2B52-4B39-B6EF-22A5CCB74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D112-55D8-4CF9-923F-275B1C8B9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787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8465CD8-01F2-4B39-9718-EB9ED29A67B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843703" y="1034119"/>
            <a:ext cx="3450614" cy="4862287"/>
          </a:xfrm>
          <a:custGeom>
            <a:avLst/>
            <a:gdLst>
              <a:gd name="connsiteX0" fmla="*/ 1725317 w 3450614"/>
              <a:gd name="connsiteY0" fmla="*/ 0 h 4862287"/>
              <a:gd name="connsiteX1" fmla="*/ 1725334 w 3450614"/>
              <a:gd name="connsiteY1" fmla="*/ 1 h 4862287"/>
              <a:gd name="connsiteX2" fmla="*/ 1726349 w 3450614"/>
              <a:gd name="connsiteY2" fmla="*/ 1 h 4862287"/>
              <a:gd name="connsiteX3" fmla="*/ 3448576 w 3450614"/>
              <a:gd name="connsiteY3" fmla="*/ 1 h 4862287"/>
              <a:gd name="connsiteX4" fmla="*/ 3448576 w 3450614"/>
              <a:gd name="connsiteY4" fmla="*/ 1654075 h 4862287"/>
              <a:gd name="connsiteX5" fmla="*/ 3450614 w 3450614"/>
              <a:gd name="connsiteY5" fmla="*/ 1654075 h 4862287"/>
              <a:gd name="connsiteX6" fmla="*/ 3450614 w 3450614"/>
              <a:gd name="connsiteY6" fmla="*/ 1746610 h 4862287"/>
              <a:gd name="connsiteX7" fmla="*/ 3450614 w 3450614"/>
              <a:gd name="connsiteY7" fmla="*/ 2081042 h 4862287"/>
              <a:gd name="connsiteX8" fmla="*/ 3450614 w 3450614"/>
              <a:gd name="connsiteY8" fmla="*/ 2781245 h 4862287"/>
              <a:gd name="connsiteX9" fmla="*/ 3450614 w 3450614"/>
              <a:gd name="connsiteY9" fmla="*/ 3115676 h 4862287"/>
              <a:gd name="connsiteX10" fmla="*/ 3448555 w 3450614"/>
              <a:gd name="connsiteY10" fmla="*/ 3115676 h 4862287"/>
              <a:gd name="connsiteX11" fmla="*/ 3448555 w 3450614"/>
              <a:gd name="connsiteY11" fmla="*/ 3115677 h 4862287"/>
              <a:gd name="connsiteX12" fmla="*/ 3448555 w 3450614"/>
              <a:gd name="connsiteY12" fmla="*/ 3116199 h 4862287"/>
              <a:gd name="connsiteX13" fmla="*/ 3448555 w 3450614"/>
              <a:gd name="connsiteY13" fmla="*/ 3138605 h 4862287"/>
              <a:gd name="connsiteX14" fmla="*/ 3448555 w 3450614"/>
              <a:gd name="connsiteY14" fmla="*/ 3208212 h 4862287"/>
              <a:gd name="connsiteX15" fmla="*/ 3444255 w 3450614"/>
              <a:gd name="connsiteY15" fmla="*/ 3208212 h 4862287"/>
              <a:gd name="connsiteX16" fmla="*/ 3440728 w 3450614"/>
              <a:gd name="connsiteY16" fmla="*/ 3283711 h 4862287"/>
              <a:gd name="connsiteX17" fmla="*/ 3439830 w 3450614"/>
              <a:gd name="connsiteY17" fmla="*/ 3290202 h 4862287"/>
              <a:gd name="connsiteX18" fmla="*/ 3439651 w 3450614"/>
              <a:gd name="connsiteY18" fmla="*/ 3293788 h 4862287"/>
              <a:gd name="connsiteX19" fmla="*/ 3434630 w 3450614"/>
              <a:gd name="connsiteY19" fmla="*/ 3327838 h 4862287"/>
              <a:gd name="connsiteX20" fmla="*/ 3419589 w 3450614"/>
              <a:gd name="connsiteY20" fmla="*/ 3436693 h 4862287"/>
              <a:gd name="connsiteX21" fmla="*/ 3416731 w 3450614"/>
              <a:gd name="connsiteY21" fmla="*/ 3449212 h 4862287"/>
              <a:gd name="connsiteX22" fmla="*/ 3415644 w 3450614"/>
              <a:gd name="connsiteY22" fmla="*/ 3456587 h 4862287"/>
              <a:gd name="connsiteX23" fmla="*/ 3406357 w 3450614"/>
              <a:gd name="connsiteY23" fmla="*/ 3494653 h 4862287"/>
              <a:gd name="connsiteX24" fmla="*/ 3385699 w 3450614"/>
              <a:gd name="connsiteY24" fmla="*/ 3585139 h 4862287"/>
              <a:gd name="connsiteX25" fmla="*/ 3379816 w 3450614"/>
              <a:gd name="connsiteY25" fmla="*/ 3603445 h 4862287"/>
              <a:gd name="connsiteX26" fmla="*/ 3377210 w 3450614"/>
              <a:gd name="connsiteY26" fmla="*/ 3614128 h 4862287"/>
              <a:gd name="connsiteX27" fmla="*/ 3364680 w 3450614"/>
              <a:gd name="connsiteY27" fmla="*/ 3650544 h 4862287"/>
              <a:gd name="connsiteX28" fmla="*/ 3339643 w 3450614"/>
              <a:gd name="connsiteY28" fmla="*/ 3728452 h 4862287"/>
              <a:gd name="connsiteX29" fmla="*/ 3329740 w 3450614"/>
              <a:gd name="connsiteY29" fmla="*/ 3752093 h 4862287"/>
              <a:gd name="connsiteX30" fmla="*/ 3325063 w 3450614"/>
              <a:gd name="connsiteY30" fmla="*/ 3765685 h 4862287"/>
              <a:gd name="connsiteX31" fmla="*/ 3310233 w 3450614"/>
              <a:gd name="connsiteY31" fmla="*/ 3798661 h 4862287"/>
              <a:gd name="connsiteX32" fmla="*/ 3282010 w 3450614"/>
              <a:gd name="connsiteY32" fmla="*/ 3866035 h 4862287"/>
              <a:gd name="connsiteX33" fmla="*/ 3267141 w 3450614"/>
              <a:gd name="connsiteY33" fmla="*/ 3894476 h 4862287"/>
              <a:gd name="connsiteX34" fmla="*/ 3259917 w 3450614"/>
              <a:gd name="connsiteY34" fmla="*/ 3910538 h 4862287"/>
              <a:gd name="connsiteX35" fmla="*/ 3243649 w 3450614"/>
              <a:gd name="connsiteY35" fmla="*/ 3939410 h 4862287"/>
              <a:gd name="connsiteX36" fmla="*/ 3213389 w 3450614"/>
              <a:gd name="connsiteY36" fmla="*/ 3997293 h 4862287"/>
              <a:gd name="connsiteX37" fmla="*/ 3192653 w 3450614"/>
              <a:gd name="connsiteY37" fmla="*/ 4029922 h 4862287"/>
              <a:gd name="connsiteX38" fmla="*/ 3182489 w 3450614"/>
              <a:gd name="connsiteY38" fmla="*/ 4047960 h 4862287"/>
              <a:gd name="connsiteX39" fmla="*/ 3165573 w 3450614"/>
              <a:gd name="connsiteY39" fmla="*/ 4072530 h 4862287"/>
              <a:gd name="connsiteX40" fmla="*/ 3134368 w 3450614"/>
              <a:gd name="connsiteY40" fmla="*/ 4121631 h 4862287"/>
              <a:gd name="connsiteX41" fmla="*/ 3106897 w 3450614"/>
              <a:gd name="connsiteY41" fmla="*/ 4157755 h 4862287"/>
              <a:gd name="connsiteX42" fmla="*/ 3093490 w 3450614"/>
              <a:gd name="connsiteY42" fmla="*/ 4177230 h 4862287"/>
              <a:gd name="connsiteX43" fmla="*/ 3076642 w 3450614"/>
              <a:gd name="connsiteY43" fmla="*/ 4197541 h 4862287"/>
              <a:gd name="connsiteX44" fmla="*/ 3045532 w 3450614"/>
              <a:gd name="connsiteY44" fmla="*/ 4238452 h 4862287"/>
              <a:gd name="connsiteX45" fmla="*/ 3010479 w 3450614"/>
              <a:gd name="connsiteY45" fmla="*/ 4277313 h 4862287"/>
              <a:gd name="connsiteX46" fmla="*/ 2993635 w 3450614"/>
              <a:gd name="connsiteY46" fmla="*/ 4297621 h 4862287"/>
              <a:gd name="connsiteX47" fmla="*/ 2977507 w 3450614"/>
              <a:gd name="connsiteY47" fmla="*/ 4313865 h 4862287"/>
              <a:gd name="connsiteX48" fmla="*/ 2947474 w 3450614"/>
              <a:gd name="connsiteY48" fmla="*/ 4347160 h 4862287"/>
              <a:gd name="connsiteX49" fmla="*/ 2903963 w 3450614"/>
              <a:gd name="connsiteY49" fmla="*/ 4387941 h 4862287"/>
              <a:gd name="connsiteX50" fmla="*/ 2883638 w 3450614"/>
              <a:gd name="connsiteY50" fmla="*/ 4408412 h 4862287"/>
              <a:gd name="connsiteX51" fmla="*/ 2868821 w 3450614"/>
              <a:gd name="connsiteY51" fmla="*/ 4420877 h 4862287"/>
              <a:gd name="connsiteX52" fmla="*/ 2840778 w 3450614"/>
              <a:gd name="connsiteY52" fmla="*/ 4447160 h 4862287"/>
              <a:gd name="connsiteX53" fmla="*/ 2787837 w 3450614"/>
              <a:gd name="connsiteY53" fmla="*/ 4489006 h 4862287"/>
              <a:gd name="connsiteX54" fmla="*/ 2764214 w 3450614"/>
              <a:gd name="connsiteY54" fmla="*/ 4508880 h 4862287"/>
              <a:gd name="connsiteX55" fmla="*/ 2751241 w 3450614"/>
              <a:gd name="connsiteY55" fmla="*/ 4517932 h 4862287"/>
              <a:gd name="connsiteX56" fmla="*/ 2726034 w 3450614"/>
              <a:gd name="connsiteY56" fmla="*/ 4537856 h 4862287"/>
              <a:gd name="connsiteX57" fmla="*/ 2662417 w 3450614"/>
              <a:gd name="connsiteY57" fmla="*/ 4579917 h 4862287"/>
              <a:gd name="connsiteX58" fmla="*/ 2636077 w 3450614"/>
              <a:gd name="connsiteY58" fmla="*/ 4598299 h 4862287"/>
              <a:gd name="connsiteX59" fmla="*/ 2625433 w 3450614"/>
              <a:gd name="connsiteY59" fmla="*/ 4604369 h 4862287"/>
              <a:gd name="connsiteX60" fmla="*/ 2603830 w 3450614"/>
              <a:gd name="connsiteY60" fmla="*/ 4618652 h 4862287"/>
              <a:gd name="connsiteX61" fmla="*/ 2527603 w 3450614"/>
              <a:gd name="connsiteY61" fmla="*/ 4660169 h 4862287"/>
              <a:gd name="connsiteX62" fmla="*/ 2499940 w 3450614"/>
              <a:gd name="connsiteY62" fmla="*/ 4675947 h 4862287"/>
              <a:gd name="connsiteX63" fmla="*/ 2492063 w 3450614"/>
              <a:gd name="connsiteY63" fmla="*/ 4679525 h 4862287"/>
              <a:gd name="connsiteX64" fmla="*/ 2474754 w 3450614"/>
              <a:gd name="connsiteY64" fmla="*/ 4688952 h 4862287"/>
              <a:gd name="connsiteX65" fmla="*/ 2382012 w 3450614"/>
              <a:gd name="connsiteY65" fmla="*/ 4729518 h 4862287"/>
              <a:gd name="connsiteX66" fmla="*/ 2356518 w 3450614"/>
              <a:gd name="connsiteY66" fmla="*/ 4741099 h 4862287"/>
              <a:gd name="connsiteX67" fmla="*/ 2351802 w 3450614"/>
              <a:gd name="connsiteY67" fmla="*/ 4742732 h 4862287"/>
              <a:gd name="connsiteX68" fmla="*/ 2339394 w 3450614"/>
              <a:gd name="connsiteY68" fmla="*/ 4748160 h 4862287"/>
              <a:gd name="connsiteX69" fmla="*/ 2218506 w 3450614"/>
              <a:gd name="connsiteY69" fmla="*/ 4788884 h 4862287"/>
              <a:gd name="connsiteX70" fmla="*/ 2206525 w 3450614"/>
              <a:gd name="connsiteY70" fmla="*/ 4793033 h 4862287"/>
              <a:gd name="connsiteX71" fmla="*/ 2205321 w 3450614"/>
              <a:gd name="connsiteY71" fmla="*/ 4793327 h 4862287"/>
              <a:gd name="connsiteX72" fmla="*/ 2198337 w 3450614"/>
              <a:gd name="connsiteY72" fmla="*/ 4795679 h 4862287"/>
              <a:gd name="connsiteX73" fmla="*/ 1901489 w 3450614"/>
              <a:gd name="connsiteY73" fmla="*/ 4853272 h 4862287"/>
              <a:gd name="connsiteX74" fmla="*/ 1894746 w 3450614"/>
              <a:gd name="connsiteY74" fmla="*/ 4853617 h 4862287"/>
              <a:gd name="connsiteX75" fmla="*/ 1889684 w 3450614"/>
              <a:gd name="connsiteY75" fmla="*/ 4854350 h 4862287"/>
              <a:gd name="connsiteX76" fmla="*/ 1806254 w 3450614"/>
              <a:gd name="connsiteY76" fmla="*/ 4858353 h 4862287"/>
              <a:gd name="connsiteX77" fmla="*/ 1806254 w 3450614"/>
              <a:gd name="connsiteY77" fmla="*/ 4862286 h 4862287"/>
              <a:gd name="connsiteX78" fmla="*/ 1725313 w 3450614"/>
              <a:gd name="connsiteY78" fmla="*/ 4862286 h 4862287"/>
              <a:gd name="connsiteX79" fmla="*/ 1725296 w 3450614"/>
              <a:gd name="connsiteY79" fmla="*/ 4862287 h 4862287"/>
              <a:gd name="connsiteX80" fmla="*/ 1725280 w 3450614"/>
              <a:gd name="connsiteY80" fmla="*/ 4862286 h 4862287"/>
              <a:gd name="connsiteX81" fmla="*/ 1724265 w 3450614"/>
              <a:gd name="connsiteY81" fmla="*/ 4862286 h 4862287"/>
              <a:gd name="connsiteX82" fmla="*/ 2039 w 3450614"/>
              <a:gd name="connsiteY82" fmla="*/ 4862286 h 4862287"/>
              <a:gd name="connsiteX83" fmla="*/ 2039 w 3450614"/>
              <a:gd name="connsiteY83" fmla="*/ 3208212 h 4862287"/>
              <a:gd name="connsiteX84" fmla="*/ 0 w 3450614"/>
              <a:gd name="connsiteY84" fmla="*/ 3208212 h 4862287"/>
              <a:gd name="connsiteX85" fmla="*/ 0 w 3450614"/>
              <a:gd name="connsiteY85" fmla="*/ 3115677 h 4862287"/>
              <a:gd name="connsiteX86" fmla="*/ 0 w 3450614"/>
              <a:gd name="connsiteY86" fmla="*/ 2781245 h 4862287"/>
              <a:gd name="connsiteX87" fmla="*/ 0 w 3450614"/>
              <a:gd name="connsiteY87" fmla="*/ 2081042 h 4862287"/>
              <a:gd name="connsiteX88" fmla="*/ 0 w 3450614"/>
              <a:gd name="connsiteY88" fmla="*/ 1746611 h 4862287"/>
              <a:gd name="connsiteX89" fmla="*/ 2059 w 3450614"/>
              <a:gd name="connsiteY89" fmla="*/ 1746611 h 4862287"/>
              <a:gd name="connsiteX90" fmla="*/ 2059 w 3450614"/>
              <a:gd name="connsiteY90" fmla="*/ 1746610 h 4862287"/>
              <a:gd name="connsiteX91" fmla="*/ 2059 w 3450614"/>
              <a:gd name="connsiteY91" fmla="*/ 1746088 h 4862287"/>
              <a:gd name="connsiteX92" fmla="*/ 2059 w 3450614"/>
              <a:gd name="connsiteY92" fmla="*/ 1723682 h 4862287"/>
              <a:gd name="connsiteX93" fmla="*/ 2059 w 3450614"/>
              <a:gd name="connsiteY93" fmla="*/ 1654075 h 4862287"/>
              <a:gd name="connsiteX94" fmla="*/ 6359 w 3450614"/>
              <a:gd name="connsiteY94" fmla="*/ 1654075 h 4862287"/>
              <a:gd name="connsiteX95" fmla="*/ 9887 w 3450614"/>
              <a:gd name="connsiteY95" fmla="*/ 1578577 h 4862287"/>
              <a:gd name="connsiteX96" fmla="*/ 10784 w 3450614"/>
              <a:gd name="connsiteY96" fmla="*/ 1572084 h 4862287"/>
              <a:gd name="connsiteX97" fmla="*/ 10963 w 3450614"/>
              <a:gd name="connsiteY97" fmla="*/ 1568500 h 4862287"/>
              <a:gd name="connsiteX98" fmla="*/ 15984 w 3450614"/>
              <a:gd name="connsiteY98" fmla="*/ 1534449 h 4862287"/>
              <a:gd name="connsiteX99" fmla="*/ 31025 w 3450614"/>
              <a:gd name="connsiteY99" fmla="*/ 1425594 h 4862287"/>
              <a:gd name="connsiteX100" fmla="*/ 33883 w 3450614"/>
              <a:gd name="connsiteY100" fmla="*/ 1413074 h 4862287"/>
              <a:gd name="connsiteX101" fmla="*/ 34970 w 3450614"/>
              <a:gd name="connsiteY101" fmla="*/ 1405701 h 4862287"/>
              <a:gd name="connsiteX102" fmla="*/ 44257 w 3450614"/>
              <a:gd name="connsiteY102" fmla="*/ 1367635 h 4862287"/>
              <a:gd name="connsiteX103" fmla="*/ 64915 w 3450614"/>
              <a:gd name="connsiteY103" fmla="*/ 1277148 h 4862287"/>
              <a:gd name="connsiteX104" fmla="*/ 70798 w 3450614"/>
              <a:gd name="connsiteY104" fmla="*/ 1258842 h 4862287"/>
              <a:gd name="connsiteX105" fmla="*/ 73404 w 3450614"/>
              <a:gd name="connsiteY105" fmla="*/ 1248160 h 4862287"/>
              <a:gd name="connsiteX106" fmla="*/ 85934 w 3450614"/>
              <a:gd name="connsiteY106" fmla="*/ 1211743 h 4862287"/>
              <a:gd name="connsiteX107" fmla="*/ 110971 w 3450614"/>
              <a:gd name="connsiteY107" fmla="*/ 1133836 h 4862287"/>
              <a:gd name="connsiteX108" fmla="*/ 120874 w 3450614"/>
              <a:gd name="connsiteY108" fmla="*/ 1110194 h 4862287"/>
              <a:gd name="connsiteX109" fmla="*/ 125551 w 3450614"/>
              <a:gd name="connsiteY109" fmla="*/ 1096602 h 4862287"/>
              <a:gd name="connsiteX110" fmla="*/ 140381 w 3450614"/>
              <a:gd name="connsiteY110" fmla="*/ 1063627 h 4862287"/>
              <a:gd name="connsiteX111" fmla="*/ 168604 w 3450614"/>
              <a:gd name="connsiteY111" fmla="*/ 996252 h 4862287"/>
              <a:gd name="connsiteX112" fmla="*/ 183473 w 3450614"/>
              <a:gd name="connsiteY112" fmla="*/ 967811 h 4862287"/>
              <a:gd name="connsiteX113" fmla="*/ 190697 w 3450614"/>
              <a:gd name="connsiteY113" fmla="*/ 951749 h 4862287"/>
              <a:gd name="connsiteX114" fmla="*/ 206965 w 3450614"/>
              <a:gd name="connsiteY114" fmla="*/ 922877 h 4862287"/>
              <a:gd name="connsiteX115" fmla="*/ 237225 w 3450614"/>
              <a:gd name="connsiteY115" fmla="*/ 864994 h 4862287"/>
              <a:gd name="connsiteX116" fmla="*/ 257961 w 3450614"/>
              <a:gd name="connsiteY116" fmla="*/ 832366 h 4862287"/>
              <a:gd name="connsiteX117" fmla="*/ 268126 w 3450614"/>
              <a:gd name="connsiteY117" fmla="*/ 814326 h 4862287"/>
              <a:gd name="connsiteX118" fmla="*/ 285041 w 3450614"/>
              <a:gd name="connsiteY118" fmla="*/ 789757 h 4862287"/>
              <a:gd name="connsiteX119" fmla="*/ 316247 w 3450614"/>
              <a:gd name="connsiteY119" fmla="*/ 740656 h 4862287"/>
              <a:gd name="connsiteX120" fmla="*/ 343717 w 3450614"/>
              <a:gd name="connsiteY120" fmla="*/ 704532 h 4862287"/>
              <a:gd name="connsiteX121" fmla="*/ 357124 w 3450614"/>
              <a:gd name="connsiteY121" fmla="*/ 685058 h 4862287"/>
              <a:gd name="connsiteX122" fmla="*/ 373972 w 3450614"/>
              <a:gd name="connsiteY122" fmla="*/ 664746 h 4862287"/>
              <a:gd name="connsiteX123" fmla="*/ 405082 w 3450614"/>
              <a:gd name="connsiteY123" fmla="*/ 623835 h 4862287"/>
              <a:gd name="connsiteX124" fmla="*/ 440135 w 3450614"/>
              <a:gd name="connsiteY124" fmla="*/ 584975 h 4862287"/>
              <a:gd name="connsiteX125" fmla="*/ 456979 w 3450614"/>
              <a:gd name="connsiteY125" fmla="*/ 564666 h 4862287"/>
              <a:gd name="connsiteX126" fmla="*/ 473107 w 3450614"/>
              <a:gd name="connsiteY126" fmla="*/ 548422 h 4862287"/>
              <a:gd name="connsiteX127" fmla="*/ 503141 w 3450614"/>
              <a:gd name="connsiteY127" fmla="*/ 515126 h 4862287"/>
              <a:gd name="connsiteX128" fmla="*/ 546651 w 3450614"/>
              <a:gd name="connsiteY128" fmla="*/ 474346 h 4862287"/>
              <a:gd name="connsiteX129" fmla="*/ 566976 w 3450614"/>
              <a:gd name="connsiteY129" fmla="*/ 453875 h 4862287"/>
              <a:gd name="connsiteX130" fmla="*/ 581793 w 3450614"/>
              <a:gd name="connsiteY130" fmla="*/ 441410 h 4862287"/>
              <a:gd name="connsiteX131" fmla="*/ 609835 w 3450614"/>
              <a:gd name="connsiteY131" fmla="*/ 415127 h 4862287"/>
              <a:gd name="connsiteX132" fmla="*/ 662777 w 3450614"/>
              <a:gd name="connsiteY132" fmla="*/ 373281 h 4862287"/>
              <a:gd name="connsiteX133" fmla="*/ 686400 w 3450614"/>
              <a:gd name="connsiteY133" fmla="*/ 353407 h 4862287"/>
              <a:gd name="connsiteX134" fmla="*/ 699372 w 3450614"/>
              <a:gd name="connsiteY134" fmla="*/ 344355 h 4862287"/>
              <a:gd name="connsiteX135" fmla="*/ 724580 w 3450614"/>
              <a:gd name="connsiteY135" fmla="*/ 324431 h 4862287"/>
              <a:gd name="connsiteX136" fmla="*/ 788197 w 3450614"/>
              <a:gd name="connsiteY136" fmla="*/ 282370 h 4862287"/>
              <a:gd name="connsiteX137" fmla="*/ 814537 w 3450614"/>
              <a:gd name="connsiteY137" fmla="*/ 263988 h 4862287"/>
              <a:gd name="connsiteX138" fmla="*/ 825181 w 3450614"/>
              <a:gd name="connsiteY138" fmla="*/ 257919 h 4862287"/>
              <a:gd name="connsiteX139" fmla="*/ 846784 w 3450614"/>
              <a:gd name="connsiteY139" fmla="*/ 243635 h 4862287"/>
              <a:gd name="connsiteX140" fmla="*/ 923012 w 3450614"/>
              <a:gd name="connsiteY140" fmla="*/ 202119 h 4862287"/>
              <a:gd name="connsiteX141" fmla="*/ 950674 w 3450614"/>
              <a:gd name="connsiteY141" fmla="*/ 186341 h 4862287"/>
              <a:gd name="connsiteX142" fmla="*/ 958551 w 3450614"/>
              <a:gd name="connsiteY142" fmla="*/ 182762 h 4862287"/>
              <a:gd name="connsiteX143" fmla="*/ 975861 w 3450614"/>
              <a:gd name="connsiteY143" fmla="*/ 173335 h 4862287"/>
              <a:gd name="connsiteX144" fmla="*/ 1068602 w 3450614"/>
              <a:gd name="connsiteY144" fmla="*/ 132770 h 4862287"/>
              <a:gd name="connsiteX145" fmla="*/ 1094096 w 3450614"/>
              <a:gd name="connsiteY145" fmla="*/ 121188 h 4862287"/>
              <a:gd name="connsiteX146" fmla="*/ 1098812 w 3450614"/>
              <a:gd name="connsiteY146" fmla="*/ 119555 h 4862287"/>
              <a:gd name="connsiteX147" fmla="*/ 1111220 w 3450614"/>
              <a:gd name="connsiteY147" fmla="*/ 114128 h 4862287"/>
              <a:gd name="connsiteX148" fmla="*/ 1232108 w 3450614"/>
              <a:gd name="connsiteY148" fmla="*/ 73404 h 4862287"/>
              <a:gd name="connsiteX149" fmla="*/ 1244089 w 3450614"/>
              <a:gd name="connsiteY149" fmla="*/ 69254 h 4862287"/>
              <a:gd name="connsiteX150" fmla="*/ 1245293 w 3450614"/>
              <a:gd name="connsiteY150" fmla="*/ 68960 h 4862287"/>
              <a:gd name="connsiteX151" fmla="*/ 1252276 w 3450614"/>
              <a:gd name="connsiteY151" fmla="*/ 66608 h 4862287"/>
              <a:gd name="connsiteX152" fmla="*/ 1549124 w 3450614"/>
              <a:gd name="connsiteY152" fmla="*/ 9015 h 4862287"/>
              <a:gd name="connsiteX153" fmla="*/ 1555869 w 3450614"/>
              <a:gd name="connsiteY153" fmla="*/ 8671 h 4862287"/>
              <a:gd name="connsiteX154" fmla="*/ 1560930 w 3450614"/>
              <a:gd name="connsiteY154" fmla="*/ 7937 h 4862287"/>
              <a:gd name="connsiteX155" fmla="*/ 1644360 w 3450614"/>
              <a:gd name="connsiteY155" fmla="*/ 3934 h 4862287"/>
              <a:gd name="connsiteX156" fmla="*/ 1644360 w 3450614"/>
              <a:gd name="connsiteY156" fmla="*/ 1 h 4862287"/>
              <a:gd name="connsiteX157" fmla="*/ 1725301 w 3450614"/>
              <a:gd name="connsiteY157" fmla="*/ 1 h 4862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3450614" h="4862287">
                <a:moveTo>
                  <a:pt x="1725317" y="0"/>
                </a:moveTo>
                <a:lnTo>
                  <a:pt x="1725334" y="1"/>
                </a:lnTo>
                <a:lnTo>
                  <a:pt x="1726349" y="1"/>
                </a:lnTo>
                <a:lnTo>
                  <a:pt x="3448576" y="1"/>
                </a:lnTo>
                <a:lnTo>
                  <a:pt x="3448576" y="1654075"/>
                </a:lnTo>
                <a:lnTo>
                  <a:pt x="3450614" y="1654075"/>
                </a:lnTo>
                <a:lnTo>
                  <a:pt x="3450614" y="1746610"/>
                </a:lnTo>
                <a:lnTo>
                  <a:pt x="3450614" y="2081042"/>
                </a:lnTo>
                <a:lnTo>
                  <a:pt x="3450614" y="2781245"/>
                </a:lnTo>
                <a:lnTo>
                  <a:pt x="3450614" y="3115676"/>
                </a:lnTo>
                <a:lnTo>
                  <a:pt x="3448555" y="3115676"/>
                </a:lnTo>
                <a:lnTo>
                  <a:pt x="3448555" y="3115677"/>
                </a:lnTo>
                <a:lnTo>
                  <a:pt x="3448555" y="3116199"/>
                </a:lnTo>
                <a:lnTo>
                  <a:pt x="3448555" y="3138605"/>
                </a:lnTo>
                <a:lnTo>
                  <a:pt x="3448555" y="3208212"/>
                </a:lnTo>
                <a:lnTo>
                  <a:pt x="3444255" y="3208212"/>
                </a:lnTo>
                <a:lnTo>
                  <a:pt x="3440728" y="3283711"/>
                </a:lnTo>
                <a:lnTo>
                  <a:pt x="3439830" y="3290202"/>
                </a:lnTo>
                <a:lnTo>
                  <a:pt x="3439651" y="3293788"/>
                </a:lnTo>
                <a:lnTo>
                  <a:pt x="3434630" y="3327838"/>
                </a:lnTo>
                <a:lnTo>
                  <a:pt x="3419589" y="3436693"/>
                </a:lnTo>
                <a:lnTo>
                  <a:pt x="3416731" y="3449212"/>
                </a:lnTo>
                <a:lnTo>
                  <a:pt x="3415644" y="3456587"/>
                </a:lnTo>
                <a:lnTo>
                  <a:pt x="3406357" y="3494653"/>
                </a:lnTo>
                <a:lnTo>
                  <a:pt x="3385699" y="3585139"/>
                </a:lnTo>
                <a:lnTo>
                  <a:pt x="3379816" y="3603445"/>
                </a:lnTo>
                <a:lnTo>
                  <a:pt x="3377210" y="3614128"/>
                </a:lnTo>
                <a:lnTo>
                  <a:pt x="3364680" y="3650544"/>
                </a:lnTo>
                <a:lnTo>
                  <a:pt x="3339643" y="3728452"/>
                </a:lnTo>
                <a:lnTo>
                  <a:pt x="3329740" y="3752093"/>
                </a:lnTo>
                <a:lnTo>
                  <a:pt x="3325063" y="3765685"/>
                </a:lnTo>
                <a:lnTo>
                  <a:pt x="3310233" y="3798661"/>
                </a:lnTo>
                <a:lnTo>
                  <a:pt x="3282010" y="3866035"/>
                </a:lnTo>
                <a:lnTo>
                  <a:pt x="3267141" y="3894476"/>
                </a:lnTo>
                <a:lnTo>
                  <a:pt x="3259917" y="3910538"/>
                </a:lnTo>
                <a:lnTo>
                  <a:pt x="3243649" y="3939410"/>
                </a:lnTo>
                <a:lnTo>
                  <a:pt x="3213389" y="3997293"/>
                </a:lnTo>
                <a:lnTo>
                  <a:pt x="3192653" y="4029922"/>
                </a:lnTo>
                <a:lnTo>
                  <a:pt x="3182489" y="4047960"/>
                </a:lnTo>
                <a:lnTo>
                  <a:pt x="3165573" y="4072530"/>
                </a:lnTo>
                <a:lnTo>
                  <a:pt x="3134368" y="4121631"/>
                </a:lnTo>
                <a:lnTo>
                  <a:pt x="3106897" y="4157755"/>
                </a:lnTo>
                <a:lnTo>
                  <a:pt x="3093490" y="4177230"/>
                </a:lnTo>
                <a:lnTo>
                  <a:pt x="3076642" y="4197541"/>
                </a:lnTo>
                <a:lnTo>
                  <a:pt x="3045532" y="4238452"/>
                </a:lnTo>
                <a:lnTo>
                  <a:pt x="3010479" y="4277313"/>
                </a:lnTo>
                <a:lnTo>
                  <a:pt x="2993635" y="4297621"/>
                </a:lnTo>
                <a:lnTo>
                  <a:pt x="2977507" y="4313865"/>
                </a:lnTo>
                <a:lnTo>
                  <a:pt x="2947474" y="4347160"/>
                </a:lnTo>
                <a:lnTo>
                  <a:pt x="2903963" y="4387941"/>
                </a:lnTo>
                <a:lnTo>
                  <a:pt x="2883638" y="4408412"/>
                </a:lnTo>
                <a:lnTo>
                  <a:pt x="2868821" y="4420877"/>
                </a:lnTo>
                <a:lnTo>
                  <a:pt x="2840778" y="4447160"/>
                </a:lnTo>
                <a:lnTo>
                  <a:pt x="2787837" y="4489006"/>
                </a:lnTo>
                <a:lnTo>
                  <a:pt x="2764214" y="4508880"/>
                </a:lnTo>
                <a:lnTo>
                  <a:pt x="2751241" y="4517932"/>
                </a:lnTo>
                <a:lnTo>
                  <a:pt x="2726034" y="4537856"/>
                </a:lnTo>
                <a:lnTo>
                  <a:pt x="2662417" y="4579917"/>
                </a:lnTo>
                <a:lnTo>
                  <a:pt x="2636077" y="4598299"/>
                </a:lnTo>
                <a:lnTo>
                  <a:pt x="2625433" y="4604369"/>
                </a:lnTo>
                <a:lnTo>
                  <a:pt x="2603830" y="4618652"/>
                </a:lnTo>
                <a:lnTo>
                  <a:pt x="2527603" y="4660169"/>
                </a:lnTo>
                <a:lnTo>
                  <a:pt x="2499940" y="4675947"/>
                </a:lnTo>
                <a:lnTo>
                  <a:pt x="2492063" y="4679525"/>
                </a:lnTo>
                <a:lnTo>
                  <a:pt x="2474754" y="4688952"/>
                </a:lnTo>
                <a:lnTo>
                  <a:pt x="2382012" y="4729518"/>
                </a:lnTo>
                <a:lnTo>
                  <a:pt x="2356518" y="4741099"/>
                </a:lnTo>
                <a:lnTo>
                  <a:pt x="2351802" y="4742732"/>
                </a:lnTo>
                <a:lnTo>
                  <a:pt x="2339394" y="4748160"/>
                </a:lnTo>
                <a:lnTo>
                  <a:pt x="2218506" y="4788884"/>
                </a:lnTo>
                <a:lnTo>
                  <a:pt x="2206525" y="4793033"/>
                </a:lnTo>
                <a:lnTo>
                  <a:pt x="2205321" y="4793327"/>
                </a:lnTo>
                <a:lnTo>
                  <a:pt x="2198337" y="4795679"/>
                </a:lnTo>
                <a:cubicBezTo>
                  <a:pt x="2102531" y="4823331"/>
                  <a:pt x="2003321" y="4842793"/>
                  <a:pt x="1901489" y="4853272"/>
                </a:cubicBezTo>
                <a:lnTo>
                  <a:pt x="1894746" y="4853617"/>
                </a:lnTo>
                <a:lnTo>
                  <a:pt x="1889684" y="4854350"/>
                </a:lnTo>
                <a:lnTo>
                  <a:pt x="1806254" y="4858353"/>
                </a:lnTo>
                <a:lnTo>
                  <a:pt x="1806254" y="4862286"/>
                </a:lnTo>
                <a:lnTo>
                  <a:pt x="1725313" y="4862286"/>
                </a:lnTo>
                <a:lnTo>
                  <a:pt x="1725296" y="4862287"/>
                </a:lnTo>
                <a:lnTo>
                  <a:pt x="1725280" y="4862286"/>
                </a:lnTo>
                <a:lnTo>
                  <a:pt x="1724265" y="4862286"/>
                </a:lnTo>
                <a:lnTo>
                  <a:pt x="2039" y="4862286"/>
                </a:lnTo>
                <a:lnTo>
                  <a:pt x="2039" y="3208212"/>
                </a:lnTo>
                <a:lnTo>
                  <a:pt x="0" y="3208212"/>
                </a:lnTo>
                <a:lnTo>
                  <a:pt x="0" y="3115677"/>
                </a:lnTo>
                <a:lnTo>
                  <a:pt x="0" y="2781245"/>
                </a:lnTo>
                <a:lnTo>
                  <a:pt x="0" y="2081042"/>
                </a:lnTo>
                <a:lnTo>
                  <a:pt x="0" y="1746611"/>
                </a:lnTo>
                <a:lnTo>
                  <a:pt x="2059" y="1746611"/>
                </a:lnTo>
                <a:lnTo>
                  <a:pt x="2059" y="1746610"/>
                </a:lnTo>
                <a:lnTo>
                  <a:pt x="2059" y="1746088"/>
                </a:lnTo>
                <a:lnTo>
                  <a:pt x="2059" y="1723682"/>
                </a:lnTo>
                <a:lnTo>
                  <a:pt x="2059" y="1654075"/>
                </a:lnTo>
                <a:lnTo>
                  <a:pt x="6359" y="1654075"/>
                </a:lnTo>
                <a:lnTo>
                  <a:pt x="9887" y="1578577"/>
                </a:lnTo>
                <a:lnTo>
                  <a:pt x="10784" y="1572084"/>
                </a:lnTo>
                <a:lnTo>
                  <a:pt x="10963" y="1568500"/>
                </a:lnTo>
                <a:lnTo>
                  <a:pt x="15984" y="1534449"/>
                </a:lnTo>
                <a:lnTo>
                  <a:pt x="31025" y="1425594"/>
                </a:lnTo>
                <a:lnTo>
                  <a:pt x="33883" y="1413074"/>
                </a:lnTo>
                <a:lnTo>
                  <a:pt x="34970" y="1405701"/>
                </a:lnTo>
                <a:lnTo>
                  <a:pt x="44257" y="1367635"/>
                </a:lnTo>
                <a:lnTo>
                  <a:pt x="64915" y="1277148"/>
                </a:lnTo>
                <a:lnTo>
                  <a:pt x="70798" y="1258842"/>
                </a:lnTo>
                <a:lnTo>
                  <a:pt x="73404" y="1248160"/>
                </a:lnTo>
                <a:lnTo>
                  <a:pt x="85934" y="1211743"/>
                </a:lnTo>
                <a:lnTo>
                  <a:pt x="110971" y="1133836"/>
                </a:lnTo>
                <a:lnTo>
                  <a:pt x="120874" y="1110194"/>
                </a:lnTo>
                <a:lnTo>
                  <a:pt x="125551" y="1096602"/>
                </a:lnTo>
                <a:lnTo>
                  <a:pt x="140381" y="1063627"/>
                </a:lnTo>
                <a:lnTo>
                  <a:pt x="168604" y="996252"/>
                </a:lnTo>
                <a:lnTo>
                  <a:pt x="183473" y="967811"/>
                </a:lnTo>
                <a:lnTo>
                  <a:pt x="190697" y="951749"/>
                </a:lnTo>
                <a:lnTo>
                  <a:pt x="206965" y="922877"/>
                </a:lnTo>
                <a:lnTo>
                  <a:pt x="237225" y="864994"/>
                </a:lnTo>
                <a:lnTo>
                  <a:pt x="257961" y="832366"/>
                </a:lnTo>
                <a:lnTo>
                  <a:pt x="268126" y="814326"/>
                </a:lnTo>
                <a:lnTo>
                  <a:pt x="285041" y="789757"/>
                </a:lnTo>
                <a:lnTo>
                  <a:pt x="316247" y="740656"/>
                </a:lnTo>
                <a:lnTo>
                  <a:pt x="343717" y="704532"/>
                </a:lnTo>
                <a:lnTo>
                  <a:pt x="357124" y="685058"/>
                </a:lnTo>
                <a:lnTo>
                  <a:pt x="373972" y="664746"/>
                </a:lnTo>
                <a:lnTo>
                  <a:pt x="405082" y="623835"/>
                </a:lnTo>
                <a:lnTo>
                  <a:pt x="440135" y="584975"/>
                </a:lnTo>
                <a:lnTo>
                  <a:pt x="456979" y="564666"/>
                </a:lnTo>
                <a:lnTo>
                  <a:pt x="473107" y="548422"/>
                </a:lnTo>
                <a:lnTo>
                  <a:pt x="503141" y="515126"/>
                </a:lnTo>
                <a:lnTo>
                  <a:pt x="546651" y="474346"/>
                </a:lnTo>
                <a:lnTo>
                  <a:pt x="566976" y="453875"/>
                </a:lnTo>
                <a:lnTo>
                  <a:pt x="581793" y="441410"/>
                </a:lnTo>
                <a:lnTo>
                  <a:pt x="609835" y="415127"/>
                </a:lnTo>
                <a:lnTo>
                  <a:pt x="662777" y="373281"/>
                </a:lnTo>
                <a:lnTo>
                  <a:pt x="686400" y="353407"/>
                </a:lnTo>
                <a:lnTo>
                  <a:pt x="699372" y="344355"/>
                </a:lnTo>
                <a:lnTo>
                  <a:pt x="724580" y="324431"/>
                </a:lnTo>
                <a:lnTo>
                  <a:pt x="788197" y="282370"/>
                </a:lnTo>
                <a:lnTo>
                  <a:pt x="814537" y="263988"/>
                </a:lnTo>
                <a:lnTo>
                  <a:pt x="825181" y="257919"/>
                </a:lnTo>
                <a:lnTo>
                  <a:pt x="846784" y="243635"/>
                </a:lnTo>
                <a:lnTo>
                  <a:pt x="923012" y="202119"/>
                </a:lnTo>
                <a:lnTo>
                  <a:pt x="950674" y="186341"/>
                </a:lnTo>
                <a:lnTo>
                  <a:pt x="958551" y="182762"/>
                </a:lnTo>
                <a:lnTo>
                  <a:pt x="975861" y="173335"/>
                </a:lnTo>
                <a:lnTo>
                  <a:pt x="1068602" y="132770"/>
                </a:lnTo>
                <a:lnTo>
                  <a:pt x="1094096" y="121188"/>
                </a:lnTo>
                <a:lnTo>
                  <a:pt x="1098812" y="119555"/>
                </a:lnTo>
                <a:lnTo>
                  <a:pt x="1111220" y="114128"/>
                </a:lnTo>
                <a:lnTo>
                  <a:pt x="1232108" y="73404"/>
                </a:lnTo>
                <a:lnTo>
                  <a:pt x="1244089" y="69254"/>
                </a:lnTo>
                <a:lnTo>
                  <a:pt x="1245293" y="68960"/>
                </a:lnTo>
                <a:lnTo>
                  <a:pt x="1252276" y="66608"/>
                </a:lnTo>
                <a:cubicBezTo>
                  <a:pt x="1348082" y="38957"/>
                  <a:pt x="1447293" y="19494"/>
                  <a:pt x="1549124" y="9015"/>
                </a:cubicBezTo>
                <a:lnTo>
                  <a:pt x="1555869" y="8671"/>
                </a:lnTo>
                <a:lnTo>
                  <a:pt x="1560930" y="7937"/>
                </a:lnTo>
                <a:lnTo>
                  <a:pt x="1644360" y="3934"/>
                </a:lnTo>
                <a:lnTo>
                  <a:pt x="1644360" y="1"/>
                </a:lnTo>
                <a:lnTo>
                  <a:pt x="1725301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1766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043FA-9A9D-42D8-AB2F-CCBBD3FC1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75512A-3345-4408-9463-F0D07CA559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AB60A9-D8BC-4CC7-9C38-39C0331F4C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F167BD-120D-4114-8F01-7BA8205BB7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169E4D-44EE-4E0A-AA9C-6DCD99DB8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57658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62DBD5-2427-428E-AFD9-72E8C9DADF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-1"/>
            <a:ext cx="4914899" cy="6835074"/>
          </a:xfrm>
          <a:custGeom>
            <a:avLst/>
            <a:gdLst>
              <a:gd name="connsiteX0" fmla="*/ 2225960 w 4451945"/>
              <a:gd name="connsiteY0" fmla="*/ 0 h 6191251"/>
              <a:gd name="connsiteX1" fmla="*/ 2225981 w 4451945"/>
              <a:gd name="connsiteY1" fmla="*/ 1 h 6191251"/>
              <a:gd name="connsiteX2" fmla="*/ 2330410 w 4451945"/>
              <a:gd name="connsiteY2" fmla="*/ 1 h 6191251"/>
              <a:gd name="connsiteX3" fmla="*/ 2330410 w 4451945"/>
              <a:gd name="connsiteY3" fmla="*/ 5009 h 6191251"/>
              <a:gd name="connsiteX4" fmla="*/ 2438050 w 4451945"/>
              <a:gd name="connsiteY4" fmla="*/ 10106 h 6191251"/>
              <a:gd name="connsiteX5" fmla="*/ 2444580 w 4451945"/>
              <a:gd name="connsiteY5" fmla="*/ 11041 h 6191251"/>
              <a:gd name="connsiteX6" fmla="*/ 2453282 w 4451945"/>
              <a:gd name="connsiteY6" fmla="*/ 11479 h 6191251"/>
              <a:gd name="connsiteX7" fmla="*/ 2836272 w 4451945"/>
              <a:gd name="connsiteY7" fmla="*/ 84814 h 6191251"/>
              <a:gd name="connsiteX8" fmla="*/ 2845282 w 4451945"/>
              <a:gd name="connsiteY8" fmla="*/ 87808 h 6191251"/>
              <a:gd name="connsiteX9" fmla="*/ 2846835 w 4451945"/>
              <a:gd name="connsiteY9" fmla="*/ 88183 h 6191251"/>
              <a:gd name="connsiteX10" fmla="*/ 2862293 w 4451945"/>
              <a:gd name="connsiteY10" fmla="*/ 93466 h 6191251"/>
              <a:gd name="connsiteX11" fmla="*/ 3018261 w 4451945"/>
              <a:gd name="connsiteY11" fmla="*/ 145321 h 6191251"/>
              <a:gd name="connsiteX12" fmla="*/ 3034270 w 4451945"/>
              <a:gd name="connsiteY12" fmla="*/ 152232 h 6191251"/>
              <a:gd name="connsiteX13" fmla="*/ 3040354 w 4451945"/>
              <a:gd name="connsiteY13" fmla="*/ 154311 h 6191251"/>
              <a:gd name="connsiteX14" fmla="*/ 3073246 w 4451945"/>
              <a:gd name="connsiteY14" fmla="*/ 169059 h 6191251"/>
              <a:gd name="connsiteX15" fmla="*/ 3192900 w 4451945"/>
              <a:gd name="connsiteY15" fmla="*/ 220711 h 6191251"/>
              <a:gd name="connsiteX16" fmla="*/ 3215233 w 4451945"/>
              <a:gd name="connsiteY16" fmla="*/ 232715 h 6191251"/>
              <a:gd name="connsiteX17" fmla="*/ 3225396 w 4451945"/>
              <a:gd name="connsiteY17" fmla="*/ 237271 h 6191251"/>
              <a:gd name="connsiteX18" fmla="*/ 3261085 w 4451945"/>
              <a:gd name="connsiteY18" fmla="*/ 257362 h 6191251"/>
              <a:gd name="connsiteX19" fmla="*/ 3359433 w 4451945"/>
              <a:gd name="connsiteY19" fmla="*/ 310226 h 6191251"/>
              <a:gd name="connsiteX20" fmla="*/ 3387305 w 4451945"/>
              <a:gd name="connsiteY20" fmla="*/ 328413 h 6191251"/>
              <a:gd name="connsiteX21" fmla="*/ 3401038 w 4451945"/>
              <a:gd name="connsiteY21" fmla="*/ 336142 h 6191251"/>
              <a:gd name="connsiteX22" fmla="*/ 3435022 w 4451945"/>
              <a:gd name="connsiteY22" fmla="*/ 359548 h 6191251"/>
              <a:gd name="connsiteX23" fmla="*/ 3517099 w 4451945"/>
              <a:gd name="connsiteY23" fmla="*/ 413105 h 6191251"/>
              <a:gd name="connsiteX24" fmla="*/ 3549622 w 4451945"/>
              <a:gd name="connsiteY24" fmla="*/ 438475 h 6191251"/>
              <a:gd name="connsiteX25" fmla="*/ 3566359 w 4451945"/>
              <a:gd name="connsiteY25" fmla="*/ 450001 h 6191251"/>
              <a:gd name="connsiteX26" fmla="*/ 3596837 w 4451945"/>
              <a:gd name="connsiteY26" fmla="*/ 475307 h 6191251"/>
              <a:gd name="connsiteX27" fmla="*/ 3665142 w 4451945"/>
              <a:gd name="connsiteY27" fmla="*/ 528589 h 6191251"/>
              <a:gd name="connsiteX28" fmla="*/ 3701322 w 4451945"/>
              <a:gd name="connsiteY28" fmla="*/ 562056 h 6191251"/>
              <a:gd name="connsiteX29" fmla="*/ 3720439 w 4451945"/>
              <a:gd name="connsiteY29" fmla="*/ 577928 h 6191251"/>
              <a:gd name="connsiteX30" fmla="*/ 3746661 w 4451945"/>
              <a:gd name="connsiteY30" fmla="*/ 603995 h 6191251"/>
              <a:gd name="connsiteX31" fmla="*/ 3802799 w 4451945"/>
              <a:gd name="connsiteY31" fmla="*/ 655921 h 6191251"/>
              <a:gd name="connsiteX32" fmla="*/ 3841548 w 4451945"/>
              <a:gd name="connsiteY32" fmla="*/ 698318 h 6191251"/>
              <a:gd name="connsiteX33" fmla="*/ 3862356 w 4451945"/>
              <a:gd name="connsiteY33" fmla="*/ 719001 h 6191251"/>
              <a:gd name="connsiteX34" fmla="*/ 3884088 w 4451945"/>
              <a:gd name="connsiteY34" fmla="*/ 744860 h 6191251"/>
              <a:gd name="connsiteX35" fmla="*/ 3929313 w 4451945"/>
              <a:gd name="connsiteY35" fmla="*/ 794342 h 6191251"/>
              <a:gd name="connsiteX36" fmla="*/ 3969450 w 4451945"/>
              <a:gd name="connsiteY36" fmla="*/ 846435 h 6191251"/>
              <a:gd name="connsiteX37" fmla="*/ 3991188 w 4451945"/>
              <a:gd name="connsiteY37" fmla="*/ 872298 h 6191251"/>
              <a:gd name="connsiteX38" fmla="*/ 4008485 w 4451945"/>
              <a:gd name="connsiteY38" fmla="*/ 897096 h 6191251"/>
              <a:gd name="connsiteX39" fmla="*/ 4043928 w 4451945"/>
              <a:gd name="connsiteY39" fmla="*/ 943093 h 6191251"/>
              <a:gd name="connsiteX40" fmla="*/ 4084188 w 4451945"/>
              <a:gd name="connsiteY40" fmla="*/ 1005614 h 6191251"/>
              <a:gd name="connsiteX41" fmla="*/ 4106012 w 4451945"/>
              <a:gd name="connsiteY41" fmla="*/ 1036899 h 6191251"/>
              <a:gd name="connsiteX42" fmla="*/ 4119126 w 4451945"/>
              <a:gd name="connsiteY42" fmla="*/ 1059869 h 6191251"/>
              <a:gd name="connsiteX43" fmla="*/ 4145880 w 4451945"/>
              <a:gd name="connsiteY43" fmla="*/ 1101415 h 6191251"/>
              <a:gd name="connsiteX44" fmla="*/ 4184921 w 4451945"/>
              <a:gd name="connsiteY44" fmla="*/ 1175119 h 6191251"/>
              <a:gd name="connsiteX45" fmla="*/ 4205911 w 4451945"/>
              <a:gd name="connsiteY45" fmla="*/ 1211882 h 6191251"/>
              <a:gd name="connsiteX46" fmla="*/ 4215230 w 4451945"/>
              <a:gd name="connsiteY46" fmla="*/ 1232334 h 6191251"/>
              <a:gd name="connsiteX47" fmla="*/ 4234415 w 4451945"/>
              <a:gd name="connsiteY47" fmla="*/ 1268548 h 6191251"/>
              <a:gd name="connsiteX48" fmla="*/ 4270827 w 4451945"/>
              <a:gd name="connsiteY48" fmla="*/ 1354338 h 6191251"/>
              <a:gd name="connsiteX49" fmla="*/ 4289961 w 4451945"/>
              <a:gd name="connsiteY49" fmla="*/ 1396326 h 6191251"/>
              <a:gd name="connsiteX50" fmla="*/ 4295995 w 4451945"/>
              <a:gd name="connsiteY50" fmla="*/ 1413634 h 6191251"/>
              <a:gd name="connsiteX51" fmla="*/ 4308772 w 4451945"/>
              <a:gd name="connsiteY51" fmla="*/ 1443737 h 6191251"/>
              <a:gd name="connsiteX52" fmla="*/ 4341074 w 4451945"/>
              <a:gd name="connsiteY52" fmla="*/ 1542938 h 6191251"/>
              <a:gd name="connsiteX53" fmla="*/ 4357240 w 4451945"/>
              <a:gd name="connsiteY53" fmla="*/ 1589308 h 6191251"/>
              <a:gd name="connsiteX54" fmla="*/ 4360602 w 4451945"/>
              <a:gd name="connsiteY54" fmla="*/ 1602910 h 6191251"/>
              <a:gd name="connsiteX55" fmla="*/ 4368193 w 4451945"/>
              <a:gd name="connsiteY55" fmla="*/ 1626219 h 6191251"/>
              <a:gd name="connsiteX56" fmla="*/ 4394846 w 4451945"/>
              <a:gd name="connsiteY56" fmla="*/ 1741438 h 6191251"/>
              <a:gd name="connsiteX57" fmla="*/ 4406827 w 4451945"/>
              <a:gd name="connsiteY57" fmla="*/ 1789908 h 6191251"/>
              <a:gd name="connsiteX58" fmla="*/ 4408230 w 4451945"/>
              <a:gd name="connsiteY58" fmla="*/ 1799297 h 6191251"/>
              <a:gd name="connsiteX59" fmla="*/ 4411918 w 4451945"/>
              <a:gd name="connsiteY59" fmla="*/ 1815238 h 6191251"/>
              <a:gd name="connsiteX60" fmla="*/ 4431323 w 4451945"/>
              <a:gd name="connsiteY60" fmla="*/ 1953846 h 6191251"/>
              <a:gd name="connsiteX61" fmla="*/ 4437802 w 4451945"/>
              <a:gd name="connsiteY61" fmla="*/ 1997203 h 6191251"/>
              <a:gd name="connsiteX62" fmla="*/ 4438032 w 4451945"/>
              <a:gd name="connsiteY62" fmla="*/ 2001767 h 6191251"/>
              <a:gd name="connsiteX63" fmla="*/ 4439190 w 4451945"/>
              <a:gd name="connsiteY63" fmla="*/ 2010034 h 6191251"/>
              <a:gd name="connsiteX64" fmla="*/ 4443741 w 4451945"/>
              <a:gd name="connsiteY64" fmla="*/ 2106169 h 6191251"/>
              <a:gd name="connsiteX65" fmla="*/ 4449289 w 4451945"/>
              <a:gd name="connsiteY65" fmla="*/ 2106169 h 6191251"/>
              <a:gd name="connsiteX66" fmla="*/ 4449289 w 4451945"/>
              <a:gd name="connsiteY66" fmla="*/ 2194799 h 6191251"/>
              <a:gd name="connsiteX67" fmla="*/ 4449289 w 4451945"/>
              <a:gd name="connsiteY67" fmla="*/ 2223329 h 6191251"/>
              <a:gd name="connsiteX68" fmla="*/ 4449289 w 4451945"/>
              <a:gd name="connsiteY68" fmla="*/ 2223995 h 6191251"/>
              <a:gd name="connsiteX69" fmla="*/ 4449289 w 4451945"/>
              <a:gd name="connsiteY69" fmla="*/ 2223996 h 6191251"/>
              <a:gd name="connsiteX70" fmla="*/ 4451945 w 4451945"/>
              <a:gd name="connsiteY70" fmla="*/ 2223996 h 6191251"/>
              <a:gd name="connsiteX71" fmla="*/ 4451945 w 4451945"/>
              <a:gd name="connsiteY71" fmla="*/ 2649834 h 6191251"/>
              <a:gd name="connsiteX72" fmla="*/ 4451945 w 4451945"/>
              <a:gd name="connsiteY72" fmla="*/ 3541417 h 6191251"/>
              <a:gd name="connsiteX73" fmla="*/ 4451945 w 4451945"/>
              <a:gd name="connsiteY73" fmla="*/ 3967256 h 6191251"/>
              <a:gd name="connsiteX74" fmla="*/ 4451945 w 4451945"/>
              <a:gd name="connsiteY74" fmla="*/ 4085083 h 6191251"/>
              <a:gd name="connsiteX75" fmla="*/ 4449314 w 4451945"/>
              <a:gd name="connsiteY75" fmla="*/ 4085083 h 6191251"/>
              <a:gd name="connsiteX76" fmla="*/ 4449314 w 4451945"/>
              <a:gd name="connsiteY76" fmla="*/ 6191250 h 6191251"/>
              <a:gd name="connsiteX77" fmla="*/ 2227318 w 4451945"/>
              <a:gd name="connsiteY77" fmla="*/ 6191250 h 6191251"/>
              <a:gd name="connsiteX78" fmla="*/ 2226007 w 4451945"/>
              <a:gd name="connsiteY78" fmla="*/ 6191250 h 6191251"/>
              <a:gd name="connsiteX79" fmla="*/ 2225986 w 4451945"/>
              <a:gd name="connsiteY79" fmla="*/ 6191251 h 6191251"/>
              <a:gd name="connsiteX80" fmla="*/ 2225965 w 4451945"/>
              <a:gd name="connsiteY80" fmla="*/ 6191250 h 6191251"/>
              <a:gd name="connsiteX81" fmla="*/ 2121536 w 4451945"/>
              <a:gd name="connsiteY81" fmla="*/ 6191250 h 6191251"/>
              <a:gd name="connsiteX82" fmla="*/ 2121536 w 4451945"/>
              <a:gd name="connsiteY82" fmla="*/ 6186242 h 6191251"/>
              <a:gd name="connsiteX83" fmla="*/ 2013895 w 4451945"/>
              <a:gd name="connsiteY83" fmla="*/ 6181144 h 6191251"/>
              <a:gd name="connsiteX84" fmla="*/ 2007364 w 4451945"/>
              <a:gd name="connsiteY84" fmla="*/ 6180211 h 6191251"/>
              <a:gd name="connsiteX85" fmla="*/ 1998664 w 4451945"/>
              <a:gd name="connsiteY85" fmla="*/ 6179772 h 6191251"/>
              <a:gd name="connsiteX86" fmla="*/ 1615674 w 4451945"/>
              <a:gd name="connsiteY86" fmla="*/ 6106438 h 6191251"/>
              <a:gd name="connsiteX87" fmla="*/ 1606663 w 4451945"/>
              <a:gd name="connsiteY87" fmla="*/ 6103442 h 6191251"/>
              <a:gd name="connsiteX88" fmla="*/ 1605110 w 4451945"/>
              <a:gd name="connsiteY88" fmla="*/ 6103069 h 6191251"/>
              <a:gd name="connsiteX89" fmla="*/ 1589652 w 4451945"/>
              <a:gd name="connsiteY89" fmla="*/ 6097785 h 6191251"/>
              <a:gd name="connsiteX90" fmla="*/ 1433684 w 4451945"/>
              <a:gd name="connsiteY90" fmla="*/ 6045931 h 6191251"/>
              <a:gd name="connsiteX91" fmla="*/ 1417676 w 4451945"/>
              <a:gd name="connsiteY91" fmla="*/ 6039019 h 6191251"/>
              <a:gd name="connsiteX92" fmla="*/ 1411591 w 4451945"/>
              <a:gd name="connsiteY92" fmla="*/ 6036940 h 6191251"/>
              <a:gd name="connsiteX93" fmla="*/ 1378699 w 4451945"/>
              <a:gd name="connsiteY93" fmla="*/ 6022193 h 6191251"/>
              <a:gd name="connsiteX94" fmla="*/ 1259044 w 4451945"/>
              <a:gd name="connsiteY94" fmla="*/ 5970541 h 6191251"/>
              <a:gd name="connsiteX95" fmla="*/ 1236712 w 4451945"/>
              <a:gd name="connsiteY95" fmla="*/ 5958537 h 6191251"/>
              <a:gd name="connsiteX96" fmla="*/ 1226549 w 4451945"/>
              <a:gd name="connsiteY96" fmla="*/ 5953980 h 6191251"/>
              <a:gd name="connsiteX97" fmla="*/ 1190860 w 4451945"/>
              <a:gd name="connsiteY97" fmla="*/ 5933890 h 6191251"/>
              <a:gd name="connsiteX98" fmla="*/ 1092512 w 4451945"/>
              <a:gd name="connsiteY98" fmla="*/ 5881025 h 6191251"/>
              <a:gd name="connsiteX99" fmla="*/ 1064640 w 4451945"/>
              <a:gd name="connsiteY99" fmla="*/ 5862838 h 6191251"/>
              <a:gd name="connsiteX100" fmla="*/ 1050907 w 4451945"/>
              <a:gd name="connsiteY100" fmla="*/ 5855110 h 6191251"/>
              <a:gd name="connsiteX101" fmla="*/ 1016923 w 4451945"/>
              <a:gd name="connsiteY101" fmla="*/ 5831703 h 6191251"/>
              <a:gd name="connsiteX102" fmla="*/ 934846 w 4451945"/>
              <a:gd name="connsiteY102" fmla="*/ 5778147 h 6191251"/>
              <a:gd name="connsiteX103" fmla="*/ 902324 w 4451945"/>
              <a:gd name="connsiteY103" fmla="*/ 5752777 h 6191251"/>
              <a:gd name="connsiteX104" fmla="*/ 885586 w 4451945"/>
              <a:gd name="connsiteY104" fmla="*/ 5741251 h 6191251"/>
              <a:gd name="connsiteX105" fmla="*/ 855108 w 4451945"/>
              <a:gd name="connsiteY105" fmla="*/ 5715945 h 6191251"/>
              <a:gd name="connsiteX106" fmla="*/ 786804 w 4451945"/>
              <a:gd name="connsiteY106" fmla="*/ 5662661 h 6191251"/>
              <a:gd name="connsiteX107" fmla="*/ 750624 w 4451945"/>
              <a:gd name="connsiteY107" fmla="*/ 5629195 h 6191251"/>
              <a:gd name="connsiteX108" fmla="*/ 731506 w 4451945"/>
              <a:gd name="connsiteY108" fmla="*/ 5613323 h 6191251"/>
              <a:gd name="connsiteX109" fmla="*/ 705284 w 4451945"/>
              <a:gd name="connsiteY109" fmla="*/ 5587257 h 6191251"/>
              <a:gd name="connsiteX110" fmla="*/ 649146 w 4451945"/>
              <a:gd name="connsiteY110" fmla="*/ 5535330 h 6191251"/>
              <a:gd name="connsiteX111" fmla="*/ 610397 w 4451945"/>
              <a:gd name="connsiteY111" fmla="*/ 5492934 h 6191251"/>
              <a:gd name="connsiteX112" fmla="*/ 589589 w 4451945"/>
              <a:gd name="connsiteY112" fmla="*/ 5472250 h 6191251"/>
              <a:gd name="connsiteX113" fmla="*/ 567858 w 4451945"/>
              <a:gd name="connsiteY113" fmla="*/ 5446391 h 6191251"/>
              <a:gd name="connsiteX114" fmla="*/ 522632 w 4451945"/>
              <a:gd name="connsiteY114" fmla="*/ 5396909 h 6191251"/>
              <a:gd name="connsiteX115" fmla="*/ 482495 w 4451945"/>
              <a:gd name="connsiteY115" fmla="*/ 5344816 h 6191251"/>
              <a:gd name="connsiteX116" fmla="*/ 460758 w 4451945"/>
              <a:gd name="connsiteY116" fmla="*/ 5318953 h 6191251"/>
              <a:gd name="connsiteX117" fmla="*/ 443460 w 4451945"/>
              <a:gd name="connsiteY117" fmla="*/ 5294156 h 6191251"/>
              <a:gd name="connsiteX118" fmla="*/ 408018 w 4451945"/>
              <a:gd name="connsiteY118" fmla="*/ 5248158 h 6191251"/>
              <a:gd name="connsiteX119" fmla="*/ 367757 w 4451945"/>
              <a:gd name="connsiteY119" fmla="*/ 5185637 h 6191251"/>
              <a:gd name="connsiteX120" fmla="*/ 345932 w 4451945"/>
              <a:gd name="connsiteY120" fmla="*/ 5154352 h 6191251"/>
              <a:gd name="connsiteX121" fmla="*/ 332819 w 4451945"/>
              <a:gd name="connsiteY121" fmla="*/ 5131383 h 6191251"/>
              <a:gd name="connsiteX122" fmla="*/ 306065 w 4451945"/>
              <a:gd name="connsiteY122" fmla="*/ 5089836 h 6191251"/>
              <a:gd name="connsiteX123" fmla="*/ 267024 w 4451945"/>
              <a:gd name="connsiteY123" fmla="*/ 5016132 h 6191251"/>
              <a:gd name="connsiteX124" fmla="*/ 246035 w 4451945"/>
              <a:gd name="connsiteY124" fmla="*/ 4979369 h 6191251"/>
              <a:gd name="connsiteX125" fmla="*/ 236715 w 4451945"/>
              <a:gd name="connsiteY125" fmla="*/ 4958917 h 6191251"/>
              <a:gd name="connsiteX126" fmla="*/ 217531 w 4451945"/>
              <a:gd name="connsiteY126" fmla="*/ 4922702 h 6191251"/>
              <a:gd name="connsiteX127" fmla="*/ 181118 w 4451945"/>
              <a:gd name="connsiteY127" fmla="*/ 4836913 h 6191251"/>
              <a:gd name="connsiteX128" fmla="*/ 161984 w 4451945"/>
              <a:gd name="connsiteY128" fmla="*/ 4794925 h 6191251"/>
              <a:gd name="connsiteX129" fmla="*/ 155951 w 4451945"/>
              <a:gd name="connsiteY129" fmla="*/ 4777618 h 6191251"/>
              <a:gd name="connsiteX130" fmla="*/ 143173 w 4451945"/>
              <a:gd name="connsiteY130" fmla="*/ 4747515 h 6191251"/>
              <a:gd name="connsiteX131" fmla="*/ 110871 w 4451945"/>
              <a:gd name="connsiteY131" fmla="*/ 4648314 h 6191251"/>
              <a:gd name="connsiteX132" fmla="*/ 94705 w 4451945"/>
              <a:gd name="connsiteY132" fmla="*/ 4601944 h 6191251"/>
              <a:gd name="connsiteX133" fmla="*/ 91343 w 4451945"/>
              <a:gd name="connsiteY133" fmla="*/ 4588341 h 6191251"/>
              <a:gd name="connsiteX134" fmla="*/ 83753 w 4451945"/>
              <a:gd name="connsiteY134" fmla="*/ 4565031 h 6191251"/>
              <a:gd name="connsiteX135" fmla="*/ 57100 w 4451945"/>
              <a:gd name="connsiteY135" fmla="*/ 4449814 h 6191251"/>
              <a:gd name="connsiteX136" fmla="*/ 45118 w 4451945"/>
              <a:gd name="connsiteY136" fmla="*/ 4401343 h 6191251"/>
              <a:gd name="connsiteX137" fmla="*/ 43715 w 4451945"/>
              <a:gd name="connsiteY137" fmla="*/ 4391954 h 6191251"/>
              <a:gd name="connsiteX138" fmla="*/ 40028 w 4451945"/>
              <a:gd name="connsiteY138" fmla="*/ 4376013 h 6191251"/>
              <a:gd name="connsiteX139" fmla="*/ 20623 w 4451945"/>
              <a:gd name="connsiteY139" fmla="*/ 4237405 h 6191251"/>
              <a:gd name="connsiteX140" fmla="*/ 14144 w 4451945"/>
              <a:gd name="connsiteY140" fmla="*/ 4194048 h 6191251"/>
              <a:gd name="connsiteX141" fmla="*/ 13913 w 4451945"/>
              <a:gd name="connsiteY141" fmla="*/ 4189483 h 6191251"/>
              <a:gd name="connsiteX142" fmla="*/ 12755 w 4451945"/>
              <a:gd name="connsiteY142" fmla="*/ 4181217 h 6191251"/>
              <a:gd name="connsiteX143" fmla="*/ 8205 w 4451945"/>
              <a:gd name="connsiteY143" fmla="*/ 4085083 h 6191251"/>
              <a:gd name="connsiteX144" fmla="*/ 2656 w 4451945"/>
              <a:gd name="connsiteY144" fmla="*/ 4085083 h 6191251"/>
              <a:gd name="connsiteX145" fmla="*/ 2656 w 4451945"/>
              <a:gd name="connsiteY145" fmla="*/ 3996451 h 6191251"/>
              <a:gd name="connsiteX146" fmla="*/ 2656 w 4451945"/>
              <a:gd name="connsiteY146" fmla="*/ 3967921 h 6191251"/>
              <a:gd name="connsiteX147" fmla="*/ 2656 w 4451945"/>
              <a:gd name="connsiteY147" fmla="*/ 3967256 h 6191251"/>
              <a:gd name="connsiteX148" fmla="*/ 2656 w 4451945"/>
              <a:gd name="connsiteY148" fmla="*/ 3967255 h 6191251"/>
              <a:gd name="connsiteX149" fmla="*/ 0 w 4451945"/>
              <a:gd name="connsiteY149" fmla="*/ 3967255 h 6191251"/>
              <a:gd name="connsiteX150" fmla="*/ 0 w 4451945"/>
              <a:gd name="connsiteY150" fmla="*/ 3541417 h 6191251"/>
              <a:gd name="connsiteX151" fmla="*/ 0 w 4451945"/>
              <a:gd name="connsiteY151" fmla="*/ 2649834 h 6191251"/>
              <a:gd name="connsiteX152" fmla="*/ 0 w 4451945"/>
              <a:gd name="connsiteY152" fmla="*/ 2223995 h 6191251"/>
              <a:gd name="connsiteX153" fmla="*/ 0 w 4451945"/>
              <a:gd name="connsiteY153" fmla="*/ 2106169 h 6191251"/>
              <a:gd name="connsiteX154" fmla="*/ 2630 w 4451945"/>
              <a:gd name="connsiteY154" fmla="*/ 2106169 h 6191251"/>
              <a:gd name="connsiteX155" fmla="*/ 2630 w 4451945"/>
              <a:gd name="connsiteY155" fmla="*/ 1 h 6191251"/>
              <a:gd name="connsiteX156" fmla="*/ 2224628 w 4451945"/>
              <a:gd name="connsiteY156" fmla="*/ 1 h 6191251"/>
              <a:gd name="connsiteX157" fmla="*/ 2225938 w 4451945"/>
              <a:gd name="connsiteY157" fmla="*/ 1 h 619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4451945" h="6191251">
                <a:moveTo>
                  <a:pt x="2225960" y="0"/>
                </a:moveTo>
                <a:lnTo>
                  <a:pt x="2225981" y="1"/>
                </a:lnTo>
                <a:lnTo>
                  <a:pt x="2330410" y="1"/>
                </a:lnTo>
                <a:lnTo>
                  <a:pt x="2330410" y="5009"/>
                </a:lnTo>
                <a:lnTo>
                  <a:pt x="2438050" y="10106"/>
                </a:lnTo>
                <a:lnTo>
                  <a:pt x="2444580" y="11041"/>
                </a:lnTo>
                <a:lnTo>
                  <a:pt x="2453282" y="11479"/>
                </a:lnTo>
                <a:cubicBezTo>
                  <a:pt x="2584664" y="24822"/>
                  <a:pt x="2712664" y="49604"/>
                  <a:pt x="2836272" y="84814"/>
                </a:cubicBezTo>
                <a:lnTo>
                  <a:pt x="2845282" y="87808"/>
                </a:lnTo>
                <a:lnTo>
                  <a:pt x="2846835" y="88183"/>
                </a:lnTo>
                <a:lnTo>
                  <a:pt x="2862293" y="93466"/>
                </a:lnTo>
                <a:lnTo>
                  <a:pt x="3018261" y="145321"/>
                </a:lnTo>
                <a:lnTo>
                  <a:pt x="3034270" y="152232"/>
                </a:lnTo>
                <a:lnTo>
                  <a:pt x="3040354" y="154311"/>
                </a:lnTo>
                <a:lnTo>
                  <a:pt x="3073246" y="169059"/>
                </a:lnTo>
                <a:lnTo>
                  <a:pt x="3192900" y="220711"/>
                </a:lnTo>
                <a:lnTo>
                  <a:pt x="3215233" y="232715"/>
                </a:lnTo>
                <a:lnTo>
                  <a:pt x="3225396" y="237271"/>
                </a:lnTo>
                <a:lnTo>
                  <a:pt x="3261085" y="257362"/>
                </a:lnTo>
                <a:lnTo>
                  <a:pt x="3359433" y="310226"/>
                </a:lnTo>
                <a:lnTo>
                  <a:pt x="3387305" y="328413"/>
                </a:lnTo>
                <a:lnTo>
                  <a:pt x="3401038" y="336142"/>
                </a:lnTo>
                <a:lnTo>
                  <a:pt x="3435022" y="359548"/>
                </a:lnTo>
                <a:lnTo>
                  <a:pt x="3517099" y="413105"/>
                </a:lnTo>
                <a:lnTo>
                  <a:pt x="3549622" y="438475"/>
                </a:lnTo>
                <a:lnTo>
                  <a:pt x="3566359" y="450001"/>
                </a:lnTo>
                <a:lnTo>
                  <a:pt x="3596837" y="475307"/>
                </a:lnTo>
                <a:lnTo>
                  <a:pt x="3665142" y="528589"/>
                </a:lnTo>
                <a:lnTo>
                  <a:pt x="3701322" y="562056"/>
                </a:lnTo>
                <a:lnTo>
                  <a:pt x="3720439" y="577928"/>
                </a:lnTo>
                <a:lnTo>
                  <a:pt x="3746661" y="603995"/>
                </a:lnTo>
                <a:lnTo>
                  <a:pt x="3802799" y="655921"/>
                </a:lnTo>
                <a:lnTo>
                  <a:pt x="3841548" y="698318"/>
                </a:lnTo>
                <a:lnTo>
                  <a:pt x="3862356" y="719001"/>
                </a:lnTo>
                <a:lnTo>
                  <a:pt x="3884088" y="744860"/>
                </a:lnTo>
                <a:lnTo>
                  <a:pt x="3929313" y="794342"/>
                </a:lnTo>
                <a:lnTo>
                  <a:pt x="3969450" y="846435"/>
                </a:lnTo>
                <a:lnTo>
                  <a:pt x="3991188" y="872298"/>
                </a:lnTo>
                <a:lnTo>
                  <a:pt x="4008485" y="897096"/>
                </a:lnTo>
                <a:lnTo>
                  <a:pt x="4043928" y="943093"/>
                </a:lnTo>
                <a:lnTo>
                  <a:pt x="4084188" y="1005614"/>
                </a:lnTo>
                <a:lnTo>
                  <a:pt x="4106012" y="1036899"/>
                </a:lnTo>
                <a:lnTo>
                  <a:pt x="4119126" y="1059869"/>
                </a:lnTo>
                <a:lnTo>
                  <a:pt x="4145880" y="1101415"/>
                </a:lnTo>
                <a:lnTo>
                  <a:pt x="4184921" y="1175119"/>
                </a:lnTo>
                <a:lnTo>
                  <a:pt x="4205911" y="1211882"/>
                </a:lnTo>
                <a:lnTo>
                  <a:pt x="4215230" y="1232334"/>
                </a:lnTo>
                <a:lnTo>
                  <a:pt x="4234415" y="1268548"/>
                </a:lnTo>
                <a:lnTo>
                  <a:pt x="4270827" y="1354338"/>
                </a:lnTo>
                <a:lnTo>
                  <a:pt x="4289961" y="1396326"/>
                </a:lnTo>
                <a:lnTo>
                  <a:pt x="4295995" y="1413634"/>
                </a:lnTo>
                <a:lnTo>
                  <a:pt x="4308772" y="1443737"/>
                </a:lnTo>
                <a:lnTo>
                  <a:pt x="4341074" y="1542938"/>
                </a:lnTo>
                <a:lnTo>
                  <a:pt x="4357240" y="1589308"/>
                </a:lnTo>
                <a:lnTo>
                  <a:pt x="4360602" y="1602910"/>
                </a:lnTo>
                <a:lnTo>
                  <a:pt x="4368193" y="1626219"/>
                </a:lnTo>
                <a:lnTo>
                  <a:pt x="4394846" y="1741438"/>
                </a:lnTo>
                <a:lnTo>
                  <a:pt x="4406827" y="1789908"/>
                </a:lnTo>
                <a:lnTo>
                  <a:pt x="4408230" y="1799297"/>
                </a:lnTo>
                <a:lnTo>
                  <a:pt x="4411918" y="1815238"/>
                </a:lnTo>
                <a:lnTo>
                  <a:pt x="4431323" y="1953846"/>
                </a:lnTo>
                <a:lnTo>
                  <a:pt x="4437802" y="1997203"/>
                </a:lnTo>
                <a:lnTo>
                  <a:pt x="4438032" y="2001767"/>
                </a:lnTo>
                <a:lnTo>
                  <a:pt x="4439190" y="2010034"/>
                </a:lnTo>
                <a:lnTo>
                  <a:pt x="4443741" y="2106169"/>
                </a:lnTo>
                <a:lnTo>
                  <a:pt x="4449289" y="2106169"/>
                </a:lnTo>
                <a:lnTo>
                  <a:pt x="4449289" y="2194799"/>
                </a:lnTo>
                <a:lnTo>
                  <a:pt x="4449289" y="2223329"/>
                </a:lnTo>
                <a:lnTo>
                  <a:pt x="4449289" y="2223995"/>
                </a:lnTo>
                <a:lnTo>
                  <a:pt x="4449289" y="2223996"/>
                </a:lnTo>
                <a:lnTo>
                  <a:pt x="4451945" y="2223996"/>
                </a:lnTo>
                <a:lnTo>
                  <a:pt x="4451945" y="2649834"/>
                </a:lnTo>
                <a:lnTo>
                  <a:pt x="4451945" y="3541417"/>
                </a:lnTo>
                <a:lnTo>
                  <a:pt x="4451945" y="3967256"/>
                </a:lnTo>
                <a:lnTo>
                  <a:pt x="4451945" y="4085083"/>
                </a:lnTo>
                <a:lnTo>
                  <a:pt x="4449314" y="4085083"/>
                </a:lnTo>
                <a:lnTo>
                  <a:pt x="4449314" y="6191250"/>
                </a:lnTo>
                <a:lnTo>
                  <a:pt x="2227318" y="6191250"/>
                </a:lnTo>
                <a:lnTo>
                  <a:pt x="2226007" y="6191250"/>
                </a:lnTo>
                <a:lnTo>
                  <a:pt x="2225986" y="6191251"/>
                </a:lnTo>
                <a:lnTo>
                  <a:pt x="2225965" y="6191250"/>
                </a:lnTo>
                <a:lnTo>
                  <a:pt x="2121536" y="6191250"/>
                </a:lnTo>
                <a:lnTo>
                  <a:pt x="2121536" y="6186242"/>
                </a:lnTo>
                <a:lnTo>
                  <a:pt x="2013895" y="6181144"/>
                </a:lnTo>
                <a:lnTo>
                  <a:pt x="2007364" y="6180211"/>
                </a:lnTo>
                <a:lnTo>
                  <a:pt x="1998664" y="6179772"/>
                </a:lnTo>
                <a:cubicBezTo>
                  <a:pt x="1867282" y="6166428"/>
                  <a:pt x="1739282" y="6141647"/>
                  <a:pt x="1615674" y="6106438"/>
                </a:cubicBezTo>
                <a:lnTo>
                  <a:pt x="1606663" y="6103442"/>
                </a:lnTo>
                <a:lnTo>
                  <a:pt x="1605110" y="6103069"/>
                </a:lnTo>
                <a:lnTo>
                  <a:pt x="1589652" y="6097785"/>
                </a:lnTo>
                <a:lnTo>
                  <a:pt x="1433684" y="6045931"/>
                </a:lnTo>
                <a:lnTo>
                  <a:pt x="1417676" y="6039019"/>
                </a:lnTo>
                <a:lnTo>
                  <a:pt x="1411591" y="6036940"/>
                </a:lnTo>
                <a:lnTo>
                  <a:pt x="1378699" y="6022193"/>
                </a:lnTo>
                <a:lnTo>
                  <a:pt x="1259044" y="5970541"/>
                </a:lnTo>
                <a:lnTo>
                  <a:pt x="1236712" y="5958537"/>
                </a:lnTo>
                <a:lnTo>
                  <a:pt x="1226549" y="5953980"/>
                </a:lnTo>
                <a:lnTo>
                  <a:pt x="1190860" y="5933890"/>
                </a:lnTo>
                <a:lnTo>
                  <a:pt x="1092512" y="5881025"/>
                </a:lnTo>
                <a:lnTo>
                  <a:pt x="1064640" y="5862838"/>
                </a:lnTo>
                <a:lnTo>
                  <a:pt x="1050907" y="5855110"/>
                </a:lnTo>
                <a:lnTo>
                  <a:pt x="1016923" y="5831703"/>
                </a:lnTo>
                <a:lnTo>
                  <a:pt x="934846" y="5778147"/>
                </a:lnTo>
                <a:lnTo>
                  <a:pt x="902324" y="5752777"/>
                </a:lnTo>
                <a:lnTo>
                  <a:pt x="885586" y="5741251"/>
                </a:lnTo>
                <a:lnTo>
                  <a:pt x="855108" y="5715945"/>
                </a:lnTo>
                <a:lnTo>
                  <a:pt x="786804" y="5662661"/>
                </a:lnTo>
                <a:lnTo>
                  <a:pt x="750624" y="5629195"/>
                </a:lnTo>
                <a:lnTo>
                  <a:pt x="731506" y="5613323"/>
                </a:lnTo>
                <a:lnTo>
                  <a:pt x="705284" y="5587257"/>
                </a:lnTo>
                <a:lnTo>
                  <a:pt x="649146" y="5535330"/>
                </a:lnTo>
                <a:lnTo>
                  <a:pt x="610397" y="5492934"/>
                </a:lnTo>
                <a:lnTo>
                  <a:pt x="589589" y="5472250"/>
                </a:lnTo>
                <a:lnTo>
                  <a:pt x="567858" y="5446391"/>
                </a:lnTo>
                <a:lnTo>
                  <a:pt x="522632" y="5396909"/>
                </a:lnTo>
                <a:lnTo>
                  <a:pt x="482495" y="5344816"/>
                </a:lnTo>
                <a:lnTo>
                  <a:pt x="460758" y="5318953"/>
                </a:lnTo>
                <a:lnTo>
                  <a:pt x="443460" y="5294156"/>
                </a:lnTo>
                <a:lnTo>
                  <a:pt x="408018" y="5248158"/>
                </a:lnTo>
                <a:lnTo>
                  <a:pt x="367757" y="5185637"/>
                </a:lnTo>
                <a:lnTo>
                  <a:pt x="345932" y="5154352"/>
                </a:lnTo>
                <a:lnTo>
                  <a:pt x="332819" y="5131383"/>
                </a:lnTo>
                <a:lnTo>
                  <a:pt x="306065" y="5089836"/>
                </a:lnTo>
                <a:lnTo>
                  <a:pt x="267024" y="5016132"/>
                </a:lnTo>
                <a:lnTo>
                  <a:pt x="246035" y="4979369"/>
                </a:lnTo>
                <a:lnTo>
                  <a:pt x="236715" y="4958917"/>
                </a:lnTo>
                <a:lnTo>
                  <a:pt x="217531" y="4922702"/>
                </a:lnTo>
                <a:lnTo>
                  <a:pt x="181118" y="4836913"/>
                </a:lnTo>
                <a:lnTo>
                  <a:pt x="161984" y="4794925"/>
                </a:lnTo>
                <a:lnTo>
                  <a:pt x="155951" y="4777618"/>
                </a:lnTo>
                <a:lnTo>
                  <a:pt x="143173" y="4747515"/>
                </a:lnTo>
                <a:lnTo>
                  <a:pt x="110871" y="4648314"/>
                </a:lnTo>
                <a:lnTo>
                  <a:pt x="94705" y="4601944"/>
                </a:lnTo>
                <a:lnTo>
                  <a:pt x="91343" y="4588341"/>
                </a:lnTo>
                <a:lnTo>
                  <a:pt x="83753" y="4565031"/>
                </a:lnTo>
                <a:lnTo>
                  <a:pt x="57100" y="4449814"/>
                </a:lnTo>
                <a:lnTo>
                  <a:pt x="45118" y="4401343"/>
                </a:lnTo>
                <a:lnTo>
                  <a:pt x="43715" y="4391954"/>
                </a:lnTo>
                <a:lnTo>
                  <a:pt x="40028" y="4376013"/>
                </a:lnTo>
                <a:lnTo>
                  <a:pt x="20623" y="4237405"/>
                </a:lnTo>
                <a:lnTo>
                  <a:pt x="14144" y="4194048"/>
                </a:lnTo>
                <a:lnTo>
                  <a:pt x="13913" y="4189483"/>
                </a:lnTo>
                <a:lnTo>
                  <a:pt x="12755" y="4181217"/>
                </a:lnTo>
                <a:lnTo>
                  <a:pt x="8205" y="4085083"/>
                </a:lnTo>
                <a:lnTo>
                  <a:pt x="2656" y="4085083"/>
                </a:lnTo>
                <a:lnTo>
                  <a:pt x="2656" y="3996451"/>
                </a:lnTo>
                <a:lnTo>
                  <a:pt x="2656" y="3967921"/>
                </a:lnTo>
                <a:lnTo>
                  <a:pt x="2656" y="3967256"/>
                </a:lnTo>
                <a:lnTo>
                  <a:pt x="2656" y="3967255"/>
                </a:lnTo>
                <a:lnTo>
                  <a:pt x="0" y="3967255"/>
                </a:lnTo>
                <a:lnTo>
                  <a:pt x="0" y="3541417"/>
                </a:lnTo>
                <a:lnTo>
                  <a:pt x="0" y="2649834"/>
                </a:lnTo>
                <a:lnTo>
                  <a:pt x="0" y="2223995"/>
                </a:lnTo>
                <a:lnTo>
                  <a:pt x="0" y="2106169"/>
                </a:lnTo>
                <a:lnTo>
                  <a:pt x="2630" y="2106169"/>
                </a:lnTo>
                <a:lnTo>
                  <a:pt x="2630" y="1"/>
                </a:lnTo>
                <a:lnTo>
                  <a:pt x="2224628" y="1"/>
                </a:lnTo>
                <a:lnTo>
                  <a:pt x="2225938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02517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0D88FC9-71F7-4AC8-AAC5-506B7E20D11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1950" y="1706346"/>
            <a:ext cx="2978926" cy="3445307"/>
          </a:xfrm>
          <a:custGeom>
            <a:avLst/>
            <a:gdLst>
              <a:gd name="connsiteX0" fmla="*/ 1717881 w 3435742"/>
              <a:gd name="connsiteY0" fmla="*/ 0 h 3973642"/>
              <a:gd name="connsiteX1" fmla="*/ 1717898 w 3435742"/>
              <a:gd name="connsiteY1" fmla="*/ 1 h 3973642"/>
              <a:gd name="connsiteX2" fmla="*/ 1718909 w 3435742"/>
              <a:gd name="connsiteY2" fmla="*/ 1 h 3973642"/>
              <a:gd name="connsiteX3" fmla="*/ 3433713 w 3435742"/>
              <a:gd name="connsiteY3" fmla="*/ 1 h 3973642"/>
              <a:gd name="connsiteX4" fmla="*/ 3433713 w 3435742"/>
              <a:gd name="connsiteY4" fmla="*/ 1625413 h 3973642"/>
              <a:gd name="connsiteX5" fmla="*/ 3435742 w 3435742"/>
              <a:gd name="connsiteY5" fmla="*/ 1625413 h 3973642"/>
              <a:gd name="connsiteX6" fmla="*/ 3435742 w 3435742"/>
              <a:gd name="connsiteY6" fmla="*/ 1716345 h 3973642"/>
              <a:gd name="connsiteX7" fmla="*/ 3435742 w 3435742"/>
              <a:gd name="connsiteY7" fmla="*/ 1742298 h 3973642"/>
              <a:gd name="connsiteX8" fmla="*/ 3435742 w 3435742"/>
              <a:gd name="connsiteY8" fmla="*/ 1928661 h 3973642"/>
              <a:gd name="connsiteX9" fmla="*/ 3435742 w 3435742"/>
              <a:gd name="connsiteY9" fmla="*/ 2033495 h 3973642"/>
              <a:gd name="connsiteX10" fmla="*/ 3435742 w 3435742"/>
              <a:gd name="connsiteY10" fmla="*/ 2257297 h 3973642"/>
              <a:gd name="connsiteX11" fmla="*/ 3433692 w 3435742"/>
              <a:gd name="connsiteY11" fmla="*/ 2257297 h 3973642"/>
              <a:gd name="connsiteX12" fmla="*/ 3433692 w 3435742"/>
              <a:gd name="connsiteY12" fmla="*/ 2257298 h 3973642"/>
              <a:gd name="connsiteX13" fmla="*/ 3433692 w 3435742"/>
              <a:gd name="connsiteY13" fmla="*/ 2257811 h 3973642"/>
              <a:gd name="connsiteX14" fmla="*/ 3433692 w 3435742"/>
              <a:gd name="connsiteY14" fmla="*/ 2279828 h 3973642"/>
              <a:gd name="connsiteX15" fmla="*/ 3433692 w 3435742"/>
              <a:gd name="connsiteY15" fmla="*/ 2348229 h 3973642"/>
              <a:gd name="connsiteX16" fmla="*/ 3429411 w 3435742"/>
              <a:gd name="connsiteY16" fmla="*/ 2348229 h 3973642"/>
              <a:gd name="connsiteX17" fmla="*/ 3425898 w 3435742"/>
              <a:gd name="connsiteY17" fmla="*/ 2422420 h 3973642"/>
              <a:gd name="connsiteX18" fmla="*/ 3425005 w 3435742"/>
              <a:gd name="connsiteY18" fmla="*/ 2428799 h 3973642"/>
              <a:gd name="connsiteX19" fmla="*/ 3424827 w 3435742"/>
              <a:gd name="connsiteY19" fmla="*/ 2432322 h 3973642"/>
              <a:gd name="connsiteX20" fmla="*/ 3419827 w 3435742"/>
              <a:gd name="connsiteY20" fmla="*/ 2465782 h 3973642"/>
              <a:gd name="connsiteX21" fmla="*/ 3404851 w 3435742"/>
              <a:gd name="connsiteY21" fmla="*/ 2572751 h 3973642"/>
              <a:gd name="connsiteX22" fmla="*/ 3402005 w 3435742"/>
              <a:gd name="connsiteY22" fmla="*/ 2585054 h 3973642"/>
              <a:gd name="connsiteX23" fmla="*/ 3400923 w 3435742"/>
              <a:gd name="connsiteY23" fmla="*/ 2592300 h 3973642"/>
              <a:gd name="connsiteX24" fmla="*/ 3391676 w 3435742"/>
              <a:gd name="connsiteY24" fmla="*/ 2629706 h 3973642"/>
              <a:gd name="connsiteX25" fmla="*/ 3371107 w 3435742"/>
              <a:gd name="connsiteY25" fmla="*/ 2718624 h 3973642"/>
              <a:gd name="connsiteX26" fmla="*/ 3365249 w 3435742"/>
              <a:gd name="connsiteY26" fmla="*/ 2736614 h 3973642"/>
              <a:gd name="connsiteX27" fmla="*/ 3362654 w 3435742"/>
              <a:gd name="connsiteY27" fmla="*/ 2747111 h 3973642"/>
              <a:gd name="connsiteX28" fmla="*/ 3350179 w 3435742"/>
              <a:gd name="connsiteY28" fmla="*/ 2782897 h 3973642"/>
              <a:gd name="connsiteX29" fmla="*/ 3325250 w 3435742"/>
              <a:gd name="connsiteY29" fmla="*/ 2859454 h 3973642"/>
              <a:gd name="connsiteX30" fmla="*/ 3315389 w 3435742"/>
              <a:gd name="connsiteY30" fmla="*/ 2882686 h 3973642"/>
              <a:gd name="connsiteX31" fmla="*/ 3310733 w 3435742"/>
              <a:gd name="connsiteY31" fmla="*/ 2896042 h 3973642"/>
              <a:gd name="connsiteX32" fmla="*/ 3295966 w 3435742"/>
              <a:gd name="connsiteY32" fmla="*/ 2928446 h 3973642"/>
              <a:gd name="connsiteX33" fmla="*/ 3267865 w 3435742"/>
              <a:gd name="connsiteY33" fmla="*/ 2994653 h 3973642"/>
              <a:gd name="connsiteX34" fmla="*/ 3253060 w 3435742"/>
              <a:gd name="connsiteY34" fmla="*/ 3022602 h 3973642"/>
              <a:gd name="connsiteX35" fmla="*/ 3245868 w 3435742"/>
              <a:gd name="connsiteY35" fmla="*/ 3038385 h 3973642"/>
              <a:gd name="connsiteX36" fmla="*/ 3229669 w 3435742"/>
              <a:gd name="connsiteY36" fmla="*/ 3066757 h 3973642"/>
              <a:gd name="connsiteX37" fmla="*/ 3199540 w 3435742"/>
              <a:gd name="connsiteY37" fmla="*/ 3123637 h 3973642"/>
              <a:gd name="connsiteX38" fmla="*/ 3178893 w 3435742"/>
              <a:gd name="connsiteY38" fmla="*/ 3155700 h 3973642"/>
              <a:gd name="connsiteX39" fmla="*/ 3168773 w 3435742"/>
              <a:gd name="connsiteY39" fmla="*/ 3173426 h 3973642"/>
              <a:gd name="connsiteX40" fmla="*/ 3151929 w 3435742"/>
              <a:gd name="connsiteY40" fmla="*/ 3197570 h 3973642"/>
              <a:gd name="connsiteX41" fmla="*/ 3120859 w 3435742"/>
              <a:gd name="connsiteY41" fmla="*/ 3245820 h 3973642"/>
              <a:gd name="connsiteX42" fmla="*/ 3093506 w 3435742"/>
              <a:gd name="connsiteY42" fmla="*/ 3281318 h 3973642"/>
              <a:gd name="connsiteX43" fmla="*/ 3080157 w 3435742"/>
              <a:gd name="connsiteY43" fmla="*/ 3300456 h 3973642"/>
              <a:gd name="connsiteX44" fmla="*/ 3063382 w 3435742"/>
              <a:gd name="connsiteY44" fmla="*/ 3320415 h 3973642"/>
              <a:gd name="connsiteX45" fmla="*/ 3032406 w 3435742"/>
              <a:gd name="connsiteY45" fmla="*/ 3360617 h 3973642"/>
              <a:gd name="connsiteX46" fmla="*/ 2997504 w 3435742"/>
              <a:gd name="connsiteY46" fmla="*/ 3398805 h 3973642"/>
              <a:gd name="connsiteX47" fmla="*/ 2980733 w 3435742"/>
              <a:gd name="connsiteY47" fmla="*/ 3418761 h 3973642"/>
              <a:gd name="connsiteX48" fmla="*/ 2964674 w 3435742"/>
              <a:gd name="connsiteY48" fmla="*/ 3434723 h 3973642"/>
              <a:gd name="connsiteX49" fmla="*/ 2934770 w 3435742"/>
              <a:gd name="connsiteY49" fmla="*/ 3467442 h 3973642"/>
              <a:gd name="connsiteX50" fmla="*/ 2891447 w 3435742"/>
              <a:gd name="connsiteY50" fmla="*/ 3507516 h 3973642"/>
              <a:gd name="connsiteX51" fmla="*/ 2871210 w 3435742"/>
              <a:gd name="connsiteY51" fmla="*/ 3527632 h 3973642"/>
              <a:gd name="connsiteX52" fmla="*/ 2856456 w 3435742"/>
              <a:gd name="connsiteY52" fmla="*/ 3539881 h 3973642"/>
              <a:gd name="connsiteX53" fmla="*/ 2828534 w 3435742"/>
              <a:gd name="connsiteY53" fmla="*/ 3565708 h 3973642"/>
              <a:gd name="connsiteX54" fmla="*/ 2775821 w 3435742"/>
              <a:gd name="connsiteY54" fmla="*/ 3606830 h 3973642"/>
              <a:gd name="connsiteX55" fmla="*/ 2752301 w 3435742"/>
              <a:gd name="connsiteY55" fmla="*/ 3626359 h 3973642"/>
              <a:gd name="connsiteX56" fmla="*/ 2739383 w 3435742"/>
              <a:gd name="connsiteY56" fmla="*/ 3635254 h 3973642"/>
              <a:gd name="connsiteX57" fmla="*/ 2714285 w 3435742"/>
              <a:gd name="connsiteY57" fmla="*/ 3654833 h 3973642"/>
              <a:gd name="connsiteX58" fmla="*/ 2650942 w 3435742"/>
              <a:gd name="connsiteY58" fmla="*/ 3696165 h 3973642"/>
              <a:gd name="connsiteX59" fmla="*/ 2624716 w 3435742"/>
              <a:gd name="connsiteY59" fmla="*/ 3714229 h 3973642"/>
              <a:gd name="connsiteX60" fmla="*/ 2614117 w 3435742"/>
              <a:gd name="connsiteY60" fmla="*/ 3720193 h 3973642"/>
              <a:gd name="connsiteX61" fmla="*/ 2592607 w 3435742"/>
              <a:gd name="connsiteY61" fmla="*/ 3734229 h 3973642"/>
              <a:gd name="connsiteX62" fmla="*/ 2516709 w 3435742"/>
              <a:gd name="connsiteY62" fmla="*/ 3775026 h 3973642"/>
              <a:gd name="connsiteX63" fmla="*/ 2489165 w 3435742"/>
              <a:gd name="connsiteY63" fmla="*/ 3790531 h 3973642"/>
              <a:gd name="connsiteX64" fmla="*/ 2481322 w 3435742"/>
              <a:gd name="connsiteY64" fmla="*/ 3794047 h 3973642"/>
              <a:gd name="connsiteX65" fmla="*/ 2464088 w 3435742"/>
              <a:gd name="connsiteY65" fmla="*/ 3803311 h 3973642"/>
              <a:gd name="connsiteX66" fmla="*/ 2371745 w 3435742"/>
              <a:gd name="connsiteY66" fmla="*/ 3843173 h 3973642"/>
              <a:gd name="connsiteX67" fmla="*/ 2346361 w 3435742"/>
              <a:gd name="connsiteY67" fmla="*/ 3854554 h 3973642"/>
              <a:gd name="connsiteX68" fmla="*/ 2341666 w 3435742"/>
              <a:gd name="connsiteY68" fmla="*/ 3856159 h 3973642"/>
              <a:gd name="connsiteX69" fmla="*/ 2329311 w 3435742"/>
              <a:gd name="connsiteY69" fmla="*/ 3861493 h 3973642"/>
              <a:gd name="connsiteX70" fmla="*/ 2208945 w 3435742"/>
              <a:gd name="connsiteY70" fmla="*/ 3901511 h 3973642"/>
              <a:gd name="connsiteX71" fmla="*/ 2197015 w 3435742"/>
              <a:gd name="connsiteY71" fmla="*/ 3905588 h 3973642"/>
              <a:gd name="connsiteX72" fmla="*/ 2195817 w 3435742"/>
              <a:gd name="connsiteY72" fmla="*/ 3905877 h 3973642"/>
              <a:gd name="connsiteX73" fmla="*/ 2188863 w 3435742"/>
              <a:gd name="connsiteY73" fmla="*/ 3908188 h 3973642"/>
              <a:gd name="connsiteX74" fmla="*/ 1893294 w 3435742"/>
              <a:gd name="connsiteY74" fmla="*/ 3964784 h 3973642"/>
              <a:gd name="connsiteX75" fmla="*/ 1886580 w 3435742"/>
              <a:gd name="connsiteY75" fmla="*/ 3965122 h 3973642"/>
              <a:gd name="connsiteX76" fmla="*/ 1881540 w 3435742"/>
              <a:gd name="connsiteY76" fmla="*/ 3965842 h 3973642"/>
              <a:gd name="connsiteX77" fmla="*/ 1798469 w 3435742"/>
              <a:gd name="connsiteY77" fmla="*/ 3969777 h 3973642"/>
              <a:gd name="connsiteX78" fmla="*/ 1798469 w 3435742"/>
              <a:gd name="connsiteY78" fmla="*/ 3973641 h 3973642"/>
              <a:gd name="connsiteX79" fmla="*/ 1717877 w 3435742"/>
              <a:gd name="connsiteY79" fmla="*/ 3973641 h 3973642"/>
              <a:gd name="connsiteX80" fmla="*/ 1717860 w 3435742"/>
              <a:gd name="connsiteY80" fmla="*/ 3973642 h 3973642"/>
              <a:gd name="connsiteX81" fmla="*/ 1717844 w 3435742"/>
              <a:gd name="connsiteY81" fmla="*/ 3973641 h 3973642"/>
              <a:gd name="connsiteX82" fmla="*/ 1716833 w 3435742"/>
              <a:gd name="connsiteY82" fmla="*/ 3973641 h 3973642"/>
              <a:gd name="connsiteX83" fmla="*/ 2030 w 3435742"/>
              <a:gd name="connsiteY83" fmla="*/ 3973641 h 3973642"/>
              <a:gd name="connsiteX84" fmla="*/ 2030 w 3435742"/>
              <a:gd name="connsiteY84" fmla="*/ 2348229 h 3973642"/>
              <a:gd name="connsiteX85" fmla="*/ 0 w 3435742"/>
              <a:gd name="connsiteY85" fmla="*/ 2348229 h 3973642"/>
              <a:gd name="connsiteX86" fmla="*/ 0 w 3435742"/>
              <a:gd name="connsiteY86" fmla="*/ 2257298 h 3973642"/>
              <a:gd name="connsiteX87" fmla="*/ 0 w 3435742"/>
              <a:gd name="connsiteY87" fmla="*/ 2033495 h 3973642"/>
              <a:gd name="connsiteX88" fmla="*/ 0 w 3435742"/>
              <a:gd name="connsiteY88" fmla="*/ 1928661 h 3973642"/>
              <a:gd name="connsiteX89" fmla="*/ 0 w 3435742"/>
              <a:gd name="connsiteY89" fmla="*/ 1742298 h 3973642"/>
              <a:gd name="connsiteX90" fmla="*/ 0 w 3435742"/>
              <a:gd name="connsiteY90" fmla="*/ 1716345 h 3973642"/>
              <a:gd name="connsiteX91" fmla="*/ 2050 w 3435742"/>
              <a:gd name="connsiteY91" fmla="*/ 1716345 h 3973642"/>
              <a:gd name="connsiteX92" fmla="*/ 2050 w 3435742"/>
              <a:gd name="connsiteY92" fmla="*/ 1715831 h 3973642"/>
              <a:gd name="connsiteX93" fmla="*/ 2050 w 3435742"/>
              <a:gd name="connsiteY93" fmla="*/ 1693813 h 3973642"/>
              <a:gd name="connsiteX94" fmla="*/ 2050 w 3435742"/>
              <a:gd name="connsiteY94" fmla="*/ 1625413 h 3973642"/>
              <a:gd name="connsiteX95" fmla="*/ 6332 w 3435742"/>
              <a:gd name="connsiteY95" fmla="*/ 1625413 h 3973642"/>
              <a:gd name="connsiteX96" fmla="*/ 9844 w 3435742"/>
              <a:gd name="connsiteY96" fmla="*/ 1551223 h 3973642"/>
              <a:gd name="connsiteX97" fmla="*/ 10737 w 3435742"/>
              <a:gd name="connsiteY97" fmla="*/ 1544843 h 3973642"/>
              <a:gd name="connsiteX98" fmla="*/ 10915 w 3435742"/>
              <a:gd name="connsiteY98" fmla="*/ 1541320 h 3973642"/>
              <a:gd name="connsiteX99" fmla="*/ 15915 w 3435742"/>
              <a:gd name="connsiteY99" fmla="*/ 1507860 h 3973642"/>
              <a:gd name="connsiteX100" fmla="*/ 30891 w 3435742"/>
              <a:gd name="connsiteY100" fmla="*/ 1400891 h 3973642"/>
              <a:gd name="connsiteX101" fmla="*/ 33737 w 3435742"/>
              <a:gd name="connsiteY101" fmla="*/ 1388588 h 3973642"/>
              <a:gd name="connsiteX102" fmla="*/ 34819 w 3435742"/>
              <a:gd name="connsiteY102" fmla="*/ 1381342 h 3973642"/>
              <a:gd name="connsiteX103" fmla="*/ 44066 w 3435742"/>
              <a:gd name="connsiteY103" fmla="*/ 1343936 h 3973642"/>
              <a:gd name="connsiteX104" fmla="*/ 64635 w 3435742"/>
              <a:gd name="connsiteY104" fmla="*/ 1255017 h 3973642"/>
              <a:gd name="connsiteX105" fmla="*/ 70493 w 3435742"/>
              <a:gd name="connsiteY105" fmla="*/ 1237029 h 3973642"/>
              <a:gd name="connsiteX106" fmla="*/ 73088 w 3435742"/>
              <a:gd name="connsiteY106" fmla="*/ 1226531 h 3973642"/>
              <a:gd name="connsiteX107" fmla="*/ 85564 w 3435742"/>
              <a:gd name="connsiteY107" fmla="*/ 1190746 h 3973642"/>
              <a:gd name="connsiteX108" fmla="*/ 110492 w 3435742"/>
              <a:gd name="connsiteY108" fmla="*/ 1114188 h 3973642"/>
              <a:gd name="connsiteX109" fmla="*/ 120353 w 3435742"/>
              <a:gd name="connsiteY109" fmla="*/ 1090957 h 3973642"/>
              <a:gd name="connsiteX110" fmla="*/ 125010 w 3435742"/>
              <a:gd name="connsiteY110" fmla="*/ 1077600 h 3973642"/>
              <a:gd name="connsiteX111" fmla="*/ 139776 w 3435742"/>
              <a:gd name="connsiteY111" fmla="*/ 1045196 h 3973642"/>
              <a:gd name="connsiteX112" fmla="*/ 167877 w 3435742"/>
              <a:gd name="connsiteY112" fmla="*/ 978988 h 3973642"/>
              <a:gd name="connsiteX113" fmla="*/ 182682 w 3435742"/>
              <a:gd name="connsiteY113" fmla="*/ 951041 h 3973642"/>
              <a:gd name="connsiteX114" fmla="*/ 189874 w 3435742"/>
              <a:gd name="connsiteY114" fmla="*/ 935257 h 3973642"/>
              <a:gd name="connsiteX115" fmla="*/ 206073 w 3435742"/>
              <a:gd name="connsiteY115" fmla="*/ 906886 h 3973642"/>
              <a:gd name="connsiteX116" fmla="*/ 236202 w 3435742"/>
              <a:gd name="connsiteY116" fmla="*/ 850005 h 3973642"/>
              <a:gd name="connsiteX117" fmla="*/ 256849 w 3435742"/>
              <a:gd name="connsiteY117" fmla="*/ 817942 h 3973642"/>
              <a:gd name="connsiteX118" fmla="*/ 266970 w 3435742"/>
              <a:gd name="connsiteY118" fmla="*/ 800216 h 3973642"/>
              <a:gd name="connsiteX119" fmla="*/ 283813 w 3435742"/>
              <a:gd name="connsiteY119" fmla="*/ 776072 h 3973642"/>
              <a:gd name="connsiteX120" fmla="*/ 314883 w 3435742"/>
              <a:gd name="connsiteY120" fmla="*/ 727822 h 3973642"/>
              <a:gd name="connsiteX121" fmla="*/ 342236 w 3435742"/>
              <a:gd name="connsiteY121" fmla="*/ 692324 h 3973642"/>
              <a:gd name="connsiteX122" fmla="*/ 355585 w 3435742"/>
              <a:gd name="connsiteY122" fmla="*/ 673187 h 3973642"/>
              <a:gd name="connsiteX123" fmla="*/ 372360 w 3435742"/>
              <a:gd name="connsiteY123" fmla="*/ 653227 h 3973642"/>
              <a:gd name="connsiteX124" fmla="*/ 403336 w 3435742"/>
              <a:gd name="connsiteY124" fmla="*/ 613025 h 3973642"/>
              <a:gd name="connsiteX125" fmla="*/ 438238 w 3435742"/>
              <a:gd name="connsiteY125" fmla="*/ 574838 h 3973642"/>
              <a:gd name="connsiteX126" fmla="*/ 455009 w 3435742"/>
              <a:gd name="connsiteY126" fmla="*/ 554882 h 3973642"/>
              <a:gd name="connsiteX127" fmla="*/ 471068 w 3435742"/>
              <a:gd name="connsiteY127" fmla="*/ 538919 h 3973642"/>
              <a:gd name="connsiteX128" fmla="*/ 500972 w 3435742"/>
              <a:gd name="connsiteY128" fmla="*/ 506200 h 3973642"/>
              <a:gd name="connsiteX129" fmla="*/ 544295 w 3435742"/>
              <a:gd name="connsiteY129" fmla="*/ 466127 h 3973642"/>
              <a:gd name="connsiteX130" fmla="*/ 564532 w 3435742"/>
              <a:gd name="connsiteY130" fmla="*/ 446010 h 3973642"/>
              <a:gd name="connsiteX131" fmla="*/ 579286 w 3435742"/>
              <a:gd name="connsiteY131" fmla="*/ 433761 h 3973642"/>
              <a:gd name="connsiteX132" fmla="*/ 607207 w 3435742"/>
              <a:gd name="connsiteY132" fmla="*/ 407933 h 3973642"/>
              <a:gd name="connsiteX133" fmla="*/ 659921 w 3435742"/>
              <a:gd name="connsiteY133" fmla="*/ 366813 h 3973642"/>
              <a:gd name="connsiteX134" fmla="*/ 683442 w 3435742"/>
              <a:gd name="connsiteY134" fmla="*/ 347283 h 3973642"/>
              <a:gd name="connsiteX135" fmla="*/ 696358 w 3435742"/>
              <a:gd name="connsiteY135" fmla="*/ 338388 h 3973642"/>
              <a:gd name="connsiteX136" fmla="*/ 721457 w 3435742"/>
              <a:gd name="connsiteY136" fmla="*/ 318809 h 3973642"/>
              <a:gd name="connsiteX137" fmla="*/ 784800 w 3435742"/>
              <a:gd name="connsiteY137" fmla="*/ 277477 h 3973642"/>
              <a:gd name="connsiteX138" fmla="*/ 811027 w 3435742"/>
              <a:gd name="connsiteY138" fmla="*/ 259414 h 3973642"/>
              <a:gd name="connsiteX139" fmla="*/ 821625 w 3435742"/>
              <a:gd name="connsiteY139" fmla="*/ 253449 h 3973642"/>
              <a:gd name="connsiteX140" fmla="*/ 843135 w 3435742"/>
              <a:gd name="connsiteY140" fmla="*/ 239414 h 3973642"/>
              <a:gd name="connsiteX141" fmla="*/ 919033 w 3435742"/>
              <a:gd name="connsiteY141" fmla="*/ 198616 h 3973642"/>
              <a:gd name="connsiteX142" fmla="*/ 946577 w 3435742"/>
              <a:gd name="connsiteY142" fmla="*/ 183112 h 3973642"/>
              <a:gd name="connsiteX143" fmla="*/ 954420 w 3435742"/>
              <a:gd name="connsiteY143" fmla="*/ 179595 h 3973642"/>
              <a:gd name="connsiteX144" fmla="*/ 971655 w 3435742"/>
              <a:gd name="connsiteY144" fmla="*/ 170331 h 3973642"/>
              <a:gd name="connsiteX145" fmla="*/ 1063997 w 3435742"/>
              <a:gd name="connsiteY145" fmla="*/ 130469 h 3973642"/>
              <a:gd name="connsiteX146" fmla="*/ 1089381 w 3435742"/>
              <a:gd name="connsiteY146" fmla="*/ 119088 h 3973642"/>
              <a:gd name="connsiteX147" fmla="*/ 1094076 w 3435742"/>
              <a:gd name="connsiteY147" fmla="*/ 117484 h 3973642"/>
              <a:gd name="connsiteX148" fmla="*/ 1106431 w 3435742"/>
              <a:gd name="connsiteY148" fmla="*/ 112150 h 3973642"/>
              <a:gd name="connsiteX149" fmla="*/ 1226798 w 3435742"/>
              <a:gd name="connsiteY149" fmla="*/ 72132 h 3973642"/>
              <a:gd name="connsiteX150" fmla="*/ 1238727 w 3435742"/>
              <a:gd name="connsiteY150" fmla="*/ 68054 h 3973642"/>
              <a:gd name="connsiteX151" fmla="*/ 1239925 w 3435742"/>
              <a:gd name="connsiteY151" fmla="*/ 67765 h 3973642"/>
              <a:gd name="connsiteX152" fmla="*/ 1246879 w 3435742"/>
              <a:gd name="connsiteY152" fmla="*/ 65454 h 3973642"/>
              <a:gd name="connsiteX153" fmla="*/ 1542447 w 3435742"/>
              <a:gd name="connsiteY153" fmla="*/ 8859 h 3973642"/>
              <a:gd name="connsiteX154" fmla="*/ 1549163 w 3435742"/>
              <a:gd name="connsiteY154" fmla="*/ 8521 h 3973642"/>
              <a:gd name="connsiteX155" fmla="*/ 1554203 w 3435742"/>
              <a:gd name="connsiteY155" fmla="*/ 7799 h 3973642"/>
              <a:gd name="connsiteX156" fmla="*/ 1637273 w 3435742"/>
              <a:gd name="connsiteY156" fmla="*/ 3866 h 3973642"/>
              <a:gd name="connsiteX157" fmla="*/ 1637273 w 3435742"/>
              <a:gd name="connsiteY157" fmla="*/ 1 h 3973642"/>
              <a:gd name="connsiteX158" fmla="*/ 1717865 w 3435742"/>
              <a:gd name="connsiteY158" fmla="*/ 1 h 3973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3435742" h="3973642">
                <a:moveTo>
                  <a:pt x="1717881" y="0"/>
                </a:moveTo>
                <a:lnTo>
                  <a:pt x="1717898" y="1"/>
                </a:lnTo>
                <a:lnTo>
                  <a:pt x="1718909" y="1"/>
                </a:lnTo>
                <a:lnTo>
                  <a:pt x="3433713" y="1"/>
                </a:lnTo>
                <a:lnTo>
                  <a:pt x="3433713" y="1625413"/>
                </a:lnTo>
                <a:lnTo>
                  <a:pt x="3435742" y="1625413"/>
                </a:lnTo>
                <a:lnTo>
                  <a:pt x="3435742" y="1716345"/>
                </a:lnTo>
                <a:lnTo>
                  <a:pt x="3435742" y="1742298"/>
                </a:lnTo>
                <a:lnTo>
                  <a:pt x="3435742" y="1928661"/>
                </a:lnTo>
                <a:lnTo>
                  <a:pt x="3435742" y="2033495"/>
                </a:lnTo>
                <a:lnTo>
                  <a:pt x="3435742" y="2257297"/>
                </a:lnTo>
                <a:lnTo>
                  <a:pt x="3433692" y="2257297"/>
                </a:lnTo>
                <a:lnTo>
                  <a:pt x="3433692" y="2257298"/>
                </a:lnTo>
                <a:lnTo>
                  <a:pt x="3433692" y="2257811"/>
                </a:lnTo>
                <a:lnTo>
                  <a:pt x="3433692" y="2279828"/>
                </a:lnTo>
                <a:lnTo>
                  <a:pt x="3433692" y="2348229"/>
                </a:lnTo>
                <a:lnTo>
                  <a:pt x="3429411" y="2348229"/>
                </a:lnTo>
                <a:lnTo>
                  <a:pt x="3425898" y="2422420"/>
                </a:lnTo>
                <a:lnTo>
                  <a:pt x="3425005" y="2428799"/>
                </a:lnTo>
                <a:lnTo>
                  <a:pt x="3424827" y="2432322"/>
                </a:lnTo>
                <a:lnTo>
                  <a:pt x="3419827" y="2465782"/>
                </a:lnTo>
                <a:lnTo>
                  <a:pt x="3404851" y="2572751"/>
                </a:lnTo>
                <a:lnTo>
                  <a:pt x="3402005" y="2585054"/>
                </a:lnTo>
                <a:lnTo>
                  <a:pt x="3400923" y="2592300"/>
                </a:lnTo>
                <a:lnTo>
                  <a:pt x="3391676" y="2629706"/>
                </a:lnTo>
                <a:lnTo>
                  <a:pt x="3371107" y="2718624"/>
                </a:lnTo>
                <a:lnTo>
                  <a:pt x="3365249" y="2736614"/>
                </a:lnTo>
                <a:lnTo>
                  <a:pt x="3362654" y="2747111"/>
                </a:lnTo>
                <a:lnTo>
                  <a:pt x="3350179" y="2782897"/>
                </a:lnTo>
                <a:lnTo>
                  <a:pt x="3325250" y="2859454"/>
                </a:lnTo>
                <a:lnTo>
                  <a:pt x="3315389" y="2882686"/>
                </a:lnTo>
                <a:lnTo>
                  <a:pt x="3310733" y="2896042"/>
                </a:lnTo>
                <a:lnTo>
                  <a:pt x="3295966" y="2928446"/>
                </a:lnTo>
                <a:lnTo>
                  <a:pt x="3267865" y="2994653"/>
                </a:lnTo>
                <a:lnTo>
                  <a:pt x="3253060" y="3022602"/>
                </a:lnTo>
                <a:lnTo>
                  <a:pt x="3245868" y="3038385"/>
                </a:lnTo>
                <a:lnTo>
                  <a:pt x="3229669" y="3066757"/>
                </a:lnTo>
                <a:lnTo>
                  <a:pt x="3199540" y="3123637"/>
                </a:lnTo>
                <a:lnTo>
                  <a:pt x="3178893" y="3155700"/>
                </a:lnTo>
                <a:lnTo>
                  <a:pt x="3168773" y="3173426"/>
                </a:lnTo>
                <a:lnTo>
                  <a:pt x="3151929" y="3197570"/>
                </a:lnTo>
                <a:lnTo>
                  <a:pt x="3120859" y="3245820"/>
                </a:lnTo>
                <a:lnTo>
                  <a:pt x="3093506" y="3281318"/>
                </a:lnTo>
                <a:lnTo>
                  <a:pt x="3080157" y="3300456"/>
                </a:lnTo>
                <a:lnTo>
                  <a:pt x="3063382" y="3320415"/>
                </a:lnTo>
                <a:lnTo>
                  <a:pt x="3032406" y="3360617"/>
                </a:lnTo>
                <a:lnTo>
                  <a:pt x="2997504" y="3398805"/>
                </a:lnTo>
                <a:lnTo>
                  <a:pt x="2980733" y="3418761"/>
                </a:lnTo>
                <a:lnTo>
                  <a:pt x="2964674" y="3434723"/>
                </a:lnTo>
                <a:lnTo>
                  <a:pt x="2934770" y="3467442"/>
                </a:lnTo>
                <a:lnTo>
                  <a:pt x="2891447" y="3507516"/>
                </a:lnTo>
                <a:lnTo>
                  <a:pt x="2871210" y="3527632"/>
                </a:lnTo>
                <a:lnTo>
                  <a:pt x="2856456" y="3539881"/>
                </a:lnTo>
                <a:lnTo>
                  <a:pt x="2828534" y="3565708"/>
                </a:lnTo>
                <a:lnTo>
                  <a:pt x="2775821" y="3606830"/>
                </a:lnTo>
                <a:lnTo>
                  <a:pt x="2752301" y="3626359"/>
                </a:lnTo>
                <a:lnTo>
                  <a:pt x="2739383" y="3635254"/>
                </a:lnTo>
                <a:lnTo>
                  <a:pt x="2714285" y="3654833"/>
                </a:lnTo>
                <a:lnTo>
                  <a:pt x="2650942" y="3696165"/>
                </a:lnTo>
                <a:lnTo>
                  <a:pt x="2624716" y="3714229"/>
                </a:lnTo>
                <a:lnTo>
                  <a:pt x="2614117" y="3720193"/>
                </a:lnTo>
                <a:lnTo>
                  <a:pt x="2592607" y="3734229"/>
                </a:lnTo>
                <a:lnTo>
                  <a:pt x="2516709" y="3775026"/>
                </a:lnTo>
                <a:lnTo>
                  <a:pt x="2489165" y="3790531"/>
                </a:lnTo>
                <a:lnTo>
                  <a:pt x="2481322" y="3794047"/>
                </a:lnTo>
                <a:lnTo>
                  <a:pt x="2464088" y="3803311"/>
                </a:lnTo>
                <a:lnTo>
                  <a:pt x="2371745" y="3843173"/>
                </a:lnTo>
                <a:lnTo>
                  <a:pt x="2346361" y="3854554"/>
                </a:lnTo>
                <a:lnTo>
                  <a:pt x="2341666" y="3856159"/>
                </a:lnTo>
                <a:lnTo>
                  <a:pt x="2329311" y="3861493"/>
                </a:lnTo>
                <a:lnTo>
                  <a:pt x="2208945" y="3901511"/>
                </a:lnTo>
                <a:lnTo>
                  <a:pt x="2197015" y="3905588"/>
                </a:lnTo>
                <a:lnTo>
                  <a:pt x="2195817" y="3905877"/>
                </a:lnTo>
                <a:lnTo>
                  <a:pt x="2188863" y="3908188"/>
                </a:lnTo>
                <a:cubicBezTo>
                  <a:pt x="2093469" y="3935361"/>
                  <a:pt x="1994687" y="3954486"/>
                  <a:pt x="1893294" y="3964784"/>
                </a:cubicBezTo>
                <a:lnTo>
                  <a:pt x="1886580" y="3965122"/>
                </a:lnTo>
                <a:lnTo>
                  <a:pt x="1881540" y="3965842"/>
                </a:lnTo>
                <a:lnTo>
                  <a:pt x="1798469" y="3969777"/>
                </a:lnTo>
                <a:lnTo>
                  <a:pt x="1798469" y="3973641"/>
                </a:lnTo>
                <a:lnTo>
                  <a:pt x="1717877" y="3973641"/>
                </a:lnTo>
                <a:lnTo>
                  <a:pt x="1717860" y="3973642"/>
                </a:lnTo>
                <a:lnTo>
                  <a:pt x="1717844" y="3973641"/>
                </a:lnTo>
                <a:lnTo>
                  <a:pt x="1716833" y="3973641"/>
                </a:lnTo>
                <a:lnTo>
                  <a:pt x="2030" y="3973641"/>
                </a:lnTo>
                <a:lnTo>
                  <a:pt x="2030" y="2348229"/>
                </a:lnTo>
                <a:lnTo>
                  <a:pt x="0" y="2348229"/>
                </a:lnTo>
                <a:lnTo>
                  <a:pt x="0" y="2257298"/>
                </a:lnTo>
                <a:lnTo>
                  <a:pt x="0" y="2033495"/>
                </a:lnTo>
                <a:lnTo>
                  <a:pt x="0" y="1928661"/>
                </a:lnTo>
                <a:lnTo>
                  <a:pt x="0" y="1742298"/>
                </a:lnTo>
                <a:lnTo>
                  <a:pt x="0" y="1716345"/>
                </a:lnTo>
                <a:lnTo>
                  <a:pt x="2050" y="1716345"/>
                </a:lnTo>
                <a:lnTo>
                  <a:pt x="2050" y="1715831"/>
                </a:lnTo>
                <a:lnTo>
                  <a:pt x="2050" y="1693813"/>
                </a:lnTo>
                <a:lnTo>
                  <a:pt x="2050" y="1625413"/>
                </a:lnTo>
                <a:lnTo>
                  <a:pt x="6332" y="1625413"/>
                </a:lnTo>
                <a:lnTo>
                  <a:pt x="9844" y="1551223"/>
                </a:lnTo>
                <a:lnTo>
                  <a:pt x="10737" y="1544843"/>
                </a:lnTo>
                <a:lnTo>
                  <a:pt x="10915" y="1541320"/>
                </a:lnTo>
                <a:lnTo>
                  <a:pt x="15915" y="1507860"/>
                </a:lnTo>
                <a:lnTo>
                  <a:pt x="30891" y="1400891"/>
                </a:lnTo>
                <a:lnTo>
                  <a:pt x="33737" y="1388588"/>
                </a:lnTo>
                <a:lnTo>
                  <a:pt x="34819" y="1381342"/>
                </a:lnTo>
                <a:lnTo>
                  <a:pt x="44066" y="1343936"/>
                </a:lnTo>
                <a:lnTo>
                  <a:pt x="64635" y="1255017"/>
                </a:lnTo>
                <a:lnTo>
                  <a:pt x="70493" y="1237029"/>
                </a:lnTo>
                <a:lnTo>
                  <a:pt x="73088" y="1226531"/>
                </a:lnTo>
                <a:lnTo>
                  <a:pt x="85564" y="1190746"/>
                </a:lnTo>
                <a:lnTo>
                  <a:pt x="110492" y="1114188"/>
                </a:lnTo>
                <a:lnTo>
                  <a:pt x="120353" y="1090957"/>
                </a:lnTo>
                <a:lnTo>
                  <a:pt x="125010" y="1077600"/>
                </a:lnTo>
                <a:lnTo>
                  <a:pt x="139776" y="1045196"/>
                </a:lnTo>
                <a:lnTo>
                  <a:pt x="167877" y="978988"/>
                </a:lnTo>
                <a:lnTo>
                  <a:pt x="182682" y="951041"/>
                </a:lnTo>
                <a:lnTo>
                  <a:pt x="189874" y="935257"/>
                </a:lnTo>
                <a:lnTo>
                  <a:pt x="206073" y="906886"/>
                </a:lnTo>
                <a:lnTo>
                  <a:pt x="236202" y="850005"/>
                </a:lnTo>
                <a:lnTo>
                  <a:pt x="256849" y="817942"/>
                </a:lnTo>
                <a:lnTo>
                  <a:pt x="266970" y="800216"/>
                </a:lnTo>
                <a:lnTo>
                  <a:pt x="283813" y="776072"/>
                </a:lnTo>
                <a:lnTo>
                  <a:pt x="314883" y="727822"/>
                </a:lnTo>
                <a:lnTo>
                  <a:pt x="342236" y="692324"/>
                </a:lnTo>
                <a:lnTo>
                  <a:pt x="355585" y="673187"/>
                </a:lnTo>
                <a:lnTo>
                  <a:pt x="372360" y="653227"/>
                </a:lnTo>
                <a:lnTo>
                  <a:pt x="403336" y="613025"/>
                </a:lnTo>
                <a:lnTo>
                  <a:pt x="438238" y="574838"/>
                </a:lnTo>
                <a:lnTo>
                  <a:pt x="455009" y="554882"/>
                </a:lnTo>
                <a:lnTo>
                  <a:pt x="471068" y="538919"/>
                </a:lnTo>
                <a:lnTo>
                  <a:pt x="500972" y="506200"/>
                </a:lnTo>
                <a:lnTo>
                  <a:pt x="544295" y="466127"/>
                </a:lnTo>
                <a:lnTo>
                  <a:pt x="564532" y="446010"/>
                </a:lnTo>
                <a:lnTo>
                  <a:pt x="579286" y="433761"/>
                </a:lnTo>
                <a:lnTo>
                  <a:pt x="607207" y="407933"/>
                </a:lnTo>
                <a:lnTo>
                  <a:pt x="659921" y="366813"/>
                </a:lnTo>
                <a:lnTo>
                  <a:pt x="683442" y="347283"/>
                </a:lnTo>
                <a:lnTo>
                  <a:pt x="696358" y="338388"/>
                </a:lnTo>
                <a:lnTo>
                  <a:pt x="721457" y="318809"/>
                </a:lnTo>
                <a:lnTo>
                  <a:pt x="784800" y="277477"/>
                </a:lnTo>
                <a:lnTo>
                  <a:pt x="811027" y="259414"/>
                </a:lnTo>
                <a:lnTo>
                  <a:pt x="821625" y="253449"/>
                </a:lnTo>
                <a:lnTo>
                  <a:pt x="843135" y="239414"/>
                </a:lnTo>
                <a:lnTo>
                  <a:pt x="919033" y="198616"/>
                </a:lnTo>
                <a:lnTo>
                  <a:pt x="946577" y="183112"/>
                </a:lnTo>
                <a:lnTo>
                  <a:pt x="954420" y="179595"/>
                </a:lnTo>
                <a:lnTo>
                  <a:pt x="971655" y="170331"/>
                </a:lnTo>
                <a:lnTo>
                  <a:pt x="1063997" y="130469"/>
                </a:lnTo>
                <a:lnTo>
                  <a:pt x="1089381" y="119088"/>
                </a:lnTo>
                <a:lnTo>
                  <a:pt x="1094076" y="117484"/>
                </a:lnTo>
                <a:lnTo>
                  <a:pt x="1106431" y="112150"/>
                </a:lnTo>
                <a:lnTo>
                  <a:pt x="1226798" y="72132"/>
                </a:lnTo>
                <a:lnTo>
                  <a:pt x="1238727" y="68054"/>
                </a:lnTo>
                <a:lnTo>
                  <a:pt x="1239925" y="67765"/>
                </a:lnTo>
                <a:lnTo>
                  <a:pt x="1246879" y="65454"/>
                </a:lnTo>
                <a:cubicBezTo>
                  <a:pt x="1342272" y="38282"/>
                  <a:pt x="1441055" y="19156"/>
                  <a:pt x="1542447" y="8859"/>
                </a:cubicBezTo>
                <a:lnTo>
                  <a:pt x="1549163" y="8521"/>
                </a:lnTo>
                <a:lnTo>
                  <a:pt x="1554203" y="7799"/>
                </a:lnTo>
                <a:lnTo>
                  <a:pt x="1637273" y="3866"/>
                </a:lnTo>
                <a:lnTo>
                  <a:pt x="1637273" y="1"/>
                </a:lnTo>
                <a:lnTo>
                  <a:pt x="1717865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947E5EA-7CD1-4AB9-8BF8-88EC6942AE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24250" y="264796"/>
            <a:ext cx="3203851" cy="6328408"/>
          </a:xfrm>
          <a:custGeom>
            <a:avLst/>
            <a:gdLst>
              <a:gd name="connsiteX0" fmla="*/ 1601915 w 3203851"/>
              <a:gd name="connsiteY0" fmla="*/ 0 h 6328408"/>
              <a:gd name="connsiteX1" fmla="*/ 1601931 w 3203851"/>
              <a:gd name="connsiteY1" fmla="*/ 1 h 6328408"/>
              <a:gd name="connsiteX2" fmla="*/ 1677083 w 3203851"/>
              <a:gd name="connsiteY2" fmla="*/ 1 h 6328408"/>
              <a:gd name="connsiteX3" fmla="*/ 1677083 w 3203851"/>
              <a:gd name="connsiteY3" fmla="*/ 3604 h 6328408"/>
              <a:gd name="connsiteX4" fmla="*/ 1754548 w 3203851"/>
              <a:gd name="connsiteY4" fmla="*/ 7273 h 6328408"/>
              <a:gd name="connsiteX5" fmla="*/ 1759248 w 3203851"/>
              <a:gd name="connsiteY5" fmla="*/ 7945 h 6328408"/>
              <a:gd name="connsiteX6" fmla="*/ 1765508 w 3203851"/>
              <a:gd name="connsiteY6" fmla="*/ 8260 h 6328408"/>
              <a:gd name="connsiteX7" fmla="*/ 2041128 w 3203851"/>
              <a:gd name="connsiteY7" fmla="*/ 61036 h 6328408"/>
              <a:gd name="connsiteX8" fmla="*/ 2047613 w 3203851"/>
              <a:gd name="connsiteY8" fmla="*/ 63191 h 6328408"/>
              <a:gd name="connsiteX9" fmla="*/ 2048730 w 3203851"/>
              <a:gd name="connsiteY9" fmla="*/ 63461 h 6328408"/>
              <a:gd name="connsiteX10" fmla="*/ 2059855 w 3203851"/>
              <a:gd name="connsiteY10" fmla="*/ 67262 h 6328408"/>
              <a:gd name="connsiteX11" fmla="*/ 2172097 w 3203851"/>
              <a:gd name="connsiteY11" fmla="*/ 104580 h 6328408"/>
              <a:gd name="connsiteX12" fmla="*/ 2183618 w 3203851"/>
              <a:gd name="connsiteY12" fmla="*/ 109554 h 6328408"/>
              <a:gd name="connsiteX13" fmla="*/ 2187996 w 3203851"/>
              <a:gd name="connsiteY13" fmla="*/ 111050 h 6328408"/>
              <a:gd name="connsiteX14" fmla="*/ 2211667 w 3203851"/>
              <a:gd name="connsiteY14" fmla="*/ 121663 h 6328408"/>
              <a:gd name="connsiteX15" fmla="*/ 2297777 w 3203851"/>
              <a:gd name="connsiteY15" fmla="*/ 158835 h 6328408"/>
              <a:gd name="connsiteX16" fmla="*/ 2313848 w 3203851"/>
              <a:gd name="connsiteY16" fmla="*/ 167473 h 6328408"/>
              <a:gd name="connsiteX17" fmla="*/ 2321162 w 3203851"/>
              <a:gd name="connsiteY17" fmla="*/ 170752 h 6328408"/>
              <a:gd name="connsiteX18" fmla="*/ 2346847 w 3203851"/>
              <a:gd name="connsiteY18" fmla="*/ 185211 h 6328408"/>
              <a:gd name="connsiteX19" fmla="*/ 2417622 w 3203851"/>
              <a:gd name="connsiteY19" fmla="*/ 223254 h 6328408"/>
              <a:gd name="connsiteX20" fmla="*/ 2437680 w 3203851"/>
              <a:gd name="connsiteY20" fmla="*/ 236343 h 6328408"/>
              <a:gd name="connsiteX21" fmla="*/ 2447564 w 3203851"/>
              <a:gd name="connsiteY21" fmla="*/ 241904 h 6328408"/>
              <a:gd name="connsiteX22" fmla="*/ 2472020 w 3203851"/>
              <a:gd name="connsiteY22" fmla="*/ 258749 h 6328408"/>
              <a:gd name="connsiteX23" fmla="*/ 2531088 w 3203851"/>
              <a:gd name="connsiteY23" fmla="*/ 297291 h 6328408"/>
              <a:gd name="connsiteX24" fmla="*/ 2554492 w 3203851"/>
              <a:gd name="connsiteY24" fmla="*/ 315549 h 6328408"/>
              <a:gd name="connsiteX25" fmla="*/ 2566538 w 3203851"/>
              <a:gd name="connsiteY25" fmla="*/ 323843 h 6328408"/>
              <a:gd name="connsiteX26" fmla="*/ 2588470 w 3203851"/>
              <a:gd name="connsiteY26" fmla="*/ 342054 h 6328408"/>
              <a:gd name="connsiteX27" fmla="*/ 2637626 w 3203851"/>
              <a:gd name="connsiteY27" fmla="*/ 380401 h 6328408"/>
              <a:gd name="connsiteX28" fmla="*/ 2663663 w 3203851"/>
              <a:gd name="connsiteY28" fmla="*/ 404485 h 6328408"/>
              <a:gd name="connsiteX29" fmla="*/ 2677421 w 3203851"/>
              <a:gd name="connsiteY29" fmla="*/ 415907 h 6328408"/>
              <a:gd name="connsiteX30" fmla="*/ 2696292 w 3203851"/>
              <a:gd name="connsiteY30" fmla="*/ 434665 h 6328408"/>
              <a:gd name="connsiteX31" fmla="*/ 2736691 w 3203851"/>
              <a:gd name="connsiteY31" fmla="*/ 472035 h 6328408"/>
              <a:gd name="connsiteX32" fmla="*/ 2764577 w 3203851"/>
              <a:gd name="connsiteY32" fmla="*/ 502545 h 6328408"/>
              <a:gd name="connsiteX33" fmla="*/ 2779552 w 3203851"/>
              <a:gd name="connsiteY33" fmla="*/ 517430 h 6328408"/>
              <a:gd name="connsiteX34" fmla="*/ 2795191 w 3203851"/>
              <a:gd name="connsiteY34" fmla="*/ 536039 h 6328408"/>
              <a:gd name="connsiteX35" fmla="*/ 2827738 w 3203851"/>
              <a:gd name="connsiteY35" fmla="*/ 571650 h 6328408"/>
              <a:gd name="connsiteX36" fmla="*/ 2856623 w 3203851"/>
              <a:gd name="connsiteY36" fmla="*/ 609138 h 6328408"/>
              <a:gd name="connsiteX37" fmla="*/ 2872266 w 3203851"/>
              <a:gd name="connsiteY37" fmla="*/ 627750 h 6328408"/>
              <a:gd name="connsiteX38" fmla="*/ 2884714 w 3203851"/>
              <a:gd name="connsiteY38" fmla="*/ 645596 h 6328408"/>
              <a:gd name="connsiteX39" fmla="*/ 2910220 w 3203851"/>
              <a:gd name="connsiteY39" fmla="*/ 678698 h 6328408"/>
              <a:gd name="connsiteX40" fmla="*/ 2939193 w 3203851"/>
              <a:gd name="connsiteY40" fmla="*/ 723692 h 6328408"/>
              <a:gd name="connsiteX41" fmla="*/ 2954901 w 3203851"/>
              <a:gd name="connsiteY41" fmla="*/ 746206 h 6328408"/>
              <a:gd name="connsiteX42" fmla="*/ 2964338 w 3203851"/>
              <a:gd name="connsiteY42" fmla="*/ 762736 h 6328408"/>
              <a:gd name="connsiteX43" fmla="*/ 2983591 w 3203851"/>
              <a:gd name="connsiteY43" fmla="*/ 792635 h 6328408"/>
              <a:gd name="connsiteX44" fmla="*/ 3011687 w 3203851"/>
              <a:gd name="connsiteY44" fmla="*/ 845676 h 6328408"/>
              <a:gd name="connsiteX45" fmla="*/ 3026792 w 3203851"/>
              <a:gd name="connsiteY45" fmla="*/ 872133 h 6328408"/>
              <a:gd name="connsiteX46" fmla="*/ 3033499 w 3203851"/>
              <a:gd name="connsiteY46" fmla="*/ 886851 h 6328408"/>
              <a:gd name="connsiteX47" fmla="*/ 3047305 w 3203851"/>
              <a:gd name="connsiteY47" fmla="*/ 912913 h 6328408"/>
              <a:gd name="connsiteX48" fmla="*/ 3073509 w 3203851"/>
              <a:gd name="connsiteY48" fmla="*/ 974652 h 6328408"/>
              <a:gd name="connsiteX49" fmla="*/ 3087279 w 3203851"/>
              <a:gd name="connsiteY49" fmla="*/ 1004869 h 6328408"/>
              <a:gd name="connsiteX50" fmla="*/ 3091621 w 3203851"/>
              <a:gd name="connsiteY50" fmla="*/ 1017323 h 6328408"/>
              <a:gd name="connsiteX51" fmla="*/ 3100816 w 3203851"/>
              <a:gd name="connsiteY51" fmla="*/ 1038987 h 6328408"/>
              <a:gd name="connsiteX52" fmla="*/ 3124063 w 3203851"/>
              <a:gd name="connsiteY52" fmla="*/ 1110377 h 6328408"/>
              <a:gd name="connsiteX53" fmla="*/ 3135696 w 3203851"/>
              <a:gd name="connsiteY53" fmla="*/ 1143748 h 6328408"/>
              <a:gd name="connsiteX54" fmla="*/ 3138116 w 3203851"/>
              <a:gd name="connsiteY54" fmla="*/ 1153536 h 6328408"/>
              <a:gd name="connsiteX55" fmla="*/ 3143578 w 3203851"/>
              <a:gd name="connsiteY55" fmla="*/ 1170312 h 6328408"/>
              <a:gd name="connsiteX56" fmla="*/ 3162759 w 3203851"/>
              <a:gd name="connsiteY56" fmla="*/ 1253229 h 6328408"/>
              <a:gd name="connsiteX57" fmla="*/ 3171382 w 3203851"/>
              <a:gd name="connsiteY57" fmla="*/ 1288110 h 6328408"/>
              <a:gd name="connsiteX58" fmla="*/ 3172391 w 3203851"/>
              <a:gd name="connsiteY58" fmla="*/ 1294867 h 6328408"/>
              <a:gd name="connsiteX59" fmla="*/ 3175045 w 3203851"/>
              <a:gd name="connsiteY59" fmla="*/ 1306339 h 6328408"/>
              <a:gd name="connsiteX60" fmla="*/ 3189010 w 3203851"/>
              <a:gd name="connsiteY60" fmla="*/ 1406089 h 6328408"/>
              <a:gd name="connsiteX61" fmla="*/ 3193673 w 3203851"/>
              <a:gd name="connsiteY61" fmla="*/ 1437290 h 6328408"/>
              <a:gd name="connsiteX62" fmla="*/ 3193839 w 3203851"/>
              <a:gd name="connsiteY62" fmla="*/ 1440576 h 6328408"/>
              <a:gd name="connsiteX63" fmla="*/ 3194671 w 3203851"/>
              <a:gd name="connsiteY63" fmla="*/ 1446524 h 6328408"/>
              <a:gd name="connsiteX64" fmla="*/ 3197947 w 3203851"/>
              <a:gd name="connsiteY64" fmla="*/ 1515708 h 6328408"/>
              <a:gd name="connsiteX65" fmla="*/ 3201939 w 3203851"/>
              <a:gd name="connsiteY65" fmla="*/ 1515708 h 6328408"/>
              <a:gd name="connsiteX66" fmla="*/ 3201939 w 3203851"/>
              <a:gd name="connsiteY66" fmla="*/ 1579492 h 6328408"/>
              <a:gd name="connsiteX67" fmla="*/ 3201939 w 3203851"/>
              <a:gd name="connsiteY67" fmla="*/ 1600023 h 6328408"/>
              <a:gd name="connsiteX68" fmla="*/ 3201939 w 3203851"/>
              <a:gd name="connsiteY68" fmla="*/ 1600501 h 6328408"/>
              <a:gd name="connsiteX69" fmla="*/ 3201939 w 3203851"/>
              <a:gd name="connsiteY69" fmla="*/ 1600502 h 6328408"/>
              <a:gd name="connsiteX70" fmla="*/ 3203851 w 3203851"/>
              <a:gd name="connsiteY70" fmla="*/ 1600502 h 6328408"/>
              <a:gd name="connsiteX71" fmla="*/ 3203851 w 3203851"/>
              <a:gd name="connsiteY71" fmla="*/ 1809199 h 6328408"/>
              <a:gd name="connsiteX72" fmla="*/ 3203851 w 3203851"/>
              <a:gd name="connsiteY72" fmla="*/ 1906957 h 6328408"/>
              <a:gd name="connsiteX73" fmla="*/ 3203851 w 3203851"/>
              <a:gd name="connsiteY73" fmla="*/ 2080742 h 6328408"/>
              <a:gd name="connsiteX74" fmla="*/ 3203851 w 3203851"/>
              <a:gd name="connsiteY74" fmla="*/ 2104943 h 6328408"/>
              <a:gd name="connsiteX75" fmla="*/ 3203851 w 3203851"/>
              <a:gd name="connsiteY75" fmla="*/ 2189738 h 6328408"/>
              <a:gd name="connsiteX76" fmla="*/ 3201959 w 3203851"/>
              <a:gd name="connsiteY76" fmla="*/ 2189738 h 6328408"/>
              <a:gd name="connsiteX77" fmla="*/ 3201959 w 3203851"/>
              <a:gd name="connsiteY77" fmla="*/ 2222055 h 6328408"/>
              <a:gd name="connsiteX78" fmla="*/ 1784816 w 3203851"/>
              <a:gd name="connsiteY78" fmla="*/ 2222055 h 6328408"/>
              <a:gd name="connsiteX79" fmla="*/ 2041128 w 3203851"/>
              <a:gd name="connsiteY79" fmla="*/ 2271133 h 6328408"/>
              <a:gd name="connsiteX80" fmla="*/ 2047613 w 3203851"/>
              <a:gd name="connsiteY80" fmla="*/ 2273288 h 6328408"/>
              <a:gd name="connsiteX81" fmla="*/ 2048730 w 3203851"/>
              <a:gd name="connsiteY81" fmla="*/ 2273558 h 6328408"/>
              <a:gd name="connsiteX82" fmla="*/ 2059854 w 3203851"/>
              <a:gd name="connsiteY82" fmla="*/ 2277361 h 6328408"/>
              <a:gd name="connsiteX83" fmla="*/ 2172097 w 3203851"/>
              <a:gd name="connsiteY83" fmla="*/ 2314678 h 6328408"/>
              <a:gd name="connsiteX84" fmla="*/ 2183618 w 3203851"/>
              <a:gd name="connsiteY84" fmla="*/ 2319652 h 6328408"/>
              <a:gd name="connsiteX85" fmla="*/ 2187996 w 3203851"/>
              <a:gd name="connsiteY85" fmla="*/ 2321147 h 6328408"/>
              <a:gd name="connsiteX86" fmla="*/ 2211667 w 3203851"/>
              <a:gd name="connsiteY86" fmla="*/ 2331760 h 6328408"/>
              <a:gd name="connsiteX87" fmla="*/ 2297776 w 3203851"/>
              <a:gd name="connsiteY87" fmla="*/ 2368932 h 6328408"/>
              <a:gd name="connsiteX88" fmla="*/ 2313848 w 3203851"/>
              <a:gd name="connsiteY88" fmla="*/ 2377571 h 6328408"/>
              <a:gd name="connsiteX89" fmla="*/ 2321162 w 3203851"/>
              <a:gd name="connsiteY89" fmla="*/ 2380850 h 6328408"/>
              <a:gd name="connsiteX90" fmla="*/ 2346847 w 3203851"/>
              <a:gd name="connsiteY90" fmla="*/ 2395308 h 6328408"/>
              <a:gd name="connsiteX91" fmla="*/ 2417622 w 3203851"/>
              <a:gd name="connsiteY91" fmla="*/ 2433352 h 6328408"/>
              <a:gd name="connsiteX92" fmla="*/ 2437680 w 3203851"/>
              <a:gd name="connsiteY92" fmla="*/ 2446440 h 6328408"/>
              <a:gd name="connsiteX93" fmla="*/ 2447563 w 3203851"/>
              <a:gd name="connsiteY93" fmla="*/ 2452002 h 6328408"/>
              <a:gd name="connsiteX94" fmla="*/ 2472020 w 3203851"/>
              <a:gd name="connsiteY94" fmla="*/ 2468846 h 6328408"/>
              <a:gd name="connsiteX95" fmla="*/ 2531088 w 3203851"/>
              <a:gd name="connsiteY95" fmla="*/ 2507389 h 6328408"/>
              <a:gd name="connsiteX96" fmla="*/ 2554493 w 3203851"/>
              <a:gd name="connsiteY96" fmla="*/ 2525646 h 6328408"/>
              <a:gd name="connsiteX97" fmla="*/ 2566537 w 3203851"/>
              <a:gd name="connsiteY97" fmla="*/ 2533941 h 6328408"/>
              <a:gd name="connsiteX98" fmla="*/ 2588470 w 3203851"/>
              <a:gd name="connsiteY98" fmla="*/ 2552153 h 6328408"/>
              <a:gd name="connsiteX99" fmla="*/ 2637626 w 3203851"/>
              <a:gd name="connsiteY99" fmla="*/ 2590497 h 6328408"/>
              <a:gd name="connsiteX100" fmla="*/ 2663663 w 3203851"/>
              <a:gd name="connsiteY100" fmla="*/ 2614582 h 6328408"/>
              <a:gd name="connsiteX101" fmla="*/ 2677421 w 3203851"/>
              <a:gd name="connsiteY101" fmla="*/ 2626004 h 6328408"/>
              <a:gd name="connsiteX102" fmla="*/ 2696292 w 3203851"/>
              <a:gd name="connsiteY102" fmla="*/ 2644763 h 6328408"/>
              <a:gd name="connsiteX103" fmla="*/ 2736691 w 3203851"/>
              <a:gd name="connsiteY103" fmla="*/ 2682132 h 6328408"/>
              <a:gd name="connsiteX104" fmla="*/ 2764577 w 3203851"/>
              <a:gd name="connsiteY104" fmla="*/ 2712642 h 6328408"/>
              <a:gd name="connsiteX105" fmla="*/ 2779552 w 3203851"/>
              <a:gd name="connsiteY105" fmla="*/ 2727528 h 6328408"/>
              <a:gd name="connsiteX106" fmla="*/ 2795191 w 3203851"/>
              <a:gd name="connsiteY106" fmla="*/ 2746137 h 6328408"/>
              <a:gd name="connsiteX107" fmla="*/ 2827737 w 3203851"/>
              <a:gd name="connsiteY107" fmla="*/ 2781747 h 6328408"/>
              <a:gd name="connsiteX108" fmla="*/ 2856623 w 3203851"/>
              <a:gd name="connsiteY108" fmla="*/ 2819235 h 6328408"/>
              <a:gd name="connsiteX109" fmla="*/ 2872266 w 3203851"/>
              <a:gd name="connsiteY109" fmla="*/ 2837848 h 6328408"/>
              <a:gd name="connsiteX110" fmla="*/ 2884714 w 3203851"/>
              <a:gd name="connsiteY110" fmla="*/ 2855694 h 6328408"/>
              <a:gd name="connsiteX111" fmla="*/ 2910220 w 3203851"/>
              <a:gd name="connsiteY111" fmla="*/ 2888796 h 6328408"/>
              <a:gd name="connsiteX112" fmla="*/ 2939193 w 3203851"/>
              <a:gd name="connsiteY112" fmla="*/ 2933789 h 6328408"/>
              <a:gd name="connsiteX113" fmla="*/ 2954900 w 3203851"/>
              <a:gd name="connsiteY113" fmla="*/ 2956304 h 6328408"/>
              <a:gd name="connsiteX114" fmla="*/ 2964337 w 3203851"/>
              <a:gd name="connsiteY114" fmla="*/ 2972833 h 6328408"/>
              <a:gd name="connsiteX115" fmla="*/ 2983591 w 3203851"/>
              <a:gd name="connsiteY115" fmla="*/ 3002732 h 6328408"/>
              <a:gd name="connsiteX116" fmla="*/ 3011686 w 3203851"/>
              <a:gd name="connsiteY116" fmla="*/ 3055774 h 6328408"/>
              <a:gd name="connsiteX117" fmla="*/ 3026792 w 3203851"/>
              <a:gd name="connsiteY117" fmla="*/ 3082230 h 6328408"/>
              <a:gd name="connsiteX118" fmla="*/ 3033499 w 3203851"/>
              <a:gd name="connsiteY118" fmla="*/ 3096949 h 6328408"/>
              <a:gd name="connsiteX119" fmla="*/ 3047304 w 3203851"/>
              <a:gd name="connsiteY119" fmla="*/ 3123010 h 6328408"/>
              <a:gd name="connsiteX120" fmla="*/ 3073509 w 3203851"/>
              <a:gd name="connsiteY120" fmla="*/ 3184749 h 6328408"/>
              <a:gd name="connsiteX121" fmla="*/ 3087278 w 3203851"/>
              <a:gd name="connsiteY121" fmla="*/ 3214966 h 6328408"/>
              <a:gd name="connsiteX122" fmla="*/ 3091621 w 3203851"/>
              <a:gd name="connsiteY122" fmla="*/ 3227421 h 6328408"/>
              <a:gd name="connsiteX123" fmla="*/ 3100816 w 3203851"/>
              <a:gd name="connsiteY123" fmla="*/ 3249084 h 6328408"/>
              <a:gd name="connsiteX124" fmla="*/ 3124062 w 3203851"/>
              <a:gd name="connsiteY124" fmla="*/ 3320475 h 6328408"/>
              <a:gd name="connsiteX125" fmla="*/ 3135696 w 3203851"/>
              <a:gd name="connsiteY125" fmla="*/ 3353845 h 6328408"/>
              <a:gd name="connsiteX126" fmla="*/ 3138116 w 3203851"/>
              <a:gd name="connsiteY126" fmla="*/ 3363634 h 6328408"/>
              <a:gd name="connsiteX127" fmla="*/ 3143578 w 3203851"/>
              <a:gd name="connsiteY127" fmla="*/ 3380408 h 6328408"/>
              <a:gd name="connsiteX128" fmla="*/ 3162759 w 3203851"/>
              <a:gd name="connsiteY128" fmla="*/ 3463326 h 6328408"/>
              <a:gd name="connsiteX129" fmla="*/ 3171382 w 3203851"/>
              <a:gd name="connsiteY129" fmla="*/ 3498207 h 6328408"/>
              <a:gd name="connsiteX130" fmla="*/ 3172391 w 3203851"/>
              <a:gd name="connsiteY130" fmla="*/ 3504964 h 6328408"/>
              <a:gd name="connsiteX131" fmla="*/ 3175045 w 3203851"/>
              <a:gd name="connsiteY131" fmla="*/ 3516437 h 6328408"/>
              <a:gd name="connsiteX132" fmla="*/ 3189010 w 3203851"/>
              <a:gd name="connsiteY132" fmla="*/ 3616186 h 6328408"/>
              <a:gd name="connsiteX133" fmla="*/ 3193672 w 3203851"/>
              <a:gd name="connsiteY133" fmla="*/ 3647388 h 6328408"/>
              <a:gd name="connsiteX134" fmla="*/ 3193838 w 3203851"/>
              <a:gd name="connsiteY134" fmla="*/ 3650673 h 6328408"/>
              <a:gd name="connsiteX135" fmla="*/ 3194671 w 3203851"/>
              <a:gd name="connsiteY135" fmla="*/ 3656622 h 6328408"/>
              <a:gd name="connsiteX136" fmla="*/ 3197946 w 3203851"/>
              <a:gd name="connsiteY136" fmla="*/ 3725805 h 6328408"/>
              <a:gd name="connsiteX137" fmla="*/ 3201939 w 3203851"/>
              <a:gd name="connsiteY137" fmla="*/ 3725805 h 6328408"/>
              <a:gd name="connsiteX138" fmla="*/ 3201939 w 3203851"/>
              <a:gd name="connsiteY138" fmla="*/ 3789588 h 6328408"/>
              <a:gd name="connsiteX139" fmla="*/ 3201939 w 3203851"/>
              <a:gd name="connsiteY139" fmla="*/ 3810120 h 6328408"/>
              <a:gd name="connsiteX140" fmla="*/ 3201939 w 3203851"/>
              <a:gd name="connsiteY140" fmla="*/ 3810600 h 6328408"/>
              <a:gd name="connsiteX141" fmla="*/ 3203851 w 3203851"/>
              <a:gd name="connsiteY141" fmla="*/ 3810600 h 6328408"/>
              <a:gd name="connsiteX142" fmla="*/ 3203851 w 3203851"/>
              <a:gd name="connsiteY142" fmla="*/ 3834801 h 6328408"/>
              <a:gd name="connsiteX143" fmla="*/ 3203851 w 3203851"/>
              <a:gd name="connsiteY143" fmla="*/ 4008586 h 6328408"/>
              <a:gd name="connsiteX144" fmla="*/ 3203851 w 3203851"/>
              <a:gd name="connsiteY144" fmla="*/ 4106344 h 6328408"/>
              <a:gd name="connsiteX145" fmla="*/ 3203851 w 3203851"/>
              <a:gd name="connsiteY145" fmla="*/ 4223465 h 6328408"/>
              <a:gd name="connsiteX146" fmla="*/ 3203851 w 3203851"/>
              <a:gd name="connsiteY146" fmla="*/ 4247666 h 6328408"/>
              <a:gd name="connsiteX147" fmla="*/ 3203851 w 3203851"/>
              <a:gd name="connsiteY147" fmla="*/ 4315042 h 6328408"/>
              <a:gd name="connsiteX148" fmla="*/ 3203851 w 3203851"/>
              <a:gd name="connsiteY148" fmla="*/ 4399835 h 6328408"/>
              <a:gd name="connsiteX149" fmla="*/ 3203851 w 3203851"/>
              <a:gd name="connsiteY149" fmla="*/ 4421451 h 6328408"/>
              <a:gd name="connsiteX150" fmla="*/ 3203851 w 3203851"/>
              <a:gd name="connsiteY150" fmla="*/ 4519209 h 6328408"/>
              <a:gd name="connsiteX151" fmla="*/ 3203851 w 3203851"/>
              <a:gd name="connsiteY151" fmla="*/ 4727907 h 6328408"/>
              <a:gd name="connsiteX152" fmla="*/ 3203851 w 3203851"/>
              <a:gd name="connsiteY152" fmla="*/ 4812700 h 6328408"/>
              <a:gd name="connsiteX153" fmla="*/ 3201958 w 3203851"/>
              <a:gd name="connsiteY153" fmla="*/ 4812700 h 6328408"/>
              <a:gd name="connsiteX154" fmla="*/ 3201958 w 3203851"/>
              <a:gd name="connsiteY154" fmla="*/ 5915542 h 6328408"/>
              <a:gd name="connsiteX155" fmla="*/ 3201958 w 3203851"/>
              <a:gd name="connsiteY155" fmla="*/ 6328407 h 6328408"/>
              <a:gd name="connsiteX156" fmla="*/ 1602893 w 3203851"/>
              <a:gd name="connsiteY156" fmla="*/ 6328407 h 6328408"/>
              <a:gd name="connsiteX157" fmla="*/ 1601950 w 3203851"/>
              <a:gd name="connsiteY157" fmla="*/ 6328407 h 6328408"/>
              <a:gd name="connsiteX158" fmla="*/ 1601936 w 3203851"/>
              <a:gd name="connsiteY158" fmla="*/ 6328408 h 6328408"/>
              <a:gd name="connsiteX159" fmla="*/ 1601920 w 3203851"/>
              <a:gd name="connsiteY159" fmla="*/ 6328407 h 6328408"/>
              <a:gd name="connsiteX160" fmla="*/ 1526767 w 3203851"/>
              <a:gd name="connsiteY160" fmla="*/ 6328407 h 6328408"/>
              <a:gd name="connsiteX161" fmla="*/ 1526767 w 3203851"/>
              <a:gd name="connsiteY161" fmla="*/ 6324804 h 6328408"/>
              <a:gd name="connsiteX162" fmla="*/ 1449303 w 3203851"/>
              <a:gd name="connsiteY162" fmla="*/ 6321135 h 6328408"/>
              <a:gd name="connsiteX163" fmla="*/ 1444603 w 3203851"/>
              <a:gd name="connsiteY163" fmla="*/ 6320463 h 6328408"/>
              <a:gd name="connsiteX164" fmla="*/ 1438342 w 3203851"/>
              <a:gd name="connsiteY164" fmla="*/ 6320148 h 6328408"/>
              <a:gd name="connsiteX165" fmla="*/ 1162722 w 3203851"/>
              <a:gd name="connsiteY165" fmla="*/ 6267372 h 6328408"/>
              <a:gd name="connsiteX166" fmla="*/ 1156238 w 3203851"/>
              <a:gd name="connsiteY166" fmla="*/ 6265217 h 6328408"/>
              <a:gd name="connsiteX167" fmla="*/ 1155121 w 3203851"/>
              <a:gd name="connsiteY167" fmla="*/ 6264947 h 6328408"/>
              <a:gd name="connsiteX168" fmla="*/ 1143996 w 3203851"/>
              <a:gd name="connsiteY168" fmla="*/ 6261146 h 6328408"/>
              <a:gd name="connsiteX169" fmla="*/ 1031754 w 3203851"/>
              <a:gd name="connsiteY169" fmla="*/ 6223828 h 6328408"/>
              <a:gd name="connsiteX170" fmla="*/ 1020233 w 3203851"/>
              <a:gd name="connsiteY170" fmla="*/ 6218854 h 6328408"/>
              <a:gd name="connsiteX171" fmla="*/ 1015855 w 3203851"/>
              <a:gd name="connsiteY171" fmla="*/ 6217358 h 6328408"/>
              <a:gd name="connsiteX172" fmla="*/ 992184 w 3203851"/>
              <a:gd name="connsiteY172" fmla="*/ 6206745 h 6328408"/>
              <a:gd name="connsiteX173" fmla="*/ 906073 w 3203851"/>
              <a:gd name="connsiteY173" fmla="*/ 6169573 h 6328408"/>
              <a:gd name="connsiteX174" fmla="*/ 890003 w 3203851"/>
              <a:gd name="connsiteY174" fmla="*/ 6160935 h 6328408"/>
              <a:gd name="connsiteX175" fmla="*/ 882689 w 3203851"/>
              <a:gd name="connsiteY175" fmla="*/ 6157656 h 6328408"/>
              <a:gd name="connsiteX176" fmla="*/ 857004 w 3203851"/>
              <a:gd name="connsiteY176" fmla="*/ 6143197 h 6328408"/>
              <a:gd name="connsiteX177" fmla="*/ 786229 w 3203851"/>
              <a:gd name="connsiteY177" fmla="*/ 6105154 h 6328408"/>
              <a:gd name="connsiteX178" fmla="*/ 766170 w 3203851"/>
              <a:gd name="connsiteY178" fmla="*/ 6092065 h 6328408"/>
              <a:gd name="connsiteX179" fmla="*/ 756287 w 3203851"/>
              <a:gd name="connsiteY179" fmla="*/ 6086504 h 6328408"/>
              <a:gd name="connsiteX180" fmla="*/ 731831 w 3203851"/>
              <a:gd name="connsiteY180" fmla="*/ 6069659 h 6328408"/>
              <a:gd name="connsiteX181" fmla="*/ 672763 w 3203851"/>
              <a:gd name="connsiteY181" fmla="*/ 6031117 h 6328408"/>
              <a:gd name="connsiteX182" fmla="*/ 649359 w 3203851"/>
              <a:gd name="connsiteY182" fmla="*/ 6012859 h 6328408"/>
              <a:gd name="connsiteX183" fmla="*/ 637313 w 3203851"/>
              <a:gd name="connsiteY183" fmla="*/ 6004565 h 6328408"/>
              <a:gd name="connsiteX184" fmla="*/ 615380 w 3203851"/>
              <a:gd name="connsiteY184" fmla="*/ 5986354 h 6328408"/>
              <a:gd name="connsiteX185" fmla="*/ 566225 w 3203851"/>
              <a:gd name="connsiteY185" fmla="*/ 5948007 h 6328408"/>
              <a:gd name="connsiteX186" fmla="*/ 540188 w 3203851"/>
              <a:gd name="connsiteY186" fmla="*/ 5923923 h 6328408"/>
              <a:gd name="connsiteX187" fmla="*/ 526430 w 3203851"/>
              <a:gd name="connsiteY187" fmla="*/ 5912501 h 6328408"/>
              <a:gd name="connsiteX188" fmla="*/ 507558 w 3203851"/>
              <a:gd name="connsiteY188" fmla="*/ 5893743 h 6328408"/>
              <a:gd name="connsiteX189" fmla="*/ 467159 w 3203851"/>
              <a:gd name="connsiteY189" fmla="*/ 5856373 h 6328408"/>
              <a:gd name="connsiteX190" fmla="*/ 439274 w 3203851"/>
              <a:gd name="connsiteY190" fmla="*/ 5825863 h 6328408"/>
              <a:gd name="connsiteX191" fmla="*/ 424299 w 3203851"/>
              <a:gd name="connsiteY191" fmla="*/ 5810978 h 6328408"/>
              <a:gd name="connsiteX192" fmla="*/ 408660 w 3203851"/>
              <a:gd name="connsiteY192" fmla="*/ 5792369 h 6328408"/>
              <a:gd name="connsiteX193" fmla="*/ 376113 w 3203851"/>
              <a:gd name="connsiteY193" fmla="*/ 5756758 h 6328408"/>
              <a:gd name="connsiteX194" fmla="*/ 347228 w 3203851"/>
              <a:gd name="connsiteY194" fmla="*/ 5719270 h 6328408"/>
              <a:gd name="connsiteX195" fmla="*/ 331585 w 3203851"/>
              <a:gd name="connsiteY195" fmla="*/ 5700658 h 6328408"/>
              <a:gd name="connsiteX196" fmla="*/ 319137 w 3203851"/>
              <a:gd name="connsiteY196" fmla="*/ 5682812 h 6328408"/>
              <a:gd name="connsiteX197" fmla="*/ 293630 w 3203851"/>
              <a:gd name="connsiteY197" fmla="*/ 5649710 h 6328408"/>
              <a:gd name="connsiteX198" fmla="*/ 264657 w 3203851"/>
              <a:gd name="connsiteY198" fmla="*/ 5604716 h 6328408"/>
              <a:gd name="connsiteX199" fmla="*/ 248950 w 3203851"/>
              <a:gd name="connsiteY199" fmla="*/ 5582202 h 6328408"/>
              <a:gd name="connsiteX200" fmla="*/ 239513 w 3203851"/>
              <a:gd name="connsiteY200" fmla="*/ 5565672 h 6328408"/>
              <a:gd name="connsiteX201" fmla="*/ 220260 w 3203851"/>
              <a:gd name="connsiteY201" fmla="*/ 5535773 h 6328408"/>
              <a:gd name="connsiteX202" fmla="*/ 192164 w 3203851"/>
              <a:gd name="connsiteY202" fmla="*/ 5482732 h 6328408"/>
              <a:gd name="connsiteX203" fmla="*/ 177059 w 3203851"/>
              <a:gd name="connsiteY203" fmla="*/ 5456275 h 6328408"/>
              <a:gd name="connsiteX204" fmla="*/ 170352 w 3203851"/>
              <a:gd name="connsiteY204" fmla="*/ 5441557 h 6328408"/>
              <a:gd name="connsiteX205" fmla="*/ 156546 w 3203851"/>
              <a:gd name="connsiteY205" fmla="*/ 5415495 h 6328408"/>
              <a:gd name="connsiteX206" fmla="*/ 130342 w 3203851"/>
              <a:gd name="connsiteY206" fmla="*/ 5353756 h 6328408"/>
              <a:gd name="connsiteX207" fmla="*/ 116572 w 3203851"/>
              <a:gd name="connsiteY207" fmla="*/ 5323539 h 6328408"/>
              <a:gd name="connsiteX208" fmla="*/ 112230 w 3203851"/>
              <a:gd name="connsiteY208" fmla="*/ 5311085 h 6328408"/>
              <a:gd name="connsiteX209" fmla="*/ 103034 w 3203851"/>
              <a:gd name="connsiteY209" fmla="*/ 5289421 h 6328408"/>
              <a:gd name="connsiteX210" fmla="*/ 79788 w 3203851"/>
              <a:gd name="connsiteY210" fmla="*/ 5218031 h 6328408"/>
              <a:gd name="connsiteX211" fmla="*/ 68155 w 3203851"/>
              <a:gd name="connsiteY211" fmla="*/ 5184660 h 6328408"/>
              <a:gd name="connsiteX212" fmla="*/ 65735 w 3203851"/>
              <a:gd name="connsiteY212" fmla="*/ 5174872 h 6328408"/>
              <a:gd name="connsiteX213" fmla="*/ 60272 w 3203851"/>
              <a:gd name="connsiteY213" fmla="*/ 5158096 h 6328408"/>
              <a:gd name="connsiteX214" fmla="*/ 41092 w 3203851"/>
              <a:gd name="connsiteY214" fmla="*/ 5075179 h 6328408"/>
              <a:gd name="connsiteX215" fmla="*/ 32469 w 3203851"/>
              <a:gd name="connsiteY215" fmla="*/ 5040298 h 6328408"/>
              <a:gd name="connsiteX216" fmla="*/ 31460 w 3203851"/>
              <a:gd name="connsiteY216" fmla="*/ 5033541 h 6328408"/>
              <a:gd name="connsiteX217" fmla="*/ 28806 w 3203851"/>
              <a:gd name="connsiteY217" fmla="*/ 5022069 h 6328408"/>
              <a:gd name="connsiteX218" fmla="*/ 14841 w 3203851"/>
              <a:gd name="connsiteY218" fmla="*/ 4922319 h 6328408"/>
              <a:gd name="connsiteX219" fmla="*/ 10178 w 3203851"/>
              <a:gd name="connsiteY219" fmla="*/ 4891118 h 6328408"/>
              <a:gd name="connsiteX220" fmla="*/ 10012 w 3203851"/>
              <a:gd name="connsiteY220" fmla="*/ 4887832 h 6328408"/>
              <a:gd name="connsiteX221" fmla="*/ 9179 w 3203851"/>
              <a:gd name="connsiteY221" fmla="*/ 4881884 h 6328408"/>
              <a:gd name="connsiteX222" fmla="*/ 5904 w 3203851"/>
              <a:gd name="connsiteY222" fmla="*/ 4812700 h 6328408"/>
              <a:gd name="connsiteX223" fmla="*/ 1912 w 3203851"/>
              <a:gd name="connsiteY223" fmla="*/ 4812700 h 6328408"/>
              <a:gd name="connsiteX224" fmla="*/ 1912 w 3203851"/>
              <a:gd name="connsiteY224" fmla="*/ 4748916 h 6328408"/>
              <a:gd name="connsiteX225" fmla="*/ 1912 w 3203851"/>
              <a:gd name="connsiteY225" fmla="*/ 4728385 h 6328408"/>
              <a:gd name="connsiteX226" fmla="*/ 1912 w 3203851"/>
              <a:gd name="connsiteY226" fmla="*/ 4727907 h 6328408"/>
              <a:gd name="connsiteX227" fmla="*/ 1912 w 3203851"/>
              <a:gd name="connsiteY227" fmla="*/ 4727906 h 6328408"/>
              <a:gd name="connsiteX228" fmla="*/ 0 w 3203851"/>
              <a:gd name="connsiteY228" fmla="*/ 4727906 h 6328408"/>
              <a:gd name="connsiteX229" fmla="*/ 0 w 3203851"/>
              <a:gd name="connsiteY229" fmla="*/ 4519209 h 6328408"/>
              <a:gd name="connsiteX230" fmla="*/ 0 w 3203851"/>
              <a:gd name="connsiteY230" fmla="*/ 4421451 h 6328408"/>
              <a:gd name="connsiteX231" fmla="*/ 0 w 3203851"/>
              <a:gd name="connsiteY231" fmla="*/ 4315041 h 6328408"/>
              <a:gd name="connsiteX232" fmla="*/ 0 w 3203851"/>
              <a:gd name="connsiteY232" fmla="*/ 4247666 h 6328408"/>
              <a:gd name="connsiteX233" fmla="*/ 0 w 3203851"/>
              <a:gd name="connsiteY233" fmla="*/ 4223465 h 6328408"/>
              <a:gd name="connsiteX234" fmla="*/ 0 w 3203851"/>
              <a:gd name="connsiteY234" fmla="*/ 4138670 h 6328408"/>
              <a:gd name="connsiteX235" fmla="*/ 0 w 3203851"/>
              <a:gd name="connsiteY235" fmla="*/ 4106344 h 6328408"/>
              <a:gd name="connsiteX236" fmla="*/ 0 w 3203851"/>
              <a:gd name="connsiteY236" fmla="*/ 4008586 h 6328408"/>
              <a:gd name="connsiteX237" fmla="*/ 0 w 3203851"/>
              <a:gd name="connsiteY237" fmla="*/ 3834801 h 6328408"/>
              <a:gd name="connsiteX238" fmla="*/ 0 w 3203851"/>
              <a:gd name="connsiteY238" fmla="*/ 3810600 h 6328408"/>
              <a:gd name="connsiteX239" fmla="*/ 0 w 3203851"/>
              <a:gd name="connsiteY239" fmla="*/ 3725805 h 6328408"/>
              <a:gd name="connsiteX240" fmla="*/ 1892 w 3203851"/>
              <a:gd name="connsiteY240" fmla="*/ 3725805 h 6328408"/>
              <a:gd name="connsiteX241" fmla="*/ 1892 w 3203851"/>
              <a:gd name="connsiteY241" fmla="*/ 2622963 h 6328408"/>
              <a:gd name="connsiteX242" fmla="*/ 1892 w 3203851"/>
              <a:gd name="connsiteY242" fmla="*/ 2210098 h 6328408"/>
              <a:gd name="connsiteX243" fmla="*/ 6868 w 3203851"/>
              <a:gd name="connsiteY243" fmla="*/ 2210098 h 6328408"/>
              <a:gd name="connsiteX244" fmla="*/ 5904 w 3203851"/>
              <a:gd name="connsiteY244" fmla="*/ 2189738 h 6328408"/>
              <a:gd name="connsiteX245" fmla="*/ 1911 w 3203851"/>
              <a:gd name="connsiteY245" fmla="*/ 2189738 h 6328408"/>
              <a:gd name="connsiteX246" fmla="*/ 1911 w 3203851"/>
              <a:gd name="connsiteY246" fmla="*/ 2125955 h 6328408"/>
              <a:gd name="connsiteX247" fmla="*/ 1911 w 3203851"/>
              <a:gd name="connsiteY247" fmla="*/ 2105423 h 6328408"/>
              <a:gd name="connsiteX248" fmla="*/ 1911 w 3203851"/>
              <a:gd name="connsiteY248" fmla="*/ 2104943 h 6328408"/>
              <a:gd name="connsiteX249" fmla="*/ 0 w 3203851"/>
              <a:gd name="connsiteY249" fmla="*/ 2104943 h 6328408"/>
              <a:gd name="connsiteX250" fmla="*/ 0 w 3203851"/>
              <a:gd name="connsiteY250" fmla="*/ 2080742 h 6328408"/>
              <a:gd name="connsiteX251" fmla="*/ 0 w 3203851"/>
              <a:gd name="connsiteY251" fmla="*/ 1906957 h 6328408"/>
              <a:gd name="connsiteX252" fmla="*/ 0 w 3203851"/>
              <a:gd name="connsiteY252" fmla="*/ 1809199 h 6328408"/>
              <a:gd name="connsiteX253" fmla="*/ 0 w 3203851"/>
              <a:gd name="connsiteY253" fmla="*/ 1600501 h 6328408"/>
              <a:gd name="connsiteX254" fmla="*/ 0 w 3203851"/>
              <a:gd name="connsiteY254" fmla="*/ 1515708 h 6328408"/>
              <a:gd name="connsiteX255" fmla="*/ 1893 w 3203851"/>
              <a:gd name="connsiteY255" fmla="*/ 1515708 h 6328408"/>
              <a:gd name="connsiteX256" fmla="*/ 1893 w 3203851"/>
              <a:gd name="connsiteY256" fmla="*/ 1 h 6328408"/>
              <a:gd name="connsiteX257" fmla="*/ 1600957 w 3203851"/>
              <a:gd name="connsiteY257" fmla="*/ 1 h 6328408"/>
              <a:gd name="connsiteX258" fmla="*/ 1601900 w 3203851"/>
              <a:gd name="connsiteY258" fmla="*/ 1 h 6328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</a:cxnLst>
            <a:rect l="l" t="t" r="r" b="b"/>
            <a:pathLst>
              <a:path w="3203851" h="6328408">
                <a:moveTo>
                  <a:pt x="1601915" y="0"/>
                </a:moveTo>
                <a:lnTo>
                  <a:pt x="1601931" y="1"/>
                </a:lnTo>
                <a:lnTo>
                  <a:pt x="1677083" y="1"/>
                </a:lnTo>
                <a:lnTo>
                  <a:pt x="1677083" y="3604"/>
                </a:lnTo>
                <a:lnTo>
                  <a:pt x="1754548" y="7273"/>
                </a:lnTo>
                <a:lnTo>
                  <a:pt x="1759248" y="7945"/>
                </a:lnTo>
                <a:lnTo>
                  <a:pt x="1765508" y="8260"/>
                </a:lnTo>
                <a:cubicBezTo>
                  <a:pt x="1860058" y="17863"/>
                  <a:pt x="1952173" y="35697"/>
                  <a:pt x="2041128" y="61036"/>
                </a:cubicBezTo>
                <a:lnTo>
                  <a:pt x="2047613" y="63191"/>
                </a:lnTo>
                <a:lnTo>
                  <a:pt x="2048730" y="63461"/>
                </a:lnTo>
                <a:lnTo>
                  <a:pt x="2059855" y="67262"/>
                </a:lnTo>
                <a:lnTo>
                  <a:pt x="2172097" y="104580"/>
                </a:lnTo>
                <a:lnTo>
                  <a:pt x="2183618" y="109554"/>
                </a:lnTo>
                <a:lnTo>
                  <a:pt x="2187996" y="111050"/>
                </a:lnTo>
                <a:lnTo>
                  <a:pt x="2211667" y="121663"/>
                </a:lnTo>
                <a:lnTo>
                  <a:pt x="2297777" y="158835"/>
                </a:lnTo>
                <a:lnTo>
                  <a:pt x="2313848" y="167473"/>
                </a:lnTo>
                <a:lnTo>
                  <a:pt x="2321162" y="170752"/>
                </a:lnTo>
                <a:lnTo>
                  <a:pt x="2346847" y="185211"/>
                </a:lnTo>
                <a:lnTo>
                  <a:pt x="2417622" y="223254"/>
                </a:lnTo>
                <a:lnTo>
                  <a:pt x="2437680" y="236343"/>
                </a:lnTo>
                <a:lnTo>
                  <a:pt x="2447564" y="241904"/>
                </a:lnTo>
                <a:lnTo>
                  <a:pt x="2472020" y="258749"/>
                </a:lnTo>
                <a:lnTo>
                  <a:pt x="2531088" y="297291"/>
                </a:lnTo>
                <a:lnTo>
                  <a:pt x="2554492" y="315549"/>
                </a:lnTo>
                <a:lnTo>
                  <a:pt x="2566538" y="323843"/>
                </a:lnTo>
                <a:lnTo>
                  <a:pt x="2588470" y="342054"/>
                </a:lnTo>
                <a:lnTo>
                  <a:pt x="2637626" y="380401"/>
                </a:lnTo>
                <a:lnTo>
                  <a:pt x="2663663" y="404485"/>
                </a:lnTo>
                <a:lnTo>
                  <a:pt x="2677421" y="415907"/>
                </a:lnTo>
                <a:lnTo>
                  <a:pt x="2696292" y="434665"/>
                </a:lnTo>
                <a:lnTo>
                  <a:pt x="2736691" y="472035"/>
                </a:lnTo>
                <a:lnTo>
                  <a:pt x="2764577" y="502545"/>
                </a:lnTo>
                <a:lnTo>
                  <a:pt x="2779552" y="517430"/>
                </a:lnTo>
                <a:lnTo>
                  <a:pt x="2795191" y="536039"/>
                </a:lnTo>
                <a:lnTo>
                  <a:pt x="2827738" y="571650"/>
                </a:lnTo>
                <a:lnTo>
                  <a:pt x="2856623" y="609138"/>
                </a:lnTo>
                <a:lnTo>
                  <a:pt x="2872266" y="627750"/>
                </a:lnTo>
                <a:lnTo>
                  <a:pt x="2884714" y="645596"/>
                </a:lnTo>
                <a:lnTo>
                  <a:pt x="2910220" y="678698"/>
                </a:lnTo>
                <a:lnTo>
                  <a:pt x="2939193" y="723692"/>
                </a:lnTo>
                <a:lnTo>
                  <a:pt x="2954901" y="746206"/>
                </a:lnTo>
                <a:lnTo>
                  <a:pt x="2964338" y="762736"/>
                </a:lnTo>
                <a:lnTo>
                  <a:pt x="2983591" y="792635"/>
                </a:lnTo>
                <a:lnTo>
                  <a:pt x="3011687" y="845676"/>
                </a:lnTo>
                <a:lnTo>
                  <a:pt x="3026792" y="872133"/>
                </a:lnTo>
                <a:lnTo>
                  <a:pt x="3033499" y="886851"/>
                </a:lnTo>
                <a:lnTo>
                  <a:pt x="3047305" y="912913"/>
                </a:lnTo>
                <a:lnTo>
                  <a:pt x="3073509" y="974652"/>
                </a:lnTo>
                <a:lnTo>
                  <a:pt x="3087279" y="1004869"/>
                </a:lnTo>
                <a:lnTo>
                  <a:pt x="3091621" y="1017323"/>
                </a:lnTo>
                <a:lnTo>
                  <a:pt x="3100816" y="1038987"/>
                </a:lnTo>
                <a:lnTo>
                  <a:pt x="3124063" y="1110377"/>
                </a:lnTo>
                <a:lnTo>
                  <a:pt x="3135696" y="1143748"/>
                </a:lnTo>
                <a:lnTo>
                  <a:pt x="3138116" y="1153536"/>
                </a:lnTo>
                <a:lnTo>
                  <a:pt x="3143578" y="1170312"/>
                </a:lnTo>
                <a:lnTo>
                  <a:pt x="3162759" y="1253229"/>
                </a:lnTo>
                <a:lnTo>
                  <a:pt x="3171382" y="1288110"/>
                </a:lnTo>
                <a:lnTo>
                  <a:pt x="3172391" y="1294867"/>
                </a:lnTo>
                <a:lnTo>
                  <a:pt x="3175045" y="1306339"/>
                </a:lnTo>
                <a:lnTo>
                  <a:pt x="3189010" y="1406089"/>
                </a:lnTo>
                <a:lnTo>
                  <a:pt x="3193673" y="1437290"/>
                </a:lnTo>
                <a:lnTo>
                  <a:pt x="3193839" y="1440576"/>
                </a:lnTo>
                <a:lnTo>
                  <a:pt x="3194671" y="1446524"/>
                </a:lnTo>
                <a:lnTo>
                  <a:pt x="3197947" y="1515708"/>
                </a:lnTo>
                <a:lnTo>
                  <a:pt x="3201939" y="1515708"/>
                </a:lnTo>
                <a:lnTo>
                  <a:pt x="3201939" y="1579492"/>
                </a:lnTo>
                <a:lnTo>
                  <a:pt x="3201939" y="1600023"/>
                </a:lnTo>
                <a:lnTo>
                  <a:pt x="3201939" y="1600501"/>
                </a:lnTo>
                <a:lnTo>
                  <a:pt x="3201939" y="1600502"/>
                </a:lnTo>
                <a:lnTo>
                  <a:pt x="3203851" y="1600502"/>
                </a:lnTo>
                <a:lnTo>
                  <a:pt x="3203851" y="1809199"/>
                </a:lnTo>
                <a:lnTo>
                  <a:pt x="3203851" y="1906957"/>
                </a:lnTo>
                <a:lnTo>
                  <a:pt x="3203851" y="2080742"/>
                </a:lnTo>
                <a:lnTo>
                  <a:pt x="3203851" y="2104943"/>
                </a:lnTo>
                <a:lnTo>
                  <a:pt x="3203851" y="2189738"/>
                </a:lnTo>
                <a:lnTo>
                  <a:pt x="3201959" y="2189738"/>
                </a:lnTo>
                <a:lnTo>
                  <a:pt x="3201959" y="2222055"/>
                </a:lnTo>
                <a:lnTo>
                  <a:pt x="1784816" y="2222055"/>
                </a:lnTo>
                <a:lnTo>
                  <a:pt x="2041128" y="2271133"/>
                </a:lnTo>
                <a:lnTo>
                  <a:pt x="2047613" y="2273288"/>
                </a:lnTo>
                <a:lnTo>
                  <a:pt x="2048730" y="2273558"/>
                </a:lnTo>
                <a:lnTo>
                  <a:pt x="2059854" y="2277361"/>
                </a:lnTo>
                <a:lnTo>
                  <a:pt x="2172097" y="2314678"/>
                </a:lnTo>
                <a:lnTo>
                  <a:pt x="2183618" y="2319652"/>
                </a:lnTo>
                <a:lnTo>
                  <a:pt x="2187996" y="2321147"/>
                </a:lnTo>
                <a:lnTo>
                  <a:pt x="2211667" y="2331760"/>
                </a:lnTo>
                <a:lnTo>
                  <a:pt x="2297776" y="2368932"/>
                </a:lnTo>
                <a:lnTo>
                  <a:pt x="2313848" y="2377571"/>
                </a:lnTo>
                <a:lnTo>
                  <a:pt x="2321162" y="2380850"/>
                </a:lnTo>
                <a:lnTo>
                  <a:pt x="2346847" y="2395308"/>
                </a:lnTo>
                <a:lnTo>
                  <a:pt x="2417622" y="2433352"/>
                </a:lnTo>
                <a:lnTo>
                  <a:pt x="2437680" y="2446440"/>
                </a:lnTo>
                <a:lnTo>
                  <a:pt x="2447563" y="2452002"/>
                </a:lnTo>
                <a:lnTo>
                  <a:pt x="2472020" y="2468846"/>
                </a:lnTo>
                <a:lnTo>
                  <a:pt x="2531088" y="2507389"/>
                </a:lnTo>
                <a:lnTo>
                  <a:pt x="2554493" y="2525646"/>
                </a:lnTo>
                <a:lnTo>
                  <a:pt x="2566537" y="2533941"/>
                </a:lnTo>
                <a:lnTo>
                  <a:pt x="2588470" y="2552153"/>
                </a:lnTo>
                <a:lnTo>
                  <a:pt x="2637626" y="2590497"/>
                </a:lnTo>
                <a:lnTo>
                  <a:pt x="2663663" y="2614582"/>
                </a:lnTo>
                <a:lnTo>
                  <a:pt x="2677421" y="2626004"/>
                </a:lnTo>
                <a:lnTo>
                  <a:pt x="2696292" y="2644763"/>
                </a:lnTo>
                <a:lnTo>
                  <a:pt x="2736691" y="2682132"/>
                </a:lnTo>
                <a:lnTo>
                  <a:pt x="2764577" y="2712642"/>
                </a:lnTo>
                <a:lnTo>
                  <a:pt x="2779552" y="2727528"/>
                </a:lnTo>
                <a:lnTo>
                  <a:pt x="2795191" y="2746137"/>
                </a:lnTo>
                <a:lnTo>
                  <a:pt x="2827737" y="2781747"/>
                </a:lnTo>
                <a:lnTo>
                  <a:pt x="2856623" y="2819235"/>
                </a:lnTo>
                <a:lnTo>
                  <a:pt x="2872266" y="2837848"/>
                </a:lnTo>
                <a:lnTo>
                  <a:pt x="2884714" y="2855694"/>
                </a:lnTo>
                <a:lnTo>
                  <a:pt x="2910220" y="2888796"/>
                </a:lnTo>
                <a:lnTo>
                  <a:pt x="2939193" y="2933789"/>
                </a:lnTo>
                <a:lnTo>
                  <a:pt x="2954900" y="2956304"/>
                </a:lnTo>
                <a:lnTo>
                  <a:pt x="2964337" y="2972833"/>
                </a:lnTo>
                <a:lnTo>
                  <a:pt x="2983591" y="3002732"/>
                </a:lnTo>
                <a:lnTo>
                  <a:pt x="3011686" y="3055774"/>
                </a:lnTo>
                <a:lnTo>
                  <a:pt x="3026792" y="3082230"/>
                </a:lnTo>
                <a:lnTo>
                  <a:pt x="3033499" y="3096949"/>
                </a:lnTo>
                <a:lnTo>
                  <a:pt x="3047304" y="3123010"/>
                </a:lnTo>
                <a:lnTo>
                  <a:pt x="3073509" y="3184749"/>
                </a:lnTo>
                <a:lnTo>
                  <a:pt x="3087278" y="3214966"/>
                </a:lnTo>
                <a:lnTo>
                  <a:pt x="3091621" y="3227421"/>
                </a:lnTo>
                <a:lnTo>
                  <a:pt x="3100816" y="3249084"/>
                </a:lnTo>
                <a:lnTo>
                  <a:pt x="3124062" y="3320475"/>
                </a:lnTo>
                <a:lnTo>
                  <a:pt x="3135696" y="3353845"/>
                </a:lnTo>
                <a:lnTo>
                  <a:pt x="3138116" y="3363634"/>
                </a:lnTo>
                <a:lnTo>
                  <a:pt x="3143578" y="3380408"/>
                </a:lnTo>
                <a:lnTo>
                  <a:pt x="3162759" y="3463326"/>
                </a:lnTo>
                <a:lnTo>
                  <a:pt x="3171382" y="3498207"/>
                </a:lnTo>
                <a:lnTo>
                  <a:pt x="3172391" y="3504964"/>
                </a:lnTo>
                <a:lnTo>
                  <a:pt x="3175045" y="3516437"/>
                </a:lnTo>
                <a:lnTo>
                  <a:pt x="3189010" y="3616186"/>
                </a:lnTo>
                <a:lnTo>
                  <a:pt x="3193672" y="3647388"/>
                </a:lnTo>
                <a:lnTo>
                  <a:pt x="3193838" y="3650673"/>
                </a:lnTo>
                <a:lnTo>
                  <a:pt x="3194671" y="3656622"/>
                </a:lnTo>
                <a:lnTo>
                  <a:pt x="3197946" y="3725805"/>
                </a:lnTo>
                <a:lnTo>
                  <a:pt x="3201939" y="3725805"/>
                </a:lnTo>
                <a:lnTo>
                  <a:pt x="3201939" y="3789588"/>
                </a:lnTo>
                <a:lnTo>
                  <a:pt x="3201939" y="3810120"/>
                </a:lnTo>
                <a:lnTo>
                  <a:pt x="3201939" y="3810600"/>
                </a:lnTo>
                <a:lnTo>
                  <a:pt x="3203851" y="3810600"/>
                </a:lnTo>
                <a:lnTo>
                  <a:pt x="3203851" y="3834801"/>
                </a:lnTo>
                <a:lnTo>
                  <a:pt x="3203851" y="4008586"/>
                </a:lnTo>
                <a:lnTo>
                  <a:pt x="3203851" y="4106344"/>
                </a:lnTo>
                <a:lnTo>
                  <a:pt x="3203851" y="4223465"/>
                </a:lnTo>
                <a:lnTo>
                  <a:pt x="3203851" y="4247666"/>
                </a:lnTo>
                <a:lnTo>
                  <a:pt x="3203851" y="4315042"/>
                </a:lnTo>
                <a:lnTo>
                  <a:pt x="3203851" y="4399835"/>
                </a:lnTo>
                <a:lnTo>
                  <a:pt x="3203851" y="4421451"/>
                </a:lnTo>
                <a:lnTo>
                  <a:pt x="3203851" y="4519209"/>
                </a:lnTo>
                <a:lnTo>
                  <a:pt x="3203851" y="4727907"/>
                </a:lnTo>
                <a:lnTo>
                  <a:pt x="3203851" y="4812700"/>
                </a:lnTo>
                <a:lnTo>
                  <a:pt x="3201958" y="4812700"/>
                </a:lnTo>
                <a:lnTo>
                  <a:pt x="3201958" y="5915542"/>
                </a:lnTo>
                <a:lnTo>
                  <a:pt x="3201958" y="6328407"/>
                </a:lnTo>
                <a:lnTo>
                  <a:pt x="1602893" y="6328407"/>
                </a:lnTo>
                <a:lnTo>
                  <a:pt x="1601950" y="6328407"/>
                </a:lnTo>
                <a:lnTo>
                  <a:pt x="1601936" y="6328408"/>
                </a:lnTo>
                <a:lnTo>
                  <a:pt x="1601920" y="6328407"/>
                </a:lnTo>
                <a:lnTo>
                  <a:pt x="1526767" y="6328407"/>
                </a:lnTo>
                <a:lnTo>
                  <a:pt x="1526767" y="6324804"/>
                </a:lnTo>
                <a:lnTo>
                  <a:pt x="1449303" y="6321135"/>
                </a:lnTo>
                <a:lnTo>
                  <a:pt x="1444603" y="6320463"/>
                </a:lnTo>
                <a:lnTo>
                  <a:pt x="1438342" y="6320148"/>
                </a:lnTo>
                <a:cubicBezTo>
                  <a:pt x="1343793" y="6310545"/>
                  <a:pt x="1251678" y="6292711"/>
                  <a:pt x="1162722" y="6267372"/>
                </a:cubicBezTo>
                <a:lnTo>
                  <a:pt x="1156238" y="6265217"/>
                </a:lnTo>
                <a:lnTo>
                  <a:pt x="1155121" y="6264947"/>
                </a:lnTo>
                <a:lnTo>
                  <a:pt x="1143996" y="6261146"/>
                </a:lnTo>
                <a:lnTo>
                  <a:pt x="1031754" y="6223828"/>
                </a:lnTo>
                <a:lnTo>
                  <a:pt x="1020233" y="6218854"/>
                </a:lnTo>
                <a:lnTo>
                  <a:pt x="1015855" y="6217358"/>
                </a:lnTo>
                <a:lnTo>
                  <a:pt x="992184" y="6206745"/>
                </a:lnTo>
                <a:lnTo>
                  <a:pt x="906073" y="6169573"/>
                </a:lnTo>
                <a:lnTo>
                  <a:pt x="890003" y="6160935"/>
                </a:lnTo>
                <a:lnTo>
                  <a:pt x="882689" y="6157656"/>
                </a:lnTo>
                <a:lnTo>
                  <a:pt x="857004" y="6143197"/>
                </a:lnTo>
                <a:lnTo>
                  <a:pt x="786229" y="6105154"/>
                </a:lnTo>
                <a:lnTo>
                  <a:pt x="766170" y="6092065"/>
                </a:lnTo>
                <a:lnTo>
                  <a:pt x="756287" y="6086504"/>
                </a:lnTo>
                <a:lnTo>
                  <a:pt x="731831" y="6069659"/>
                </a:lnTo>
                <a:lnTo>
                  <a:pt x="672763" y="6031117"/>
                </a:lnTo>
                <a:lnTo>
                  <a:pt x="649359" y="6012859"/>
                </a:lnTo>
                <a:lnTo>
                  <a:pt x="637313" y="6004565"/>
                </a:lnTo>
                <a:lnTo>
                  <a:pt x="615380" y="5986354"/>
                </a:lnTo>
                <a:lnTo>
                  <a:pt x="566225" y="5948007"/>
                </a:lnTo>
                <a:lnTo>
                  <a:pt x="540188" y="5923923"/>
                </a:lnTo>
                <a:lnTo>
                  <a:pt x="526430" y="5912501"/>
                </a:lnTo>
                <a:lnTo>
                  <a:pt x="507558" y="5893743"/>
                </a:lnTo>
                <a:lnTo>
                  <a:pt x="467159" y="5856373"/>
                </a:lnTo>
                <a:lnTo>
                  <a:pt x="439274" y="5825863"/>
                </a:lnTo>
                <a:lnTo>
                  <a:pt x="424299" y="5810978"/>
                </a:lnTo>
                <a:lnTo>
                  <a:pt x="408660" y="5792369"/>
                </a:lnTo>
                <a:lnTo>
                  <a:pt x="376113" y="5756758"/>
                </a:lnTo>
                <a:lnTo>
                  <a:pt x="347228" y="5719270"/>
                </a:lnTo>
                <a:lnTo>
                  <a:pt x="331585" y="5700658"/>
                </a:lnTo>
                <a:lnTo>
                  <a:pt x="319137" y="5682812"/>
                </a:lnTo>
                <a:lnTo>
                  <a:pt x="293630" y="5649710"/>
                </a:lnTo>
                <a:lnTo>
                  <a:pt x="264657" y="5604716"/>
                </a:lnTo>
                <a:lnTo>
                  <a:pt x="248950" y="5582202"/>
                </a:lnTo>
                <a:lnTo>
                  <a:pt x="239513" y="5565672"/>
                </a:lnTo>
                <a:lnTo>
                  <a:pt x="220260" y="5535773"/>
                </a:lnTo>
                <a:lnTo>
                  <a:pt x="192164" y="5482732"/>
                </a:lnTo>
                <a:lnTo>
                  <a:pt x="177059" y="5456275"/>
                </a:lnTo>
                <a:lnTo>
                  <a:pt x="170352" y="5441557"/>
                </a:lnTo>
                <a:lnTo>
                  <a:pt x="156546" y="5415495"/>
                </a:lnTo>
                <a:lnTo>
                  <a:pt x="130342" y="5353756"/>
                </a:lnTo>
                <a:lnTo>
                  <a:pt x="116572" y="5323539"/>
                </a:lnTo>
                <a:lnTo>
                  <a:pt x="112230" y="5311085"/>
                </a:lnTo>
                <a:lnTo>
                  <a:pt x="103034" y="5289421"/>
                </a:lnTo>
                <a:lnTo>
                  <a:pt x="79788" y="5218031"/>
                </a:lnTo>
                <a:lnTo>
                  <a:pt x="68155" y="5184660"/>
                </a:lnTo>
                <a:lnTo>
                  <a:pt x="65735" y="5174872"/>
                </a:lnTo>
                <a:lnTo>
                  <a:pt x="60272" y="5158096"/>
                </a:lnTo>
                <a:lnTo>
                  <a:pt x="41092" y="5075179"/>
                </a:lnTo>
                <a:lnTo>
                  <a:pt x="32469" y="5040298"/>
                </a:lnTo>
                <a:lnTo>
                  <a:pt x="31460" y="5033541"/>
                </a:lnTo>
                <a:lnTo>
                  <a:pt x="28806" y="5022069"/>
                </a:lnTo>
                <a:lnTo>
                  <a:pt x="14841" y="4922319"/>
                </a:lnTo>
                <a:lnTo>
                  <a:pt x="10178" y="4891118"/>
                </a:lnTo>
                <a:lnTo>
                  <a:pt x="10012" y="4887832"/>
                </a:lnTo>
                <a:lnTo>
                  <a:pt x="9179" y="4881884"/>
                </a:lnTo>
                <a:lnTo>
                  <a:pt x="5904" y="4812700"/>
                </a:lnTo>
                <a:lnTo>
                  <a:pt x="1912" y="4812700"/>
                </a:lnTo>
                <a:lnTo>
                  <a:pt x="1912" y="4748916"/>
                </a:lnTo>
                <a:lnTo>
                  <a:pt x="1912" y="4728385"/>
                </a:lnTo>
                <a:lnTo>
                  <a:pt x="1912" y="4727907"/>
                </a:lnTo>
                <a:lnTo>
                  <a:pt x="1912" y="4727906"/>
                </a:lnTo>
                <a:lnTo>
                  <a:pt x="0" y="4727906"/>
                </a:lnTo>
                <a:lnTo>
                  <a:pt x="0" y="4519209"/>
                </a:lnTo>
                <a:lnTo>
                  <a:pt x="0" y="4421451"/>
                </a:lnTo>
                <a:lnTo>
                  <a:pt x="0" y="4315041"/>
                </a:lnTo>
                <a:lnTo>
                  <a:pt x="0" y="4247666"/>
                </a:lnTo>
                <a:lnTo>
                  <a:pt x="0" y="4223465"/>
                </a:lnTo>
                <a:lnTo>
                  <a:pt x="0" y="4138670"/>
                </a:lnTo>
                <a:lnTo>
                  <a:pt x="0" y="4106344"/>
                </a:lnTo>
                <a:lnTo>
                  <a:pt x="0" y="4008586"/>
                </a:lnTo>
                <a:lnTo>
                  <a:pt x="0" y="3834801"/>
                </a:lnTo>
                <a:lnTo>
                  <a:pt x="0" y="3810600"/>
                </a:lnTo>
                <a:lnTo>
                  <a:pt x="0" y="3725805"/>
                </a:lnTo>
                <a:lnTo>
                  <a:pt x="1892" y="3725805"/>
                </a:lnTo>
                <a:lnTo>
                  <a:pt x="1892" y="2622963"/>
                </a:lnTo>
                <a:lnTo>
                  <a:pt x="1892" y="2210098"/>
                </a:lnTo>
                <a:lnTo>
                  <a:pt x="6868" y="2210098"/>
                </a:lnTo>
                <a:lnTo>
                  <a:pt x="5904" y="2189738"/>
                </a:lnTo>
                <a:lnTo>
                  <a:pt x="1911" y="2189738"/>
                </a:lnTo>
                <a:lnTo>
                  <a:pt x="1911" y="2125955"/>
                </a:lnTo>
                <a:lnTo>
                  <a:pt x="1911" y="2105423"/>
                </a:lnTo>
                <a:lnTo>
                  <a:pt x="1911" y="2104943"/>
                </a:lnTo>
                <a:lnTo>
                  <a:pt x="0" y="2104943"/>
                </a:lnTo>
                <a:lnTo>
                  <a:pt x="0" y="2080742"/>
                </a:lnTo>
                <a:lnTo>
                  <a:pt x="0" y="1906957"/>
                </a:lnTo>
                <a:lnTo>
                  <a:pt x="0" y="1809199"/>
                </a:lnTo>
                <a:lnTo>
                  <a:pt x="0" y="1600501"/>
                </a:lnTo>
                <a:lnTo>
                  <a:pt x="0" y="1515708"/>
                </a:lnTo>
                <a:lnTo>
                  <a:pt x="1893" y="1515708"/>
                </a:lnTo>
                <a:lnTo>
                  <a:pt x="1893" y="1"/>
                </a:lnTo>
                <a:lnTo>
                  <a:pt x="1600957" y="1"/>
                </a:lnTo>
                <a:lnTo>
                  <a:pt x="1601900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76930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F148A77-634B-4BCB-AB09-F77C7AE22C7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764009" y="3697260"/>
            <a:ext cx="6064842" cy="2824212"/>
          </a:xfrm>
          <a:custGeom>
            <a:avLst/>
            <a:gdLst>
              <a:gd name="connsiteX0" fmla="*/ 0 w 6064842"/>
              <a:gd name="connsiteY0" fmla="*/ 0 h 2824212"/>
              <a:gd name="connsiteX1" fmla="*/ 670946 w 6064842"/>
              <a:gd name="connsiteY1" fmla="*/ 0 h 2824212"/>
              <a:gd name="connsiteX2" fmla="*/ 708481 w 6064842"/>
              <a:gd name="connsiteY2" fmla="*/ 0 h 2824212"/>
              <a:gd name="connsiteX3" fmla="*/ 1747470 w 6064842"/>
              <a:gd name="connsiteY3" fmla="*/ 0 h 2824212"/>
              <a:gd name="connsiteX4" fmla="*/ 1885136 w 6064842"/>
              <a:gd name="connsiteY4" fmla="*/ 0 h 2824212"/>
              <a:gd name="connsiteX5" fmla="*/ 2189625 w 6064842"/>
              <a:gd name="connsiteY5" fmla="*/ 0 h 2824212"/>
              <a:gd name="connsiteX6" fmla="*/ 2418416 w 6064842"/>
              <a:gd name="connsiteY6" fmla="*/ 0 h 2824212"/>
              <a:gd name="connsiteX7" fmla="*/ 2455951 w 6064842"/>
              <a:gd name="connsiteY7" fmla="*/ 0 h 2824212"/>
              <a:gd name="connsiteX8" fmla="*/ 3304400 w 6064842"/>
              <a:gd name="connsiteY8" fmla="*/ 0 h 2824212"/>
              <a:gd name="connsiteX9" fmla="*/ 3608890 w 6064842"/>
              <a:gd name="connsiteY9" fmla="*/ 0 h 2824212"/>
              <a:gd name="connsiteX10" fmla="*/ 3632605 w 6064842"/>
              <a:gd name="connsiteY10" fmla="*/ 0 h 2824212"/>
              <a:gd name="connsiteX11" fmla="*/ 3937095 w 6064842"/>
              <a:gd name="connsiteY11" fmla="*/ 0 h 2824212"/>
              <a:gd name="connsiteX12" fmla="*/ 5051870 w 6064842"/>
              <a:gd name="connsiteY12" fmla="*/ 0 h 2824212"/>
              <a:gd name="connsiteX13" fmla="*/ 5356360 w 6064842"/>
              <a:gd name="connsiteY13" fmla="*/ 0 h 2824212"/>
              <a:gd name="connsiteX14" fmla="*/ 5356360 w 6064842"/>
              <a:gd name="connsiteY14" fmla="*/ 930 h 2824212"/>
              <a:gd name="connsiteX15" fmla="*/ 5356361 w 6064842"/>
              <a:gd name="connsiteY15" fmla="*/ 930 h 2824212"/>
              <a:gd name="connsiteX16" fmla="*/ 5356573 w 6064842"/>
              <a:gd name="connsiteY16" fmla="*/ 930 h 2824212"/>
              <a:gd name="connsiteX17" fmla="*/ 5365661 w 6064842"/>
              <a:gd name="connsiteY17" fmla="*/ 930 h 2824212"/>
              <a:gd name="connsiteX18" fmla="*/ 5393896 w 6064842"/>
              <a:gd name="connsiteY18" fmla="*/ 930 h 2824212"/>
              <a:gd name="connsiteX19" fmla="*/ 5393896 w 6064842"/>
              <a:gd name="connsiteY19" fmla="*/ 2870 h 2824212"/>
              <a:gd name="connsiteX20" fmla="*/ 5424521 w 6064842"/>
              <a:gd name="connsiteY20" fmla="*/ 4461 h 2824212"/>
              <a:gd name="connsiteX21" fmla="*/ 5427155 w 6064842"/>
              <a:gd name="connsiteY21" fmla="*/ 4866 h 2824212"/>
              <a:gd name="connsiteX22" fmla="*/ 5428608 w 6064842"/>
              <a:gd name="connsiteY22" fmla="*/ 4946 h 2824212"/>
              <a:gd name="connsiteX23" fmla="*/ 5442420 w 6064842"/>
              <a:gd name="connsiteY23" fmla="*/ 7212 h 2824212"/>
              <a:gd name="connsiteX24" fmla="*/ 5486575 w 6064842"/>
              <a:gd name="connsiteY24" fmla="*/ 13997 h 2824212"/>
              <a:gd name="connsiteX25" fmla="*/ 5491653 w 6064842"/>
              <a:gd name="connsiteY25" fmla="*/ 15287 h 2824212"/>
              <a:gd name="connsiteX26" fmla="*/ 5494644 w 6064842"/>
              <a:gd name="connsiteY26" fmla="*/ 15777 h 2824212"/>
              <a:gd name="connsiteX27" fmla="*/ 5510085 w 6064842"/>
              <a:gd name="connsiteY27" fmla="*/ 19968 h 2824212"/>
              <a:gd name="connsiteX28" fmla="*/ 5546790 w 6064842"/>
              <a:gd name="connsiteY28" fmla="*/ 29287 h 2824212"/>
              <a:gd name="connsiteX29" fmla="*/ 5554216 w 6064842"/>
              <a:gd name="connsiteY29" fmla="*/ 31942 h 2824212"/>
              <a:gd name="connsiteX30" fmla="*/ 5558548 w 6064842"/>
              <a:gd name="connsiteY30" fmla="*/ 33117 h 2824212"/>
              <a:gd name="connsiteX31" fmla="*/ 5573320 w 6064842"/>
              <a:gd name="connsiteY31" fmla="*/ 38769 h 2824212"/>
              <a:gd name="connsiteX32" fmla="*/ 5604922 w 6064842"/>
              <a:gd name="connsiteY32" fmla="*/ 50066 h 2824212"/>
              <a:gd name="connsiteX33" fmla="*/ 5614512 w 6064842"/>
              <a:gd name="connsiteY33" fmla="*/ 54533 h 2824212"/>
              <a:gd name="connsiteX34" fmla="*/ 5620025 w 6064842"/>
              <a:gd name="connsiteY34" fmla="*/ 56644 h 2824212"/>
              <a:gd name="connsiteX35" fmla="*/ 5633401 w 6064842"/>
              <a:gd name="connsiteY35" fmla="*/ 63334 h 2824212"/>
              <a:gd name="connsiteX36" fmla="*/ 5660731 w 6064842"/>
              <a:gd name="connsiteY36" fmla="*/ 76066 h 2824212"/>
              <a:gd name="connsiteX37" fmla="*/ 5672267 w 6064842"/>
              <a:gd name="connsiteY37" fmla="*/ 82775 h 2824212"/>
              <a:gd name="connsiteX38" fmla="*/ 5678782 w 6064842"/>
              <a:gd name="connsiteY38" fmla="*/ 86034 h 2824212"/>
              <a:gd name="connsiteX39" fmla="*/ 5690493 w 6064842"/>
              <a:gd name="connsiteY39" fmla="*/ 93373 h 2824212"/>
              <a:gd name="connsiteX40" fmla="*/ 5713973 w 6064842"/>
              <a:gd name="connsiteY40" fmla="*/ 107025 h 2824212"/>
              <a:gd name="connsiteX41" fmla="*/ 5727208 w 6064842"/>
              <a:gd name="connsiteY41" fmla="*/ 116381 h 2824212"/>
              <a:gd name="connsiteX42" fmla="*/ 5734525 w 6064842"/>
              <a:gd name="connsiteY42" fmla="*/ 120966 h 2824212"/>
              <a:gd name="connsiteX43" fmla="*/ 5744491 w 6064842"/>
              <a:gd name="connsiteY43" fmla="*/ 128598 h 2824212"/>
              <a:gd name="connsiteX44" fmla="*/ 5764408 w 6064842"/>
              <a:gd name="connsiteY44" fmla="*/ 142676 h 2824212"/>
              <a:gd name="connsiteX45" fmla="*/ 5779061 w 6064842"/>
              <a:gd name="connsiteY45" fmla="*/ 155070 h 2824212"/>
              <a:gd name="connsiteX46" fmla="*/ 5786961 w 6064842"/>
              <a:gd name="connsiteY46" fmla="*/ 161118 h 2824212"/>
              <a:gd name="connsiteX47" fmla="*/ 5795200 w 6064842"/>
              <a:gd name="connsiteY47" fmla="*/ 168719 h 2824212"/>
              <a:gd name="connsiteX48" fmla="*/ 5811795 w 6064842"/>
              <a:gd name="connsiteY48" fmla="*/ 182754 h 2824212"/>
              <a:gd name="connsiteX49" fmla="*/ 5827557 w 6064842"/>
              <a:gd name="connsiteY49" fmla="*/ 198569 h 2824212"/>
              <a:gd name="connsiteX50" fmla="*/ 5835795 w 6064842"/>
              <a:gd name="connsiteY50" fmla="*/ 206168 h 2824212"/>
              <a:gd name="connsiteX51" fmla="*/ 5842384 w 6064842"/>
              <a:gd name="connsiteY51" fmla="*/ 213444 h 2824212"/>
              <a:gd name="connsiteX52" fmla="*/ 5855890 w 6064842"/>
              <a:gd name="connsiteY52" fmla="*/ 226994 h 2824212"/>
              <a:gd name="connsiteX53" fmla="*/ 5872433 w 6064842"/>
              <a:gd name="connsiteY53" fmla="*/ 246624 h 2824212"/>
              <a:gd name="connsiteX54" fmla="*/ 5880736 w 6064842"/>
              <a:gd name="connsiteY54" fmla="*/ 255793 h 2824212"/>
              <a:gd name="connsiteX55" fmla="*/ 5885792 w 6064842"/>
              <a:gd name="connsiteY55" fmla="*/ 262478 h 2824212"/>
              <a:gd name="connsiteX56" fmla="*/ 5896454 w 6064842"/>
              <a:gd name="connsiteY56" fmla="*/ 275129 h 2824212"/>
              <a:gd name="connsiteX57" fmla="*/ 5913427 w 6064842"/>
              <a:gd name="connsiteY57" fmla="*/ 299015 h 2824212"/>
              <a:gd name="connsiteX58" fmla="*/ 5921489 w 6064842"/>
              <a:gd name="connsiteY58" fmla="*/ 309671 h 2824212"/>
              <a:gd name="connsiteX59" fmla="*/ 5925161 w 6064842"/>
              <a:gd name="connsiteY59" fmla="*/ 315524 h 2824212"/>
              <a:gd name="connsiteX60" fmla="*/ 5933243 w 6064842"/>
              <a:gd name="connsiteY60" fmla="*/ 326896 h 2824212"/>
              <a:gd name="connsiteX61" fmla="*/ 5950304 w 6064842"/>
              <a:gd name="connsiteY61" fmla="*/ 355597 h 2824212"/>
              <a:gd name="connsiteX62" fmla="*/ 5957761 w 6064842"/>
              <a:gd name="connsiteY62" fmla="*/ 367482 h 2824212"/>
              <a:gd name="connsiteX63" fmla="*/ 5960223 w 6064842"/>
              <a:gd name="connsiteY63" fmla="*/ 372282 h 2824212"/>
              <a:gd name="connsiteX64" fmla="*/ 5966016 w 6064842"/>
              <a:gd name="connsiteY64" fmla="*/ 382028 h 2824212"/>
              <a:gd name="connsiteX65" fmla="*/ 5982857 w 6064842"/>
              <a:gd name="connsiteY65" fmla="*/ 416419 h 2824212"/>
              <a:gd name="connsiteX66" fmla="*/ 5989257 w 6064842"/>
              <a:gd name="connsiteY66" fmla="*/ 428899 h 2824212"/>
              <a:gd name="connsiteX67" fmla="*/ 5990707 w 6064842"/>
              <a:gd name="connsiteY67" fmla="*/ 432453 h 2824212"/>
              <a:gd name="connsiteX68" fmla="*/ 5994531 w 6064842"/>
              <a:gd name="connsiteY68" fmla="*/ 440261 h 2824212"/>
              <a:gd name="connsiteX69" fmla="*/ 6010987 w 6064842"/>
              <a:gd name="connsiteY69" fmla="*/ 482102 h 2824212"/>
              <a:gd name="connsiteX70" fmla="*/ 6015685 w 6064842"/>
              <a:gd name="connsiteY70" fmla="*/ 493604 h 2824212"/>
              <a:gd name="connsiteX71" fmla="*/ 6016347 w 6064842"/>
              <a:gd name="connsiteY71" fmla="*/ 495732 h 2824212"/>
              <a:gd name="connsiteX72" fmla="*/ 6018549 w 6064842"/>
              <a:gd name="connsiteY72" fmla="*/ 501331 h 2824212"/>
              <a:gd name="connsiteX73" fmla="*/ 6035067 w 6064842"/>
              <a:gd name="connsiteY73" fmla="*/ 555868 h 2824212"/>
              <a:gd name="connsiteX74" fmla="*/ 6036751 w 6064842"/>
              <a:gd name="connsiteY74" fmla="*/ 561273 h 2824212"/>
              <a:gd name="connsiteX75" fmla="*/ 6036869 w 6064842"/>
              <a:gd name="connsiteY75" fmla="*/ 561817 h 2824212"/>
              <a:gd name="connsiteX76" fmla="*/ 6037825 w 6064842"/>
              <a:gd name="connsiteY76" fmla="*/ 564967 h 2824212"/>
              <a:gd name="connsiteX77" fmla="*/ 6061185 w 6064842"/>
              <a:gd name="connsiteY77" fmla="*/ 698891 h 2824212"/>
              <a:gd name="connsiteX78" fmla="*/ 6061325 w 6064842"/>
              <a:gd name="connsiteY78" fmla="*/ 701933 h 2824212"/>
              <a:gd name="connsiteX79" fmla="*/ 6061623 w 6064842"/>
              <a:gd name="connsiteY79" fmla="*/ 704217 h 2824212"/>
              <a:gd name="connsiteX80" fmla="*/ 6063246 w 6064842"/>
              <a:gd name="connsiteY80" fmla="*/ 741856 h 2824212"/>
              <a:gd name="connsiteX81" fmla="*/ 6064842 w 6064842"/>
              <a:gd name="connsiteY81" fmla="*/ 741856 h 2824212"/>
              <a:gd name="connsiteX82" fmla="*/ 6064842 w 6064842"/>
              <a:gd name="connsiteY82" fmla="*/ 778373 h 2824212"/>
              <a:gd name="connsiteX83" fmla="*/ 6064842 w 6064842"/>
              <a:gd name="connsiteY83" fmla="*/ 778380 h 2824212"/>
              <a:gd name="connsiteX84" fmla="*/ 6064842 w 6064842"/>
              <a:gd name="connsiteY84" fmla="*/ 778388 h 2824212"/>
              <a:gd name="connsiteX85" fmla="*/ 6064842 w 6064842"/>
              <a:gd name="connsiteY85" fmla="*/ 778846 h 2824212"/>
              <a:gd name="connsiteX86" fmla="*/ 6064842 w 6064842"/>
              <a:gd name="connsiteY86" fmla="*/ 786226 h 2824212"/>
              <a:gd name="connsiteX87" fmla="*/ 6064842 w 6064842"/>
              <a:gd name="connsiteY87" fmla="*/ 1259616 h 2824212"/>
              <a:gd name="connsiteX88" fmla="*/ 6064842 w 6064842"/>
              <a:gd name="connsiteY88" fmla="*/ 1564605 h 2824212"/>
              <a:gd name="connsiteX89" fmla="*/ 6064842 w 6064842"/>
              <a:gd name="connsiteY89" fmla="*/ 2045841 h 2824212"/>
              <a:gd name="connsiteX90" fmla="*/ 6064842 w 6064842"/>
              <a:gd name="connsiteY90" fmla="*/ 2824212 h 2824212"/>
              <a:gd name="connsiteX91" fmla="*/ 5393896 w 6064842"/>
              <a:gd name="connsiteY91" fmla="*/ 2824212 h 2824212"/>
              <a:gd name="connsiteX92" fmla="*/ 5356361 w 6064842"/>
              <a:gd name="connsiteY92" fmla="*/ 2824212 h 2824212"/>
              <a:gd name="connsiteX93" fmla="*/ 4645577 w 6064842"/>
              <a:gd name="connsiteY93" fmla="*/ 2824212 h 2824212"/>
              <a:gd name="connsiteX94" fmla="*/ 4317372 w 6064842"/>
              <a:gd name="connsiteY94" fmla="*/ 2824212 h 2824212"/>
              <a:gd name="connsiteX95" fmla="*/ 4179707 w 6064842"/>
              <a:gd name="connsiteY95" fmla="*/ 2824212 h 2824212"/>
              <a:gd name="connsiteX96" fmla="*/ 3974631 w 6064842"/>
              <a:gd name="connsiteY96" fmla="*/ 2824212 h 2824212"/>
              <a:gd name="connsiteX97" fmla="*/ 3937096 w 6064842"/>
              <a:gd name="connsiteY97" fmla="*/ 2824212 h 2824212"/>
              <a:gd name="connsiteX98" fmla="*/ 3875217 w 6064842"/>
              <a:gd name="connsiteY98" fmla="*/ 2824212 h 2824212"/>
              <a:gd name="connsiteX99" fmla="*/ 3646426 w 6064842"/>
              <a:gd name="connsiteY99" fmla="*/ 2824212 h 2824212"/>
              <a:gd name="connsiteX100" fmla="*/ 3608891 w 6064842"/>
              <a:gd name="connsiteY100" fmla="*/ 2824212 h 2824212"/>
              <a:gd name="connsiteX101" fmla="*/ 2898107 w 6064842"/>
              <a:gd name="connsiteY101" fmla="*/ 2824212 h 2824212"/>
              <a:gd name="connsiteX102" fmla="*/ 2760442 w 6064842"/>
              <a:gd name="connsiteY102" fmla="*/ 2824212 h 2824212"/>
              <a:gd name="connsiteX103" fmla="*/ 2455952 w 6064842"/>
              <a:gd name="connsiteY103" fmla="*/ 2824212 h 2824212"/>
              <a:gd name="connsiteX104" fmla="*/ 2432237 w 6064842"/>
              <a:gd name="connsiteY104" fmla="*/ 2824212 h 2824212"/>
              <a:gd name="connsiteX105" fmla="*/ 2227161 w 6064842"/>
              <a:gd name="connsiteY105" fmla="*/ 2824212 h 2824212"/>
              <a:gd name="connsiteX106" fmla="*/ 2189626 w 6064842"/>
              <a:gd name="connsiteY106" fmla="*/ 2824212 h 2824212"/>
              <a:gd name="connsiteX107" fmla="*/ 2127747 w 6064842"/>
              <a:gd name="connsiteY107" fmla="*/ 2824212 h 2824212"/>
              <a:gd name="connsiteX108" fmla="*/ 1012971 w 6064842"/>
              <a:gd name="connsiteY108" fmla="*/ 2824212 h 2824212"/>
              <a:gd name="connsiteX109" fmla="*/ 708482 w 6064842"/>
              <a:gd name="connsiteY109" fmla="*/ 2824212 h 2824212"/>
              <a:gd name="connsiteX110" fmla="*/ 708482 w 6064842"/>
              <a:gd name="connsiteY110" fmla="*/ 2823282 h 2824212"/>
              <a:gd name="connsiteX111" fmla="*/ 708481 w 6064842"/>
              <a:gd name="connsiteY111" fmla="*/ 2823282 h 2824212"/>
              <a:gd name="connsiteX112" fmla="*/ 708269 w 6064842"/>
              <a:gd name="connsiteY112" fmla="*/ 2823282 h 2824212"/>
              <a:gd name="connsiteX113" fmla="*/ 699181 w 6064842"/>
              <a:gd name="connsiteY113" fmla="*/ 2823282 h 2824212"/>
              <a:gd name="connsiteX114" fmla="*/ 670946 w 6064842"/>
              <a:gd name="connsiteY114" fmla="*/ 2823282 h 2824212"/>
              <a:gd name="connsiteX115" fmla="*/ 670946 w 6064842"/>
              <a:gd name="connsiteY115" fmla="*/ 2821342 h 2824212"/>
              <a:gd name="connsiteX116" fmla="*/ 640321 w 6064842"/>
              <a:gd name="connsiteY116" fmla="*/ 2819751 h 2824212"/>
              <a:gd name="connsiteX117" fmla="*/ 637688 w 6064842"/>
              <a:gd name="connsiteY117" fmla="*/ 2819346 h 2824212"/>
              <a:gd name="connsiteX118" fmla="*/ 636234 w 6064842"/>
              <a:gd name="connsiteY118" fmla="*/ 2819266 h 2824212"/>
              <a:gd name="connsiteX119" fmla="*/ 622422 w 6064842"/>
              <a:gd name="connsiteY119" fmla="*/ 2817000 h 2824212"/>
              <a:gd name="connsiteX120" fmla="*/ 578267 w 6064842"/>
              <a:gd name="connsiteY120" fmla="*/ 2810215 h 2824212"/>
              <a:gd name="connsiteX121" fmla="*/ 573188 w 6064842"/>
              <a:gd name="connsiteY121" fmla="*/ 2808925 h 2824212"/>
              <a:gd name="connsiteX122" fmla="*/ 570198 w 6064842"/>
              <a:gd name="connsiteY122" fmla="*/ 2808435 h 2824212"/>
              <a:gd name="connsiteX123" fmla="*/ 554757 w 6064842"/>
              <a:gd name="connsiteY123" fmla="*/ 2804244 h 2824212"/>
              <a:gd name="connsiteX124" fmla="*/ 518052 w 6064842"/>
              <a:gd name="connsiteY124" fmla="*/ 2794925 h 2824212"/>
              <a:gd name="connsiteX125" fmla="*/ 510626 w 6064842"/>
              <a:gd name="connsiteY125" fmla="*/ 2792270 h 2824212"/>
              <a:gd name="connsiteX126" fmla="*/ 506294 w 6064842"/>
              <a:gd name="connsiteY126" fmla="*/ 2791095 h 2824212"/>
              <a:gd name="connsiteX127" fmla="*/ 491522 w 6064842"/>
              <a:gd name="connsiteY127" fmla="*/ 2785443 h 2824212"/>
              <a:gd name="connsiteX128" fmla="*/ 459920 w 6064842"/>
              <a:gd name="connsiteY128" fmla="*/ 2774146 h 2824212"/>
              <a:gd name="connsiteX129" fmla="*/ 450331 w 6064842"/>
              <a:gd name="connsiteY129" fmla="*/ 2769679 h 2824212"/>
              <a:gd name="connsiteX130" fmla="*/ 444817 w 6064842"/>
              <a:gd name="connsiteY130" fmla="*/ 2767568 h 2824212"/>
              <a:gd name="connsiteX131" fmla="*/ 431441 w 6064842"/>
              <a:gd name="connsiteY131" fmla="*/ 2760878 h 2824212"/>
              <a:gd name="connsiteX132" fmla="*/ 404112 w 6064842"/>
              <a:gd name="connsiteY132" fmla="*/ 2748146 h 2824212"/>
              <a:gd name="connsiteX133" fmla="*/ 392575 w 6064842"/>
              <a:gd name="connsiteY133" fmla="*/ 2741437 h 2824212"/>
              <a:gd name="connsiteX134" fmla="*/ 386060 w 6064842"/>
              <a:gd name="connsiteY134" fmla="*/ 2738178 h 2824212"/>
              <a:gd name="connsiteX135" fmla="*/ 374349 w 6064842"/>
              <a:gd name="connsiteY135" fmla="*/ 2730839 h 2824212"/>
              <a:gd name="connsiteX136" fmla="*/ 350870 w 6064842"/>
              <a:gd name="connsiteY136" fmla="*/ 2717187 h 2824212"/>
              <a:gd name="connsiteX137" fmla="*/ 337634 w 6064842"/>
              <a:gd name="connsiteY137" fmla="*/ 2707831 h 2824212"/>
              <a:gd name="connsiteX138" fmla="*/ 330317 w 6064842"/>
              <a:gd name="connsiteY138" fmla="*/ 2703246 h 2824212"/>
              <a:gd name="connsiteX139" fmla="*/ 320351 w 6064842"/>
              <a:gd name="connsiteY139" fmla="*/ 2695614 h 2824212"/>
              <a:gd name="connsiteX140" fmla="*/ 300434 w 6064842"/>
              <a:gd name="connsiteY140" fmla="*/ 2681536 h 2824212"/>
              <a:gd name="connsiteX141" fmla="*/ 285780 w 6064842"/>
              <a:gd name="connsiteY141" fmla="*/ 2669142 h 2824212"/>
              <a:gd name="connsiteX142" fmla="*/ 277881 w 6064842"/>
              <a:gd name="connsiteY142" fmla="*/ 2663094 h 2824212"/>
              <a:gd name="connsiteX143" fmla="*/ 269642 w 6064842"/>
              <a:gd name="connsiteY143" fmla="*/ 2655493 h 2824212"/>
              <a:gd name="connsiteX144" fmla="*/ 253047 w 6064842"/>
              <a:gd name="connsiteY144" fmla="*/ 2641458 h 2824212"/>
              <a:gd name="connsiteX145" fmla="*/ 237284 w 6064842"/>
              <a:gd name="connsiteY145" fmla="*/ 2625643 h 2824212"/>
              <a:gd name="connsiteX146" fmla="*/ 229047 w 6064842"/>
              <a:gd name="connsiteY146" fmla="*/ 2618044 h 2824212"/>
              <a:gd name="connsiteX147" fmla="*/ 222457 w 6064842"/>
              <a:gd name="connsiteY147" fmla="*/ 2610768 h 2824212"/>
              <a:gd name="connsiteX148" fmla="*/ 208952 w 6064842"/>
              <a:gd name="connsiteY148" fmla="*/ 2597218 h 2824212"/>
              <a:gd name="connsiteX149" fmla="*/ 192410 w 6064842"/>
              <a:gd name="connsiteY149" fmla="*/ 2577589 h 2824212"/>
              <a:gd name="connsiteX150" fmla="*/ 184106 w 6064842"/>
              <a:gd name="connsiteY150" fmla="*/ 2568419 h 2824212"/>
              <a:gd name="connsiteX151" fmla="*/ 179049 w 6064842"/>
              <a:gd name="connsiteY151" fmla="*/ 2561734 h 2824212"/>
              <a:gd name="connsiteX152" fmla="*/ 168389 w 6064842"/>
              <a:gd name="connsiteY152" fmla="*/ 2549083 h 2824212"/>
              <a:gd name="connsiteX153" fmla="*/ 151415 w 6064842"/>
              <a:gd name="connsiteY153" fmla="*/ 2525197 h 2824212"/>
              <a:gd name="connsiteX154" fmla="*/ 143353 w 6064842"/>
              <a:gd name="connsiteY154" fmla="*/ 2514541 h 2824212"/>
              <a:gd name="connsiteX155" fmla="*/ 139681 w 6064842"/>
              <a:gd name="connsiteY155" fmla="*/ 2508687 h 2824212"/>
              <a:gd name="connsiteX156" fmla="*/ 131599 w 6064842"/>
              <a:gd name="connsiteY156" fmla="*/ 2497316 h 2824212"/>
              <a:gd name="connsiteX157" fmla="*/ 114539 w 6064842"/>
              <a:gd name="connsiteY157" fmla="*/ 2468615 h 2824212"/>
              <a:gd name="connsiteX158" fmla="*/ 107082 w 6064842"/>
              <a:gd name="connsiteY158" fmla="*/ 2456730 h 2824212"/>
              <a:gd name="connsiteX159" fmla="*/ 104620 w 6064842"/>
              <a:gd name="connsiteY159" fmla="*/ 2451929 h 2824212"/>
              <a:gd name="connsiteX160" fmla="*/ 98826 w 6064842"/>
              <a:gd name="connsiteY160" fmla="*/ 2442184 h 2824212"/>
              <a:gd name="connsiteX161" fmla="*/ 81986 w 6064842"/>
              <a:gd name="connsiteY161" fmla="*/ 2407793 h 2824212"/>
              <a:gd name="connsiteX162" fmla="*/ 75586 w 6064842"/>
              <a:gd name="connsiteY162" fmla="*/ 2395313 h 2824212"/>
              <a:gd name="connsiteX163" fmla="*/ 74134 w 6064842"/>
              <a:gd name="connsiteY163" fmla="*/ 2391759 h 2824212"/>
              <a:gd name="connsiteX164" fmla="*/ 70310 w 6064842"/>
              <a:gd name="connsiteY164" fmla="*/ 2383951 h 2824212"/>
              <a:gd name="connsiteX165" fmla="*/ 53855 w 6064842"/>
              <a:gd name="connsiteY165" fmla="*/ 2342110 h 2824212"/>
              <a:gd name="connsiteX166" fmla="*/ 49158 w 6064842"/>
              <a:gd name="connsiteY166" fmla="*/ 2330608 h 2824212"/>
              <a:gd name="connsiteX167" fmla="*/ 48496 w 6064842"/>
              <a:gd name="connsiteY167" fmla="*/ 2328480 h 2824212"/>
              <a:gd name="connsiteX168" fmla="*/ 46294 w 6064842"/>
              <a:gd name="connsiteY168" fmla="*/ 2322881 h 2824212"/>
              <a:gd name="connsiteX169" fmla="*/ 29774 w 6064842"/>
              <a:gd name="connsiteY169" fmla="*/ 2268344 h 2824212"/>
              <a:gd name="connsiteX170" fmla="*/ 28091 w 6064842"/>
              <a:gd name="connsiteY170" fmla="*/ 2262939 h 2824212"/>
              <a:gd name="connsiteX171" fmla="*/ 27973 w 6064842"/>
              <a:gd name="connsiteY171" fmla="*/ 2262395 h 2824212"/>
              <a:gd name="connsiteX172" fmla="*/ 27018 w 6064842"/>
              <a:gd name="connsiteY172" fmla="*/ 2259244 h 2824212"/>
              <a:gd name="connsiteX173" fmla="*/ 3657 w 6064842"/>
              <a:gd name="connsiteY173" fmla="*/ 2125321 h 2824212"/>
              <a:gd name="connsiteX174" fmla="*/ 3517 w 6064842"/>
              <a:gd name="connsiteY174" fmla="*/ 2122278 h 2824212"/>
              <a:gd name="connsiteX175" fmla="*/ 3219 w 6064842"/>
              <a:gd name="connsiteY175" fmla="*/ 2119995 h 2824212"/>
              <a:gd name="connsiteX176" fmla="*/ 1596 w 6064842"/>
              <a:gd name="connsiteY176" fmla="*/ 2082356 h 2824212"/>
              <a:gd name="connsiteX177" fmla="*/ 1 w 6064842"/>
              <a:gd name="connsiteY177" fmla="*/ 2082356 h 2824212"/>
              <a:gd name="connsiteX178" fmla="*/ 1 w 6064842"/>
              <a:gd name="connsiteY178" fmla="*/ 2045838 h 2824212"/>
              <a:gd name="connsiteX179" fmla="*/ 0 w 6064842"/>
              <a:gd name="connsiteY179" fmla="*/ 2045832 h 2824212"/>
              <a:gd name="connsiteX180" fmla="*/ 1 w 6064842"/>
              <a:gd name="connsiteY180" fmla="*/ 2045824 h 2824212"/>
              <a:gd name="connsiteX181" fmla="*/ 1 w 6064842"/>
              <a:gd name="connsiteY181" fmla="*/ 2045366 h 2824212"/>
              <a:gd name="connsiteX182" fmla="*/ 1 w 6064842"/>
              <a:gd name="connsiteY182" fmla="*/ 2037986 h 2824212"/>
              <a:gd name="connsiteX183" fmla="*/ 0 w 6064842"/>
              <a:gd name="connsiteY183" fmla="*/ 2037986 h 2824212"/>
              <a:gd name="connsiteX184" fmla="*/ 0 w 6064842"/>
              <a:gd name="connsiteY184" fmla="*/ 1564597 h 2824212"/>
              <a:gd name="connsiteX185" fmla="*/ 0 w 6064842"/>
              <a:gd name="connsiteY185" fmla="*/ 1564596 h 2824212"/>
              <a:gd name="connsiteX186" fmla="*/ 0 w 6064842"/>
              <a:gd name="connsiteY186" fmla="*/ 1564595 h 2824212"/>
              <a:gd name="connsiteX187" fmla="*/ 0 w 6064842"/>
              <a:gd name="connsiteY187" fmla="*/ 1259607 h 2824212"/>
              <a:gd name="connsiteX188" fmla="*/ 0 w 6064842"/>
              <a:gd name="connsiteY188" fmla="*/ 778372 h 2824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6064842" h="2824212">
                <a:moveTo>
                  <a:pt x="0" y="0"/>
                </a:moveTo>
                <a:lnTo>
                  <a:pt x="670946" y="0"/>
                </a:lnTo>
                <a:lnTo>
                  <a:pt x="708481" y="0"/>
                </a:lnTo>
                <a:lnTo>
                  <a:pt x="1747470" y="0"/>
                </a:lnTo>
                <a:lnTo>
                  <a:pt x="1885136" y="0"/>
                </a:lnTo>
                <a:lnTo>
                  <a:pt x="2189625" y="0"/>
                </a:lnTo>
                <a:lnTo>
                  <a:pt x="2418416" y="0"/>
                </a:lnTo>
                <a:lnTo>
                  <a:pt x="2455951" y="0"/>
                </a:lnTo>
                <a:lnTo>
                  <a:pt x="3304400" y="0"/>
                </a:lnTo>
                <a:lnTo>
                  <a:pt x="3608890" y="0"/>
                </a:lnTo>
                <a:lnTo>
                  <a:pt x="3632605" y="0"/>
                </a:lnTo>
                <a:lnTo>
                  <a:pt x="3937095" y="0"/>
                </a:lnTo>
                <a:lnTo>
                  <a:pt x="5051870" y="0"/>
                </a:lnTo>
                <a:lnTo>
                  <a:pt x="5356360" y="0"/>
                </a:lnTo>
                <a:lnTo>
                  <a:pt x="5356360" y="930"/>
                </a:lnTo>
                <a:lnTo>
                  <a:pt x="5356361" y="930"/>
                </a:lnTo>
                <a:lnTo>
                  <a:pt x="5356573" y="930"/>
                </a:lnTo>
                <a:lnTo>
                  <a:pt x="5365661" y="930"/>
                </a:lnTo>
                <a:lnTo>
                  <a:pt x="5393896" y="930"/>
                </a:lnTo>
                <a:lnTo>
                  <a:pt x="5393896" y="2870"/>
                </a:lnTo>
                <a:lnTo>
                  <a:pt x="5424521" y="4461"/>
                </a:lnTo>
                <a:lnTo>
                  <a:pt x="5427155" y="4866"/>
                </a:lnTo>
                <a:lnTo>
                  <a:pt x="5428608" y="4946"/>
                </a:lnTo>
                <a:lnTo>
                  <a:pt x="5442420" y="7212"/>
                </a:lnTo>
                <a:lnTo>
                  <a:pt x="5486575" y="13997"/>
                </a:lnTo>
                <a:lnTo>
                  <a:pt x="5491653" y="15287"/>
                </a:lnTo>
                <a:lnTo>
                  <a:pt x="5494644" y="15777"/>
                </a:lnTo>
                <a:lnTo>
                  <a:pt x="5510085" y="19968"/>
                </a:lnTo>
                <a:lnTo>
                  <a:pt x="5546790" y="29287"/>
                </a:lnTo>
                <a:lnTo>
                  <a:pt x="5554216" y="31942"/>
                </a:lnTo>
                <a:lnTo>
                  <a:pt x="5558548" y="33117"/>
                </a:lnTo>
                <a:lnTo>
                  <a:pt x="5573320" y="38769"/>
                </a:lnTo>
                <a:lnTo>
                  <a:pt x="5604922" y="50066"/>
                </a:lnTo>
                <a:lnTo>
                  <a:pt x="5614512" y="54533"/>
                </a:lnTo>
                <a:lnTo>
                  <a:pt x="5620025" y="56644"/>
                </a:lnTo>
                <a:lnTo>
                  <a:pt x="5633401" y="63334"/>
                </a:lnTo>
                <a:lnTo>
                  <a:pt x="5660731" y="76066"/>
                </a:lnTo>
                <a:lnTo>
                  <a:pt x="5672267" y="82775"/>
                </a:lnTo>
                <a:lnTo>
                  <a:pt x="5678782" y="86034"/>
                </a:lnTo>
                <a:lnTo>
                  <a:pt x="5690493" y="93373"/>
                </a:lnTo>
                <a:lnTo>
                  <a:pt x="5713973" y="107025"/>
                </a:lnTo>
                <a:lnTo>
                  <a:pt x="5727208" y="116381"/>
                </a:lnTo>
                <a:lnTo>
                  <a:pt x="5734525" y="120966"/>
                </a:lnTo>
                <a:lnTo>
                  <a:pt x="5744491" y="128598"/>
                </a:lnTo>
                <a:lnTo>
                  <a:pt x="5764408" y="142676"/>
                </a:lnTo>
                <a:lnTo>
                  <a:pt x="5779061" y="155070"/>
                </a:lnTo>
                <a:lnTo>
                  <a:pt x="5786961" y="161118"/>
                </a:lnTo>
                <a:lnTo>
                  <a:pt x="5795200" y="168719"/>
                </a:lnTo>
                <a:lnTo>
                  <a:pt x="5811795" y="182754"/>
                </a:lnTo>
                <a:lnTo>
                  <a:pt x="5827557" y="198569"/>
                </a:lnTo>
                <a:lnTo>
                  <a:pt x="5835795" y="206168"/>
                </a:lnTo>
                <a:lnTo>
                  <a:pt x="5842384" y="213444"/>
                </a:lnTo>
                <a:lnTo>
                  <a:pt x="5855890" y="226994"/>
                </a:lnTo>
                <a:lnTo>
                  <a:pt x="5872433" y="246624"/>
                </a:lnTo>
                <a:lnTo>
                  <a:pt x="5880736" y="255793"/>
                </a:lnTo>
                <a:lnTo>
                  <a:pt x="5885792" y="262478"/>
                </a:lnTo>
                <a:lnTo>
                  <a:pt x="5896454" y="275129"/>
                </a:lnTo>
                <a:lnTo>
                  <a:pt x="5913427" y="299015"/>
                </a:lnTo>
                <a:lnTo>
                  <a:pt x="5921489" y="309671"/>
                </a:lnTo>
                <a:lnTo>
                  <a:pt x="5925161" y="315524"/>
                </a:lnTo>
                <a:lnTo>
                  <a:pt x="5933243" y="326896"/>
                </a:lnTo>
                <a:lnTo>
                  <a:pt x="5950304" y="355597"/>
                </a:lnTo>
                <a:lnTo>
                  <a:pt x="5957761" y="367482"/>
                </a:lnTo>
                <a:lnTo>
                  <a:pt x="5960223" y="372282"/>
                </a:lnTo>
                <a:lnTo>
                  <a:pt x="5966016" y="382028"/>
                </a:lnTo>
                <a:lnTo>
                  <a:pt x="5982857" y="416419"/>
                </a:lnTo>
                <a:lnTo>
                  <a:pt x="5989257" y="428899"/>
                </a:lnTo>
                <a:lnTo>
                  <a:pt x="5990707" y="432453"/>
                </a:lnTo>
                <a:lnTo>
                  <a:pt x="5994531" y="440261"/>
                </a:lnTo>
                <a:lnTo>
                  <a:pt x="6010987" y="482102"/>
                </a:lnTo>
                <a:lnTo>
                  <a:pt x="6015685" y="493604"/>
                </a:lnTo>
                <a:lnTo>
                  <a:pt x="6016347" y="495732"/>
                </a:lnTo>
                <a:lnTo>
                  <a:pt x="6018549" y="501331"/>
                </a:lnTo>
                <a:lnTo>
                  <a:pt x="6035067" y="555868"/>
                </a:lnTo>
                <a:lnTo>
                  <a:pt x="6036751" y="561273"/>
                </a:lnTo>
                <a:lnTo>
                  <a:pt x="6036869" y="561817"/>
                </a:lnTo>
                <a:lnTo>
                  <a:pt x="6037825" y="564967"/>
                </a:lnTo>
                <a:cubicBezTo>
                  <a:pt x="6049041" y="608191"/>
                  <a:pt x="6056935" y="652950"/>
                  <a:pt x="6061185" y="698891"/>
                </a:cubicBezTo>
                <a:lnTo>
                  <a:pt x="6061325" y="701933"/>
                </a:lnTo>
                <a:lnTo>
                  <a:pt x="6061623" y="704217"/>
                </a:lnTo>
                <a:lnTo>
                  <a:pt x="6063246" y="741856"/>
                </a:lnTo>
                <a:lnTo>
                  <a:pt x="6064842" y="741856"/>
                </a:lnTo>
                <a:lnTo>
                  <a:pt x="6064842" y="778373"/>
                </a:lnTo>
                <a:lnTo>
                  <a:pt x="6064842" y="778380"/>
                </a:lnTo>
                <a:lnTo>
                  <a:pt x="6064842" y="778388"/>
                </a:lnTo>
                <a:lnTo>
                  <a:pt x="6064842" y="778846"/>
                </a:lnTo>
                <a:lnTo>
                  <a:pt x="6064842" y="786226"/>
                </a:lnTo>
                <a:lnTo>
                  <a:pt x="6064842" y="1259616"/>
                </a:lnTo>
                <a:lnTo>
                  <a:pt x="6064842" y="1564605"/>
                </a:lnTo>
                <a:lnTo>
                  <a:pt x="6064842" y="2045841"/>
                </a:lnTo>
                <a:lnTo>
                  <a:pt x="6064842" y="2824212"/>
                </a:lnTo>
                <a:lnTo>
                  <a:pt x="5393896" y="2824212"/>
                </a:lnTo>
                <a:lnTo>
                  <a:pt x="5356361" y="2824212"/>
                </a:lnTo>
                <a:lnTo>
                  <a:pt x="4645577" y="2824212"/>
                </a:lnTo>
                <a:lnTo>
                  <a:pt x="4317372" y="2824212"/>
                </a:lnTo>
                <a:lnTo>
                  <a:pt x="4179707" y="2824212"/>
                </a:lnTo>
                <a:lnTo>
                  <a:pt x="3974631" y="2824212"/>
                </a:lnTo>
                <a:lnTo>
                  <a:pt x="3937096" y="2824212"/>
                </a:lnTo>
                <a:lnTo>
                  <a:pt x="3875217" y="2824212"/>
                </a:lnTo>
                <a:lnTo>
                  <a:pt x="3646426" y="2824212"/>
                </a:lnTo>
                <a:lnTo>
                  <a:pt x="3608891" y="2824212"/>
                </a:lnTo>
                <a:lnTo>
                  <a:pt x="2898107" y="2824212"/>
                </a:lnTo>
                <a:lnTo>
                  <a:pt x="2760442" y="2824212"/>
                </a:lnTo>
                <a:lnTo>
                  <a:pt x="2455952" y="2824212"/>
                </a:lnTo>
                <a:lnTo>
                  <a:pt x="2432237" y="2824212"/>
                </a:lnTo>
                <a:lnTo>
                  <a:pt x="2227161" y="2824212"/>
                </a:lnTo>
                <a:lnTo>
                  <a:pt x="2189626" y="2824212"/>
                </a:lnTo>
                <a:lnTo>
                  <a:pt x="2127747" y="2824212"/>
                </a:lnTo>
                <a:lnTo>
                  <a:pt x="1012971" y="2824212"/>
                </a:lnTo>
                <a:lnTo>
                  <a:pt x="708482" y="2824212"/>
                </a:lnTo>
                <a:lnTo>
                  <a:pt x="708482" y="2823282"/>
                </a:lnTo>
                <a:lnTo>
                  <a:pt x="708481" y="2823282"/>
                </a:lnTo>
                <a:lnTo>
                  <a:pt x="708269" y="2823282"/>
                </a:lnTo>
                <a:lnTo>
                  <a:pt x="699181" y="2823282"/>
                </a:lnTo>
                <a:lnTo>
                  <a:pt x="670946" y="2823282"/>
                </a:lnTo>
                <a:lnTo>
                  <a:pt x="670946" y="2821342"/>
                </a:lnTo>
                <a:lnTo>
                  <a:pt x="640321" y="2819751"/>
                </a:lnTo>
                <a:lnTo>
                  <a:pt x="637688" y="2819346"/>
                </a:lnTo>
                <a:lnTo>
                  <a:pt x="636234" y="2819266"/>
                </a:lnTo>
                <a:lnTo>
                  <a:pt x="622422" y="2817000"/>
                </a:lnTo>
                <a:lnTo>
                  <a:pt x="578267" y="2810215"/>
                </a:lnTo>
                <a:lnTo>
                  <a:pt x="573188" y="2808925"/>
                </a:lnTo>
                <a:lnTo>
                  <a:pt x="570198" y="2808435"/>
                </a:lnTo>
                <a:lnTo>
                  <a:pt x="554757" y="2804244"/>
                </a:lnTo>
                <a:lnTo>
                  <a:pt x="518052" y="2794925"/>
                </a:lnTo>
                <a:lnTo>
                  <a:pt x="510626" y="2792270"/>
                </a:lnTo>
                <a:lnTo>
                  <a:pt x="506294" y="2791095"/>
                </a:lnTo>
                <a:lnTo>
                  <a:pt x="491522" y="2785443"/>
                </a:lnTo>
                <a:lnTo>
                  <a:pt x="459920" y="2774146"/>
                </a:lnTo>
                <a:lnTo>
                  <a:pt x="450331" y="2769679"/>
                </a:lnTo>
                <a:lnTo>
                  <a:pt x="444817" y="2767568"/>
                </a:lnTo>
                <a:lnTo>
                  <a:pt x="431441" y="2760878"/>
                </a:lnTo>
                <a:lnTo>
                  <a:pt x="404112" y="2748146"/>
                </a:lnTo>
                <a:lnTo>
                  <a:pt x="392575" y="2741437"/>
                </a:lnTo>
                <a:lnTo>
                  <a:pt x="386060" y="2738178"/>
                </a:lnTo>
                <a:lnTo>
                  <a:pt x="374349" y="2730839"/>
                </a:lnTo>
                <a:lnTo>
                  <a:pt x="350870" y="2717187"/>
                </a:lnTo>
                <a:lnTo>
                  <a:pt x="337634" y="2707831"/>
                </a:lnTo>
                <a:lnTo>
                  <a:pt x="330317" y="2703246"/>
                </a:lnTo>
                <a:lnTo>
                  <a:pt x="320351" y="2695614"/>
                </a:lnTo>
                <a:lnTo>
                  <a:pt x="300434" y="2681536"/>
                </a:lnTo>
                <a:lnTo>
                  <a:pt x="285780" y="2669142"/>
                </a:lnTo>
                <a:lnTo>
                  <a:pt x="277881" y="2663094"/>
                </a:lnTo>
                <a:lnTo>
                  <a:pt x="269642" y="2655493"/>
                </a:lnTo>
                <a:lnTo>
                  <a:pt x="253047" y="2641458"/>
                </a:lnTo>
                <a:lnTo>
                  <a:pt x="237284" y="2625643"/>
                </a:lnTo>
                <a:lnTo>
                  <a:pt x="229047" y="2618044"/>
                </a:lnTo>
                <a:lnTo>
                  <a:pt x="222457" y="2610768"/>
                </a:lnTo>
                <a:lnTo>
                  <a:pt x="208952" y="2597218"/>
                </a:lnTo>
                <a:lnTo>
                  <a:pt x="192410" y="2577589"/>
                </a:lnTo>
                <a:lnTo>
                  <a:pt x="184106" y="2568419"/>
                </a:lnTo>
                <a:lnTo>
                  <a:pt x="179049" y="2561734"/>
                </a:lnTo>
                <a:lnTo>
                  <a:pt x="168389" y="2549083"/>
                </a:lnTo>
                <a:lnTo>
                  <a:pt x="151415" y="2525197"/>
                </a:lnTo>
                <a:lnTo>
                  <a:pt x="143353" y="2514541"/>
                </a:lnTo>
                <a:lnTo>
                  <a:pt x="139681" y="2508687"/>
                </a:lnTo>
                <a:lnTo>
                  <a:pt x="131599" y="2497316"/>
                </a:lnTo>
                <a:lnTo>
                  <a:pt x="114539" y="2468615"/>
                </a:lnTo>
                <a:lnTo>
                  <a:pt x="107082" y="2456730"/>
                </a:lnTo>
                <a:lnTo>
                  <a:pt x="104620" y="2451929"/>
                </a:lnTo>
                <a:lnTo>
                  <a:pt x="98826" y="2442184"/>
                </a:lnTo>
                <a:lnTo>
                  <a:pt x="81986" y="2407793"/>
                </a:lnTo>
                <a:lnTo>
                  <a:pt x="75586" y="2395313"/>
                </a:lnTo>
                <a:lnTo>
                  <a:pt x="74134" y="2391759"/>
                </a:lnTo>
                <a:lnTo>
                  <a:pt x="70310" y="2383951"/>
                </a:lnTo>
                <a:lnTo>
                  <a:pt x="53855" y="2342110"/>
                </a:lnTo>
                <a:lnTo>
                  <a:pt x="49158" y="2330608"/>
                </a:lnTo>
                <a:lnTo>
                  <a:pt x="48496" y="2328480"/>
                </a:lnTo>
                <a:lnTo>
                  <a:pt x="46294" y="2322881"/>
                </a:lnTo>
                <a:lnTo>
                  <a:pt x="29774" y="2268344"/>
                </a:lnTo>
                <a:lnTo>
                  <a:pt x="28091" y="2262939"/>
                </a:lnTo>
                <a:lnTo>
                  <a:pt x="27973" y="2262395"/>
                </a:lnTo>
                <a:lnTo>
                  <a:pt x="27018" y="2259244"/>
                </a:lnTo>
                <a:cubicBezTo>
                  <a:pt x="15802" y="2216021"/>
                  <a:pt x="7907" y="2171262"/>
                  <a:pt x="3657" y="2125321"/>
                </a:cubicBezTo>
                <a:lnTo>
                  <a:pt x="3517" y="2122278"/>
                </a:lnTo>
                <a:lnTo>
                  <a:pt x="3219" y="2119995"/>
                </a:lnTo>
                <a:lnTo>
                  <a:pt x="1596" y="2082356"/>
                </a:lnTo>
                <a:lnTo>
                  <a:pt x="1" y="2082356"/>
                </a:lnTo>
                <a:lnTo>
                  <a:pt x="1" y="2045838"/>
                </a:lnTo>
                <a:lnTo>
                  <a:pt x="0" y="2045832"/>
                </a:lnTo>
                <a:lnTo>
                  <a:pt x="1" y="2045824"/>
                </a:lnTo>
                <a:lnTo>
                  <a:pt x="1" y="2045366"/>
                </a:lnTo>
                <a:lnTo>
                  <a:pt x="1" y="2037986"/>
                </a:lnTo>
                <a:lnTo>
                  <a:pt x="0" y="2037986"/>
                </a:lnTo>
                <a:lnTo>
                  <a:pt x="0" y="1564597"/>
                </a:lnTo>
                <a:lnTo>
                  <a:pt x="0" y="1564596"/>
                </a:lnTo>
                <a:lnTo>
                  <a:pt x="0" y="1564595"/>
                </a:lnTo>
                <a:lnTo>
                  <a:pt x="0" y="1259607"/>
                </a:lnTo>
                <a:lnTo>
                  <a:pt x="0" y="77837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A510A09-F8B7-4CA9-87E5-01FC06B89F0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3749" y="351563"/>
            <a:ext cx="5058243" cy="3308853"/>
          </a:xfrm>
          <a:custGeom>
            <a:avLst/>
            <a:gdLst>
              <a:gd name="connsiteX0" fmla="*/ 0 w 5058243"/>
              <a:gd name="connsiteY0" fmla="*/ 0 h 3308853"/>
              <a:gd name="connsiteX1" fmla="*/ 786082 w 5058243"/>
              <a:gd name="connsiteY1" fmla="*/ 0 h 3308853"/>
              <a:gd name="connsiteX2" fmla="*/ 830058 w 5058243"/>
              <a:gd name="connsiteY2" fmla="*/ 0 h 3308853"/>
              <a:gd name="connsiteX3" fmla="*/ 2208629 w 5058243"/>
              <a:gd name="connsiteY3" fmla="*/ 0 h 3308853"/>
              <a:gd name="connsiteX4" fmla="*/ 2565370 w 5058243"/>
              <a:gd name="connsiteY4" fmla="*/ 0 h 3308853"/>
              <a:gd name="connsiteX5" fmla="*/ 3871443 w 5058243"/>
              <a:gd name="connsiteY5" fmla="*/ 0 h 3308853"/>
              <a:gd name="connsiteX6" fmla="*/ 4228184 w 5058243"/>
              <a:gd name="connsiteY6" fmla="*/ 0 h 3308853"/>
              <a:gd name="connsiteX7" fmla="*/ 4228184 w 5058243"/>
              <a:gd name="connsiteY7" fmla="*/ 1089 h 3308853"/>
              <a:gd name="connsiteX8" fmla="*/ 4228185 w 5058243"/>
              <a:gd name="connsiteY8" fmla="*/ 1089 h 3308853"/>
              <a:gd name="connsiteX9" fmla="*/ 4228433 w 5058243"/>
              <a:gd name="connsiteY9" fmla="*/ 1089 h 3308853"/>
              <a:gd name="connsiteX10" fmla="*/ 4239081 w 5058243"/>
              <a:gd name="connsiteY10" fmla="*/ 1089 h 3308853"/>
              <a:gd name="connsiteX11" fmla="*/ 4272161 w 5058243"/>
              <a:gd name="connsiteY11" fmla="*/ 1089 h 3308853"/>
              <a:gd name="connsiteX12" fmla="*/ 4272161 w 5058243"/>
              <a:gd name="connsiteY12" fmla="*/ 3362 h 3308853"/>
              <a:gd name="connsiteX13" fmla="*/ 4308041 w 5058243"/>
              <a:gd name="connsiteY13" fmla="*/ 5226 h 3308853"/>
              <a:gd name="connsiteX14" fmla="*/ 4311127 w 5058243"/>
              <a:gd name="connsiteY14" fmla="*/ 5701 h 3308853"/>
              <a:gd name="connsiteX15" fmla="*/ 4312830 w 5058243"/>
              <a:gd name="connsiteY15" fmla="*/ 5795 h 3308853"/>
              <a:gd name="connsiteX16" fmla="*/ 4329012 w 5058243"/>
              <a:gd name="connsiteY16" fmla="*/ 8449 h 3308853"/>
              <a:gd name="connsiteX17" fmla="*/ 4380744 w 5058243"/>
              <a:gd name="connsiteY17" fmla="*/ 16399 h 3308853"/>
              <a:gd name="connsiteX18" fmla="*/ 4386694 w 5058243"/>
              <a:gd name="connsiteY18" fmla="*/ 17910 h 3308853"/>
              <a:gd name="connsiteX19" fmla="*/ 4390198 w 5058243"/>
              <a:gd name="connsiteY19" fmla="*/ 18484 h 3308853"/>
              <a:gd name="connsiteX20" fmla="*/ 4408289 w 5058243"/>
              <a:gd name="connsiteY20" fmla="*/ 23394 h 3308853"/>
              <a:gd name="connsiteX21" fmla="*/ 4451292 w 5058243"/>
              <a:gd name="connsiteY21" fmla="*/ 34313 h 3308853"/>
              <a:gd name="connsiteX22" fmla="*/ 4459992 w 5058243"/>
              <a:gd name="connsiteY22" fmla="*/ 37423 h 3308853"/>
              <a:gd name="connsiteX23" fmla="*/ 4465068 w 5058243"/>
              <a:gd name="connsiteY23" fmla="*/ 38800 h 3308853"/>
              <a:gd name="connsiteX24" fmla="*/ 4482375 w 5058243"/>
              <a:gd name="connsiteY24" fmla="*/ 45422 h 3308853"/>
              <a:gd name="connsiteX25" fmla="*/ 4519400 w 5058243"/>
              <a:gd name="connsiteY25" fmla="*/ 58657 h 3308853"/>
              <a:gd name="connsiteX26" fmla="*/ 4530635 w 5058243"/>
              <a:gd name="connsiteY26" fmla="*/ 63891 h 3308853"/>
              <a:gd name="connsiteX27" fmla="*/ 4537095 w 5058243"/>
              <a:gd name="connsiteY27" fmla="*/ 66364 h 3308853"/>
              <a:gd name="connsiteX28" fmla="*/ 4552766 w 5058243"/>
              <a:gd name="connsiteY28" fmla="*/ 74202 h 3308853"/>
              <a:gd name="connsiteX29" fmla="*/ 4584785 w 5058243"/>
              <a:gd name="connsiteY29" fmla="*/ 89119 h 3308853"/>
              <a:gd name="connsiteX30" fmla="*/ 4598301 w 5058243"/>
              <a:gd name="connsiteY30" fmla="*/ 96979 h 3308853"/>
              <a:gd name="connsiteX31" fmla="*/ 4605934 w 5058243"/>
              <a:gd name="connsiteY31" fmla="*/ 100797 h 3308853"/>
              <a:gd name="connsiteX32" fmla="*/ 4619655 w 5058243"/>
              <a:gd name="connsiteY32" fmla="*/ 109396 h 3308853"/>
              <a:gd name="connsiteX33" fmla="*/ 4647164 w 5058243"/>
              <a:gd name="connsiteY33" fmla="*/ 125391 h 3308853"/>
              <a:gd name="connsiteX34" fmla="*/ 4662670 w 5058243"/>
              <a:gd name="connsiteY34" fmla="*/ 136352 h 3308853"/>
              <a:gd name="connsiteX35" fmla="*/ 4671243 w 5058243"/>
              <a:gd name="connsiteY35" fmla="*/ 141724 h 3308853"/>
              <a:gd name="connsiteX36" fmla="*/ 4682919 w 5058243"/>
              <a:gd name="connsiteY36" fmla="*/ 150665 h 3308853"/>
              <a:gd name="connsiteX37" fmla="*/ 4706254 w 5058243"/>
              <a:gd name="connsiteY37" fmla="*/ 167159 h 3308853"/>
              <a:gd name="connsiteX38" fmla="*/ 4723422 w 5058243"/>
              <a:gd name="connsiteY38" fmla="*/ 181680 h 3308853"/>
              <a:gd name="connsiteX39" fmla="*/ 4732677 w 5058243"/>
              <a:gd name="connsiteY39" fmla="*/ 188766 h 3308853"/>
              <a:gd name="connsiteX40" fmla="*/ 4742330 w 5058243"/>
              <a:gd name="connsiteY40" fmla="*/ 197671 h 3308853"/>
              <a:gd name="connsiteX41" fmla="*/ 4761772 w 5058243"/>
              <a:gd name="connsiteY41" fmla="*/ 214115 h 3308853"/>
              <a:gd name="connsiteX42" fmla="*/ 4780240 w 5058243"/>
              <a:gd name="connsiteY42" fmla="*/ 232644 h 3308853"/>
              <a:gd name="connsiteX43" fmla="*/ 4789891 w 5058243"/>
              <a:gd name="connsiteY43" fmla="*/ 241547 h 3308853"/>
              <a:gd name="connsiteX44" fmla="*/ 4797611 w 5058243"/>
              <a:gd name="connsiteY44" fmla="*/ 250071 h 3308853"/>
              <a:gd name="connsiteX45" fmla="*/ 4813434 w 5058243"/>
              <a:gd name="connsiteY45" fmla="*/ 265946 h 3308853"/>
              <a:gd name="connsiteX46" fmla="*/ 4832816 w 5058243"/>
              <a:gd name="connsiteY46" fmla="*/ 288945 h 3308853"/>
              <a:gd name="connsiteX47" fmla="*/ 4842544 w 5058243"/>
              <a:gd name="connsiteY47" fmla="*/ 299687 h 3308853"/>
              <a:gd name="connsiteX48" fmla="*/ 4848468 w 5058243"/>
              <a:gd name="connsiteY48" fmla="*/ 307520 h 3308853"/>
              <a:gd name="connsiteX49" fmla="*/ 4860959 w 5058243"/>
              <a:gd name="connsiteY49" fmla="*/ 322342 h 3308853"/>
              <a:gd name="connsiteX50" fmla="*/ 4880845 w 5058243"/>
              <a:gd name="connsiteY50" fmla="*/ 350326 h 3308853"/>
              <a:gd name="connsiteX51" fmla="*/ 4890290 w 5058243"/>
              <a:gd name="connsiteY51" fmla="*/ 362811 h 3308853"/>
              <a:gd name="connsiteX52" fmla="*/ 4894592 w 5058243"/>
              <a:gd name="connsiteY52" fmla="*/ 369669 h 3308853"/>
              <a:gd name="connsiteX53" fmla="*/ 4904061 w 5058243"/>
              <a:gd name="connsiteY53" fmla="*/ 382992 h 3308853"/>
              <a:gd name="connsiteX54" fmla="*/ 4924050 w 5058243"/>
              <a:gd name="connsiteY54" fmla="*/ 416618 h 3308853"/>
              <a:gd name="connsiteX55" fmla="*/ 4932786 w 5058243"/>
              <a:gd name="connsiteY55" fmla="*/ 430542 h 3308853"/>
              <a:gd name="connsiteX56" fmla="*/ 4935671 w 5058243"/>
              <a:gd name="connsiteY56" fmla="*/ 436166 h 3308853"/>
              <a:gd name="connsiteX57" fmla="*/ 4942458 w 5058243"/>
              <a:gd name="connsiteY57" fmla="*/ 447585 h 3308853"/>
              <a:gd name="connsiteX58" fmla="*/ 4962189 w 5058243"/>
              <a:gd name="connsiteY58" fmla="*/ 487877 h 3308853"/>
              <a:gd name="connsiteX59" fmla="*/ 4969687 w 5058243"/>
              <a:gd name="connsiteY59" fmla="*/ 502499 h 3308853"/>
              <a:gd name="connsiteX60" fmla="*/ 4971387 w 5058243"/>
              <a:gd name="connsiteY60" fmla="*/ 506663 h 3308853"/>
              <a:gd name="connsiteX61" fmla="*/ 4975867 w 5058243"/>
              <a:gd name="connsiteY61" fmla="*/ 515811 h 3308853"/>
              <a:gd name="connsiteX62" fmla="*/ 4995146 w 5058243"/>
              <a:gd name="connsiteY62" fmla="*/ 564832 h 3308853"/>
              <a:gd name="connsiteX63" fmla="*/ 5000650 w 5058243"/>
              <a:gd name="connsiteY63" fmla="*/ 578307 h 3308853"/>
              <a:gd name="connsiteX64" fmla="*/ 5001426 w 5058243"/>
              <a:gd name="connsiteY64" fmla="*/ 580801 h 3308853"/>
              <a:gd name="connsiteX65" fmla="*/ 5004006 w 5058243"/>
              <a:gd name="connsiteY65" fmla="*/ 587360 h 3308853"/>
              <a:gd name="connsiteX66" fmla="*/ 5023359 w 5058243"/>
              <a:gd name="connsiteY66" fmla="*/ 651256 h 3308853"/>
              <a:gd name="connsiteX67" fmla="*/ 5025331 w 5058243"/>
              <a:gd name="connsiteY67" fmla="*/ 657589 h 3308853"/>
              <a:gd name="connsiteX68" fmla="*/ 5025470 w 5058243"/>
              <a:gd name="connsiteY68" fmla="*/ 658226 h 3308853"/>
              <a:gd name="connsiteX69" fmla="*/ 5026589 w 5058243"/>
              <a:gd name="connsiteY69" fmla="*/ 661917 h 3308853"/>
              <a:gd name="connsiteX70" fmla="*/ 5053959 w 5058243"/>
              <a:gd name="connsiteY70" fmla="*/ 818822 h 3308853"/>
              <a:gd name="connsiteX71" fmla="*/ 5054122 w 5058243"/>
              <a:gd name="connsiteY71" fmla="*/ 822386 h 3308853"/>
              <a:gd name="connsiteX72" fmla="*/ 5054471 w 5058243"/>
              <a:gd name="connsiteY72" fmla="*/ 825062 h 3308853"/>
              <a:gd name="connsiteX73" fmla="*/ 5056373 w 5058243"/>
              <a:gd name="connsiteY73" fmla="*/ 869160 h 3308853"/>
              <a:gd name="connsiteX74" fmla="*/ 5058243 w 5058243"/>
              <a:gd name="connsiteY74" fmla="*/ 869160 h 3308853"/>
              <a:gd name="connsiteX75" fmla="*/ 5058243 w 5058243"/>
              <a:gd name="connsiteY75" fmla="*/ 911943 h 3308853"/>
              <a:gd name="connsiteX76" fmla="*/ 5058243 w 5058243"/>
              <a:gd name="connsiteY76" fmla="*/ 911952 h 3308853"/>
              <a:gd name="connsiteX77" fmla="*/ 5058243 w 5058243"/>
              <a:gd name="connsiteY77" fmla="*/ 911961 h 3308853"/>
              <a:gd name="connsiteX78" fmla="*/ 5058243 w 5058243"/>
              <a:gd name="connsiteY78" fmla="*/ 912498 h 3308853"/>
              <a:gd name="connsiteX79" fmla="*/ 5058243 w 5058243"/>
              <a:gd name="connsiteY79" fmla="*/ 921144 h 3308853"/>
              <a:gd name="connsiteX80" fmla="*/ 5058243 w 5058243"/>
              <a:gd name="connsiteY80" fmla="*/ 1475769 h 3308853"/>
              <a:gd name="connsiteX81" fmla="*/ 5058243 w 5058243"/>
              <a:gd name="connsiteY81" fmla="*/ 1833094 h 3308853"/>
              <a:gd name="connsiteX82" fmla="*/ 5058243 w 5058243"/>
              <a:gd name="connsiteY82" fmla="*/ 2396911 h 3308853"/>
              <a:gd name="connsiteX83" fmla="*/ 5058243 w 5058243"/>
              <a:gd name="connsiteY83" fmla="*/ 3308853 h 3308853"/>
              <a:gd name="connsiteX84" fmla="*/ 4272161 w 5058243"/>
              <a:gd name="connsiteY84" fmla="*/ 3308853 h 3308853"/>
              <a:gd name="connsiteX85" fmla="*/ 4228185 w 5058243"/>
              <a:gd name="connsiteY85" fmla="*/ 3308853 h 3308853"/>
              <a:gd name="connsiteX86" fmla="*/ 3395429 w 5058243"/>
              <a:gd name="connsiteY86" fmla="*/ 3308853 h 3308853"/>
              <a:gd name="connsiteX87" fmla="*/ 2849614 w 5058243"/>
              <a:gd name="connsiteY87" fmla="*/ 3308853 h 3308853"/>
              <a:gd name="connsiteX88" fmla="*/ 2609347 w 5058243"/>
              <a:gd name="connsiteY88" fmla="*/ 3308853 h 3308853"/>
              <a:gd name="connsiteX89" fmla="*/ 2565371 w 5058243"/>
              <a:gd name="connsiteY89" fmla="*/ 3308853 h 3308853"/>
              <a:gd name="connsiteX90" fmla="*/ 2492873 w 5058243"/>
              <a:gd name="connsiteY90" fmla="*/ 3308853 h 3308853"/>
              <a:gd name="connsiteX91" fmla="*/ 1186800 w 5058243"/>
              <a:gd name="connsiteY91" fmla="*/ 3308853 h 3308853"/>
              <a:gd name="connsiteX92" fmla="*/ 830059 w 5058243"/>
              <a:gd name="connsiteY92" fmla="*/ 3308853 h 3308853"/>
              <a:gd name="connsiteX93" fmla="*/ 830059 w 5058243"/>
              <a:gd name="connsiteY93" fmla="*/ 3307764 h 3308853"/>
              <a:gd name="connsiteX94" fmla="*/ 830058 w 5058243"/>
              <a:gd name="connsiteY94" fmla="*/ 3307764 h 3308853"/>
              <a:gd name="connsiteX95" fmla="*/ 829810 w 5058243"/>
              <a:gd name="connsiteY95" fmla="*/ 3307764 h 3308853"/>
              <a:gd name="connsiteX96" fmla="*/ 819162 w 5058243"/>
              <a:gd name="connsiteY96" fmla="*/ 3307764 h 3308853"/>
              <a:gd name="connsiteX97" fmla="*/ 786082 w 5058243"/>
              <a:gd name="connsiteY97" fmla="*/ 3307764 h 3308853"/>
              <a:gd name="connsiteX98" fmla="*/ 786082 w 5058243"/>
              <a:gd name="connsiteY98" fmla="*/ 3305491 h 3308853"/>
              <a:gd name="connsiteX99" fmla="*/ 750202 w 5058243"/>
              <a:gd name="connsiteY99" fmla="*/ 3303627 h 3308853"/>
              <a:gd name="connsiteX100" fmla="*/ 747117 w 5058243"/>
              <a:gd name="connsiteY100" fmla="*/ 3303152 h 3308853"/>
              <a:gd name="connsiteX101" fmla="*/ 745413 w 5058243"/>
              <a:gd name="connsiteY101" fmla="*/ 3303058 h 3308853"/>
              <a:gd name="connsiteX102" fmla="*/ 729231 w 5058243"/>
              <a:gd name="connsiteY102" fmla="*/ 3300404 h 3308853"/>
              <a:gd name="connsiteX103" fmla="*/ 677499 w 5058243"/>
              <a:gd name="connsiteY103" fmla="*/ 3292454 h 3308853"/>
              <a:gd name="connsiteX104" fmla="*/ 671549 w 5058243"/>
              <a:gd name="connsiteY104" fmla="*/ 3290943 h 3308853"/>
              <a:gd name="connsiteX105" fmla="*/ 668045 w 5058243"/>
              <a:gd name="connsiteY105" fmla="*/ 3290369 h 3308853"/>
              <a:gd name="connsiteX106" fmla="*/ 649955 w 5058243"/>
              <a:gd name="connsiteY106" fmla="*/ 3285459 h 3308853"/>
              <a:gd name="connsiteX107" fmla="*/ 606951 w 5058243"/>
              <a:gd name="connsiteY107" fmla="*/ 3274540 h 3308853"/>
              <a:gd name="connsiteX108" fmla="*/ 598251 w 5058243"/>
              <a:gd name="connsiteY108" fmla="*/ 3271430 h 3308853"/>
              <a:gd name="connsiteX109" fmla="*/ 593175 w 5058243"/>
              <a:gd name="connsiteY109" fmla="*/ 3270053 h 3308853"/>
              <a:gd name="connsiteX110" fmla="*/ 575868 w 5058243"/>
              <a:gd name="connsiteY110" fmla="*/ 3263431 h 3308853"/>
              <a:gd name="connsiteX111" fmla="*/ 538844 w 5058243"/>
              <a:gd name="connsiteY111" fmla="*/ 3250196 h 3308853"/>
              <a:gd name="connsiteX112" fmla="*/ 527609 w 5058243"/>
              <a:gd name="connsiteY112" fmla="*/ 3244962 h 3308853"/>
              <a:gd name="connsiteX113" fmla="*/ 521149 w 5058243"/>
              <a:gd name="connsiteY113" fmla="*/ 3242489 h 3308853"/>
              <a:gd name="connsiteX114" fmla="*/ 505478 w 5058243"/>
              <a:gd name="connsiteY114" fmla="*/ 3234651 h 3308853"/>
              <a:gd name="connsiteX115" fmla="*/ 473459 w 5058243"/>
              <a:gd name="connsiteY115" fmla="*/ 3219734 h 3308853"/>
              <a:gd name="connsiteX116" fmla="*/ 459942 w 5058243"/>
              <a:gd name="connsiteY116" fmla="*/ 3211874 h 3308853"/>
              <a:gd name="connsiteX117" fmla="*/ 452309 w 5058243"/>
              <a:gd name="connsiteY117" fmla="*/ 3208056 h 3308853"/>
              <a:gd name="connsiteX118" fmla="*/ 438588 w 5058243"/>
              <a:gd name="connsiteY118" fmla="*/ 3199457 h 3308853"/>
              <a:gd name="connsiteX119" fmla="*/ 411080 w 5058243"/>
              <a:gd name="connsiteY119" fmla="*/ 3183462 h 3308853"/>
              <a:gd name="connsiteX120" fmla="*/ 395573 w 5058243"/>
              <a:gd name="connsiteY120" fmla="*/ 3172501 h 3308853"/>
              <a:gd name="connsiteX121" fmla="*/ 387001 w 5058243"/>
              <a:gd name="connsiteY121" fmla="*/ 3167129 h 3308853"/>
              <a:gd name="connsiteX122" fmla="*/ 375324 w 5058243"/>
              <a:gd name="connsiteY122" fmla="*/ 3158188 h 3308853"/>
              <a:gd name="connsiteX123" fmla="*/ 351989 w 5058243"/>
              <a:gd name="connsiteY123" fmla="*/ 3141694 h 3308853"/>
              <a:gd name="connsiteX124" fmla="*/ 334821 w 5058243"/>
              <a:gd name="connsiteY124" fmla="*/ 3127173 h 3308853"/>
              <a:gd name="connsiteX125" fmla="*/ 325566 w 5058243"/>
              <a:gd name="connsiteY125" fmla="*/ 3120087 h 3308853"/>
              <a:gd name="connsiteX126" fmla="*/ 315914 w 5058243"/>
              <a:gd name="connsiteY126" fmla="*/ 3111182 h 3308853"/>
              <a:gd name="connsiteX127" fmla="*/ 296471 w 5058243"/>
              <a:gd name="connsiteY127" fmla="*/ 3094738 h 3308853"/>
              <a:gd name="connsiteX128" fmla="*/ 278003 w 5058243"/>
              <a:gd name="connsiteY128" fmla="*/ 3076209 h 3308853"/>
              <a:gd name="connsiteX129" fmla="*/ 268352 w 5058243"/>
              <a:gd name="connsiteY129" fmla="*/ 3067306 h 3308853"/>
              <a:gd name="connsiteX130" fmla="*/ 260632 w 5058243"/>
              <a:gd name="connsiteY130" fmla="*/ 3058782 h 3308853"/>
              <a:gd name="connsiteX131" fmla="*/ 244809 w 5058243"/>
              <a:gd name="connsiteY131" fmla="*/ 3042907 h 3308853"/>
              <a:gd name="connsiteX132" fmla="*/ 225428 w 5058243"/>
              <a:gd name="connsiteY132" fmla="*/ 3019909 h 3308853"/>
              <a:gd name="connsiteX133" fmla="*/ 215699 w 5058243"/>
              <a:gd name="connsiteY133" fmla="*/ 3009166 h 3308853"/>
              <a:gd name="connsiteX134" fmla="*/ 209775 w 5058243"/>
              <a:gd name="connsiteY134" fmla="*/ 3001333 h 3308853"/>
              <a:gd name="connsiteX135" fmla="*/ 197285 w 5058243"/>
              <a:gd name="connsiteY135" fmla="*/ 2986511 h 3308853"/>
              <a:gd name="connsiteX136" fmla="*/ 177398 w 5058243"/>
              <a:gd name="connsiteY136" fmla="*/ 2958527 h 3308853"/>
              <a:gd name="connsiteX137" fmla="*/ 167953 w 5058243"/>
              <a:gd name="connsiteY137" fmla="*/ 2946042 h 3308853"/>
              <a:gd name="connsiteX138" fmla="*/ 163651 w 5058243"/>
              <a:gd name="connsiteY138" fmla="*/ 2939184 h 3308853"/>
              <a:gd name="connsiteX139" fmla="*/ 154182 w 5058243"/>
              <a:gd name="connsiteY139" fmla="*/ 2925861 h 3308853"/>
              <a:gd name="connsiteX140" fmla="*/ 134194 w 5058243"/>
              <a:gd name="connsiteY140" fmla="*/ 2892235 h 3308853"/>
              <a:gd name="connsiteX141" fmla="*/ 125458 w 5058243"/>
              <a:gd name="connsiteY141" fmla="*/ 2878311 h 3308853"/>
              <a:gd name="connsiteX142" fmla="*/ 122573 w 5058243"/>
              <a:gd name="connsiteY142" fmla="*/ 2872686 h 3308853"/>
              <a:gd name="connsiteX143" fmla="*/ 115785 w 5058243"/>
              <a:gd name="connsiteY143" fmla="*/ 2861268 h 3308853"/>
              <a:gd name="connsiteX144" fmla="*/ 96055 w 5058243"/>
              <a:gd name="connsiteY144" fmla="*/ 2820976 h 3308853"/>
              <a:gd name="connsiteX145" fmla="*/ 88557 w 5058243"/>
              <a:gd name="connsiteY145" fmla="*/ 2806354 h 3308853"/>
              <a:gd name="connsiteX146" fmla="*/ 86856 w 5058243"/>
              <a:gd name="connsiteY146" fmla="*/ 2802190 h 3308853"/>
              <a:gd name="connsiteX147" fmla="*/ 82376 w 5058243"/>
              <a:gd name="connsiteY147" fmla="*/ 2793042 h 3308853"/>
              <a:gd name="connsiteX148" fmla="*/ 63097 w 5058243"/>
              <a:gd name="connsiteY148" fmla="*/ 2744021 h 3308853"/>
              <a:gd name="connsiteX149" fmla="*/ 57594 w 5058243"/>
              <a:gd name="connsiteY149" fmla="*/ 2730546 h 3308853"/>
              <a:gd name="connsiteX150" fmla="*/ 56818 w 5058243"/>
              <a:gd name="connsiteY150" fmla="*/ 2728052 h 3308853"/>
              <a:gd name="connsiteX151" fmla="*/ 54238 w 5058243"/>
              <a:gd name="connsiteY151" fmla="*/ 2721493 h 3308853"/>
              <a:gd name="connsiteX152" fmla="*/ 34884 w 5058243"/>
              <a:gd name="connsiteY152" fmla="*/ 2657597 h 3308853"/>
              <a:gd name="connsiteX153" fmla="*/ 32912 w 5058243"/>
              <a:gd name="connsiteY153" fmla="*/ 2651264 h 3308853"/>
              <a:gd name="connsiteX154" fmla="*/ 32773 w 5058243"/>
              <a:gd name="connsiteY154" fmla="*/ 2650627 h 3308853"/>
              <a:gd name="connsiteX155" fmla="*/ 31655 w 5058243"/>
              <a:gd name="connsiteY155" fmla="*/ 2646936 h 3308853"/>
              <a:gd name="connsiteX156" fmla="*/ 4285 w 5058243"/>
              <a:gd name="connsiteY156" fmla="*/ 2490031 h 3308853"/>
              <a:gd name="connsiteX157" fmla="*/ 4121 w 5058243"/>
              <a:gd name="connsiteY157" fmla="*/ 2486466 h 3308853"/>
              <a:gd name="connsiteX158" fmla="*/ 3772 w 5058243"/>
              <a:gd name="connsiteY158" fmla="*/ 2483791 h 3308853"/>
              <a:gd name="connsiteX159" fmla="*/ 1870 w 5058243"/>
              <a:gd name="connsiteY159" fmla="*/ 2439693 h 3308853"/>
              <a:gd name="connsiteX160" fmla="*/ 1 w 5058243"/>
              <a:gd name="connsiteY160" fmla="*/ 2439693 h 3308853"/>
              <a:gd name="connsiteX161" fmla="*/ 1 w 5058243"/>
              <a:gd name="connsiteY161" fmla="*/ 2396909 h 3308853"/>
              <a:gd name="connsiteX162" fmla="*/ 0 w 5058243"/>
              <a:gd name="connsiteY162" fmla="*/ 2396901 h 3308853"/>
              <a:gd name="connsiteX163" fmla="*/ 1 w 5058243"/>
              <a:gd name="connsiteY163" fmla="*/ 2396892 h 3308853"/>
              <a:gd name="connsiteX164" fmla="*/ 1 w 5058243"/>
              <a:gd name="connsiteY164" fmla="*/ 2396355 h 3308853"/>
              <a:gd name="connsiteX165" fmla="*/ 1 w 5058243"/>
              <a:gd name="connsiteY165" fmla="*/ 2387709 h 3308853"/>
              <a:gd name="connsiteX166" fmla="*/ 0 w 5058243"/>
              <a:gd name="connsiteY166" fmla="*/ 2387709 h 3308853"/>
              <a:gd name="connsiteX167" fmla="*/ 0 w 5058243"/>
              <a:gd name="connsiteY167" fmla="*/ 1833085 h 3308853"/>
              <a:gd name="connsiteX168" fmla="*/ 0 w 5058243"/>
              <a:gd name="connsiteY168" fmla="*/ 1833084 h 3308853"/>
              <a:gd name="connsiteX169" fmla="*/ 0 w 5058243"/>
              <a:gd name="connsiteY169" fmla="*/ 1833083 h 3308853"/>
              <a:gd name="connsiteX170" fmla="*/ 0 w 5058243"/>
              <a:gd name="connsiteY170" fmla="*/ 1475758 h 3308853"/>
              <a:gd name="connsiteX171" fmla="*/ 0 w 5058243"/>
              <a:gd name="connsiteY171" fmla="*/ 911942 h 3308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</a:cxnLst>
            <a:rect l="l" t="t" r="r" b="b"/>
            <a:pathLst>
              <a:path w="5058243" h="3308853">
                <a:moveTo>
                  <a:pt x="0" y="0"/>
                </a:moveTo>
                <a:lnTo>
                  <a:pt x="786082" y="0"/>
                </a:lnTo>
                <a:lnTo>
                  <a:pt x="830058" y="0"/>
                </a:lnTo>
                <a:lnTo>
                  <a:pt x="2208629" y="0"/>
                </a:lnTo>
                <a:lnTo>
                  <a:pt x="2565370" y="0"/>
                </a:lnTo>
                <a:lnTo>
                  <a:pt x="3871443" y="0"/>
                </a:lnTo>
                <a:lnTo>
                  <a:pt x="4228184" y="0"/>
                </a:lnTo>
                <a:lnTo>
                  <a:pt x="4228184" y="1089"/>
                </a:lnTo>
                <a:lnTo>
                  <a:pt x="4228185" y="1089"/>
                </a:lnTo>
                <a:lnTo>
                  <a:pt x="4228433" y="1089"/>
                </a:lnTo>
                <a:lnTo>
                  <a:pt x="4239081" y="1089"/>
                </a:lnTo>
                <a:lnTo>
                  <a:pt x="4272161" y="1089"/>
                </a:lnTo>
                <a:lnTo>
                  <a:pt x="4272161" y="3362"/>
                </a:lnTo>
                <a:lnTo>
                  <a:pt x="4308041" y="5226"/>
                </a:lnTo>
                <a:lnTo>
                  <a:pt x="4311127" y="5701"/>
                </a:lnTo>
                <a:lnTo>
                  <a:pt x="4312830" y="5795"/>
                </a:lnTo>
                <a:lnTo>
                  <a:pt x="4329012" y="8449"/>
                </a:lnTo>
                <a:lnTo>
                  <a:pt x="4380744" y="16399"/>
                </a:lnTo>
                <a:lnTo>
                  <a:pt x="4386694" y="17910"/>
                </a:lnTo>
                <a:lnTo>
                  <a:pt x="4390198" y="18484"/>
                </a:lnTo>
                <a:lnTo>
                  <a:pt x="4408289" y="23394"/>
                </a:lnTo>
                <a:lnTo>
                  <a:pt x="4451292" y="34313"/>
                </a:lnTo>
                <a:lnTo>
                  <a:pt x="4459992" y="37423"/>
                </a:lnTo>
                <a:lnTo>
                  <a:pt x="4465068" y="38800"/>
                </a:lnTo>
                <a:lnTo>
                  <a:pt x="4482375" y="45422"/>
                </a:lnTo>
                <a:lnTo>
                  <a:pt x="4519400" y="58657"/>
                </a:lnTo>
                <a:lnTo>
                  <a:pt x="4530635" y="63891"/>
                </a:lnTo>
                <a:lnTo>
                  <a:pt x="4537095" y="66364"/>
                </a:lnTo>
                <a:lnTo>
                  <a:pt x="4552766" y="74202"/>
                </a:lnTo>
                <a:lnTo>
                  <a:pt x="4584785" y="89119"/>
                </a:lnTo>
                <a:lnTo>
                  <a:pt x="4598301" y="96979"/>
                </a:lnTo>
                <a:lnTo>
                  <a:pt x="4605934" y="100797"/>
                </a:lnTo>
                <a:lnTo>
                  <a:pt x="4619655" y="109396"/>
                </a:lnTo>
                <a:lnTo>
                  <a:pt x="4647164" y="125391"/>
                </a:lnTo>
                <a:lnTo>
                  <a:pt x="4662670" y="136352"/>
                </a:lnTo>
                <a:lnTo>
                  <a:pt x="4671243" y="141724"/>
                </a:lnTo>
                <a:lnTo>
                  <a:pt x="4682919" y="150665"/>
                </a:lnTo>
                <a:lnTo>
                  <a:pt x="4706254" y="167159"/>
                </a:lnTo>
                <a:lnTo>
                  <a:pt x="4723422" y="181680"/>
                </a:lnTo>
                <a:lnTo>
                  <a:pt x="4732677" y="188766"/>
                </a:lnTo>
                <a:lnTo>
                  <a:pt x="4742330" y="197671"/>
                </a:lnTo>
                <a:lnTo>
                  <a:pt x="4761772" y="214115"/>
                </a:lnTo>
                <a:lnTo>
                  <a:pt x="4780240" y="232644"/>
                </a:lnTo>
                <a:lnTo>
                  <a:pt x="4789891" y="241547"/>
                </a:lnTo>
                <a:lnTo>
                  <a:pt x="4797611" y="250071"/>
                </a:lnTo>
                <a:lnTo>
                  <a:pt x="4813434" y="265946"/>
                </a:lnTo>
                <a:lnTo>
                  <a:pt x="4832816" y="288945"/>
                </a:lnTo>
                <a:lnTo>
                  <a:pt x="4842544" y="299687"/>
                </a:lnTo>
                <a:lnTo>
                  <a:pt x="4848468" y="307520"/>
                </a:lnTo>
                <a:lnTo>
                  <a:pt x="4860959" y="322342"/>
                </a:lnTo>
                <a:lnTo>
                  <a:pt x="4880845" y="350326"/>
                </a:lnTo>
                <a:lnTo>
                  <a:pt x="4890290" y="362811"/>
                </a:lnTo>
                <a:lnTo>
                  <a:pt x="4894592" y="369669"/>
                </a:lnTo>
                <a:lnTo>
                  <a:pt x="4904061" y="382992"/>
                </a:lnTo>
                <a:lnTo>
                  <a:pt x="4924050" y="416618"/>
                </a:lnTo>
                <a:lnTo>
                  <a:pt x="4932786" y="430542"/>
                </a:lnTo>
                <a:lnTo>
                  <a:pt x="4935671" y="436166"/>
                </a:lnTo>
                <a:lnTo>
                  <a:pt x="4942458" y="447585"/>
                </a:lnTo>
                <a:lnTo>
                  <a:pt x="4962189" y="487877"/>
                </a:lnTo>
                <a:lnTo>
                  <a:pt x="4969687" y="502499"/>
                </a:lnTo>
                <a:lnTo>
                  <a:pt x="4971387" y="506663"/>
                </a:lnTo>
                <a:lnTo>
                  <a:pt x="4975867" y="515811"/>
                </a:lnTo>
                <a:lnTo>
                  <a:pt x="4995146" y="564832"/>
                </a:lnTo>
                <a:lnTo>
                  <a:pt x="5000650" y="578307"/>
                </a:lnTo>
                <a:lnTo>
                  <a:pt x="5001426" y="580801"/>
                </a:lnTo>
                <a:lnTo>
                  <a:pt x="5004006" y="587360"/>
                </a:lnTo>
                <a:lnTo>
                  <a:pt x="5023359" y="651256"/>
                </a:lnTo>
                <a:lnTo>
                  <a:pt x="5025331" y="657589"/>
                </a:lnTo>
                <a:lnTo>
                  <a:pt x="5025470" y="658226"/>
                </a:lnTo>
                <a:lnTo>
                  <a:pt x="5026589" y="661917"/>
                </a:lnTo>
                <a:cubicBezTo>
                  <a:pt x="5039730" y="712558"/>
                  <a:pt x="5048979" y="764997"/>
                  <a:pt x="5053959" y="818822"/>
                </a:cubicBezTo>
                <a:lnTo>
                  <a:pt x="5054122" y="822386"/>
                </a:lnTo>
                <a:lnTo>
                  <a:pt x="5054471" y="825062"/>
                </a:lnTo>
                <a:lnTo>
                  <a:pt x="5056373" y="869160"/>
                </a:lnTo>
                <a:lnTo>
                  <a:pt x="5058243" y="869160"/>
                </a:lnTo>
                <a:lnTo>
                  <a:pt x="5058243" y="911943"/>
                </a:lnTo>
                <a:lnTo>
                  <a:pt x="5058243" y="911952"/>
                </a:lnTo>
                <a:lnTo>
                  <a:pt x="5058243" y="911961"/>
                </a:lnTo>
                <a:lnTo>
                  <a:pt x="5058243" y="912498"/>
                </a:lnTo>
                <a:lnTo>
                  <a:pt x="5058243" y="921144"/>
                </a:lnTo>
                <a:lnTo>
                  <a:pt x="5058243" y="1475769"/>
                </a:lnTo>
                <a:lnTo>
                  <a:pt x="5058243" y="1833094"/>
                </a:lnTo>
                <a:lnTo>
                  <a:pt x="5058243" y="2396911"/>
                </a:lnTo>
                <a:lnTo>
                  <a:pt x="5058243" y="3308853"/>
                </a:lnTo>
                <a:lnTo>
                  <a:pt x="4272161" y="3308853"/>
                </a:lnTo>
                <a:lnTo>
                  <a:pt x="4228185" y="3308853"/>
                </a:lnTo>
                <a:lnTo>
                  <a:pt x="3395429" y="3308853"/>
                </a:lnTo>
                <a:lnTo>
                  <a:pt x="2849614" y="3308853"/>
                </a:lnTo>
                <a:lnTo>
                  <a:pt x="2609347" y="3308853"/>
                </a:lnTo>
                <a:lnTo>
                  <a:pt x="2565371" y="3308853"/>
                </a:lnTo>
                <a:lnTo>
                  <a:pt x="2492873" y="3308853"/>
                </a:lnTo>
                <a:lnTo>
                  <a:pt x="1186800" y="3308853"/>
                </a:lnTo>
                <a:lnTo>
                  <a:pt x="830059" y="3308853"/>
                </a:lnTo>
                <a:lnTo>
                  <a:pt x="830059" y="3307764"/>
                </a:lnTo>
                <a:lnTo>
                  <a:pt x="830058" y="3307764"/>
                </a:lnTo>
                <a:lnTo>
                  <a:pt x="829810" y="3307764"/>
                </a:lnTo>
                <a:lnTo>
                  <a:pt x="819162" y="3307764"/>
                </a:lnTo>
                <a:lnTo>
                  <a:pt x="786082" y="3307764"/>
                </a:lnTo>
                <a:lnTo>
                  <a:pt x="786082" y="3305491"/>
                </a:lnTo>
                <a:lnTo>
                  <a:pt x="750202" y="3303627"/>
                </a:lnTo>
                <a:lnTo>
                  <a:pt x="747117" y="3303152"/>
                </a:lnTo>
                <a:lnTo>
                  <a:pt x="745413" y="3303058"/>
                </a:lnTo>
                <a:lnTo>
                  <a:pt x="729231" y="3300404"/>
                </a:lnTo>
                <a:lnTo>
                  <a:pt x="677499" y="3292454"/>
                </a:lnTo>
                <a:lnTo>
                  <a:pt x="671549" y="3290943"/>
                </a:lnTo>
                <a:lnTo>
                  <a:pt x="668045" y="3290369"/>
                </a:lnTo>
                <a:lnTo>
                  <a:pt x="649955" y="3285459"/>
                </a:lnTo>
                <a:lnTo>
                  <a:pt x="606951" y="3274540"/>
                </a:lnTo>
                <a:lnTo>
                  <a:pt x="598251" y="3271430"/>
                </a:lnTo>
                <a:lnTo>
                  <a:pt x="593175" y="3270053"/>
                </a:lnTo>
                <a:lnTo>
                  <a:pt x="575868" y="3263431"/>
                </a:lnTo>
                <a:lnTo>
                  <a:pt x="538844" y="3250196"/>
                </a:lnTo>
                <a:lnTo>
                  <a:pt x="527609" y="3244962"/>
                </a:lnTo>
                <a:lnTo>
                  <a:pt x="521149" y="3242489"/>
                </a:lnTo>
                <a:lnTo>
                  <a:pt x="505478" y="3234651"/>
                </a:lnTo>
                <a:lnTo>
                  <a:pt x="473459" y="3219734"/>
                </a:lnTo>
                <a:lnTo>
                  <a:pt x="459942" y="3211874"/>
                </a:lnTo>
                <a:lnTo>
                  <a:pt x="452309" y="3208056"/>
                </a:lnTo>
                <a:lnTo>
                  <a:pt x="438588" y="3199457"/>
                </a:lnTo>
                <a:lnTo>
                  <a:pt x="411080" y="3183462"/>
                </a:lnTo>
                <a:lnTo>
                  <a:pt x="395573" y="3172501"/>
                </a:lnTo>
                <a:lnTo>
                  <a:pt x="387001" y="3167129"/>
                </a:lnTo>
                <a:lnTo>
                  <a:pt x="375324" y="3158188"/>
                </a:lnTo>
                <a:lnTo>
                  <a:pt x="351989" y="3141694"/>
                </a:lnTo>
                <a:lnTo>
                  <a:pt x="334821" y="3127173"/>
                </a:lnTo>
                <a:lnTo>
                  <a:pt x="325566" y="3120087"/>
                </a:lnTo>
                <a:lnTo>
                  <a:pt x="315914" y="3111182"/>
                </a:lnTo>
                <a:lnTo>
                  <a:pt x="296471" y="3094738"/>
                </a:lnTo>
                <a:lnTo>
                  <a:pt x="278003" y="3076209"/>
                </a:lnTo>
                <a:lnTo>
                  <a:pt x="268352" y="3067306"/>
                </a:lnTo>
                <a:lnTo>
                  <a:pt x="260632" y="3058782"/>
                </a:lnTo>
                <a:lnTo>
                  <a:pt x="244809" y="3042907"/>
                </a:lnTo>
                <a:lnTo>
                  <a:pt x="225428" y="3019909"/>
                </a:lnTo>
                <a:lnTo>
                  <a:pt x="215699" y="3009166"/>
                </a:lnTo>
                <a:lnTo>
                  <a:pt x="209775" y="3001333"/>
                </a:lnTo>
                <a:lnTo>
                  <a:pt x="197285" y="2986511"/>
                </a:lnTo>
                <a:lnTo>
                  <a:pt x="177398" y="2958527"/>
                </a:lnTo>
                <a:lnTo>
                  <a:pt x="167953" y="2946042"/>
                </a:lnTo>
                <a:lnTo>
                  <a:pt x="163651" y="2939184"/>
                </a:lnTo>
                <a:lnTo>
                  <a:pt x="154182" y="2925861"/>
                </a:lnTo>
                <a:lnTo>
                  <a:pt x="134194" y="2892235"/>
                </a:lnTo>
                <a:lnTo>
                  <a:pt x="125458" y="2878311"/>
                </a:lnTo>
                <a:lnTo>
                  <a:pt x="122573" y="2872686"/>
                </a:lnTo>
                <a:lnTo>
                  <a:pt x="115785" y="2861268"/>
                </a:lnTo>
                <a:lnTo>
                  <a:pt x="96055" y="2820976"/>
                </a:lnTo>
                <a:lnTo>
                  <a:pt x="88557" y="2806354"/>
                </a:lnTo>
                <a:lnTo>
                  <a:pt x="86856" y="2802190"/>
                </a:lnTo>
                <a:lnTo>
                  <a:pt x="82376" y="2793042"/>
                </a:lnTo>
                <a:lnTo>
                  <a:pt x="63097" y="2744021"/>
                </a:lnTo>
                <a:lnTo>
                  <a:pt x="57594" y="2730546"/>
                </a:lnTo>
                <a:lnTo>
                  <a:pt x="56818" y="2728052"/>
                </a:lnTo>
                <a:lnTo>
                  <a:pt x="54238" y="2721493"/>
                </a:lnTo>
                <a:lnTo>
                  <a:pt x="34884" y="2657597"/>
                </a:lnTo>
                <a:lnTo>
                  <a:pt x="32912" y="2651264"/>
                </a:lnTo>
                <a:lnTo>
                  <a:pt x="32773" y="2650627"/>
                </a:lnTo>
                <a:lnTo>
                  <a:pt x="31655" y="2646936"/>
                </a:lnTo>
                <a:cubicBezTo>
                  <a:pt x="18514" y="2596295"/>
                  <a:pt x="9264" y="2543856"/>
                  <a:pt x="4285" y="2490031"/>
                </a:cubicBezTo>
                <a:lnTo>
                  <a:pt x="4121" y="2486466"/>
                </a:lnTo>
                <a:lnTo>
                  <a:pt x="3772" y="2483791"/>
                </a:lnTo>
                <a:lnTo>
                  <a:pt x="1870" y="2439693"/>
                </a:lnTo>
                <a:lnTo>
                  <a:pt x="1" y="2439693"/>
                </a:lnTo>
                <a:lnTo>
                  <a:pt x="1" y="2396909"/>
                </a:lnTo>
                <a:lnTo>
                  <a:pt x="0" y="2396901"/>
                </a:lnTo>
                <a:lnTo>
                  <a:pt x="1" y="2396892"/>
                </a:lnTo>
                <a:lnTo>
                  <a:pt x="1" y="2396355"/>
                </a:lnTo>
                <a:lnTo>
                  <a:pt x="1" y="2387709"/>
                </a:lnTo>
                <a:lnTo>
                  <a:pt x="0" y="2387709"/>
                </a:lnTo>
                <a:lnTo>
                  <a:pt x="0" y="1833085"/>
                </a:lnTo>
                <a:lnTo>
                  <a:pt x="0" y="1833084"/>
                </a:lnTo>
                <a:lnTo>
                  <a:pt x="0" y="1833083"/>
                </a:lnTo>
                <a:lnTo>
                  <a:pt x="0" y="1475758"/>
                </a:lnTo>
                <a:lnTo>
                  <a:pt x="0" y="91194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8994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5D3C7B6-CC75-401E-9787-A9ACE4C59D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77350" y="0"/>
            <a:ext cx="2933700" cy="2463507"/>
          </a:xfrm>
          <a:custGeom>
            <a:avLst/>
            <a:gdLst>
              <a:gd name="connsiteX0" fmla="*/ 677230 w 2933700"/>
              <a:gd name="connsiteY0" fmla="*/ 0 h 2463507"/>
              <a:gd name="connsiteX1" fmla="*/ 910198 w 2933700"/>
              <a:gd name="connsiteY1" fmla="*/ 0 h 2463507"/>
              <a:gd name="connsiteX2" fmla="*/ 938962 w 2933700"/>
              <a:gd name="connsiteY2" fmla="*/ 0 h 2463507"/>
              <a:gd name="connsiteX3" fmla="*/ 956411 w 2933700"/>
              <a:gd name="connsiteY3" fmla="*/ 0 h 2463507"/>
              <a:gd name="connsiteX4" fmla="*/ 1051743 w 2933700"/>
              <a:gd name="connsiteY4" fmla="*/ 0 h 2463507"/>
              <a:gd name="connsiteX5" fmla="*/ 1062768 w 2933700"/>
              <a:gd name="connsiteY5" fmla="*/ 0 h 2463507"/>
              <a:gd name="connsiteX6" fmla="*/ 1204313 w 2933700"/>
              <a:gd name="connsiteY6" fmla="*/ 0 h 2463507"/>
              <a:gd name="connsiteX7" fmla="*/ 1268308 w 2933700"/>
              <a:gd name="connsiteY7" fmla="*/ 0 h 2463507"/>
              <a:gd name="connsiteX8" fmla="*/ 1598724 w 2933700"/>
              <a:gd name="connsiteY8" fmla="*/ 0 h 2463507"/>
              <a:gd name="connsiteX9" fmla="*/ 1616172 w 2933700"/>
              <a:gd name="connsiteY9" fmla="*/ 0 h 2463507"/>
              <a:gd name="connsiteX10" fmla="*/ 1722529 w 2933700"/>
              <a:gd name="connsiteY10" fmla="*/ 0 h 2463507"/>
              <a:gd name="connsiteX11" fmla="*/ 1751294 w 2933700"/>
              <a:gd name="connsiteY11" fmla="*/ 0 h 2463507"/>
              <a:gd name="connsiteX12" fmla="*/ 1768742 w 2933700"/>
              <a:gd name="connsiteY12" fmla="*/ 0 h 2463507"/>
              <a:gd name="connsiteX13" fmla="*/ 1864074 w 2933700"/>
              <a:gd name="connsiteY13" fmla="*/ 0 h 2463507"/>
              <a:gd name="connsiteX14" fmla="*/ 1928069 w 2933700"/>
              <a:gd name="connsiteY14" fmla="*/ 0 h 2463507"/>
              <a:gd name="connsiteX15" fmla="*/ 2080639 w 2933700"/>
              <a:gd name="connsiteY15" fmla="*/ 0 h 2463507"/>
              <a:gd name="connsiteX16" fmla="*/ 2256470 w 2933700"/>
              <a:gd name="connsiteY16" fmla="*/ 0 h 2463507"/>
              <a:gd name="connsiteX17" fmla="*/ 2256470 w 2933700"/>
              <a:gd name="connsiteY17" fmla="*/ 1 h 2463507"/>
              <a:gd name="connsiteX18" fmla="*/ 2323152 w 2933700"/>
              <a:gd name="connsiteY18" fmla="*/ 1 h 2463507"/>
              <a:gd name="connsiteX19" fmla="*/ 2355498 w 2933700"/>
              <a:gd name="connsiteY19" fmla="*/ 1 h 2463507"/>
              <a:gd name="connsiteX20" fmla="*/ 2933700 w 2933700"/>
              <a:gd name="connsiteY20" fmla="*/ 1 h 2463507"/>
              <a:gd name="connsiteX21" fmla="*/ 2933700 w 2933700"/>
              <a:gd name="connsiteY21" fmla="*/ 678959 h 2463507"/>
              <a:gd name="connsiteX22" fmla="*/ 2933700 w 2933700"/>
              <a:gd name="connsiteY22" fmla="*/ 1098732 h 2463507"/>
              <a:gd name="connsiteX23" fmla="*/ 2933700 w 2933700"/>
              <a:gd name="connsiteY23" fmla="*/ 1364768 h 2463507"/>
              <a:gd name="connsiteX24" fmla="*/ 2933700 w 2933700"/>
              <a:gd name="connsiteY24" fmla="*/ 1777698 h 2463507"/>
              <a:gd name="connsiteX25" fmla="*/ 2933700 w 2933700"/>
              <a:gd name="connsiteY25" fmla="*/ 1784134 h 2463507"/>
              <a:gd name="connsiteX26" fmla="*/ 2933700 w 2933700"/>
              <a:gd name="connsiteY26" fmla="*/ 1784534 h 2463507"/>
              <a:gd name="connsiteX27" fmla="*/ 2933700 w 2933700"/>
              <a:gd name="connsiteY27" fmla="*/ 1784541 h 2463507"/>
              <a:gd name="connsiteX28" fmla="*/ 2933700 w 2933700"/>
              <a:gd name="connsiteY28" fmla="*/ 1784547 h 2463507"/>
              <a:gd name="connsiteX29" fmla="*/ 2933700 w 2933700"/>
              <a:gd name="connsiteY29" fmla="*/ 1816401 h 2463507"/>
              <a:gd name="connsiteX30" fmla="*/ 2932325 w 2933700"/>
              <a:gd name="connsiteY30" fmla="*/ 1816401 h 2463507"/>
              <a:gd name="connsiteX31" fmla="*/ 2930926 w 2933700"/>
              <a:gd name="connsiteY31" fmla="*/ 1849232 h 2463507"/>
              <a:gd name="connsiteX32" fmla="*/ 2930669 w 2933700"/>
              <a:gd name="connsiteY32" fmla="*/ 1851224 h 2463507"/>
              <a:gd name="connsiteX33" fmla="*/ 2930549 w 2933700"/>
              <a:gd name="connsiteY33" fmla="*/ 1853877 h 2463507"/>
              <a:gd name="connsiteX34" fmla="*/ 2910418 w 2933700"/>
              <a:gd name="connsiteY34" fmla="*/ 1970697 h 2463507"/>
              <a:gd name="connsiteX35" fmla="*/ 2909594 w 2933700"/>
              <a:gd name="connsiteY35" fmla="*/ 1973444 h 2463507"/>
              <a:gd name="connsiteX36" fmla="*/ 2909492 w 2933700"/>
              <a:gd name="connsiteY36" fmla="*/ 1973919 h 2463507"/>
              <a:gd name="connsiteX37" fmla="*/ 2908041 w 2933700"/>
              <a:gd name="connsiteY37" fmla="*/ 1978634 h 2463507"/>
              <a:gd name="connsiteX38" fmla="*/ 2893806 w 2933700"/>
              <a:gd name="connsiteY38" fmla="*/ 2026206 h 2463507"/>
              <a:gd name="connsiteX39" fmla="*/ 2891908 w 2933700"/>
              <a:gd name="connsiteY39" fmla="*/ 2031089 h 2463507"/>
              <a:gd name="connsiteX40" fmla="*/ 2891338 w 2933700"/>
              <a:gd name="connsiteY40" fmla="*/ 2032946 h 2463507"/>
              <a:gd name="connsiteX41" fmla="*/ 2887290 w 2933700"/>
              <a:gd name="connsiteY41" fmla="*/ 2042979 h 2463507"/>
              <a:gd name="connsiteX42" fmla="*/ 2873108 w 2933700"/>
              <a:gd name="connsiteY42" fmla="*/ 2079476 h 2463507"/>
              <a:gd name="connsiteX43" fmla="*/ 2869812 w 2933700"/>
              <a:gd name="connsiteY43" fmla="*/ 2086287 h 2463507"/>
              <a:gd name="connsiteX44" fmla="*/ 2868564 w 2933700"/>
              <a:gd name="connsiteY44" fmla="*/ 2089386 h 2463507"/>
              <a:gd name="connsiteX45" fmla="*/ 2863048 w 2933700"/>
              <a:gd name="connsiteY45" fmla="*/ 2100273 h 2463507"/>
              <a:gd name="connsiteX46" fmla="*/ 2848535 w 2933700"/>
              <a:gd name="connsiteY46" fmla="*/ 2130271 h 2463507"/>
              <a:gd name="connsiteX47" fmla="*/ 2843543 w 2933700"/>
              <a:gd name="connsiteY47" fmla="*/ 2138772 h 2463507"/>
              <a:gd name="connsiteX48" fmla="*/ 2841421 w 2933700"/>
              <a:gd name="connsiteY48" fmla="*/ 2142959 h 2463507"/>
              <a:gd name="connsiteX49" fmla="*/ 2834995 w 2933700"/>
              <a:gd name="connsiteY49" fmla="*/ 2153326 h 2463507"/>
              <a:gd name="connsiteX50" fmla="*/ 2820292 w 2933700"/>
              <a:gd name="connsiteY50" fmla="*/ 2178362 h 2463507"/>
              <a:gd name="connsiteX51" fmla="*/ 2813327 w 2933700"/>
              <a:gd name="connsiteY51" fmla="*/ 2188281 h 2463507"/>
              <a:gd name="connsiteX52" fmla="*/ 2810163 w 2933700"/>
              <a:gd name="connsiteY52" fmla="*/ 2193387 h 2463507"/>
              <a:gd name="connsiteX53" fmla="*/ 2803216 w 2933700"/>
              <a:gd name="connsiteY53" fmla="*/ 2202682 h 2463507"/>
              <a:gd name="connsiteX54" fmla="*/ 2788588 w 2933700"/>
              <a:gd name="connsiteY54" fmla="*/ 2223518 h 2463507"/>
              <a:gd name="connsiteX55" fmla="*/ 2779400 w 2933700"/>
              <a:gd name="connsiteY55" fmla="*/ 2234553 h 2463507"/>
              <a:gd name="connsiteX56" fmla="*/ 2775043 w 2933700"/>
              <a:gd name="connsiteY56" fmla="*/ 2240384 h 2463507"/>
              <a:gd name="connsiteX57" fmla="*/ 2767888 w 2933700"/>
              <a:gd name="connsiteY57" fmla="*/ 2248382 h 2463507"/>
              <a:gd name="connsiteX58" fmla="*/ 2753631 w 2933700"/>
              <a:gd name="connsiteY58" fmla="*/ 2265505 h 2463507"/>
              <a:gd name="connsiteX59" fmla="*/ 2741992 w 2933700"/>
              <a:gd name="connsiteY59" fmla="*/ 2277323 h 2463507"/>
              <a:gd name="connsiteX60" fmla="*/ 2736314 w 2933700"/>
              <a:gd name="connsiteY60" fmla="*/ 2283671 h 2463507"/>
              <a:gd name="connsiteX61" fmla="*/ 2729216 w 2933700"/>
              <a:gd name="connsiteY61" fmla="*/ 2290299 h 2463507"/>
              <a:gd name="connsiteX62" fmla="*/ 2715632 w 2933700"/>
              <a:gd name="connsiteY62" fmla="*/ 2304095 h 2463507"/>
              <a:gd name="connsiteX63" fmla="*/ 2701330 w 2933700"/>
              <a:gd name="connsiteY63" fmla="*/ 2316337 h 2463507"/>
              <a:gd name="connsiteX64" fmla="*/ 2694230 w 2933700"/>
              <a:gd name="connsiteY64" fmla="*/ 2322966 h 2463507"/>
              <a:gd name="connsiteX65" fmla="*/ 2687423 w 2933700"/>
              <a:gd name="connsiteY65" fmla="*/ 2328243 h 2463507"/>
              <a:gd name="connsiteX66" fmla="*/ 2674795 w 2933700"/>
              <a:gd name="connsiteY66" fmla="*/ 2339053 h 2463507"/>
              <a:gd name="connsiteX67" fmla="*/ 2657631 w 2933700"/>
              <a:gd name="connsiteY67" fmla="*/ 2351333 h 2463507"/>
              <a:gd name="connsiteX68" fmla="*/ 2649042 w 2933700"/>
              <a:gd name="connsiteY68" fmla="*/ 2357991 h 2463507"/>
              <a:gd name="connsiteX69" fmla="*/ 2642737 w 2933700"/>
              <a:gd name="connsiteY69" fmla="*/ 2361990 h 2463507"/>
              <a:gd name="connsiteX70" fmla="*/ 2631332 w 2933700"/>
              <a:gd name="connsiteY70" fmla="*/ 2370151 h 2463507"/>
              <a:gd name="connsiteX71" fmla="*/ 2611097 w 2933700"/>
              <a:gd name="connsiteY71" fmla="*/ 2382059 h 2463507"/>
              <a:gd name="connsiteX72" fmla="*/ 2601006 w 2933700"/>
              <a:gd name="connsiteY72" fmla="*/ 2388462 h 2463507"/>
              <a:gd name="connsiteX73" fmla="*/ 2595390 w 2933700"/>
              <a:gd name="connsiteY73" fmla="*/ 2391304 h 2463507"/>
              <a:gd name="connsiteX74" fmla="*/ 2585449 w 2933700"/>
              <a:gd name="connsiteY74" fmla="*/ 2397156 h 2463507"/>
              <a:gd name="connsiteX75" fmla="*/ 2561897 w 2933700"/>
              <a:gd name="connsiteY75" fmla="*/ 2408262 h 2463507"/>
              <a:gd name="connsiteX76" fmla="*/ 2550370 w 2933700"/>
              <a:gd name="connsiteY76" fmla="*/ 2414098 h 2463507"/>
              <a:gd name="connsiteX77" fmla="*/ 2545618 w 2933700"/>
              <a:gd name="connsiteY77" fmla="*/ 2415939 h 2463507"/>
              <a:gd name="connsiteX78" fmla="*/ 2537355 w 2933700"/>
              <a:gd name="connsiteY78" fmla="*/ 2419835 h 2463507"/>
              <a:gd name="connsiteX79" fmla="*/ 2510121 w 2933700"/>
              <a:gd name="connsiteY79" fmla="*/ 2429690 h 2463507"/>
              <a:gd name="connsiteX80" fmla="*/ 2497390 w 2933700"/>
              <a:gd name="connsiteY80" fmla="*/ 2434620 h 2463507"/>
              <a:gd name="connsiteX81" fmla="*/ 2493658 w 2933700"/>
              <a:gd name="connsiteY81" fmla="*/ 2435645 h 2463507"/>
              <a:gd name="connsiteX82" fmla="*/ 2487258 w 2933700"/>
              <a:gd name="connsiteY82" fmla="*/ 2437960 h 2463507"/>
              <a:gd name="connsiteX83" fmla="*/ 2455627 w 2933700"/>
              <a:gd name="connsiteY83" fmla="*/ 2446089 h 2463507"/>
              <a:gd name="connsiteX84" fmla="*/ 2442320 w 2933700"/>
              <a:gd name="connsiteY84" fmla="*/ 2449745 h 2463507"/>
              <a:gd name="connsiteX85" fmla="*/ 2439743 w 2933700"/>
              <a:gd name="connsiteY85" fmla="*/ 2450173 h 2463507"/>
              <a:gd name="connsiteX86" fmla="*/ 2435367 w 2933700"/>
              <a:gd name="connsiteY86" fmla="*/ 2451298 h 2463507"/>
              <a:gd name="connsiteX87" fmla="*/ 2397316 w 2933700"/>
              <a:gd name="connsiteY87" fmla="*/ 2457216 h 2463507"/>
              <a:gd name="connsiteX88" fmla="*/ 2385413 w 2933700"/>
              <a:gd name="connsiteY88" fmla="*/ 2459193 h 2463507"/>
              <a:gd name="connsiteX89" fmla="*/ 2384160 w 2933700"/>
              <a:gd name="connsiteY89" fmla="*/ 2459263 h 2463507"/>
              <a:gd name="connsiteX90" fmla="*/ 2381890 w 2933700"/>
              <a:gd name="connsiteY90" fmla="*/ 2459615 h 2463507"/>
              <a:gd name="connsiteX91" fmla="*/ 2355498 w 2933700"/>
              <a:gd name="connsiteY91" fmla="*/ 2461003 h 2463507"/>
              <a:gd name="connsiteX92" fmla="*/ 2355498 w 2933700"/>
              <a:gd name="connsiteY92" fmla="*/ 2462696 h 2463507"/>
              <a:gd name="connsiteX93" fmla="*/ 2331166 w 2933700"/>
              <a:gd name="connsiteY93" fmla="*/ 2462696 h 2463507"/>
              <a:gd name="connsiteX94" fmla="*/ 2323335 w 2933700"/>
              <a:gd name="connsiteY94" fmla="*/ 2462696 h 2463507"/>
              <a:gd name="connsiteX95" fmla="*/ 2323152 w 2933700"/>
              <a:gd name="connsiteY95" fmla="*/ 2462696 h 2463507"/>
              <a:gd name="connsiteX96" fmla="*/ 2323151 w 2933700"/>
              <a:gd name="connsiteY96" fmla="*/ 2462696 h 2463507"/>
              <a:gd name="connsiteX97" fmla="*/ 2323151 w 2933700"/>
              <a:gd name="connsiteY97" fmla="*/ 2463507 h 2463507"/>
              <a:gd name="connsiteX98" fmla="*/ 2060750 w 2933700"/>
              <a:gd name="connsiteY98" fmla="*/ 2463507 h 2463507"/>
              <a:gd name="connsiteX99" fmla="*/ 2036578 w 2933700"/>
              <a:gd name="connsiteY99" fmla="*/ 2463507 h 2463507"/>
              <a:gd name="connsiteX100" fmla="*/ 2036578 w 2933700"/>
              <a:gd name="connsiteY100" fmla="*/ 2463506 h 2463507"/>
              <a:gd name="connsiteX101" fmla="*/ 1751294 w 2933700"/>
              <a:gd name="connsiteY101" fmla="*/ 2463506 h 2463507"/>
              <a:gd name="connsiteX102" fmla="*/ 1609747 w 2933700"/>
              <a:gd name="connsiteY102" fmla="*/ 2463506 h 2463507"/>
              <a:gd name="connsiteX103" fmla="*/ 1598723 w 2933700"/>
              <a:gd name="connsiteY103" fmla="*/ 2463506 h 2463507"/>
              <a:gd name="connsiteX104" fmla="*/ 1457178 w 2933700"/>
              <a:gd name="connsiteY104" fmla="*/ 2463506 h 2463507"/>
              <a:gd name="connsiteX105" fmla="*/ 1401748 w 2933700"/>
              <a:gd name="connsiteY105" fmla="*/ 2463506 h 2463507"/>
              <a:gd name="connsiteX106" fmla="*/ 1401748 w 2933700"/>
              <a:gd name="connsiteY106" fmla="*/ 2463507 h 2463507"/>
              <a:gd name="connsiteX107" fmla="*/ 610548 w 2933700"/>
              <a:gd name="connsiteY107" fmla="*/ 2463507 h 2463507"/>
              <a:gd name="connsiteX108" fmla="*/ 578200 w 2933700"/>
              <a:gd name="connsiteY108" fmla="*/ 2463507 h 2463507"/>
              <a:gd name="connsiteX109" fmla="*/ 0 w 2933700"/>
              <a:gd name="connsiteY109" fmla="*/ 2463507 h 2463507"/>
              <a:gd name="connsiteX110" fmla="*/ 0 w 2933700"/>
              <a:gd name="connsiteY110" fmla="*/ 1784548 h 2463507"/>
              <a:gd name="connsiteX111" fmla="*/ 0 w 2933700"/>
              <a:gd name="connsiteY111" fmla="*/ 1364777 h 2463507"/>
              <a:gd name="connsiteX112" fmla="*/ 0 w 2933700"/>
              <a:gd name="connsiteY112" fmla="*/ 1098741 h 2463507"/>
              <a:gd name="connsiteX113" fmla="*/ 0 w 2933700"/>
              <a:gd name="connsiteY113" fmla="*/ 1098740 h 2463507"/>
              <a:gd name="connsiteX114" fmla="*/ 0 w 2933700"/>
              <a:gd name="connsiteY114" fmla="*/ 1098739 h 2463507"/>
              <a:gd name="connsiteX115" fmla="*/ 0 w 2933700"/>
              <a:gd name="connsiteY115" fmla="*/ 685811 h 2463507"/>
              <a:gd name="connsiteX116" fmla="*/ 0 w 2933700"/>
              <a:gd name="connsiteY116" fmla="*/ 679373 h 2463507"/>
              <a:gd name="connsiteX117" fmla="*/ 0 w 2933700"/>
              <a:gd name="connsiteY117" fmla="*/ 678974 h 2463507"/>
              <a:gd name="connsiteX118" fmla="*/ 0 w 2933700"/>
              <a:gd name="connsiteY118" fmla="*/ 678967 h 2463507"/>
              <a:gd name="connsiteX119" fmla="*/ 0 w 2933700"/>
              <a:gd name="connsiteY119" fmla="*/ 678962 h 2463507"/>
              <a:gd name="connsiteX120" fmla="*/ 0 w 2933700"/>
              <a:gd name="connsiteY120" fmla="*/ 647108 h 2463507"/>
              <a:gd name="connsiteX121" fmla="*/ 1375 w 2933700"/>
              <a:gd name="connsiteY121" fmla="*/ 647108 h 2463507"/>
              <a:gd name="connsiteX122" fmla="*/ 2774 w 2933700"/>
              <a:gd name="connsiteY122" fmla="*/ 614276 h 2463507"/>
              <a:gd name="connsiteX123" fmla="*/ 3031 w 2933700"/>
              <a:gd name="connsiteY123" fmla="*/ 612285 h 2463507"/>
              <a:gd name="connsiteX124" fmla="*/ 3151 w 2933700"/>
              <a:gd name="connsiteY124" fmla="*/ 609630 h 2463507"/>
              <a:gd name="connsiteX125" fmla="*/ 23283 w 2933700"/>
              <a:gd name="connsiteY125" fmla="*/ 492812 h 2463507"/>
              <a:gd name="connsiteX126" fmla="*/ 24106 w 2933700"/>
              <a:gd name="connsiteY126" fmla="*/ 490063 h 2463507"/>
              <a:gd name="connsiteX127" fmla="*/ 24208 w 2933700"/>
              <a:gd name="connsiteY127" fmla="*/ 489589 h 2463507"/>
              <a:gd name="connsiteX128" fmla="*/ 25658 w 2933700"/>
              <a:gd name="connsiteY128" fmla="*/ 484874 h 2463507"/>
              <a:gd name="connsiteX129" fmla="*/ 39895 w 2933700"/>
              <a:gd name="connsiteY129" fmla="*/ 437302 h 2463507"/>
              <a:gd name="connsiteX130" fmla="*/ 41793 w 2933700"/>
              <a:gd name="connsiteY130" fmla="*/ 432419 h 2463507"/>
              <a:gd name="connsiteX131" fmla="*/ 42363 w 2933700"/>
              <a:gd name="connsiteY131" fmla="*/ 430563 h 2463507"/>
              <a:gd name="connsiteX132" fmla="*/ 46410 w 2933700"/>
              <a:gd name="connsiteY132" fmla="*/ 420529 h 2463507"/>
              <a:gd name="connsiteX133" fmla="*/ 60591 w 2933700"/>
              <a:gd name="connsiteY133" fmla="*/ 384033 h 2463507"/>
              <a:gd name="connsiteX134" fmla="*/ 63886 w 2933700"/>
              <a:gd name="connsiteY134" fmla="*/ 377222 h 2463507"/>
              <a:gd name="connsiteX135" fmla="*/ 65138 w 2933700"/>
              <a:gd name="connsiteY135" fmla="*/ 374121 h 2463507"/>
              <a:gd name="connsiteX136" fmla="*/ 70652 w 2933700"/>
              <a:gd name="connsiteY136" fmla="*/ 363236 h 2463507"/>
              <a:gd name="connsiteX137" fmla="*/ 85165 w 2933700"/>
              <a:gd name="connsiteY137" fmla="*/ 333237 h 2463507"/>
              <a:gd name="connsiteX138" fmla="*/ 90158 w 2933700"/>
              <a:gd name="connsiteY138" fmla="*/ 324736 h 2463507"/>
              <a:gd name="connsiteX139" fmla="*/ 92280 w 2933700"/>
              <a:gd name="connsiteY139" fmla="*/ 320549 h 2463507"/>
              <a:gd name="connsiteX140" fmla="*/ 98706 w 2933700"/>
              <a:gd name="connsiteY140" fmla="*/ 310181 h 2463507"/>
              <a:gd name="connsiteX141" fmla="*/ 113408 w 2933700"/>
              <a:gd name="connsiteY141" fmla="*/ 285147 h 2463507"/>
              <a:gd name="connsiteX142" fmla="*/ 120373 w 2933700"/>
              <a:gd name="connsiteY142" fmla="*/ 275227 h 2463507"/>
              <a:gd name="connsiteX143" fmla="*/ 123537 w 2933700"/>
              <a:gd name="connsiteY143" fmla="*/ 270121 h 2463507"/>
              <a:gd name="connsiteX144" fmla="*/ 130484 w 2933700"/>
              <a:gd name="connsiteY144" fmla="*/ 260827 h 2463507"/>
              <a:gd name="connsiteX145" fmla="*/ 145113 w 2933700"/>
              <a:gd name="connsiteY145" fmla="*/ 239991 h 2463507"/>
              <a:gd name="connsiteX146" fmla="*/ 154299 w 2933700"/>
              <a:gd name="connsiteY146" fmla="*/ 228956 h 2463507"/>
              <a:gd name="connsiteX147" fmla="*/ 158657 w 2933700"/>
              <a:gd name="connsiteY147" fmla="*/ 223124 h 2463507"/>
              <a:gd name="connsiteX148" fmla="*/ 165813 w 2933700"/>
              <a:gd name="connsiteY148" fmla="*/ 215125 h 2463507"/>
              <a:gd name="connsiteX149" fmla="*/ 180069 w 2933700"/>
              <a:gd name="connsiteY149" fmla="*/ 198003 h 2463507"/>
              <a:gd name="connsiteX150" fmla="*/ 191707 w 2933700"/>
              <a:gd name="connsiteY150" fmla="*/ 186184 h 2463507"/>
              <a:gd name="connsiteX151" fmla="*/ 197386 w 2933700"/>
              <a:gd name="connsiteY151" fmla="*/ 179838 h 2463507"/>
              <a:gd name="connsiteX152" fmla="*/ 204483 w 2933700"/>
              <a:gd name="connsiteY152" fmla="*/ 173209 h 2463507"/>
              <a:gd name="connsiteX153" fmla="*/ 218069 w 2933700"/>
              <a:gd name="connsiteY153" fmla="*/ 159414 h 2463507"/>
              <a:gd name="connsiteX154" fmla="*/ 232369 w 2933700"/>
              <a:gd name="connsiteY154" fmla="*/ 147172 h 2463507"/>
              <a:gd name="connsiteX155" fmla="*/ 239470 w 2933700"/>
              <a:gd name="connsiteY155" fmla="*/ 140541 h 2463507"/>
              <a:gd name="connsiteX156" fmla="*/ 246276 w 2933700"/>
              <a:gd name="connsiteY156" fmla="*/ 135266 h 2463507"/>
              <a:gd name="connsiteX157" fmla="*/ 258905 w 2933700"/>
              <a:gd name="connsiteY157" fmla="*/ 124455 h 2463507"/>
              <a:gd name="connsiteX158" fmla="*/ 276069 w 2933700"/>
              <a:gd name="connsiteY158" fmla="*/ 112174 h 2463507"/>
              <a:gd name="connsiteX159" fmla="*/ 284657 w 2933700"/>
              <a:gd name="connsiteY159" fmla="*/ 105518 h 2463507"/>
              <a:gd name="connsiteX160" fmla="*/ 290963 w 2933700"/>
              <a:gd name="connsiteY160" fmla="*/ 101518 h 2463507"/>
              <a:gd name="connsiteX161" fmla="*/ 302368 w 2933700"/>
              <a:gd name="connsiteY161" fmla="*/ 93357 h 2463507"/>
              <a:gd name="connsiteX162" fmla="*/ 322603 w 2933700"/>
              <a:gd name="connsiteY162" fmla="*/ 81449 h 2463507"/>
              <a:gd name="connsiteX163" fmla="*/ 332694 w 2933700"/>
              <a:gd name="connsiteY163" fmla="*/ 75047 h 2463507"/>
              <a:gd name="connsiteX164" fmla="*/ 338309 w 2933700"/>
              <a:gd name="connsiteY164" fmla="*/ 72205 h 2463507"/>
              <a:gd name="connsiteX165" fmla="*/ 348251 w 2933700"/>
              <a:gd name="connsiteY165" fmla="*/ 66352 h 2463507"/>
              <a:gd name="connsiteX166" fmla="*/ 371803 w 2933700"/>
              <a:gd name="connsiteY166" fmla="*/ 55247 h 2463507"/>
              <a:gd name="connsiteX167" fmla="*/ 383330 w 2933700"/>
              <a:gd name="connsiteY167" fmla="*/ 49411 h 2463507"/>
              <a:gd name="connsiteX168" fmla="*/ 388082 w 2933700"/>
              <a:gd name="connsiteY168" fmla="*/ 47570 h 2463507"/>
              <a:gd name="connsiteX169" fmla="*/ 396345 w 2933700"/>
              <a:gd name="connsiteY169" fmla="*/ 43673 h 2463507"/>
              <a:gd name="connsiteX170" fmla="*/ 423579 w 2933700"/>
              <a:gd name="connsiteY170" fmla="*/ 33819 h 2463507"/>
              <a:gd name="connsiteX171" fmla="*/ 436308 w 2933700"/>
              <a:gd name="connsiteY171" fmla="*/ 28889 h 2463507"/>
              <a:gd name="connsiteX172" fmla="*/ 440042 w 2933700"/>
              <a:gd name="connsiteY172" fmla="*/ 27863 h 2463507"/>
              <a:gd name="connsiteX173" fmla="*/ 446442 w 2933700"/>
              <a:gd name="connsiteY173" fmla="*/ 25548 h 2463507"/>
              <a:gd name="connsiteX174" fmla="*/ 478073 w 2933700"/>
              <a:gd name="connsiteY174" fmla="*/ 17419 h 2463507"/>
              <a:gd name="connsiteX175" fmla="*/ 491380 w 2933700"/>
              <a:gd name="connsiteY175" fmla="*/ 13763 h 2463507"/>
              <a:gd name="connsiteX176" fmla="*/ 493956 w 2933700"/>
              <a:gd name="connsiteY176" fmla="*/ 13335 h 2463507"/>
              <a:gd name="connsiteX177" fmla="*/ 498333 w 2933700"/>
              <a:gd name="connsiteY177" fmla="*/ 12211 h 2463507"/>
              <a:gd name="connsiteX178" fmla="*/ 536385 w 2933700"/>
              <a:gd name="connsiteY178" fmla="*/ 6291 h 2463507"/>
              <a:gd name="connsiteX179" fmla="*/ 548287 w 2933700"/>
              <a:gd name="connsiteY179" fmla="*/ 4316 h 2463507"/>
              <a:gd name="connsiteX180" fmla="*/ 549541 w 2933700"/>
              <a:gd name="connsiteY180" fmla="*/ 4245 h 2463507"/>
              <a:gd name="connsiteX181" fmla="*/ 551810 w 2933700"/>
              <a:gd name="connsiteY181" fmla="*/ 3892 h 2463507"/>
              <a:gd name="connsiteX182" fmla="*/ 578200 w 2933700"/>
              <a:gd name="connsiteY182" fmla="*/ 2505 h 2463507"/>
              <a:gd name="connsiteX183" fmla="*/ 578200 w 2933700"/>
              <a:gd name="connsiteY183" fmla="*/ 812 h 2463507"/>
              <a:gd name="connsiteX184" fmla="*/ 602533 w 2933700"/>
              <a:gd name="connsiteY184" fmla="*/ 812 h 2463507"/>
              <a:gd name="connsiteX185" fmla="*/ 610365 w 2933700"/>
              <a:gd name="connsiteY185" fmla="*/ 812 h 2463507"/>
              <a:gd name="connsiteX186" fmla="*/ 610548 w 2933700"/>
              <a:gd name="connsiteY186" fmla="*/ 812 h 2463507"/>
              <a:gd name="connsiteX187" fmla="*/ 610548 w 2933700"/>
              <a:gd name="connsiteY187" fmla="*/ 1 h 2463507"/>
              <a:gd name="connsiteX188" fmla="*/ 677230 w 2933700"/>
              <a:gd name="connsiteY188" fmla="*/ 1 h 2463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2933700" h="2463507">
                <a:moveTo>
                  <a:pt x="677230" y="0"/>
                </a:moveTo>
                <a:lnTo>
                  <a:pt x="910198" y="0"/>
                </a:lnTo>
                <a:lnTo>
                  <a:pt x="938962" y="0"/>
                </a:lnTo>
                <a:lnTo>
                  <a:pt x="956411" y="0"/>
                </a:lnTo>
                <a:lnTo>
                  <a:pt x="1051743" y="0"/>
                </a:lnTo>
                <a:lnTo>
                  <a:pt x="1062768" y="0"/>
                </a:lnTo>
                <a:lnTo>
                  <a:pt x="1204313" y="0"/>
                </a:lnTo>
                <a:lnTo>
                  <a:pt x="1268308" y="0"/>
                </a:lnTo>
                <a:lnTo>
                  <a:pt x="1598724" y="0"/>
                </a:lnTo>
                <a:lnTo>
                  <a:pt x="1616172" y="0"/>
                </a:lnTo>
                <a:lnTo>
                  <a:pt x="1722529" y="0"/>
                </a:lnTo>
                <a:lnTo>
                  <a:pt x="1751294" y="0"/>
                </a:lnTo>
                <a:lnTo>
                  <a:pt x="1768742" y="0"/>
                </a:lnTo>
                <a:lnTo>
                  <a:pt x="1864074" y="0"/>
                </a:lnTo>
                <a:lnTo>
                  <a:pt x="1928069" y="0"/>
                </a:lnTo>
                <a:lnTo>
                  <a:pt x="2080639" y="0"/>
                </a:lnTo>
                <a:lnTo>
                  <a:pt x="2256470" y="0"/>
                </a:lnTo>
                <a:lnTo>
                  <a:pt x="2256470" y="1"/>
                </a:lnTo>
                <a:lnTo>
                  <a:pt x="2323152" y="1"/>
                </a:lnTo>
                <a:lnTo>
                  <a:pt x="2355498" y="1"/>
                </a:lnTo>
                <a:lnTo>
                  <a:pt x="2933700" y="1"/>
                </a:lnTo>
                <a:lnTo>
                  <a:pt x="2933700" y="678959"/>
                </a:lnTo>
                <a:lnTo>
                  <a:pt x="2933700" y="1098732"/>
                </a:lnTo>
                <a:lnTo>
                  <a:pt x="2933700" y="1364768"/>
                </a:lnTo>
                <a:lnTo>
                  <a:pt x="2933700" y="1777698"/>
                </a:lnTo>
                <a:lnTo>
                  <a:pt x="2933700" y="1784134"/>
                </a:lnTo>
                <a:lnTo>
                  <a:pt x="2933700" y="1784534"/>
                </a:lnTo>
                <a:lnTo>
                  <a:pt x="2933700" y="1784541"/>
                </a:lnTo>
                <a:lnTo>
                  <a:pt x="2933700" y="1784547"/>
                </a:lnTo>
                <a:lnTo>
                  <a:pt x="2933700" y="1816401"/>
                </a:lnTo>
                <a:lnTo>
                  <a:pt x="2932325" y="1816401"/>
                </a:lnTo>
                <a:lnTo>
                  <a:pt x="2930926" y="1849232"/>
                </a:lnTo>
                <a:lnTo>
                  <a:pt x="2930669" y="1851224"/>
                </a:lnTo>
                <a:lnTo>
                  <a:pt x="2930549" y="1853877"/>
                </a:lnTo>
                <a:cubicBezTo>
                  <a:pt x="2926886" y="1893951"/>
                  <a:pt x="2920084" y="1932994"/>
                  <a:pt x="2910418" y="1970697"/>
                </a:cubicBezTo>
                <a:lnTo>
                  <a:pt x="2909594" y="1973444"/>
                </a:lnTo>
                <a:lnTo>
                  <a:pt x="2909492" y="1973919"/>
                </a:lnTo>
                <a:lnTo>
                  <a:pt x="2908041" y="1978634"/>
                </a:lnTo>
                <a:lnTo>
                  <a:pt x="2893806" y="2026206"/>
                </a:lnTo>
                <a:lnTo>
                  <a:pt x="2891908" y="2031089"/>
                </a:lnTo>
                <a:lnTo>
                  <a:pt x="2891338" y="2032946"/>
                </a:lnTo>
                <a:lnTo>
                  <a:pt x="2887290" y="2042979"/>
                </a:lnTo>
                <a:lnTo>
                  <a:pt x="2873108" y="2079476"/>
                </a:lnTo>
                <a:lnTo>
                  <a:pt x="2869812" y="2086287"/>
                </a:lnTo>
                <a:lnTo>
                  <a:pt x="2868564" y="2089386"/>
                </a:lnTo>
                <a:lnTo>
                  <a:pt x="2863048" y="2100273"/>
                </a:lnTo>
                <a:lnTo>
                  <a:pt x="2848535" y="2130271"/>
                </a:lnTo>
                <a:lnTo>
                  <a:pt x="2843543" y="2138772"/>
                </a:lnTo>
                <a:lnTo>
                  <a:pt x="2841421" y="2142959"/>
                </a:lnTo>
                <a:lnTo>
                  <a:pt x="2834995" y="2153326"/>
                </a:lnTo>
                <a:lnTo>
                  <a:pt x="2820292" y="2178362"/>
                </a:lnTo>
                <a:lnTo>
                  <a:pt x="2813327" y="2188281"/>
                </a:lnTo>
                <a:lnTo>
                  <a:pt x="2810163" y="2193387"/>
                </a:lnTo>
                <a:lnTo>
                  <a:pt x="2803216" y="2202682"/>
                </a:lnTo>
                <a:lnTo>
                  <a:pt x="2788588" y="2223518"/>
                </a:lnTo>
                <a:lnTo>
                  <a:pt x="2779400" y="2234553"/>
                </a:lnTo>
                <a:lnTo>
                  <a:pt x="2775043" y="2240384"/>
                </a:lnTo>
                <a:lnTo>
                  <a:pt x="2767888" y="2248382"/>
                </a:lnTo>
                <a:lnTo>
                  <a:pt x="2753631" y="2265505"/>
                </a:lnTo>
                <a:lnTo>
                  <a:pt x="2741992" y="2277323"/>
                </a:lnTo>
                <a:lnTo>
                  <a:pt x="2736314" y="2283671"/>
                </a:lnTo>
                <a:lnTo>
                  <a:pt x="2729216" y="2290299"/>
                </a:lnTo>
                <a:lnTo>
                  <a:pt x="2715632" y="2304095"/>
                </a:lnTo>
                <a:lnTo>
                  <a:pt x="2701330" y="2316337"/>
                </a:lnTo>
                <a:lnTo>
                  <a:pt x="2694230" y="2322966"/>
                </a:lnTo>
                <a:lnTo>
                  <a:pt x="2687423" y="2328243"/>
                </a:lnTo>
                <a:lnTo>
                  <a:pt x="2674795" y="2339053"/>
                </a:lnTo>
                <a:lnTo>
                  <a:pt x="2657631" y="2351333"/>
                </a:lnTo>
                <a:lnTo>
                  <a:pt x="2649042" y="2357991"/>
                </a:lnTo>
                <a:lnTo>
                  <a:pt x="2642737" y="2361990"/>
                </a:lnTo>
                <a:lnTo>
                  <a:pt x="2631332" y="2370151"/>
                </a:lnTo>
                <a:lnTo>
                  <a:pt x="2611097" y="2382059"/>
                </a:lnTo>
                <a:lnTo>
                  <a:pt x="2601006" y="2388462"/>
                </a:lnTo>
                <a:lnTo>
                  <a:pt x="2595390" y="2391304"/>
                </a:lnTo>
                <a:lnTo>
                  <a:pt x="2585449" y="2397156"/>
                </a:lnTo>
                <a:lnTo>
                  <a:pt x="2561897" y="2408262"/>
                </a:lnTo>
                <a:lnTo>
                  <a:pt x="2550370" y="2414098"/>
                </a:lnTo>
                <a:lnTo>
                  <a:pt x="2545618" y="2415939"/>
                </a:lnTo>
                <a:lnTo>
                  <a:pt x="2537355" y="2419835"/>
                </a:lnTo>
                <a:lnTo>
                  <a:pt x="2510121" y="2429690"/>
                </a:lnTo>
                <a:lnTo>
                  <a:pt x="2497390" y="2434620"/>
                </a:lnTo>
                <a:lnTo>
                  <a:pt x="2493658" y="2435645"/>
                </a:lnTo>
                <a:lnTo>
                  <a:pt x="2487258" y="2437960"/>
                </a:lnTo>
                <a:lnTo>
                  <a:pt x="2455627" y="2446089"/>
                </a:lnTo>
                <a:lnTo>
                  <a:pt x="2442320" y="2449745"/>
                </a:lnTo>
                <a:lnTo>
                  <a:pt x="2439743" y="2450173"/>
                </a:lnTo>
                <a:lnTo>
                  <a:pt x="2435367" y="2451298"/>
                </a:lnTo>
                <a:lnTo>
                  <a:pt x="2397316" y="2457216"/>
                </a:lnTo>
                <a:lnTo>
                  <a:pt x="2385413" y="2459193"/>
                </a:lnTo>
                <a:lnTo>
                  <a:pt x="2384160" y="2459263"/>
                </a:lnTo>
                <a:lnTo>
                  <a:pt x="2381890" y="2459615"/>
                </a:lnTo>
                <a:lnTo>
                  <a:pt x="2355498" y="2461003"/>
                </a:lnTo>
                <a:lnTo>
                  <a:pt x="2355498" y="2462696"/>
                </a:lnTo>
                <a:lnTo>
                  <a:pt x="2331166" y="2462696"/>
                </a:lnTo>
                <a:lnTo>
                  <a:pt x="2323335" y="2462696"/>
                </a:lnTo>
                <a:lnTo>
                  <a:pt x="2323152" y="2462696"/>
                </a:lnTo>
                <a:lnTo>
                  <a:pt x="2323151" y="2462696"/>
                </a:lnTo>
                <a:lnTo>
                  <a:pt x="2323151" y="2463507"/>
                </a:lnTo>
                <a:lnTo>
                  <a:pt x="2060750" y="2463507"/>
                </a:lnTo>
                <a:lnTo>
                  <a:pt x="2036578" y="2463507"/>
                </a:lnTo>
                <a:lnTo>
                  <a:pt x="2036578" y="2463506"/>
                </a:lnTo>
                <a:lnTo>
                  <a:pt x="1751294" y="2463506"/>
                </a:lnTo>
                <a:lnTo>
                  <a:pt x="1609747" y="2463506"/>
                </a:lnTo>
                <a:lnTo>
                  <a:pt x="1598723" y="2463506"/>
                </a:lnTo>
                <a:lnTo>
                  <a:pt x="1457178" y="2463506"/>
                </a:lnTo>
                <a:lnTo>
                  <a:pt x="1401748" y="2463506"/>
                </a:lnTo>
                <a:lnTo>
                  <a:pt x="1401748" y="2463507"/>
                </a:lnTo>
                <a:lnTo>
                  <a:pt x="610548" y="2463507"/>
                </a:lnTo>
                <a:lnTo>
                  <a:pt x="578200" y="2463507"/>
                </a:lnTo>
                <a:lnTo>
                  <a:pt x="0" y="2463507"/>
                </a:lnTo>
                <a:lnTo>
                  <a:pt x="0" y="1784548"/>
                </a:lnTo>
                <a:lnTo>
                  <a:pt x="0" y="1364777"/>
                </a:lnTo>
                <a:lnTo>
                  <a:pt x="0" y="1098741"/>
                </a:lnTo>
                <a:lnTo>
                  <a:pt x="0" y="1098740"/>
                </a:lnTo>
                <a:lnTo>
                  <a:pt x="0" y="1098739"/>
                </a:lnTo>
                <a:lnTo>
                  <a:pt x="0" y="685811"/>
                </a:lnTo>
                <a:lnTo>
                  <a:pt x="0" y="679373"/>
                </a:lnTo>
                <a:lnTo>
                  <a:pt x="0" y="678974"/>
                </a:lnTo>
                <a:lnTo>
                  <a:pt x="0" y="678967"/>
                </a:lnTo>
                <a:lnTo>
                  <a:pt x="0" y="678962"/>
                </a:lnTo>
                <a:lnTo>
                  <a:pt x="0" y="647108"/>
                </a:lnTo>
                <a:lnTo>
                  <a:pt x="1375" y="647108"/>
                </a:lnTo>
                <a:lnTo>
                  <a:pt x="2774" y="614276"/>
                </a:lnTo>
                <a:lnTo>
                  <a:pt x="3031" y="612285"/>
                </a:lnTo>
                <a:lnTo>
                  <a:pt x="3151" y="609630"/>
                </a:lnTo>
                <a:cubicBezTo>
                  <a:pt x="6813" y="569557"/>
                  <a:pt x="13618" y="530515"/>
                  <a:pt x="23283" y="492812"/>
                </a:cubicBezTo>
                <a:lnTo>
                  <a:pt x="24106" y="490063"/>
                </a:lnTo>
                <a:lnTo>
                  <a:pt x="24208" y="489589"/>
                </a:lnTo>
                <a:lnTo>
                  <a:pt x="25658" y="484874"/>
                </a:lnTo>
                <a:lnTo>
                  <a:pt x="39895" y="437302"/>
                </a:lnTo>
                <a:lnTo>
                  <a:pt x="41793" y="432419"/>
                </a:lnTo>
                <a:lnTo>
                  <a:pt x="42363" y="430563"/>
                </a:lnTo>
                <a:lnTo>
                  <a:pt x="46410" y="420529"/>
                </a:lnTo>
                <a:lnTo>
                  <a:pt x="60591" y="384033"/>
                </a:lnTo>
                <a:lnTo>
                  <a:pt x="63886" y="377222"/>
                </a:lnTo>
                <a:lnTo>
                  <a:pt x="65138" y="374121"/>
                </a:lnTo>
                <a:lnTo>
                  <a:pt x="70652" y="363236"/>
                </a:lnTo>
                <a:lnTo>
                  <a:pt x="85165" y="333237"/>
                </a:lnTo>
                <a:lnTo>
                  <a:pt x="90158" y="324736"/>
                </a:lnTo>
                <a:lnTo>
                  <a:pt x="92280" y="320549"/>
                </a:lnTo>
                <a:lnTo>
                  <a:pt x="98706" y="310181"/>
                </a:lnTo>
                <a:lnTo>
                  <a:pt x="113408" y="285147"/>
                </a:lnTo>
                <a:lnTo>
                  <a:pt x="120373" y="275227"/>
                </a:lnTo>
                <a:lnTo>
                  <a:pt x="123537" y="270121"/>
                </a:lnTo>
                <a:lnTo>
                  <a:pt x="130484" y="260827"/>
                </a:lnTo>
                <a:lnTo>
                  <a:pt x="145113" y="239991"/>
                </a:lnTo>
                <a:lnTo>
                  <a:pt x="154299" y="228956"/>
                </a:lnTo>
                <a:lnTo>
                  <a:pt x="158657" y="223124"/>
                </a:lnTo>
                <a:lnTo>
                  <a:pt x="165813" y="215125"/>
                </a:lnTo>
                <a:lnTo>
                  <a:pt x="180069" y="198003"/>
                </a:lnTo>
                <a:lnTo>
                  <a:pt x="191707" y="186184"/>
                </a:lnTo>
                <a:lnTo>
                  <a:pt x="197386" y="179838"/>
                </a:lnTo>
                <a:lnTo>
                  <a:pt x="204483" y="173209"/>
                </a:lnTo>
                <a:lnTo>
                  <a:pt x="218069" y="159414"/>
                </a:lnTo>
                <a:lnTo>
                  <a:pt x="232369" y="147172"/>
                </a:lnTo>
                <a:lnTo>
                  <a:pt x="239470" y="140541"/>
                </a:lnTo>
                <a:lnTo>
                  <a:pt x="246276" y="135266"/>
                </a:lnTo>
                <a:lnTo>
                  <a:pt x="258905" y="124455"/>
                </a:lnTo>
                <a:lnTo>
                  <a:pt x="276069" y="112174"/>
                </a:lnTo>
                <a:lnTo>
                  <a:pt x="284657" y="105518"/>
                </a:lnTo>
                <a:lnTo>
                  <a:pt x="290963" y="101518"/>
                </a:lnTo>
                <a:lnTo>
                  <a:pt x="302368" y="93357"/>
                </a:lnTo>
                <a:lnTo>
                  <a:pt x="322603" y="81449"/>
                </a:lnTo>
                <a:lnTo>
                  <a:pt x="332694" y="75047"/>
                </a:lnTo>
                <a:lnTo>
                  <a:pt x="338309" y="72205"/>
                </a:lnTo>
                <a:lnTo>
                  <a:pt x="348251" y="66352"/>
                </a:lnTo>
                <a:lnTo>
                  <a:pt x="371803" y="55247"/>
                </a:lnTo>
                <a:lnTo>
                  <a:pt x="383330" y="49411"/>
                </a:lnTo>
                <a:lnTo>
                  <a:pt x="388082" y="47570"/>
                </a:lnTo>
                <a:lnTo>
                  <a:pt x="396345" y="43673"/>
                </a:lnTo>
                <a:lnTo>
                  <a:pt x="423579" y="33819"/>
                </a:lnTo>
                <a:lnTo>
                  <a:pt x="436308" y="28889"/>
                </a:lnTo>
                <a:lnTo>
                  <a:pt x="440042" y="27863"/>
                </a:lnTo>
                <a:lnTo>
                  <a:pt x="446442" y="25548"/>
                </a:lnTo>
                <a:lnTo>
                  <a:pt x="478073" y="17419"/>
                </a:lnTo>
                <a:lnTo>
                  <a:pt x="491380" y="13763"/>
                </a:lnTo>
                <a:lnTo>
                  <a:pt x="493956" y="13335"/>
                </a:lnTo>
                <a:lnTo>
                  <a:pt x="498333" y="12211"/>
                </a:lnTo>
                <a:lnTo>
                  <a:pt x="536385" y="6291"/>
                </a:lnTo>
                <a:lnTo>
                  <a:pt x="548287" y="4316"/>
                </a:lnTo>
                <a:lnTo>
                  <a:pt x="549541" y="4245"/>
                </a:lnTo>
                <a:lnTo>
                  <a:pt x="551810" y="3892"/>
                </a:lnTo>
                <a:lnTo>
                  <a:pt x="578200" y="2505"/>
                </a:lnTo>
                <a:lnTo>
                  <a:pt x="578200" y="812"/>
                </a:lnTo>
                <a:lnTo>
                  <a:pt x="602533" y="812"/>
                </a:lnTo>
                <a:lnTo>
                  <a:pt x="610365" y="812"/>
                </a:lnTo>
                <a:lnTo>
                  <a:pt x="610548" y="812"/>
                </a:lnTo>
                <a:lnTo>
                  <a:pt x="610548" y="1"/>
                </a:lnTo>
                <a:lnTo>
                  <a:pt x="677230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3D31FDA-CDE4-41E7-8D86-84A0549650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2457" y="353390"/>
            <a:ext cx="4443789" cy="2984238"/>
          </a:xfrm>
          <a:custGeom>
            <a:avLst/>
            <a:gdLst>
              <a:gd name="connsiteX0" fmla="*/ 0 w 4443789"/>
              <a:gd name="connsiteY0" fmla="*/ 0 h 2984238"/>
              <a:gd name="connsiteX1" fmla="*/ 600036 w 4443789"/>
              <a:gd name="connsiteY1" fmla="*/ 0 h 2984238"/>
              <a:gd name="connsiteX2" fmla="*/ 633604 w 4443789"/>
              <a:gd name="connsiteY2" fmla="*/ 0 h 2984238"/>
              <a:gd name="connsiteX3" fmla="*/ 1454682 w 4443789"/>
              <a:gd name="connsiteY3" fmla="*/ 0 h 2984238"/>
              <a:gd name="connsiteX4" fmla="*/ 2203288 w 4443789"/>
              <a:gd name="connsiteY4" fmla="*/ 0 h 2984238"/>
              <a:gd name="connsiteX5" fmla="*/ 2475597 w 4443789"/>
              <a:gd name="connsiteY5" fmla="*/ 0 h 2984238"/>
              <a:gd name="connsiteX6" fmla="*/ 2496805 w 4443789"/>
              <a:gd name="connsiteY6" fmla="*/ 0 h 2984238"/>
              <a:gd name="connsiteX7" fmla="*/ 2769115 w 4443789"/>
              <a:gd name="connsiteY7" fmla="*/ 0 h 2984238"/>
              <a:gd name="connsiteX8" fmla="*/ 3512790 w 4443789"/>
              <a:gd name="connsiteY8" fmla="*/ 0 h 2984238"/>
              <a:gd name="connsiteX9" fmla="*/ 3537876 w 4443789"/>
              <a:gd name="connsiteY9" fmla="*/ 0 h 2984238"/>
              <a:gd name="connsiteX10" fmla="*/ 3740986 w 4443789"/>
              <a:gd name="connsiteY10" fmla="*/ 0 h 2984238"/>
              <a:gd name="connsiteX11" fmla="*/ 3810185 w 4443789"/>
              <a:gd name="connsiteY11" fmla="*/ 0 h 2984238"/>
              <a:gd name="connsiteX12" fmla="*/ 3810185 w 4443789"/>
              <a:gd name="connsiteY12" fmla="*/ 832 h 2984238"/>
              <a:gd name="connsiteX13" fmla="*/ 3810186 w 4443789"/>
              <a:gd name="connsiteY13" fmla="*/ 832 h 2984238"/>
              <a:gd name="connsiteX14" fmla="*/ 3810375 w 4443789"/>
              <a:gd name="connsiteY14" fmla="*/ 832 h 2984238"/>
              <a:gd name="connsiteX15" fmla="*/ 3818503 w 4443789"/>
              <a:gd name="connsiteY15" fmla="*/ 832 h 2984238"/>
              <a:gd name="connsiteX16" fmla="*/ 3843754 w 4443789"/>
              <a:gd name="connsiteY16" fmla="*/ 832 h 2984238"/>
              <a:gd name="connsiteX17" fmla="*/ 3843754 w 4443789"/>
              <a:gd name="connsiteY17" fmla="*/ 2567 h 2984238"/>
              <a:gd name="connsiteX18" fmla="*/ 3871142 w 4443789"/>
              <a:gd name="connsiteY18" fmla="*/ 3990 h 2984238"/>
              <a:gd name="connsiteX19" fmla="*/ 3873498 w 4443789"/>
              <a:gd name="connsiteY19" fmla="*/ 4352 h 2984238"/>
              <a:gd name="connsiteX20" fmla="*/ 3874797 w 4443789"/>
              <a:gd name="connsiteY20" fmla="*/ 4423 h 2984238"/>
              <a:gd name="connsiteX21" fmla="*/ 3887149 w 4443789"/>
              <a:gd name="connsiteY21" fmla="*/ 6450 h 2984238"/>
              <a:gd name="connsiteX22" fmla="*/ 3926638 w 4443789"/>
              <a:gd name="connsiteY22" fmla="*/ 12518 h 2984238"/>
              <a:gd name="connsiteX23" fmla="*/ 3931179 w 4443789"/>
              <a:gd name="connsiteY23" fmla="*/ 13671 h 2984238"/>
              <a:gd name="connsiteX24" fmla="*/ 3933854 w 4443789"/>
              <a:gd name="connsiteY24" fmla="*/ 14110 h 2984238"/>
              <a:gd name="connsiteX25" fmla="*/ 3947663 w 4443789"/>
              <a:gd name="connsiteY25" fmla="*/ 17858 h 2984238"/>
              <a:gd name="connsiteX26" fmla="*/ 3980488 w 4443789"/>
              <a:gd name="connsiteY26" fmla="*/ 26192 h 2984238"/>
              <a:gd name="connsiteX27" fmla="*/ 3987130 w 4443789"/>
              <a:gd name="connsiteY27" fmla="*/ 28566 h 2984238"/>
              <a:gd name="connsiteX28" fmla="*/ 3991004 w 4443789"/>
              <a:gd name="connsiteY28" fmla="*/ 29617 h 2984238"/>
              <a:gd name="connsiteX29" fmla="*/ 4004215 w 4443789"/>
              <a:gd name="connsiteY29" fmla="*/ 34672 h 2984238"/>
              <a:gd name="connsiteX30" fmla="*/ 4032477 w 4443789"/>
              <a:gd name="connsiteY30" fmla="*/ 44775 h 2984238"/>
              <a:gd name="connsiteX31" fmla="*/ 4041053 w 4443789"/>
              <a:gd name="connsiteY31" fmla="*/ 48770 h 2984238"/>
              <a:gd name="connsiteX32" fmla="*/ 4045984 w 4443789"/>
              <a:gd name="connsiteY32" fmla="*/ 50657 h 2984238"/>
              <a:gd name="connsiteX33" fmla="*/ 4057946 w 4443789"/>
              <a:gd name="connsiteY33" fmla="*/ 56640 h 2984238"/>
              <a:gd name="connsiteX34" fmla="*/ 4082388 w 4443789"/>
              <a:gd name="connsiteY34" fmla="*/ 68027 h 2984238"/>
              <a:gd name="connsiteX35" fmla="*/ 4092704 w 4443789"/>
              <a:gd name="connsiteY35" fmla="*/ 74027 h 2984238"/>
              <a:gd name="connsiteX36" fmla="*/ 4098531 w 4443789"/>
              <a:gd name="connsiteY36" fmla="*/ 76941 h 2984238"/>
              <a:gd name="connsiteX37" fmla="*/ 4109004 w 4443789"/>
              <a:gd name="connsiteY37" fmla="*/ 83505 h 2984238"/>
              <a:gd name="connsiteX38" fmla="*/ 4130002 w 4443789"/>
              <a:gd name="connsiteY38" fmla="*/ 95714 h 2984238"/>
              <a:gd name="connsiteX39" fmla="*/ 4141839 w 4443789"/>
              <a:gd name="connsiteY39" fmla="*/ 104081 h 2984238"/>
              <a:gd name="connsiteX40" fmla="*/ 4148382 w 4443789"/>
              <a:gd name="connsiteY40" fmla="*/ 108181 h 2984238"/>
              <a:gd name="connsiteX41" fmla="*/ 4157295 w 4443789"/>
              <a:gd name="connsiteY41" fmla="*/ 115007 h 2984238"/>
              <a:gd name="connsiteX42" fmla="*/ 4175107 w 4443789"/>
              <a:gd name="connsiteY42" fmla="*/ 127597 h 2984238"/>
              <a:gd name="connsiteX43" fmla="*/ 4188212 w 4443789"/>
              <a:gd name="connsiteY43" fmla="*/ 138681 h 2984238"/>
              <a:gd name="connsiteX44" fmla="*/ 4195276 w 4443789"/>
              <a:gd name="connsiteY44" fmla="*/ 144090 h 2984238"/>
              <a:gd name="connsiteX45" fmla="*/ 4202645 w 4443789"/>
              <a:gd name="connsiteY45" fmla="*/ 150888 h 2984238"/>
              <a:gd name="connsiteX46" fmla="*/ 4217486 w 4443789"/>
              <a:gd name="connsiteY46" fmla="*/ 163439 h 2984238"/>
              <a:gd name="connsiteX47" fmla="*/ 4231582 w 4443789"/>
              <a:gd name="connsiteY47" fmla="*/ 177583 h 2984238"/>
              <a:gd name="connsiteX48" fmla="*/ 4238950 w 4443789"/>
              <a:gd name="connsiteY48" fmla="*/ 184379 h 2984238"/>
              <a:gd name="connsiteX49" fmla="*/ 4244842 w 4443789"/>
              <a:gd name="connsiteY49" fmla="*/ 190886 h 2984238"/>
              <a:gd name="connsiteX50" fmla="*/ 4256920 w 4443789"/>
              <a:gd name="connsiteY50" fmla="*/ 203004 h 2984238"/>
              <a:gd name="connsiteX51" fmla="*/ 4271715 w 4443789"/>
              <a:gd name="connsiteY51" fmla="*/ 220559 h 2984238"/>
              <a:gd name="connsiteX52" fmla="*/ 4279140 w 4443789"/>
              <a:gd name="connsiteY52" fmla="*/ 228759 h 2984238"/>
              <a:gd name="connsiteX53" fmla="*/ 4283662 w 4443789"/>
              <a:gd name="connsiteY53" fmla="*/ 234737 h 2984238"/>
              <a:gd name="connsiteX54" fmla="*/ 4293198 w 4443789"/>
              <a:gd name="connsiteY54" fmla="*/ 246051 h 2984238"/>
              <a:gd name="connsiteX55" fmla="*/ 4308376 w 4443789"/>
              <a:gd name="connsiteY55" fmla="*/ 267413 h 2984238"/>
              <a:gd name="connsiteX56" fmla="*/ 4315586 w 4443789"/>
              <a:gd name="connsiteY56" fmla="*/ 276943 h 2984238"/>
              <a:gd name="connsiteX57" fmla="*/ 4318870 w 4443789"/>
              <a:gd name="connsiteY57" fmla="*/ 282177 h 2984238"/>
              <a:gd name="connsiteX58" fmla="*/ 4326098 w 4443789"/>
              <a:gd name="connsiteY58" fmla="*/ 292347 h 2984238"/>
              <a:gd name="connsiteX59" fmla="*/ 4341356 w 4443789"/>
              <a:gd name="connsiteY59" fmla="*/ 318015 h 2984238"/>
              <a:gd name="connsiteX60" fmla="*/ 4348025 w 4443789"/>
              <a:gd name="connsiteY60" fmla="*/ 328644 h 2984238"/>
              <a:gd name="connsiteX61" fmla="*/ 4350227 w 4443789"/>
              <a:gd name="connsiteY61" fmla="*/ 332936 h 2984238"/>
              <a:gd name="connsiteX62" fmla="*/ 4355408 w 4443789"/>
              <a:gd name="connsiteY62" fmla="*/ 341652 h 2984238"/>
              <a:gd name="connsiteX63" fmla="*/ 4370469 w 4443789"/>
              <a:gd name="connsiteY63" fmla="*/ 372409 h 2984238"/>
              <a:gd name="connsiteX64" fmla="*/ 4376192 w 4443789"/>
              <a:gd name="connsiteY64" fmla="*/ 383570 h 2984238"/>
              <a:gd name="connsiteX65" fmla="*/ 4377489 w 4443789"/>
              <a:gd name="connsiteY65" fmla="*/ 386748 h 2984238"/>
              <a:gd name="connsiteX66" fmla="*/ 4380909 w 4443789"/>
              <a:gd name="connsiteY66" fmla="*/ 393731 h 2984238"/>
              <a:gd name="connsiteX67" fmla="*/ 4395626 w 4443789"/>
              <a:gd name="connsiteY67" fmla="*/ 431150 h 2984238"/>
              <a:gd name="connsiteX68" fmla="*/ 4399828 w 4443789"/>
              <a:gd name="connsiteY68" fmla="*/ 441436 h 2984238"/>
              <a:gd name="connsiteX69" fmla="*/ 4400420 w 4443789"/>
              <a:gd name="connsiteY69" fmla="*/ 443339 h 2984238"/>
              <a:gd name="connsiteX70" fmla="*/ 4402388 w 4443789"/>
              <a:gd name="connsiteY70" fmla="*/ 448347 h 2984238"/>
              <a:gd name="connsiteX71" fmla="*/ 4417161 w 4443789"/>
              <a:gd name="connsiteY71" fmla="*/ 497120 h 2984238"/>
              <a:gd name="connsiteX72" fmla="*/ 4418667 w 4443789"/>
              <a:gd name="connsiteY72" fmla="*/ 501954 h 2984238"/>
              <a:gd name="connsiteX73" fmla="*/ 4418772 w 4443789"/>
              <a:gd name="connsiteY73" fmla="*/ 502440 h 2984238"/>
              <a:gd name="connsiteX74" fmla="*/ 4419628 w 4443789"/>
              <a:gd name="connsiteY74" fmla="*/ 505257 h 2984238"/>
              <a:gd name="connsiteX75" fmla="*/ 4440518 w 4443789"/>
              <a:gd name="connsiteY75" fmla="*/ 625027 h 2984238"/>
              <a:gd name="connsiteX76" fmla="*/ 4440644 w 4443789"/>
              <a:gd name="connsiteY76" fmla="*/ 627748 h 2984238"/>
              <a:gd name="connsiteX77" fmla="*/ 4440910 w 4443789"/>
              <a:gd name="connsiteY77" fmla="*/ 629790 h 2984238"/>
              <a:gd name="connsiteX78" fmla="*/ 4442362 w 4443789"/>
              <a:gd name="connsiteY78" fmla="*/ 663451 h 2984238"/>
              <a:gd name="connsiteX79" fmla="*/ 4443789 w 4443789"/>
              <a:gd name="connsiteY79" fmla="*/ 663451 h 2984238"/>
              <a:gd name="connsiteX80" fmla="*/ 4443789 w 4443789"/>
              <a:gd name="connsiteY80" fmla="*/ 696109 h 2984238"/>
              <a:gd name="connsiteX81" fmla="*/ 4443789 w 4443789"/>
              <a:gd name="connsiteY81" fmla="*/ 696115 h 2984238"/>
              <a:gd name="connsiteX82" fmla="*/ 4443789 w 4443789"/>
              <a:gd name="connsiteY82" fmla="*/ 696122 h 2984238"/>
              <a:gd name="connsiteX83" fmla="*/ 4443789 w 4443789"/>
              <a:gd name="connsiteY83" fmla="*/ 696532 h 2984238"/>
              <a:gd name="connsiteX84" fmla="*/ 4443789 w 4443789"/>
              <a:gd name="connsiteY84" fmla="*/ 703132 h 2984238"/>
              <a:gd name="connsiteX85" fmla="*/ 4443789 w 4443789"/>
              <a:gd name="connsiteY85" fmla="*/ 1121961 h 2984238"/>
              <a:gd name="connsiteX86" fmla="*/ 4443789 w 4443789"/>
              <a:gd name="connsiteY86" fmla="*/ 1126490 h 2984238"/>
              <a:gd name="connsiteX87" fmla="*/ 4443789 w 4443789"/>
              <a:gd name="connsiteY87" fmla="*/ 1154619 h 2984238"/>
              <a:gd name="connsiteX88" fmla="*/ 4443789 w 4443789"/>
              <a:gd name="connsiteY88" fmla="*/ 1154625 h 2984238"/>
              <a:gd name="connsiteX89" fmla="*/ 4443789 w 4443789"/>
              <a:gd name="connsiteY89" fmla="*/ 1154632 h 2984238"/>
              <a:gd name="connsiteX90" fmla="*/ 4443789 w 4443789"/>
              <a:gd name="connsiteY90" fmla="*/ 1155042 h 2984238"/>
              <a:gd name="connsiteX91" fmla="*/ 4443789 w 4443789"/>
              <a:gd name="connsiteY91" fmla="*/ 1161642 h 2984238"/>
              <a:gd name="connsiteX92" fmla="*/ 4443789 w 4443789"/>
              <a:gd name="connsiteY92" fmla="*/ 1399246 h 2984238"/>
              <a:gd name="connsiteX93" fmla="*/ 4443789 w 4443789"/>
              <a:gd name="connsiteY93" fmla="*/ 1585000 h 2984238"/>
              <a:gd name="connsiteX94" fmla="*/ 4443789 w 4443789"/>
              <a:gd name="connsiteY94" fmla="*/ 1829621 h 2984238"/>
              <a:gd name="connsiteX95" fmla="*/ 4443789 w 4443789"/>
              <a:gd name="connsiteY95" fmla="*/ 1857756 h 2984238"/>
              <a:gd name="connsiteX96" fmla="*/ 4443789 w 4443789"/>
              <a:gd name="connsiteY96" fmla="*/ 2288131 h 2984238"/>
              <a:gd name="connsiteX97" fmla="*/ 4443789 w 4443789"/>
              <a:gd name="connsiteY97" fmla="*/ 2525728 h 2984238"/>
              <a:gd name="connsiteX98" fmla="*/ 4443789 w 4443789"/>
              <a:gd name="connsiteY98" fmla="*/ 2984238 h 2984238"/>
              <a:gd name="connsiteX99" fmla="*/ 3843754 w 4443789"/>
              <a:gd name="connsiteY99" fmla="*/ 2984238 h 2984238"/>
              <a:gd name="connsiteX100" fmla="*/ 3810186 w 4443789"/>
              <a:gd name="connsiteY100" fmla="*/ 2984238 h 2984238"/>
              <a:gd name="connsiteX101" fmla="*/ 3740986 w 4443789"/>
              <a:gd name="connsiteY101" fmla="*/ 2984238 h 2984238"/>
              <a:gd name="connsiteX102" fmla="*/ 3512790 w 4443789"/>
              <a:gd name="connsiteY102" fmla="*/ 2984238 h 2984238"/>
              <a:gd name="connsiteX103" fmla="*/ 3402719 w 4443789"/>
              <a:gd name="connsiteY103" fmla="*/ 2984238 h 2984238"/>
              <a:gd name="connsiteX104" fmla="*/ 3109201 w 4443789"/>
              <a:gd name="connsiteY104" fmla="*/ 2984238 h 2984238"/>
              <a:gd name="connsiteX105" fmla="*/ 2986086 w 4443789"/>
              <a:gd name="connsiteY105" fmla="*/ 2984238 h 2984238"/>
              <a:gd name="connsiteX106" fmla="*/ 2802684 w 4443789"/>
              <a:gd name="connsiteY106" fmla="*/ 2984238 h 2984238"/>
              <a:gd name="connsiteX107" fmla="*/ 2769116 w 4443789"/>
              <a:gd name="connsiteY107" fmla="*/ 2984238 h 2984238"/>
              <a:gd name="connsiteX108" fmla="*/ 2713776 w 4443789"/>
              <a:gd name="connsiteY108" fmla="*/ 2984238 h 2984238"/>
              <a:gd name="connsiteX109" fmla="*/ 2509166 w 4443789"/>
              <a:gd name="connsiteY109" fmla="*/ 2984238 h 2984238"/>
              <a:gd name="connsiteX110" fmla="*/ 2475598 w 4443789"/>
              <a:gd name="connsiteY110" fmla="*/ 2984238 h 2984238"/>
              <a:gd name="connsiteX111" fmla="*/ 1839935 w 4443789"/>
              <a:gd name="connsiteY111" fmla="*/ 2984238 h 2984238"/>
              <a:gd name="connsiteX112" fmla="*/ 1716819 w 4443789"/>
              <a:gd name="connsiteY112" fmla="*/ 2984238 h 2984238"/>
              <a:gd name="connsiteX113" fmla="*/ 1454682 w 4443789"/>
              <a:gd name="connsiteY113" fmla="*/ 2984238 h 2984238"/>
              <a:gd name="connsiteX114" fmla="*/ 1444510 w 4443789"/>
              <a:gd name="connsiteY114" fmla="*/ 2984238 h 2984238"/>
              <a:gd name="connsiteX115" fmla="*/ 1423301 w 4443789"/>
              <a:gd name="connsiteY115" fmla="*/ 2984238 h 2984238"/>
              <a:gd name="connsiteX116" fmla="*/ 1239899 w 4443789"/>
              <a:gd name="connsiteY116" fmla="*/ 2984238 h 2984238"/>
              <a:gd name="connsiteX117" fmla="*/ 1206331 w 4443789"/>
              <a:gd name="connsiteY117" fmla="*/ 2984238 h 2984238"/>
              <a:gd name="connsiteX118" fmla="*/ 1150992 w 4443789"/>
              <a:gd name="connsiteY118" fmla="*/ 2984238 h 2984238"/>
              <a:gd name="connsiteX119" fmla="*/ 905913 w 4443789"/>
              <a:gd name="connsiteY119" fmla="*/ 2984238 h 2984238"/>
              <a:gd name="connsiteX120" fmla="*/ 702803 w 4443789"/>
              <a:gd name="connsiteY120" fmla="*/ 2984238 h 2984238"/>
              <a:gd name="connsiteX121" fmla="*/ 633605 w 4443789"/>
              <a:gd name="connsiteY121" fmla="*/ 2984238 h 2984238"/>
              <a:gd name="connsiteX122" fmla="*/ 633605 w 4443789"/>
              <a:gd name="connsiteY122" fmla="*/ 2983406 h 2984238"/>
              <a:gd name="connsiteX123" fmla="*/ 633604 w 4443789"/>
              <a:gd name="connsiteY123" fmla="*/ 2983406 h 2984238"/>
              <a:gd name="connsiteX124" fmla="*/ 633414 w 4443789"/>
              <a:gd name="connsiteY124" fmla="*/ 2983406 h 2984238"/>
              <a:gd name="connsiteX125" fmla="*/ 625287 w 4443789"/>
              <a:gd name="connsiteY125" fmla="*/ 2983406 h 2984238"/>
              <a:gd name="connsiteX126" fmla="*/ 600036 w 4443789"/>
              <a:gd name="connsiteY126" fmla="*/ 2983406 h 2984238"/>
              <a:gd name="connsiteX127" fmla="*/ 600036 w 4443789"/>
              <a:gd name="connsiteY127" fmla="*/ 2981671 h 2984238"/>
              <a:gd name="connsiteX128" fmla="*/ 572647 w 4443789"/>
              <a:gd name="connsiteY128" fmla="*/ 2980249 h 2984238"/>
              <a:gd name="connsiteX129" fmla="*/ 570293 w 4443789"/>
              <a:gd name="connsiteY129" fmla="*/ 2979886 h 2984238"/>
              <a:gd name="connsiteX130" fmla="*/ 568992 w 4443789"/>
              <a:gd name="connsiteY130" fmla="*/ 2979815 h 2984238"/>
              <a:gd name="connsiteX131" fmla="*/ 556640 w 4443789"/>
              <a:gd name="connsiteY131" fmla="*/ 2977788 h 2984238"/>
              <a:gd name="connsiteX132" fmla="*/ 517152 w 4443789"/>
              <a:gd name="connsiteY132" fmla="*/ 2971720 h 2984238"/>
              <a:gd name="connsiteX133" fmla="*/ 512609 w 4443789"/>
              <a:gd name="connsiteY133" fmla="*/ 2970567 h 2984238"/>
              <a:gd name="connsiteX134" fmla="*/ 509935 w 4443789"/>
              <a:gd name="connsiteY134" fmla="*/ 2970129 h 2984238"/>
              <a:gd name="connsiteX135" fmla="*/ 496126 w 4443789"/>
              <a:gd name="connsiteY135" fmla="*/ 2966380 h 2984238"/>
              <a:gd name="connsiteX136" fmla="*/ 463301 w 4443789"/>
              <a:gd name="connsiteY136" fmla="*/ 2958046 h 2984238"/>
              <a:gd name="connsiteX137" fmla="*/ 456659 w 4443789"/>
              <a:gd name="connsiteY137" fmla="*/ 2955672 h 2984238"/>
              <a:gd name="connsiteX138" fmla="*/ 452785 w 4443789"/>
              <a:gd name="connsiteY138" fmla="*/ 2954621 h 2984238"/>
              <a:gd name="connsiteX139" fmla="*/ 439575 w 4443789"/>
              <a:gd name="connsiteY139" fmla="*/ 2949567 h 2984238"/>
              <a:gd name="connsiteX140" fmla="*/ 411312 w 4443789"/>
              <a:gd name="connsiteY140" fmla="*/ 2939463 h 2984238"/>
              <a:gd name="connsiteX141" fmla="*/ 402737 w 4443789"/>
              <a:gd name="connsiteY141" fmla="*/ 2935469 h 2984238"/>
              <a:gd name="connsiteX142" fmla="*/ 397806 w 4443789"/>
              <a:gd name="connsiteY142" fmla="*/ 2933581 h 2984238"/>
              <a:gd name="connsiteX143" fmla="*/ 385843 w 4443789"/>
              <a:gd name="connsiteY143" fmla="*/ 2927598 h 2984238"/>
              <a:gd name="connsiteX144" fmla="*/ 361403 w 4443789"/>
              <a:gd name="connsiteY144" fmla="*/ 2916211 h 2984238"/>
              <a:gd name="connsiteX145" fmla="*/ 351085 w 4443789"/>
              <a:gd name="connsiteY145" fmla="*/ 2910211 h 2984238"/>
              <a:gd name="connsiteX146" fmla="*/ 345259 w 4443789"/>
              <a:gd name="connsiteY146" fmla="*/ 2907297 h 2984238"/>
              <a:gd name="connsiteX147" fmla="*/ 334785 w 4443789"/>
              <a:gd name="connsiteY147" fmla="*/ 2900733 h 2984238"/>
              <a:gd name="connsiteX148" fmla="*/ 313788 w 4443789"/>
              <a:gd name="connsiteY148" fmla="*/ 2888524 h 2984238"/>
              <a:gd name="connsiteX149" fmla="*/ 301951 w 4443789"/>
              <a:gd name="connsiteY149" fmla="*/ 2880157 h 2984238"/>
              <a:gd name="connsiteX150" fmla="*/ 295407 w 4443789"/>
              <a:gd name="connsiteY150" fmla="*/ 2876057 h 2984238"/>
              <a:gd name="connsiteX151" fmla="*/ 286494 w 4443789"/>
              <a:gd name="connsiteY151" fmla="*/ 2869231 h 2984238"/>
              <a:gd name="connsiteX152" fmla="*/ 268682 w 4443789"/>
              <a:gd name="connsiteY152" fmla="*/ 2856641 h 2984238"/>
              <a:gd name="connsiteX153" fmla="*/ 255577 w 4443789"/>
              <a:gd name="connsiteY153" fmla="*/ 2845557 h 2984238"/>
              <a:gd name="connsiteX154" fmla="*/ 248513 w 4443789"/>
              <a:gd name="connsiteY154" fmla="*/ 2840148 h 2984238"/>
              <a:gd name="connsiteX155" fmla="*/ 241144 w 4443789"/>
              <a:gd name="connsiteY155" fmla="*/ 2833351 h 2984238"/>
              <a:gd name="connsiteX156" fmla="*/ 226303 w 4443789"/>
              <a:gd name="connsiteY156" fmla="*/ 2820799 h 2984238"/>
              <a:gd name="connsiteX157" fmla="*/ 212206 w 4443789"/>
              <a:gd name="connsiteY157" fmla="*/ 2806655 h 2984238"/>
              <a:gd name="connsiteX158" fmla="*/ 204840 w 4443789"/>
              <a:gd name="connsiteY158" fmla="*/ 2799860 h 2984238"/>
              <a:gd name="connsiteX159" fmla="*/ 198946 w 4443789"/>
              <a:gd name="connsiteY159" fmla="*/ 2793352 h 2984238"/>
              <a:gd name="connsiteX160" fmla="*/ 186869 w 4443789"/>
              <a:gd name="connsiteY160" fmla="*/ 2781235 h 2984238"/>
              <a:gd name="connsiteX161" fmla="*/ 172075 w 4443789"/>
              <a:gd name="connsiteY161" fmla="*/ 2763680 h 2984238"/>
              <a:gd name="connsiteX162" fmla="*/ 164649 w 4443789"/>
              <a:gd name="connsiteY162" fmla="*/ 2755479 h 2984238"/>
              <a:gd name="connsiteX163" fmla="*/ 160126 w 4443789"/>
              <a:gd name="connsiteY163" fmla="*/ 2749501 h 2984238"/>
              <a:gd name="connsiteX164" fmla="*/ 150593 w 4443789"/>
              <a:gd name="connsiteY164" fmla="*/ 2738187 h 2984238"/>
              <a:gd name="connsiteX165" fmla="*/ 135413 w 4443789"/>
              <a:gd name="connsiteY165" fmla="*/ 2716825 h 2984238"/>
              <a:gd name="connsiteX166" fmla="*/ 128203 w 4443789"/>
              <a:gd name="connsiteY166" fmla="*/ 2707295 h 2984238"/>
              <a:gd name="connsiteX167" fmla="*/ 124919 w 4443789"/>
              <a:gd name="connsiteY167" fmla="*/ 2702060 h 2984238"/>
              <a:gd name="connsiteX168" fmla="*/ 117691 w 4443789"/>
              <a:gd name="connsiteY168" fmla="*/ 2691891 h 2984238"/>
              <a:gd name="connsiteX169" fmla="*/ 102434 w 4443789"/>
              <a:gd name="connsiteY169" fmla="*/ 2666223 h 2984238"/>
              <a:gd name="connsiteX170" fmla="*/ 95765 w 4443789"/>
              <a:gd name="connsiteY170" fmla="*/ 2655594 h 2984238"/>
              <a:gd name="connsiteX171" fmla="*/ 93563 w 4443789"/>
              <a:gd name="connsiteY171" fmla="*/ 2651301 h 2984238"/>
              <a:gd name="connsiteX172" fmla="*/ 88382 w 4443789"/>
              <a:gd name="connsiteY172" fmla="*/ 2642586 h 2984238"/>
              <a:gd name="connsiteX173" fmla="*/ 73321 w 4443789"/>
              <a:gd name="connsiteY173" fmla="*/ 2611829 h 2984238"/>
              <a:gd name="connsiteX174" fmla="*/ 67598 w 4443789"/>
              <a:gd name="connsiteY174" fmla="*/ 2600668 h 2984238"/>
              <a:gd name="connsiteX175" fmla="*/ 66299 w 4443789"/>
              <a:gd name="connsiteY175" fmla="*/ 2597490 h 2984238"/>
              <a:gd name="connsiteX176" fmla="*/ 62879 w 4443789"/>
              <a:gd name="connsiteY176" fmla="*/ 2590507 h 2984238"/>
              <a:gd name="connsiteX177" fmla="*/ 48163 w 4443789"/>
              <a:gd name="connsiteY177" fmla="*/ 2553088 h 2984238"/>
              <a:gd name="connsiteX178" fmla="*/ 43963 w 4443789"/>
              <a:gd name="connsiteY178" fmla="*/ 2542802 h 2984238"/>
              <a:gd name="connsiteX179" fmla="*/ 43371 w 4443789"/>
              <a:gd name="connsiteY179" fmla="*/ 2540899 h 2984238"/>
              <a:gd name="connsiteX180" fmla="*/ 41402 w 4443789"/>
              <a:gd name="connsiteY180" fmla="*/ 2535892 h 2984238"/>
              <a:gd name="connsiteX181" fmla="*/ 26628 w 4443789"/>
              <a:gd name="connsiteY181" fmla="*/ 2487119 h 2984238"/>
              <a:gd name="connsiteX182" fmla="*/ 25122 w 4443789"/>
              <a:gd name="connsiteY182" fmla="*/ 2482285 h 2984238"/>
              <a:gd name="connsiteX183" fmla="*/ 25017 w 4443789"/>
              <a:gd name="connsiteY183" fmla="*/ 2481798 h 2984238"/>
              <a:gd name="connsiteX184" fmla="*/ 24163 w 4443789"/>
              <a:gd name="connsiteY184" fmla="*/ 2478980 h 2984238"/>
              <a:gd name="connsiteX185" fmla="*/ 3271 w 4443789"/>
              <a:gd name="connsiteY185" fmla="*/ 2359211 h 2984238"/>
              <a:gd name="connsiteX186" fmla="*/ 3146 w 4443789"/>
              <a:gd name="connsiteY186" fmla="*/ 2356490 h 2984238"/>
              <a:gd name="connsiteX187" fmla="*/ 2879 w 4443789"/>
              <a:gd name="connsiteY187" fmla="*/ 2354448 h 2984238"/>
              <a:gd name="connsiteX188" fmla="*/ 1428 w 4443789"/>
              <a:gd name="connsiteY188" fmla="*/ 2320787 h 2984238"/>
              <a:gd name="connsiteX189" fmla="*/ 1 w 4443789"/>
              <a:gd name="connsiteY189" fmla="*/ 2320787 h 2984238"/>
              <a:gd name="connsiteX190" fmla="*/ 1 w 4443789"/>
              <a:gd name="connsiteY190" fmla="*/ 2288129 h 2984238"/>
              <a:gd name="connsiteX191" fmla="*/ 0 w 4443789"/>
              <a:gd name="connsiteY191" fmla="*/ 2288123 h 2984238"/>
              <a:gd name="connsiteX192" fmla="*/ 1 w 4443789"/>
              <a:gd name="connsiteY192" fmla="*/ 2288116 h 2984238"/>
              <a:gd name="connsiteX193" fmla="*/ 1 w 4443789"/>
              <a:gd name="connsiteY193" fmla="*/ 2287707 h 2984238"/>
              <a:gd name="connsiteX194" fmla="*/ 1 w 4443789"/>
              <a:gd name="connsiteY194" fmla="*/ 2281106 h 2984238"/>
              <a:gd name="connsiteX195" fmla="*/ 0 w 4443789"/>
              <a:gd name="connsiteY195" fmla="*/ 2281106 h 2984238"/>
              <a:gd name="connsiteX196" fmla="*/ 0 w 4443789"/>
              <a:gd name="connsiteY196" fmla="*/ 1857749 h 2984238"/>
              <a:gd name="connsiteX197" fmla="*/ 0 w 4443789"/>
              <a:gd name="connsiteY197" fmla="*/ 1857748 h 2984238"/>
              <a:gd name="connsiteX198" fmla="*/ 0 w 4443789"/>
              <a:gd name="connsiteY198" fmla="*/ 1857747 h 2984238"/>
              <a:gd name="connsiteX199" fmla="*/ 0 w 4443789"/>
              <a:gd name="connsiteY199" fmla="*/ 1829613 h 2984238"/>
              <a:gd name="connsiteX200" fmla="*/ 0 w 4443789"/>
              <a:gd name="connsiteY200" fmla="*/ 1822596 h 2984238"/>
              <a:gd name="connsiteX201" fmla="*/ 0 w 4443789"/>
              <a:gd name="connsiteY201" fmla="*/ 1584992 h 2984238"/>
              <a:gd name="connsiteX202" fmla="*/ 0 w 4443789"/>
              <a:gd name="connsiteY202" fmla="*/ 1399239 h 2984238"/>
              <a:gd name="connsiteX203" fmla="*/ 0 w 4443789"/>
              <a:gd name="connsiteY203" fmla="*/ 1399238 h 2984238"/>
              <a:gd name="connsiteX204" fmla="*/ 0 w 4443789"/>
              <a:gd name="connsiteY204" fmla="*/ 1399237 h 2984238"/>
              <a:gd name="connsiteX205" fmla="*/ 0 w 4443789"/>
              <a:gd name="connsiteY205" fmla="*/ 1154618 h 2984238"/>
              <a:gd name="connsiteX206" fmla="*/ 0 w 4443789"/>
              <a:gd name="connsiteY206" fmla="*/ 1126482 h 2984238"/>
              <a:gd name="connsiteX207" fmla="*/ 0 w 4443789"/>
              <a:gd name="connsiteY207" fmla="*/ 696108 h 2984238"/>
              <a:gd name="connsiteX208" fmla="*/ 0 w 4443789"/>
              <a:gd name="connsiteY208" fmla="*/ 458510 h 2984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</a:cxnLst>
            <a:rect l="l" t="t" r="r" b="b"/>
            <a:pathLst>
              <a:path w="4443789" h="2984238">
                <a:moveTo>
                  <a:pt x="0" y="0"/>
                </a:moveTo>
                <a:lnTo>
                  <a:pt x="600036" y="0"/>
                </a:lnTo>
                <a:lnTo>
                  <a:pt x="633604" y="0"/>
                </a:lnTo>
                <a:lnTo>
                  <a:pt x="1454682" y="0"/>
                </a:lnTo>
                <a:lnTo>
                  <a:pt x="2203288" y="0"/>
                </a:lnTo>
                <a:lnTo>
                  <a:pt x="2475597" y="0"/>
                </a:lnTo>
                <a:lnTo>
                  <a:pt x="2496805" y="0"/>
                </a:lnTo>
                <a:lnTo>
                  <a:pt x="2769115" y="0"/>
                </a:lnTo>
                <a:lnTo>
                  <a:pt x="3512790" y="0"/>
                </a:lnTo>
                <a:lnTo>
                  <a:pt x="3537876" y="0"/>
                </a:lnTo>
                <a:lnTo>
                  <a:pt x="3740986" y="0"/>
                </a:lnTo>
                <a:lnTo>
                  <a:pt x="3810185" y="0"/>
                </a:lnTo>
                <a:lnTo>
                  <a:pt x="3810185" y="832"/>
                </a:lnTo>
                <a:lnTo>
                  <a:pt x="3810186" y="832"/>
                </a:lnTo>
                <a:lnTo>
                  <a:pt x="3810375" y="832"/>
                </a:lnTo>
                <a:lnTo>
                  <a:pt x="3818503" y="832"/>
                </a:lnTo>
                <a:lnTo>
                  <a:pt x="3843754" y="832"/>
                </a:lnTo>
                <a:lnTo>
                  <a:pt x="3843754" y="2567"/>
                </a:lnTo>
                <a:lnTo>
                  <a:pt x="3871142" y="3990"/>
                </a:lnTo>
                <a:lnTo>
                  <a:pt x="3873498" y="4352"/>
                </a:lnTo>
                <a:lnTo>
                  <a:pt x="3874797" y="4423"/>
                </a:lnTo>
                <a:lnTo>
                  <a:pt x="3887149" y="6450"/>
                </a:lnTo>
                <a:lnTo>
                  <a:pt x="3926638" y="12518"/>
                </a:lnTo>
                <a:lnTo>
                  <a:pt x="3931179" y="13671"/>
                </a:lnTo>
                <a:lnTo>
                  <a:pt x="3933854" y="14110"/>
                </a:lnTo>
                <a:lnTo>
                  <a:pt x="3947663" y="17858"/>
                </a:lnTo>
                <a:lnTo>
                  <a:pt x="3980488" y="26192"/>
                </a:lnTo>
                <a:lnTo>
                  <a:pt x="3987130" y="28566"/>
                </a:lnTo>
                <a:lnTo>
                  <a:pt x="3991004" y="29617"/>
                </a:lnTo>
                <a:lnTo>
                  <a:pt x="4004215" y="34672"/>
                </a:lnTo>
                <a:lnTo>
                  <a:pt x="4032477" y="44775"/>
                </a:lnTo>
                <a:lnTo>
                  <a:pt x="4041053" y="48770"/>
                </a:lnTo>
                <a:lnTo>
                  <a:pt x="4045984" y="50657"/>
                </a:lnTo>
                <a:lnTo>
                  <a:pt x="4057946" y="56640"/>
                </a:lnTo>
                <a:lnTo>
                  <a:pt x="4082388" y="68027"/>
                </a:lnTo>
                <a:lnTo>
                  <a:pt x="4092704" y="74027"/>
                </a:lnTo>
                <a:lnTo>
                  <a:pt x="4098531" y="76941"/>
                </a:lnTo>
                <a:lnTo>
                  <a:pt x="4109004" y="83505"/>
                </a:lnTo>
                <a:lnTo>
                  <a:pt x="4130002" y="95714"/>
                </a:lnTo>
                <a:lnTo>
                  <a:pt x="4141839" y="104081"/>
                </a:lnTo>
                <a:lnTo>
                  <a:pt x="4148382" y="108181"/>
                </a:lnTo>
                <a:lnTo>
                  <a:pt x="4157295" y="115007"/>
                </a:lnTo>
                <a:lnTo>
                  <a:pt x="4175107" y="127597"/>
                </a:lnTo>
                <a:lnTo>
                  <a:pt x="4188212" y="138681"/>
                </a:lnTo>
                <a:lnTo>
                  <a:pt x="4195276" y="144090"/>
                </a:lnTo>
                <a:lnTo>
                  <a:pt x="4202645" y="150888"/>
                </a:lnTo>
                <a:lnTo>
                  <a:pt x="4217486" y="163439"/>
                </a:lnTo>
                <a:lnTo>
                  <a:pt x="4231582" y="177583"/>
                </a:lnTo>
                <a:lnTo>
                  <a:pt x="4238950" y="184379"/>
                </a:lnTo>
                <a:lnTo>
                  <a:pt x="4244842" y="190886"/>
                </a:lnTo>
                <a:lnTo>
                  <a:pt x="4256920" y="203004"/>
                </a:lnTo>
                <a:lnTo>
                  <a:pt x="4271715" y="220559"/>
                </a:lnTo>
                <a:lnTo>
                  <a:pt x="4279140" y="228759"/>
                </a:lnTo>
                <a:lnTo>
                  <a:pt x="4283662" y="234737"/>
                </a:lnTo>
                <a:lnTo>
                  <a:pt x="4293198" y="246051"/>
                </a:lnTo>
                <a:lnTo>
                  <a:pt x="4308376" y="267413"/>
                </a:lnTo>
                <a:lnTo>
                  <a:pt x="4315586" y="276943"/>
                </a:lnTo>
                <a:lnTo>
                  <a:pt x="4318870" y="282177"/>
                </a:lnTo>
                <a:lnTo>
                  <a:pt x="4326098" y="292347"/>
                </a:lnTo>
                <a:lnTo>
                  <a:pt x="4341356" y="318015"/>
                </a:lnTo>
                <a:lnTo>
                  <a:pt x="4348025" y="328644"/>
                </a:lnTo>
                <a:lnTo>
                  <a:pt x="4350227" y="332936"/>
                </a:lnTo>
                <a:lnTo>
                  <a:pt x="4355408" y="341652"/>
                </a:lnTo>
                <a:lnTo>
                  <a:pt x="4370469" y="372409"/>
                </a:lnTo>
                <a:lnTo>
                  <a:pt x="4376192" y="383570"/>
                </a:lnTo>
                <a:lnTo>
                  <a:pt x="4377489" y="386748"/>
                </a:lnTo>
                <a:lnTo>
                  <a:pt x="4380909" y="393731"/>
                </a:lnTo>
                <a:lnTo>
                  <a:pt x="4395626" y="431150"/>
                </a:lnTo>
                <a:lnTo>
                  <a:pt x="4399828" y="441436"/>
                </a:lnTo>
                <a:lnTo>
                  <a:pt x="4400420" y="443339"/>
                </a:lnTo>
                <a:lnTo>
                  <a:pt x="4402388" y="448347"/>
                </a:lnTo>
                <a:lnTo>
                  <a:pt x="4417161" y="497120"/>
                </a:lnTo>
                <a:lnTo>
                  <a:pt x="4418667" y="501954"/>
                </a:lnTo>
                <a:lnTo>
                  <a:pt x="4418772" y="502440"/>
                </a:lnTo>
                <a:lnTo>
                  <a:pt x="4419628" y="505257"/>
                </a:lnTo>
                <a:cubicBezTo>
                  <a:pt x="4429658" y="543913"/>
                  <a:pt x="4436718" y="583941"/>
                  <a:pt x="4440518" y="625027"/>
                </a:cubicBezTo>
                <a:lnTo>
                  <a:pt x="4440644" y="627748"/>
                </a:lnTo>
                <a:lnTo>
                  <a:pt x="4440910" y="629790"/>
                </a:lnTo>
                <a:lnTo>
                  <a:pt x="4442362" y="663451"/>
                </a:lnTo>
                <a:lnTo>
                  <a:pt x="4443789" y="663451"/>
                </a:lnTo>
                <a:lnTo>
                  <a:pt x="4443789" y="696109"/>
                </a:lnTo>
                <a:lnTo>
                  <a:pt x="4443789" y="696115"/>
                </a:lnTo>
                <a:lnTo>
                  <a:pt x="4443789" y="696122"/>
                </a:lnTo>
                <a:lnTo>
                  <a:pt x="4443789" y="696532"/>
                </a:lnTo>
                <a:lnTo>
                  <a:pt x="4443789" y="703132"/>
                </a:lnTo>
                <a:lnTo>
                  <a:pt x="4443789" y="1121961"/>
                </a:lnTo>
                <a:lnTo>
                  <a:pt x="4443789" y="1126490"/>
                </a:lnTo>
                <a:lnTo>
                  <a:pt x="4443789" y="1154619"/>
                </a:lnTo>
                <a:lnTo>
                  <a:pt x="4443789" y="1154625"/>
                </a:lnTo>
                <a:lnTo>
                  <a:pt x="4443789" y="1154632"/>
                </a:lnTo>
                <a:lnTo>
                  <a:pt x="4443789" y="1155042"/>
                </a:lnTo>
                <a:lnTo>
                  <a:pt x="4443789" y="1161642"/>
                </a:lnTo>
                <a:lnTo>
                  <a:pt x="4443789" y="1399246"/>
                </a:lnTo>
                <a:lnTo>
                  <a:pt x="4443789" y="1585000"/>
                </a:lnTo>
                <a:lnTo>
                  <a:pt x="4443789" y="1829621"/>
                </a:lnTo>
                <a:lnTo>
                  <a:pt x="4443789" y="1857756"/>
                </a:lnTo>
                <a:lnTo>
                  <a:pt x="4443789" y="2288131"/>
                </a:lnTo>
                <a:lnTo>
                  <a:pt x="4443789" y="2525728"/>
                </a:lnTo>
                <a:lnTo>
                  <a:pt x="4443789" y="2984238"/>
                </a:lnTo>
                <a:lnTo>
                  <a:pt x="3843754" y="2984238"/>
                </a:lnTo>
                <a:lnTo>
                  <a:pt x="3810186" y="2984238"/>
                </a:lnTo>
                <a:lnTo>
                  <a:pt x="3740986" y="2984238"/>
                </a:lnTo>
                <a:lnTo>
                  <a:pt x="3512790" y="2984238"/>
                </a:lnTo>
                <a:lnTo>
                  <a:pt x="3402719" y="2984238"/>
                </a:lnTo>
                <a:lnTo>
                  <a:pt x="3109201" y="2984238"/>
                </a:lnTo>
                <a:lnTo>
                  <a:pt x="2986086" y="2984238"/>
                </a:lnTo>
                <a:lnTo>
                  <a:pt x="2802684" y="2984238"/>
                </a:lnTo>
                <a:lnTo>
                  <a:pt x="2769116" y="2984238"/>
                </a:lnTo>
                <a:lnTo>
                  <a:pt x="2713776" y="2984238"/>
                </a:lnTo>
                <a:lnTo>
                  <a:pt x="2509166" y="2984238"/>
                </a:lnTo>
                <a:lnTo>
                  <a:pt x="2475598" y="2984238"/>
                </a:lnTo>
                <a:lnTo>
                  <a:pt x="1839935" y="2984238"/>
                </a:lnTo>
                <a:lnTo>
                  <a:pt x="1716819" y="2984238"/>
                </a:lnTo>
                <a:lnTo>
                  <a:pt x="1454682" y="2984238"/>
                </a:lnTo>
                <a:lnTo>
                  <a:pt x="1444510" y="2984238"/>
                </a:lnTo>
                <a:lnTo>
                  <a:pt x="1423301" y="2984238"/>
                </a:lnTo>
                <a:lnTo>
                  <a:pt x="1239899" y="2984238"/>
                </a:lnTo>
                <a:lnTo>
                  <a:pt x="1206331" y="2984238"/>
                </a:lnTo>
                <a:lnTo>
                  <a:pt x="1150992" y="2984238"/>
                </a:lnTo>
                <a:lnTo>
                  <a:pt x="905913" y="2984238"/>
                </a:lnTo>
                <a:lnTo>
                  <a:pt x="702803" y="2984238"/>
                </a:lnTo>
                <a:lnTo>
                  <a:pt x="633605" y="2984238"/>
                </a:lnTo>
                <a:lnTo>
                  <a:pt x="633605" y="2983406"/>
                </a:lnTo>
                <a:lnTo>
                  <a:pt x="633604" y="2983406"/>
                </a:lnTo>
                <a:lnTo>
                  <a:pt x="633414" y="2983406"/>
                </a:lnTo>
                <a:lnTo>
                  <a:pt x="625287" y="2983406"/>
                </a:lnTo>
                <a:lnTo>
                  <a:pt x="600036" y="2983406"/>
                </a:lnTo>
                <a:lnTo>
                  <a:pt x="600036" y="2981671"/>
                </a:lnTo>
                <a:lnTo>
                  <a:pt x="572647" y="2980249"/>
                </a:lnTo>
                <a:lnTo>
                  <a:pt x="570293" y="2979886"/>
                </a:lnTo>
                <a:lnTo>
                  <a:pt x="568992" y="2979815"/>
                </a:lnTo>
                <a:lnTo>
                  <a:pt x="556640" y="2977788"/>
                </a:lnTo>
                <a:lnTo>
                  <a:pt x="517152" y="2971720"/>
                </a:lnTo>
                <a:lnTo>
                  <a:pt x="512609" y="2970567"/>
                </a:lnTo>
                <a:lnTo>
                  <a:pt x="509935" y="2970129"/>
                </a:lnTo>
                <a:lnTo>
                  <a:pt x="496126" y="2966380"/>
                </a:lnTo>
                <a:lnTo>
                  <a:pt x="463301" y="2958046"/>
                </a:lnTo>
                <a:lnTo>
                  <a:pt x="456659" y="2955672"/>
                </a:lnTo>
                <a:lnTo>
                  <a:pt x="452785" y="2954621"/>
                </a:lnTo>
                <a:lnTo>
                  <a:pt x="439575" y="2949567"/>
                </a:lnTo>
                <a:lnTo>
                  <a:pt x="411312" y="2939463"/>
                </a:lnTo>
                <a:lnTo>
                  <a:pt x="402737" y="2935469"/>
                </a:lnTo>
                <a:lnTo>
                  <a:pt x="397806" y="2933581"/>
                </a:lnTo>
                <a:lnTo>
                  <a:pt x="385843" y="2927598"/>
                </a:lnTo>
                <a:lnTo>
                  <a:pt x="361403" y="2916211"/>
                </a:lnTo>
                <a:lnTo>
                  <a:pt x="351085" y="2910211"/>
                </a:lnTo>
                <a:lnTo>
                  <a:pt x="345259" y="2907297"/>
                </a:lnTo>
                <a:lnTo>
                  <a:pt x="334785" y="2900733"/>
                </a:lnTo>
                <a:lnTo>
                  <a:pt x="313788" y="2888524"/>
                </a:lnTo>
                <a:lnTo>
                  <a:pt x="301951" y="2880157"/>
                </a:lnTo>
                <a:lnTo>
                  <a:pt x="295407" y="2876057"/>
                </a:lnTo>
                <a:lnTo>
                  <a:pt x="286494" y="2869231"/>
                </a:lnTo>
                <a:lnTo>
                  <a:pt x="268682" y="2856641"/>
                </a:lnTo>
                <a:lnTo>
                  <a:pt x="255577" y="2845557"/>
                </a:lnTo>
                <a:lnTo>
                  <a:pt x="248513" y="2840148"/>
                </a:lnTo>
                <a:lnTo>
                  <a:pt x="241144" y="2833351"/>
                </a:lnTo>
                <a:lnTo>
                  <a:pt x="226303" y="2820799"/>
                </a:lnTo>
                <a:lnTo>
                  <a:pt x="212206" y="2806655"/>
                </a:lnTo>
                <a:lnTo>
                  <a:pt x="204840" y="2799860"/>
                </a:lnTo>
                <a:lnTo>
                  <a:pt x="198946" y="2793352"/>
                </a:lnTo>
                <a:lnTo>
                  <a:pt x="186869" y="2781235"/>
                </a:lnTo>
                <a:lnTo>
                  <a:pt x="172075" y="2763680"/>
                </a:lnTo>
                <a:lnTo>
                  <a:pt x="164649" y="2755479"/>
                </a:lnTo>
                <a:lnTo>
                  <a:pt x="160126" y="2749501"/>
                </a:lnTo>
                <a:lnTo>
                  <a:pt x="150593" y="2738187"/>
                </a:lnTo>
                <a:lnTo>
                  <a:pt x="135413" y="2716825"/>
                </a:lnTo>
                <a:lnTo>
                  <a:pt x="128203" y="2707295"/>
                </a:lnTo>
                <a:lnTo>
                  <a:pt x="124919" y="2702060"/>
                </a:lnTo>
                <a:lnTo>
                  <a:pt x="117691" y="2691891"/>
                </a:lnTo>
                <a:lnTo>
                  <a:pt x="102434" y="2666223"/>
                </a:lnTo>
                <a:lnTo>
                  <a:pt x="95765" y="2655594"/>
                </a:lnTo>
                <a:lnTo>
                  <a:pt x="93563" y="2651301"/>
                </a:lnTo>
                <a:lnTo>
                  <a:pt x="88382" y="2642586"/>
                </a:lnTo>
                <a:lnTo>
                  <a:pt x="73321" y="2611829"/>
                </a:lnTo>
                <a:lnTo>
                  <a:pt x="67598" y="2600668"/>
                </a:lnTo>
                <a:lnTo>
                  <a:pt x="66299" y="2597490"/>
                </a:lnTo>
                <a:lnTo>
                  <a:pt x="62879" y="2590507"/>
                </a:lnTo>
                <a:lnTo>
                  <a:pt x="48163" y="2553088"/>
                </a:lnTo>
                <a:lnTo>
                  <a:pt x="43963" y="2542802"/>
                </a:lnTo>
                <a:lnTo>
                  <a:pt x="43371" y="2540899"/>
                </a:lnTo>
                <a:lnTo>
                  <a:pt x="41402" y="2535892"/>
                </a:lnTo>
                <a:lnTo>
                  <a:pt x="26628" y="2487119"/>
                </a:lnTo>
                <a:lnTo>
                  <a:pt x="25122" y="2482285"/>
                </a:lnTo>
                <a:lnTo>
                  <a:pt x="25017" y="2481798"/>
                </a:lnTo>
                <a:lnTo>
                  <a:pt x="24163" y="2478980"/>
                </a:lnTo>
                <a:cubicBezTo>
                  <a:pt x="14132" y="2440325"/>
                  <a:pt x="7072" y="2400297"/>
                  <a:pt x="3271" y="2359211"/>
                </a:cubicBezTo>
                <a:lnTo>
                  <a:pt x="3146" y="2356490"/>
                </a:lnTo>
                <a:lnTo>
                  <a:pt x="2879" y="2354448"/>
                </a:lnTo>
                <a:lnTo>
                  <a:pt x="1428" y="2320787"/>
                </a:lnTo>
                <a:lnTo>
                  <a:pt x="1" y="2320787"/>
                </a:lnTo>
                <a:lnTo>
                  <a:pt x="1" y="2288129"/>
                </a:lnTo>
                <a:lnTo>
                  <a:pt x="0" y="2288123"/>
                </a:lnTo>
                <a:lnTo>
                  <a:pt x="1" y="2288116"/>
                </a:lnTo>
                <a:lnTo>
                  <a:pt x="1" y="2287707"/>
                </a:lnTo>
                <a:lnTo>
                  <a:pt x="1" y="2281106"/>
                </a:lnTo>
                <a:lnTo>
                  <a:pt x="0" y="2281106"/>
                </a:lnTo>
                <a:lnTo>
                  <a:pt x="0" y="1857749"/>
                </a:lnTo>
                <a:lnTo>
                  <a:pt x="0" y="1857748"/>
                </a:lnTo>
                <a:lnTo>
                  <a:pt x="0" y="1857747"/>
                </a:lnTo>
                <a:lnTo>
                  <a:pt x="0" y="1829613"/>
                </a:lnTo>
                <a:lnTo>
                  <a:pt x="0" y="1822596"/>
                </a:lnTo>
                <a:lnTo>
                  <a:pt x="0" y="1584992"/>
                </a:lnTo>
                <a:lnTo>
                  <a:pt x="0" y="1399239"/>
                </a:lnTo>
                <a:lnTo>
                  <a:pt x="0" y="1399238"/>
                </a:lnTo>
                <a:lnTo>
                  <a:pt x="0" y="1399237"/>
                </a:lnTo>
                <a:lnTo>
                  <a:pt x="0" y="1154618"/>
                </a:lnTo>
                <a:lnTo>
                  <a:pt x="0" y="1126482"/>
                </a:lnTo>
                <a:lnTo>
                  <a:pt x="0" y="696108"/>
                </a:lnTo>
                <a:lnTo>
                  <a:pt x="0" y="45851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71968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BC4832D-2254-4A9F-8429-7952279A15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42718" y="490698"/>
            <a:ext cx="4891380" cy="5751788"/>
          </a:xfrm>
          <a:custGeom>
            <a:avLst/>
            <a:gdLst>
              <a:gd name="connsiteX0" fmla="*/ 0 w 4891380"/>
              <a:gd name="connsiteY0" fmla="*/ 0 h 5751788"/>
              <a:gd name="connsiteX1" fmla="*/ 1471669 w 4891380"/>
              <a:gd name="connsiteY1" fmla="*/ 0 h 5751788"/>
              <a:gd name="connsiteX2" fmla="*/ 1960808 w 4891380"/>
              <a:gd name="connsiteY2" fmla="*/ 0 h 5751788"/>
              <a:gd name="connsiteX3" fmla="*/ 2930558 w 4891380"/>
              <a:gd name="connsiteY3" fmla="*/ 0 h 5751788"/>
              <a:gd name="connsiteX4" fmla="*/ 3419696 w 4891380"/>
              <a:gd name="connsiteY4" fmla="*/ 0 h 5751788"/>
              <a:gd name="connsiteX5" fmla="*/ 3458648 w 4891380"/>
              <a:gd name="connsiteY5" fmla="*/ 0 h 5751788"/>
              <a:gd name="connsiteX6" fmla="*/ 3458648 w 4891380"/>
              <a:gd name="connsiteY6" fmla="*/ 1 h 5751788"/>
              <a:gd name="connsiteX7" fmla="*/ 3488752 w 4891380"/>
              <a:gd name="connsiteY7" fmla="*/ 1 h 5751788"/>
              <a:gd name="connsiteX8" fmla="*/ 3488752 w 4891380"/>
              <a:gd name="connsiteY8" fmla="*/ 3335 h 5751788"/>
              <a:gd name="connsiteX9" fmla="*/ 3559916 w 4891380"/>
              <a:gd name="connsiteY9" fmla="*/ 6728 h 5751788"/>
              <a:gd name="connsiteX10" fmla="*/ 3564234 w 4891380"/>
              <a:gd name="connsiteY10" fmla="*/ 7350 h 5751788"/>
              <a:gd name="connsiteX11" fmla="*/ 3569987 w 4891380"/>
              <a:gd name="connsiteY11" fmla="*/ 7641 h 5751788"/>
              <a:gd name="connsiteX12" fmla="*/ 3823196 w 4891380"/>
              <a:gd name="connsiteY12" fmla="*/ 56454 h 5751788"/>
              <a:gd name="connsiteX13" fmla="*/ 3829154 w 4891380"/>
              <a:gd name="connsiteY13" fmla="*/ 58447 h 5751788"/>
              <a:gd name="connsiteX14" fmla="*/ 3830180 w 4891380"/>
              <a:gd name="connsiteY14" fmla="*/ 58696 h 5751788"/>
              <a:gd name="connsiteX15" fmla="*/ 3840400 w 4891380"/>
              <a:gd name="connsiteY15" fmla="*/ 62213 h 5751788"/>
              <a:gd name="connsiteX16" fmla="*/ 3943517 w 4891380"/>
              <a:gd name="connsiteY16" fmla="*/ 96729 h 5751788"/>
              <a:gd name="connsiteX17" fmla="*/ 3954101 w 4891380"/>
              <a:gd name="connsiteY17" fmla="*/ 101328 h 5751788"/>
              <a:gd name="connsiteX18" fmla="*/ 3958123 w 4891380"/>
              <a:gd name="connsiteY18" fmla="*/ 102713 h 5751788"/>
              <a:gd name="connsiteX19" fmla="*/ 3979869 w 4891380"/>
              <a:gd name="connsiteY19" fmla="*/ 112529 h 5751788"/>
              <a:gd name="connsiteX20" fmla="*/ 4058977 w 4891380"/>
              <a:gd name="connsiteY20" fmla="*/ 146909 h 5751788"/>
              <a:gd name="connsiteX21" fmla="*/ 4073742 w 4891380"/>
              <a:gd name="connsiteY21" fmla="*/ 154899 h 5751788"/>
              <a:gd name="connsiteX22" fmla="*/ 4080462 w 4891380"/>
              <a:gd name="connsiteY22" fmla="*/ 157932 h 5751788"/>
              <a:gd name="connsiteX23" fmla="*/ 4104058 w 4891380"/>
              <a:gd name="connsiteY23" fmla="*/ 171305 h 5751788"/>
              <a:gd name="connsiteX24" fmla="*/ 4169078 w 4891380"/>
              <a:gd name="connsiteY24" fmla="*/ 206492 h 5751788"/>
              <a:gd name="connsiteX25" fmla="*/ 4187505 w 4891380"/>
              <a:gd name="connsiteY25" fmla="*/ 218597 h 5751788"/>
              <a:gd name="connsiteX26" fmla="*/ 4196586 w 4891380"/>
              <a:gd name="connsiteY26" fmla="*/ 223742 h 5751788"/>
              <a:gd name="connsiteX27" fmla="*/ 4219053 w 4891380"/>
              <a:gd name="connsiteY27" fmla="*/ 239321 h 5751788"/>
              <a:gd name="connsiteX28" fmla="*/ 4273318 w 4891380"/>
              <a:gd name="connsiteY28" fmla="*/ 274969 h 5751788"/>
              <a:gd name="connsiteX29" fmla="*/ 4294820 w 4891380"/>
              <a:gd name="connsiteY29" fmla="*/ 291856 h 5751788"/>
              <a:gd name="connsiteX30" fmla="*/ 4305886 w 4891380"/>
              <a:gd name="connsiteY30" fmla="*/ 299528 h 5751788"/>
              <a:gd name="connsiteX31" fmla="*/ 4326035 w 4891380"/>
              <a:gd name="connsiteY31" fmla="*/ 316371 h 5751788"/>
              <a:gd name="connsiteX32" fmla="*/ 4371194 w 4891380"/>
              <a:gd name="connsiteY32" fmla="*/ 351838 h 5751788"/>
              <a:gd name="connsiteX33" fmla="*/ 4395115 w 4891380"/>
              <a:gd name="connsiteY33" fmla="*/ 374115 h 5751788"/>
              <a:gd name="connsiteX34" fmla="*/ 4407752 w 4891380"/>
              <a:gd name="connsiteY34" fmla="*/ 384678 h 5751788"/>
              <a:gd name="connsiteX35" fmla="*/ 4425090 w 4891380"/>
              <a:gd name="connsiteY35" fmla="*/ 402029 h 5751788"/>
              <a:gd name="connsiteX36" fmla="*/ 4462206 w 4891380"/>
              <a:gd name="connsiteY36" fmla="*/ 436592 h 5751788"/>
              <a:gd name="connsiteX37" fmla="*/ 4487824 w 4891380"/>
              <a:gd name="connsiteY37" fmla="*/ 464813 h 5751788"/>
              <a:gd name="connsiteX38" fmla="*/ 4501580 w 4891380"/>
              <a:gd name="connsiteY38" fmla="*/ 478579 h 5751788"/>
              <a:gd name="connsiteX39" fmla="*/ 4515948 w 4891380"/>
              <a:gd name="connsiteY39" fmla="*/ 495792 h 5751788"/>
              <a:gd name="connsiteX40" fmla="*/ 4545848 w 4891380"/>
              <a:gd name="connsiteY40" fmla="*/ 528727 h 5751788"/>
              <a:gd name="connsiteX41" fmla="*/ 4572386 w 4891380"/>
              <a:gd name="connsiteY41" fmla="*/ 563402 h 5751788"/>
              <a:gd name="connsiteX42" fmla="*/ 4586756 w 4891380"/>
              <a:gd name="connsiteY42" fmla="*/ 580617 h 5751788"/>
              <a:gd name="connsiteX43" fmla="*/ 4598192 w 4891380"/>
              <a:gd name="connsiteY43" fmla="*/ 597122 h 5751788"/>
              <a:gd name="connsiteX44" fmla="*/ 4621624 w 4891380"/>
              <a:gd name="connsiteY44" fmla="*/ 627739 h 5751788"/>
              <a:gd name="connsiteX45" fmla="*/ 4648242 w 4891380"/>
              <a:gd name="connsiteY45" fmla="*/ 669353 h 5751788"/>
              <a:gd name="connsiteX46" fmla="*/ 4662670 w 4891380"/>
              <a:gd name="connsiteY46" fmla="*/ 690177 h 5751788"/>
              <a:gd name="connsiteX47" fmla="*/ 4671340 w 4891380"/>
              <a:gd name="connsiteY47" fmla="*/ 705466 h 5751788"/>
              <a:gd name="connsiteX48" fmla="*/ 4689030 w 4891380"/>
              <a:gd name="connsiteY48" fmla="*/ 733120 h 5751788"/>
              <a:gd name="connsiteX49" fmla="*/ 4714840 w 4891380"/>
              <a:gd name="connsiteY49" fmla="*/ 782179 h 5751788"/>
              <a:gd name="connsiteX50" fmla="*/ 4728718 w 4891380"/>
              <a:gd name="connsiteY50" fmla="*/ 806649 h 5751788"/>
              <a:gd name="connsiteX51" fmla="*/ 4734878 w 4891380"/>
              <a:gd name="connsiteY51" fmla="*/ 820262 h 5751788"/>
              <a:gd name="connsiteX52" fmla="*/ 4747562 w 4891380"/>
              <a:gd name="connsiteY52" fmla="*/ 844366 h 5751788"/>
              <a:gd name="connsiteX53" fmla="*/ 4771636 w 4891380"/>
              <a:gd name="connsiteY53" fmla="*/ 901470 h 5751788"/>
              <a:gd name="connsiteX54" fmla="*/ 4784286 w 4891380"/>
              <a:gd name="connsiteY54" fmla="*/ 929419 h 5751788"/>
              <a:gd name="connsiteX55" fmla="*/ 4788276 w 4891380"/>
              <a:gd name="connsiteY55" fmla="*/ 940938 h 5751788"/>
              <a:gd name="connsiteX56" fmla="*/ 4796723 w 4891380"/>
              <a:gd name="connsiteY56" fmla="*/ 960976 h 5751788"/>
              <a:gd name="connsiteX57" fmla="*/ 4818080 w 4891380"/>
              <a:gd name="connsiteY57" fmla="*/ 1027005 h 5751788"/>
              <a:gd name="connsiteX58" fmla="*/ 4828768 w 4891380"/>
              <a:gd name="connsiteY58" fmla="*/ 1057869 h 5751788"/>
              <a:gd name="connsiteX59" fmla="*/ 4830991 w 4891380"/>
              <a:gd name="connsiteY59" fmla="*/ 1066923 h 5751788"/>
              <a:gd name="connsiteX60" fmla="*/ 4836008 w 4891380"/>
              <a:gd name="connsiteY60" fmla="*/ 1082438 h 5751788"/>
              <a:gd name="connsiteX61" fmla="*/ 4853630 w 4891380"/>
              <a:gd name="connsiteY61" fmla="*/ 1159131 h 5751788"/>
              <a:gd name="connsiteX62" fmla="*/ 4861552 w 4891380"/>
              <a:gd name="connsiteY62" fmla="*/ 1191393 h 5751788"/>
              <a:gd name="connsiteX63" fmla="*/ 4862478 w 4891380"/>
              <a:gd name="connsiteY63" fmla="*/ 1197643 h 5751788"/>
              <a:gd name="connsiteX64" fmla="*/ 4864917 w 4891380"/>
              <a:gd name="connsiteY64" fmla="*/ 1208252 h 5751788"/>
              <a:gd name="connsiteX65" fmla="*/ 4877746 w 4891380"/>
              <a:gd name="connsiteY65" fmla="*/ 1300513 h 5751788"/>
              <a:gd name="connsiteX66" fmla="*/ 4882030 w 4891380"/>
              <a:gd name="connsiteY66" fmla="*/ 1329371 h 5751788"/>
              <a:gd name="connsiteX67" fmla="*/ 4882182 w 4891380"/>
              <a:gd name="connsiteY67" fmla="*/ 1332410 h 5751788"/>
              <a:gd name="connsiteX68" fmla="*/ 4882946 w 4891380"/>
              <a:gd name="connsiteY68" fmla="*/ 1337912 h 5751788"/>
              <a:gd name="connsiteX69" fmla="*/ 4885957 w 4891380"/>
              <a:gd name="connsiteY69" fmla="*/ 1401901 h 5751788"/>
              <a:gd name="connsiteX70" fmla="*/ 4889624 w 4891380"/>
              <a:gd name="connsiteY70" fmla="*/ 1401901 h 5751788"/>
              <a:gd name="connsiteX71" fmla="*/ 4889624 w 4891380"/>
              <a:gd name="connsiteY71" fmla="*/ 1460895 h 5751788"/>
              <a:gd name="connsiteX72" fmla="*/ 4889624 w 4891380"/>
              <a:gd name="connsiteY72" fmla="*/ 1479885 h 5751788"/>
              <a:gd name="connsiteX73" fmla="*/ 4889624 w 4891380"/>
              <a:gd name="connsiteY73" fmla="*/ 1480329 h 5751788"/>
              <a:gd name="connsiteX74" fmla="*/ 4891380 w 4891380"/>
              <a:gd name="connsiteY74" fmla="*/ 1480329 h 5751788"/>
              <a:gd name="connsiteX75" fmla="*/ 4891380 w 4891380"/>
              <a:gd name="connsiteY75" fmla="*/ 1630791 h 5751788"/>
              <a:gd name="connsiteX76" fmla="*/ 3458648 w 4891380"/>
              <a:gd name="connsiteY76" fmla="*/ 1630791 h 5751788"/>
              <a:gd name="connsiteX77" fmla="*/ 3458648 w 4891380"/>
              <a:gd name="connsiteY77" fmla="*/ 1630792 h 5751788"/>
              <a:gd name="connsiteX78" fmla="*/ 3488751 w 4891380"/>
              <a:gd name="connsiteY78" fmla="*/ 1630792 h 5751788"/>
              <a:gd name="connsiteX79" fmla="*/ 3488751 w 4891380"/>
              <a:gd name="connsiteY79" fmla="*/ 1634126 h 5751788"/>
              <a:gd name="connsiteX80" fmla="*/ 3559916 w 4891380"/>
              <a:gd name="connsiteY80" fmla="*/ 1637518 h 5751788"/>
              <a:gd name="connsiteX81" fmla="*/ 3564234 w 4891380"/>
              <a:gd name="connsiteY81" fmla="*/ 1638140 h 5751788"/>
              <a:gd name="connsiteX82" fmla="*/ 3569986 w 4891380"/>
              <a:gd name="connsiteY82" fmla="*/ 1638433 h 5751788"/>
              <a:gd name="connsiteX83" fmla="*/ 3823196 w 4891380"/>
              <a:gd name="connsiteY83" fmla="*/ 1687245 h 5751788"/>
              <a:gd name="connsiteX84" fmla="*/ 3829153 w 4891380"/>
              <a:gd name="connsiteY84" fmla="*/ 1689237 h 5751788"/>
              <a:gd name="connsiteX85" fmla="*/ 3830180 w 4891380"/>
              <a:gd name="connsiteY85" fmla="*/ 1689487 h 5751788"/>
              <a:gd name="connsiteX86" fmla="*/ 3840400 w 4891380"/>
              <a:gd name="connsiteY86" fmla="*/ 1693004 h 5751788"/>
              <a:gd name="connsiteX87" fmla="*/ 3943516 w 4891380"/>
              <a:gd name="connsiteY87" fmla="*/ 1727519 h 5751788"/>
              <a:gd name="connsiteX88" fmla="*/ 3954100 w 4891380"/>
              <a:gd name="connsiteY88" fmla="*/ 1732119 h 5751788"/>
              <a:gd name="connsiteX89" fmla="*/ 3958122 w 4891380"/>
              <a:gd name="connsiteY89" fmla="*/ 1733503 h 5751788"/>
              <a:gd name="connsiteX90" fmla="*/ 3979868 w 4891380"/>
              <a:gd name="connsiteY90" fmla="*/ 1743320 h 5751788"/>
              <a:gd name="connsiteX91" fmla="*/ 4058976 w 4891380"/>
              <a:gd name="connsiteY91" fmla="*/ 1777700 h 5751788"/>
              <a:gd name="connsiteX92" fmla="*/ 4073741 w 4891380"/>
              <a:gd name="connsiteY92" fmla="*/ 1785690 h 5751788"/>
              <a:gd name="connsiteX93" fmla="*/ 4080461 w 4891380"/>
              <a:gd name="connsiteY93" fmla="*/ 1788723 h 5751788"/>
              <a:gd name="connsiteX94" fmla="*/ 4104057 w 4891380"/>
              <a:gd name="connsiteY94" fmla="*/ 1802096 h 5751788"/>
              <a:gd name="connsiteX95" fmla="*/ 4169078 w 4891380"/>
              <a:gd name="connsiteY95" fmla="*/ 1837283 h 5751788"/>
              <a:gd name="connsiteX96" fmla="*/ 4187505 w 4891380"/>
              <a:gd name="connsiteY96" fmla="*/ 1849388 h 5751788"/>
              <a:gd name="connsiteX97" fmla="*/ 4196584 w 4891380"/>
              <a:gd name="connsiteY97" fmla="*/ 1854532 h 5751788"/>
              <a:gd name="connsiteX98" fmla="*/ 4219053 w 4891380"/>
              <a:gd name="connsiteY98" fmla="*/ 1870112 h 5751788"/>
              <a:gd name="connsiteX99" fmla="*/ 4273316 w 4891380"/>
              <a:gd name="connsiteY99" fmla="*/ 1905760 h 5751788"/>
              <a:gd name="connsiteX100" fmla="*/ 4294820 w 4891380"/>
              <a:gd name="connsiteY100" fmla="*/ 1922647 h 5751788"/>
              <a:gd name="connsiteX101" fmla="*/ 4305884 w 4891380"/>
              <a:gd name="connsiteY101" fmla="*/ 1930319 h 5751788"/>
              <a:gd name="connsiteX102" fmla="*/ 4326034 w 4891380"/>
              <a:gd name="connsiteY102" fmla="*/ 1947163 h 5751788"/>
              <a:gd name="connsiteX103" fmla="*/ 4371194 w 4891380"/>
              <a:gd name="connsiteY103" fmla="*/ 1982629 h 5751788"/>
              <a:gd name="connsiteX104" fmla="*/ 4395114 w 4891380"/>
              <a:gd name="connsiteY104" fmla="*/ 2004906 h 5751788"/>
              <a:gd name="connsiteX105" fmla="*/ 4407752 w 4891380"/>
              <a:gd name="connsiteY105" fmla="*/ 2015469 h 5751788"/>
              <a:gd name="connsiteX106" fmla="*/ 4425088 w 4891380"/>
              <a:gd name="connsiteY106" fmla="*/ 2032820 h 5751788"/>
              <a:gd name="connsiteX107" fmla="*/ 4462204 w 4891380"/>
              <a:gd name="connsiteY107" fmla="*/ 2067383 h 5751788"/>
              <a:gd name="connsiteX108" fmla="*/ 4487823 w 4891380"/>
              <a:gd name="connsiteY108" fmla="*/ 2095602 h 5751788"/>
              <a:gd name="connsiteX109" fmla="*/ 4501580 w 4891380"/>
              <a:gd name="connsiteY109" fmla="*/ 2109370 h 5751788"/>
              <a:gd name="connsiteX110" fmla="*/ 4515948 w 4891380"/>
              <a:gd name="connsiteY110" fmla="*/ 2126583 h 5751788"/>
              <a:gd name="connsiteX111" fmla="*/ 4545846 w 4891380"/>
              <a:gd name="connsiteY111" fmla="*/ 2159517 h 5751788"/>
              <a:gd name="connsiteX112" fmla="*/ 4572383 w 4891380"/>
              <a:gd name="connsiteY112" fmla="*/ 2194191 h 5751788"/>
              <a:gd name="connsiteX113" fmla="*/ 4586756 w 4891380"/>
              <a:gd name="connsiteY113" fmla="*/ 2211408 h 5751788"/>
              <a:gd name="connsiteX114" fmla="*/ 4598190 w 4891380"/>
              <a:gd name="connsiteY114" fmla="*/ 2227912 h 5751788"/>
              <a:gd name="connsiteX115" fmla="*/ 4621623 w 4891380"/>
              <a:gd name="connsiteY115" fmla="*/ 2258530 h 5751788"/>
              <a:gd name="connsiteX116" fmla="*/ 4648242 w 4891380"/>
              <a:gd name="connsiteY116" fmla="*/ 2300144 h 5751788"/>
              <a:gd name="connsiteX117" fmla="*/ 4662670 w 4891380"/>
              <a:gd name="connsiteY117" fmla="*/ 2320968 h 5751788"/>
              <a:gd name="connsiteX118" fmla="*/ 4671340 w 4891380"/>
              <a:gd name="connsiteY118" fmla="*/ 2336257 h 5751788"/>
              <a:gd name="connsiteX119" fmla="*/ 4689028 w 4891380"/>
              <a:gd name="connsiteY119" fmla="*/ 2363911 h 5751788"/>
              <a:gd name="connsiteX120" fmla="*/ 4714840 w 4891380"/>
              <a:gd name="connsiteY120" fmla="*/ 2412970 h 5751788"/>
              <a:gd name="connsiteX121" fmla="*/ 4728716 w 4891380"/>
              <a:gd name="connsiteY121" fmla="*/ 2437439 h 5751788"/>
              <a:gd name="connsiteX122" fmla="*/ 4734877 w 4891380"/>
              <a:gd name="connsiteY122" fmla="*/ 2451053 h 5751788"/>
              <a:gd name="connsiteX123" fmla="*/ 4747562 w 4891380"/>
              <a:gd name="connsiteY123" fmla="*/ 2475157 h 5751788"/>
              <a:gd name="connsiteX124" fmla="*/ 4771636 w 4891380"/>
              <a:gd name="connsiteY124" fmla="*/ 2532261 h 5751788"/>
              <a:gd name="connsiteX125" fmla="*/ 4784286 w 4891380"/>
              <a:gd name="connsiteY125" fmla="*/ 2560208 h 5751788"/>
              <a:gd name="connsiteX126" fmla="*/ 4788274 w 4891380"/>
              <a:gd name="connsiteY126" fmla="*/ 2571729 h 5751788"/>
              <a:gd name="connsiteX127" fmla="*/ 4796723 w 4891380"/>
              <a:gd name="connsiteY127" fmla="*/ 2591766 h 5751788"/>
              <a:gd name="connsiteX128" fmla="*/ 4818078 w 4891380"/>
              <a:gd name="connsiteY128" fmla="*/ 2657796 h 5751788"/>
              <a:gd name="connsiteX129" fmla="*/ 4828766 w 4891380"/>
              <a:gd name="connsiteY129" fmla="*/ 2688660 h 5751788"/>
              <a:gd name="connsiteX130" fmla="*/ 4830988 w 4891380"/>
              <a:gd name="connsiteY130" fmla="*/ 2697714 h 5751788"/>
              <a:gd name="connsiteX131" fmla="*/ 4836008 w 4891380"/>
              <a:gd name="connsiteY131" fmla="*/ 2713229 h 5751788"/>
              <a:gd name="connsiteX132" fmla="*/ 4853629 w 4891380"/>
              <a:gd name="connsiteY132" fmla="*/ 2789921 h 5751788"/>
              <a:gd name="connsiteX133" fmla="*/ 4861550 w 4891380"/>
              <a:gd name="connsiteY133" fmla="*/ 2822183 h 5751788"/>
              <a:gd name="connsiteX134" fmla="*/ 4862477 w 4891380"/>
              <a:gd name="connsiteY134" fmla="*/ 2828433 h 5751788"/>
              <a:gd name="connsiteX135" fmla="*/ 4864917 w 4891380"/>
              <a:gd name="connsiteY135" fmla="*/ 2839043 h 5751788"/>
              <a:gd name="connsiteX136" fmla="*/ 4877746 w 4891380"/>
              <a:gd name="connsiteY136" fmla="*/ 2931303 h 5751788"/>
              <a:gd name="connsiteX137" fmla="*/ 4882029 w 4891380"/>
              <a:gd name="connsiteY137" fmla="*/ 2960161 h 5751788"/>
              <a:gd name="connsiteX138" fmla="*/ 4882180 w 4891380"/>
              <a:gd name="connsiteY138" fmla="*/ 2963200 h 5751788"/>
              <a:gd name="connsiteX139" fmla="*/ 4882946 w 4891380"/>
              <a:gd name="connsiteY139" fmla="*/ 2968703 h 5751788"/>
              <a:gd name="connsiteX140" fmla="*/ 4885956 w 4891380"/>
              <a:gd name="connsiteY140" fmla="*/ 3032692 h 5751788"/>
              <a:gd name="connsiteX141" fmla="*/ 4889624 w 4891380"/>
              <a:gd name="connsiteY141" fmla="*/ 3032692 h 5751788"/>
              <a:gd name="connsiteX142" fmla="*/ 4889624 w 4891380"/>
              <a:gd name="connsiteY142" fmla="*/ 3091686 h 5751788"/>
              <a:gd name="connsiteX143" fmla="*/ 4889624 w 4891380"/>
              <a:gd name="connsiteY143" fmla="*/ 3110675 h 5751788"/>
              <a:gd name="connsiteX144" fmla="*/ 4889624 w 4891380"/>
              <a:gd name="connsiteY144" fmla="*/ 3111118 h 5751788"/>
              <a:gd name="connsiteX145" fmla="*/ 4891379 w 4891380"/>
              <a:gd name="connsiteY145" fmla="*/ 3111118 h 5751788"/>
              <a:gd name="connsiteX146" fmla="*/ 4891379 w 4891380"/>
              <a:gd name="connsiteY146" fmla="*/ 3394564 h 5751788"/>
              <a:gd name="connsiteX147" fmla="*/ 4891379 w 4891380"/>
              <a:gd name="connsiteY147" fmla="*/ 3988016 h 5751788"/>
              <a:gd name="connsiteX148" fmla="*/ 4891379 w 4891380"/>
              <a:gd name="connsiteY148" fmla="*/ 4271461 h 5751788"/>
              <a:gd name="connsiteX149" fmla="*/ 4891379 w 4891380"/>
              <a:gd name="connsiteY149" fmla="*/ 4349890 h 5751788"/>
              <a:gd name="connsiteX150" fmla="*/ 4889640 w 4891380"/>
              <a:gd name="connsiteY150" fmla="*/ 4349890 h 5751788"/>
              <a:gd name="connsiteX151" fmla="*/ 4889640 w 4891380"/>
              <a:gd name="connsiteY151" fmla="*/ 5751787 h 5751788"/>
              <a:gd name="connsiteX152" fmla="*/ 4400501 w 4891380"/>
              <a:gd name="connsiteY152" fmla="*/ 5751787 h 5751788"/>
              <a:gd name="connsiteX153" fmla="*/ 3430753 w 4891380"/>
              <a:gd name="connsiteY153" fmla="*/ 5751787 h 5751788"/>
              <a:gd name="connsiteX154" fmla="*/ 3420593 w 4891380"/>
              <a:gd name="connsiteY154" fmla="*/ 5751787 h 5751788"/>
              <a:gd name="connsiteX155" fmla="*/ 3419727 w 4891380"/>
              <a:gd name="connsiteY155" fmla="*/ 5751787 h 5751788"/>
              <a:gd name="connsiteX156" fmla="*/ 3419712 w 4891380"/>
              <a:gd name="connsiteY156" fmla="*/ 5751788 h 5751788"/>
              <a:gd name="connsiteX157" fmla="*/ 3419699 w 4891380"/>
              <a:gd name="connsiteY157" fmla="*/ 5751787 h 5751788"/>
              <a:gd name="connsiteX158" fmla="*/ 3350656 w 4891380"/>
              <a:gd name="connsiteY158" fmla="*/ 5751787 h 5751788"/>
              <a:gd name="connsiteX159" fmla="*/ 2941613 w 4891380"/>
              <a:gd name="connsiteY159" fmla="*/ 5751787 h 5751788"/>
              <a:gd name="connsiteX160" fmla="*/ 2931453 w 4891380"/>
              <a:gd name="connsiteY160" fmla="*/ 5751787 h 5751788"/>
              <a:gd name="connsiteX161" fmla="*/ 2930587 w 4891380"/>
              <a:gd name="connsiteY161" fmla="*/ 5751787 h 5751788"/>
              <a:gd name="connsiteX162" fmla="*/ 2930574 w 4891380"/>
              <a:gd name="connsiteY162" fmla="*/ 5751788 h 5751788"/>
              <a:gd name="connsiteX163" fmla="*/ 2930558 w 4891380"/>
              <a:gd name="connsiteY163" fmla="*/ 5751787 h 5751788"/>
              <a:gd name="connsiteX164" fmla="*/ 2861517 w 4891380"/>
              <a:gd name="connsiteY164" fmla="*/ 5751787 h 5751788"/>
              <a:gd name="connsiteX165" fmla="*/ 1961706 w 4891380"/>
              <a:gd name="connsiteY165" fmla="*/ 5751787 h 5751788"/>
              <a:gd name="connsiteX166" fmla="*/ 1960839 w 4891380"/>
              <a:gd name="connsiteY166" fmla="*/ 5751787 h 5751788"/>
              <a:gd name="connsiteX167" fmla="*/ 1960824 w 4891380"/>
              <a:gd name="connsiteY167" fmla="*/ 5751788 h 5751788"/>
              <a:gd name="connsiteX168" fmla="*/ 1960810 w 4891380"/>
              <a:gd name="connsiteY168" fmla="*/ 5751787 h 5751788"/>
              <a:gd name="connsiteX169" fmla="*/ 1891768 w 4891380"/>
              <a:gd name="connsiteY169" fmla="*/ 5751787 h 5751788"/>
              <a:gd name="connsiteX170" fmla="*/ 1472566 w 4891380"/>
              <a:gd name="connsiteY170" fmla="*/ 5751787 h 5751788"/>
              <a:gd name="connsiteX171" fmla="*/ 1471699 w 4891380"/>
              <a:gd name="connsiteY171" fmla="*/ 5751787 h 5751788"/>
              <a:gd name="connsiteX172" fmla="*/ 1471686 w 4891380"/>
              <a:gd name="connsiteY172" fmla="*/ 5751788 h 5751788"/>
              <a:gd name="connsiteX173" fmla="*/ 1471671 w 4891380"/>
              <a:gd name="connsiteY173" fmla="*/ 5751787 h 5751788"/>
              <a:gd name="connsiteX174" fmla="*/ 1402630 w 4891380"/>
              <a:gd name="connsiteY174" fmla="*/ 5751787 h 5751788"/>
              <a:gd name="connsiteX175" fmla="*/ 1402630 w 4891380"/>
              <a:gd name="connsiteY175" fmla="*/ 5748454 h 5751788"/>
              <a:gd name="connsiteX176" fmla="*/ 1331464 w 4891380"/>
              <a:gd name="connsiteY176" fmla="*/ 5745061 h 5751788"/>
              <a:gd name="connsiteX177" fmla="*/ 1327146 w 4891380"/>
              <a:gd name="connsiteY177" fmla="*/ 5744440 h 5751788"/>
              <a:gd name="connsiteX178" fmla="*/ 1321394 w 4891380"/>
              <a:gd name="connsiteY178" fmla="*/ 5744149 h 5751788"/>
              <a:gd name="connsiteX179" fmla="*/ 1068185 w 4891380"/>
              <a:gd name="connsiteY179" fmla="*/ 5695337 h 5751788"/>
              <a:gd name="connsiteX180" fmla="*/ 1062227 w 4891380"/>
              <a:gd name="connsiteY180" fmla="*/ 5693342 h 5751788"/>
              <a:gd name="connsiteX181" fmla="*/ 1061200 w 4891380"/>
              <a:gd name="connsiteY181" fmla="*/ 5693093 h 5751788"/>
              <a:gd name="connsiteX182" fmla="*/ 1050981 w 4891380"/>
              <a:gd name="connsiteY182" fmla="*/ 5689577 h 5751788"/>
              <a:gd name="connsiteX183" fmla="*/ 947864 w 4891380"/>
              <a:gd name="connsiteY183" fmla="*/ 5655061 h 5751788"/>
              <a:gd name="connsiteX184" fmla="*/ 937281 w 4891380"/>
              <a:gd name="connsiteY184" fmla="*/ 5650461 h 5751788"/>
              <a:gd name="connsiteX185" fmla="*/ 933258 w 4891380"/>
              <a:gd name="connsiteY185" fmla="*/ 5649077 h 5751788"/>
              <a:gd name="connsiteX186" fmla="*/ 911512 w 4891380"/>
              <a:gd name="connsiteY186" fmla="*/ 5639261 h 5751788"/>
              <a:gd name="connsiteX187" fmla="*/ 832403 w 4891380"/>
              <a:gd name="connsiteY187" fmla="*/ 5604881 h 5751788"/>
              <a:gd name="connsiteX188" fmla="*/ 817638 w 4891380"/>
              <a:gd name="connsiteY188" fmla="*/ 5596891 h 5751788"/>
              <a:gd name="connsiteX189" fmla="*/ 810920 w 4891380"/>
              <a:gd name="connsiteY189" fmla="*/ 5593857 h 5751788"/>
              <a:gd name="connsiteX190" fmla="*/ 787324 w 4891380"/>
              <a:gd name="connsiteY190" fmla="*/ 5580484 h 5751788"/>
              <a:gd name="connsiteX191" fmla="*/ 722302 w 4891380"/>
              <a:gd name="connsiteY191" fmla="*/ 5545298 h 5751788"/>
              <a:gd name="connsiteX192" fmla="*/ 703875 w 4891380"/>
              <a:gd name="connsiteY192" fmla="*/ 5533192 h 5751788"/>
              <a:gd name="connsiteX193" fmla="*/ 694796 w 4891380"/>
              <a:gd name="connsiteY193" fmla="*/ 5528048 h 5751788"/>
              <a:gd name="connsiteX194" fmla="*/ 672327 w 4891380"/>
              <a:gd name="connsiteY194" fmla="*/ 5512468 h 5751788"/>
              <a:gd name="connsiteX195" fmla="*/ 618064 w 4891380"/>
              <a:gd name="connsiteY195" fmla="*/ 5476820 h 5751788"/>
              <a:gd name="connsiteX196" fmla="*/ 596562 w 4891380"/>
              <a:gd name="connsiteY196" fmla="*/ 5459933 h 5751788"/>
              <a:gd name="connsiteX197" fmla="*/ 585496 w 4891380"/>
              <a:gd name="connsiteY197" fmla="*/ 5452261 h 5751788"/>
              <a:gd name="connsiteX198" fmla="*/ 565345 w 4891380"/>
              <a:gd name="connsiteY198" fmla="*/ 5435418 h 5751788"/>
              <a:gd name="connsiteX199" fmla="*/ 520187 w 4891380"/>
              <a:gd name="connsiteY199" fmla="*/ 5399950 h 5751788"/>
              <a:gd name="connsiteX200" fmla="*/ 496267 w 4891380"/>
              <a:gd name="connsiteY200" fmla="*/ 5377676 h 5751788"/>
              <a:gd name="connsiteX201" fmla="*/ 483628 w 4891380"/>
              <a:gd name="connsiteY201" fmla="*/ 5367110 h 5751788"/>
              <a:gd name="connsiteX202" fmla="*/ 466291 w 4891380"/>
              <a:gd name="connsiteY202" fmla="*/ 5349761 h 5751788"/>
              <a:gd name="connsiteX203" fmla="*/ 429176 w 4891380"/>
              <a:gd name="connsiteY203" fmla="*/ 5315197 h 5751788"/>
              <a:gd name="connsiteX204" fmla="*/ 403557 w 4891380"/>
              <a:gd name="connsiteY204" fmla="*/ 5286978 h 5751788"/>
              <a:gd name="connsiteX205" fmla="*/ 389801 w 4891380"/>
              <a:gd name="connsiteY205" fmla="*/ 5273210 h 5751788"/>
              <a:gd name="connsiteX206" fmla="*/ 375432 w 4891380"/>
              <a:gd name="connsiteY206" fmla="*/ 5255998 h 5751788"/>
              <a:gd name="connsiteX207" fmla="*/ 345533 w 4891380"/>
              <a:gd name="connsiteY207" fmla="*/ 5223062 h 5751788"/>
              <a:gd name="connsiteX208" fmla="*/ 318997 w 4891380"/>
              <a:gd name="connsiteY208" fmla="*/ 5188388 h 5751788"/>
              <a:gd name="connsiteX209" fmla="*/ 304626 w 4891380"/>
              <a:gd name="connsiteY209" fmla="*/ 5171174 h 5751788"/>
              <a:gd name="connsiteX210" fmla="*/ 293189 w 4891380"/>
              <a:gd name="connsiteY210" fmla="*/ 5154668 h 5751788"/>
              <a:gd name="connsiteX211" fmla="*/ 269757 w 4891380"/>
              <a:gd name="connsiteY211" fmla="*/ 5124051 h 5751788"/>
              <a:gd name="connsiteX212" fmla="*/ 243139 w 4891380"/>
              <a:gd name="connsiteY212" fmla="*/ 5082435 h 5751788"/>
              <a:gd name="connsiteX213" fmla="*/ 228710 w 4891380"/>
              <a:gd name="connsiteY213" fmla="*/ 5061612 h 5751788"/>
              <a:gd name="connsiteX214" fmla="*/ 220040 w 4891380"/>
              <a:gd name="connsiteY214" fmla="*/ 5046323 h 5751788"/>
              <a:gd name="connsiteX215" fmla="*/ 202353 w 4891380"/>
              <a:gd name="connsiteY215" fmla="*/ 5018669 h 5751788"/>
              <a:gd name="connsiteX216" fmla="*/ 176540 w 4891380"/>
              <a:gd name="connsiteY216" fmla="*/ 4969611 h 5751788"/>
              <a:gd name="connsiteX217" fmla="*/ 162664 w 4891380"/>
              <a:gd name="connsiteY217" fmla="*/ 4945140 h 5751788"/>
              <a:gd name="connsiteX218" fmla="*/ 156502 w 4891380"/>
              <a:gd name="connsiteY218" fmla="*/ 4931527 h 5751788"/>
              <a:gd name="connsiteX219" fmla="*/ 143819 w 4891380"/>
              <a:gd name="connsiteY219" fmla="*/ 4907422 h 5751788"/>
              <a:gd name="connsiteX220" fmla="*/ 119746 w 4891380"/>
              <a:gd name="connsiteY220" fmla="*/ 4850319 h 5751788"/>
              <a:gd name="connsiteX221" fmla="*/ 107095 w 4891380"/>
              <a:gd name="connsiteY221" fmla="*/ 4822372 h 5751788"/>
              <a:gd name="connsiteX222" fmla="*/ 103107 w 4891380"/>
              <a:gd name="connsiteY222" fmla="*/ 4810852 h 5751788"/>
              <a:gd name="connsiteX223" fmla="*/ 94658 w 4891380"/>
              <a:gd name="connsiteY223" fmla="*/ 4790814 h 5751788"/>
              <a:gd name="connsiteX224" fmla="*/ 73303 w 4891380"/>
              <a:gd name="connsiteY224" fmla="*/ 4724785 h 5751788"/>
              <a:gd name="connsiteX225" fmla="*/ 62615 w 4891380"/>
              <a:gd name="connsiteY225" fmla="*/ 4693921 h 5751788"/>
              <a:gd name="connsiteX226" fmla="*/ 60392 w 4891380"/>
              <a:gd name="connsiteY226" fmla="*/ 4684865 h 5751788"/>
              <a:gd name="connsiteX227" fmla="*/ 55373 w 4891380"/>
              <a:gd name="connsiteY227" fmla="*/ 4669350 h 5751788"/>
              <a:gd name="connsiteX228" fmla="*/ 37752 w 4891380"/>
              <a:gd name="connsiteY228" fmla="*/ 4592660 h 5751788"/>
              <a:gd name="connsiteX229" fmla="*/ 29830 w 4891380"/>
              <a:gd name="connsiteY229" fmla="*/ 4560396 h 5751788"/>
              <a:gd name="connsiteX230" fmla="*/ 28902 w 4891380"/>
              <a:gd name="connsiteY230" fmla="*/ 4554148 h 5751788"/>
              <a:gd name="connsiteX231" fmla="*/ 26465 w 4891380"/>
              <a:gd name="connsiteY231" fmla="*/ 4543536 h 5751788"/>
              <a:gd name="connsiteX232" fmla="*/ 13636 w 4891380"/>
              <a:gd name="connsiteY232" fmla="*/ 4451278 h 5751788"/>
              <a:gd name="connsiteX233" fmla="*/ 9352 w 4891380"/>
              <a:gd name="connsiteY233" fmla="*/ 4422418 h 5751788"/>
              <a:gd name="connsiteX234" fmla="*/ 9200 w 4891380"/>
              <a:gd name="connsiteY234" fmla="*/ 4419380 h 5751788"/>
              <a:gd name="connsiteX235" fmla="*/ 8434 w 4891380"/>
              <a:gd name="connsiteY235" fmla="*/ 4413877 h 5751788"/>
              <a:gd name="connsiteX236" fmla="*/ 5426 w 4891380"/>
              <a:gd name="connsiteY236" fmla="*/ 4349890 h 5751788"/>
              <a:gd name="connsiteX237" fmla="*/ 1757 w 4891380"/>
              <a:gd name="connsiteY237" fmla="*/ 4349890 h 5751788"/>
              <a:gd name="connsiteX238" fmla="*/ 1757 w 4891380"/>
              <a:gd name="connsiteY238" fmla="*/ 4290894 h 5751788"/>
              <a:gd name="connsiteX239" fmla="*/ 1757 w 4891380"/>
              <a:gd name="connsiteY239" fmla="*/ 4271904 h 5751788"/>
              <a:gd name="connsiteX240" fmla="*/ 1757 w 4891380"/>
              <a:gd name="connsiteY240" fmla="*/ 4271461 h 5751788"/>
              <a:gd name="connsiteX241" fmla="*/ 0 w 4891380"/>
              <a:gd name="connsiteY241" fmla="*/ 4271461 h 5751788"/>
              <a:gd name="connsiteX242" fmla="*/ 0 w 4891380"/>
              <a:gd name="connsiteY242" fmla="*/ 3988016 h 5751788"/>
              <a:gd name="connsiteX243" fmla="*/ 0 w 4891380"/>
              <a:gd name="connsiteY243" fmla="*/ 3394564 h 5751788"/>
              <a:gd name="connsiteX244" fmla="*/ 0 w 4891380"/>
              <a:gd name="connsiteY244" fmla="*/ 3111118 h 5751788"/>
              <a:gd name="connsiteX245" fmla="*/ 0 w 4891380"/>
              <a:gd name="connsiteY245" fmla="*/ 3032692 h 5751788"/>
              <a:gd name="connsiteX246" fmla="*/ 1740 w 4891380"/>
              <a:gd name="connsiteY246" fmla="*/ 3032692 h 5751788"/>
              <a:gd name="connsiteX247" fmla="*/ 1740 w 4891380"/>
              <a:gd name="connsiteY247" fmla="*/ 3022121 h 5751788"/>
              <a:gd name="connsiteX248" fmla="*/ 0 w 4891380"/>
              <a:gd name="connsiteY248" fmla="*/ 3022121 h 575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4891380" h="5751788">
                <a:moveTo>
                  <a:pt x="0" y="0"/>
                </a:moveTo>
                <a:lnTo>
                  <a:pt x="1471669" y="0"/>
                </a:lnTo>
                <a:lnTo>
                  <a:pt x="1960808" y="0"/>
                </a:lnTo>
                <a:lnTo>
                  <a:pt x="2930558" y="0"/>
                </a:lnTo>
                <a:lnTo>
                  <a:pt x="3419696" y="0"/>
                </a:lnTo>
                <a:lnTo>
                  <a:pt x="3458648" y="0"/>
                </a:lnTo>
                <a:lnTo>
                  <a:pt x="3458648" y="1"/>
                </a:lnTo>
                <a:lnTo>
                  <a:pt x="3488752" y="1"/>
                </a:lnTo>
                <a:lnTo>
                  <a:pt x="3488752" y="3335"/>
                </a:lnTo>
                <a:lnTo>
                  <a:pt x="3559916" y="6728"/>
                </a:lnTo>
                <a:lnTo>
                  <a:pt x="3564234" y="7350"/>
                </a:lnTo>
                <a:lnTo>
                  <a:pt x="3569987" y="7641"/>
                </a:lnTo>
                <a:cubicBezTo>
                  <a:pt x="3656849" y="16522"/>
                  <a:pt x="3741475" y="33018"/>
                  <a:pt x="3823196" y="56454"/>
                </a:cubicBezTo>
                <a:lnTo>
                  <a:pt x="3829154" y="58447"/>
                </a:lnTo>
                <a:lnTo>
                  <a:pt x="3830180" y="58696"/>
                </a:lnTo>
                <a:lnTo>
                  <a:pt x="3840400" y="62213"/>
                </a:lnTo>
                <a:lnTo>
                  <a:pt x="3943517" y="96729"/>
                </a:lnTo>
                <a:lnTo>
                  <a:pt x="3954101" y="101328"/>
                </a:lnTo>
                <a:lnTo>
                  <a:pt x="3958123" y="102713"/>
                </a:lnTo>
                <a:lnTo>
                  <a:pt x="3979869" y="112529"/>
                </a:lnTo>
                <a:lnTo>
                  <a:pt x="4058977" y="146909"/>
                </a:lnTo>
                <a:lnTo>
                  <a:pt x="4073742" y="154899"/>
                </a:lnTo>
                <a:lnTo>
                  <a:pt x="4080462" y="157932"/>
                </a:lnTo>
                <a:lnTo>
                  <a:pt x="4104058" y="171305"/>
                </a:lnTo>
                <a:lnTo>
                  <a:pt x="4169078" y="206492"/>
                </a:lnTo>
                <a:lnTo>
                  <a:pt x="4187505" y="218597"/>
                </a:lnTo>
                <a:lnTo>
                  <a:pt x="4196586" y="223742"/>
                </a:lnTo>
                <a:lnTo>
                  <a:pt x="4219053" y="239321"/>
                </a:lnTo>
                <a:lnTo>
                  <a:pt x="4273318" y="274969"/>
                </a:lnTo>
                <a:lnTo>
                  <a:pt x="4294820" y="291856"/>
                </a:lnTo>
                <a:lnTo>
                  <a:pt x="4305886" y="299528"/>
                </a:lnTo>
                <a:lnTo>
                  <a:pt x="4326035" y="316371"/>
                </a:lnTo>
                <a:lnTo>
                  <a:pt x="4371194" y="351838"/>
                </a:lnTo>
                <a:lnTo>
                  <a:pt x="4395115" y="374115"/>
                </a:lnTo>
                <a:lnTo>
                  <a:pt x="4407752" y="384678"/>
                </a:lnTo>
                <a:lnTo>
                  <a:pt x="4425090" y="402029"/>
                </a:lnTo>
                <a:lnTo>
                  <a:pt x="4462206" y="436592"/>
                </a:lnTo>
                <a:lnTo>
                  <a:pt x="4487824" y="464813"/>
                </a:lnTo>
                <a:lnTo>
                  <a:pt x="4501580" y="478579"/>
                </a:lnTo>
                <a:lnTo>
                  <a:pt x="4515948" y="495792"/>
                </a:lnTo>
                <a:lnTo>
                  <a:pt x="4545848" y="528727"/>
                </a:lnTo>
                <a:lnTo>
                  <a:pt x="4572386" y="563402"/>
                </a:lnTo>
                <a:lnTo>
                  <a:pt x="4586756" y="580617"/>
                </a:lnTo>
                <a:lnTo>
                  <a:pt x="4598192" y="597122"/>
                </a:lnTo>
                <a:lnTo>
                  <a:pt x="4621624" y="627739"/>
                </a:lnTo>
                <a:lnTo>
                  <a:pt x="4648242" y="669353"/>
                </a:lnTo>
                <a:lnTo>
                  <a:pt x="4662670" y="690177"/>
                </a:lnTo>
                <a:lnTo>
                  <a:pt x="4671340" y="705466"/>
                </a:lnTo>
                <a:lnTo>
                  <a:pt x="4689030" y="733120"/>
                </a:lnTo>
                <a:lnTo>
                  <a:pt x="4714840" y="782179"/>
                </a:lnTo>
                <a:lnTo>
                  <a:pt x="4728718" y="806649"/>
                </a:lnTo>
                <a:lnTo>
                  <a:pt x="4734878" y="820262"/>
                </a:lnTo>
                <a:lnTo>
                  <a:pt x="4747562" y="844366"/>
                </a:lnTo>
                <a:lnTo>
                  <a:pt x="4771636" y="901470"/>
                </a:lnTo>
                <a:lnTo>
                  <a:pt x="4784286" y="929419"/>
                </a:lnTo>
                <a:lnTo>
                  <a:pt x="4788276" y="940938"/>
                </a:lnTo>
                <a:lnTo>
                  <a:pt x="4796723" y="960976"/>
                </a:lnTo>
                <a:lnTo>
                  <a:pt x="4818080" y="1027005"/>
                </a:lnTo>
                <a:lnTo>
                  <a:pt x="4828768" y="1057869"/>
                </a:lnTo>
                <a:lnTo>
                  <a:pt x="4830991" y="1066923"/>
                </a:lnTo>
                <a:lnTo>
                  <a:pt x="4836008" y="1082438"/>
                </a:lnTo>
                <a:lnTo>
                  <a:pt x="4853630" y="1159131"/>
                </a:lnTo>
                <a:lnTo>
                  <a:pt x="4861552" y="1191393"/>
                </a:lnTo>
                <a:lnTo>
                  <a:pt x="4862478" y="1197643"/>
                </a:lnTo>
                <a:lnTo>
                  <a:pt x="4864917" y="1208252"/>
                </a:lnTo>
                <a:lnTo>
                  <a:pt x="4877746" y="1300513"/>
                </a:lnTo>
                <a:lnTo>
                  <a:pt x="4882030" y="1329371"/>
                </a:lnTo>
                <a:lnTo>
                  <a:pt x="4882182" y="1332410"/>
                </a:lnTo>
                <a:lnTo>
                  <a:pt x="4882946" y="1337912"/>
                </a:lnTo>
                <a:lnTo>
                  <a:pt x="4885957" y="1401901"/>
                </a:lnTo>
                <a:lnTo>
                  <a:pt x="4889624" y="1401901"/>
                </a:lnTo>
                <a:lnTo>
                  <a:pt x="4889624" y="1460895"/>
                </a:lnTo>
                <a:lnTo>
                  <a:pt x="4889624" y="1479885"/>
                </a:lnTo>
                <a:lnTo>
                  <a:pt x="4889624" y="1480329"/>
                </a:lnTo>
                <a:lnTo>
                  <a:pt x="4891380" y="1480329"/>
                </a:lnTo>
                <a:lnTo>
                  <a:pt x="4891380" y="1630791"/>
                </a:lnTo>
                <a:lnTo>
                  <a:pt x="3458648" y="1630791"/>
                </a:lnTo>
                <a:lnTo>
                  <a:pt x="3458648" y="1630792"/>
                </a:lnTo>
                <a:lnTo>
                  <a:pt x="3488751" y="1630792"/>
                </a:lnTo>
                <a:lnTo>
                  <a:pt x="3488751" y="1634126"/>
                </a:lnTo>
                <a:lnTo>
                  <a:pt x="3559916" y="1637518"/>
                </a:lnTo>
                <a:lnTo>
                  <a:pt x="3564234" y="1638140"/>
                </a:lnTo>
                <a:lnTo>
                  <a:pt x="3569986" y="1638433"/>
                </a:lnTo>
                <a:cubicBezTo>
                  <a:pt x="3656848" y="1647313"/>
                  <a:pt x="3741475" y="1663807"/>
                  <a:pt x="3823196" y="1687245"/>
                </a:cubicBezTo>
                <a:lnTo>
                  <a:pt x="3829153" y="1689237"/>
                </a:lnTo>
                <a:lnTo>
                  <a:pt x="3830180" y="1689487"/>
                </a:lnTo>
                <a:lnTo>
                  <a:pt x="3840400" y="1693004"/>
                </a:lnTo>
                <a:lnTo>
                  <a:pt x="3943516" y="1727519"/>
                </a:lnTo>
                <a:lnTo>
                  <a:pt x="3954100" y="1732119"/>
                </a:lnTo>
                <a:lnTo>
                  <a:pt x="3958122" y="1733503"/>
                </a:lnTo>
                <a:lnTo>
                  <a:pt x="3979868" y="1743320"/>
                </a:lnTo>
                <a:lnTo>
                  <a:pt x="4058976" y="1777700"/>
                </a:lnTo>
                <a:lnTo>
                  <a:pt x="4073741" y="1785690"/>
                </a:lnTo>
                <a:lnTo>
                  <a:pt x="4080461" y="1788723"/>
                </a:lnTo>
                <a:lnTo>
                  <a:pt x="4104057" y="1802096"/>
                </a:lnTo>
                <a:lnTo>
                  <a:pt x="4169078" y="1837283"/>
                </a:lnTo>
                <a:lnTo>
                  <a:pt x="4187505" y="1849388"/>
                </a:lnTo>
                <a:lnTo>
                  <a:pt x="4196584" y="1854532"/>
                </a:lnTo>
                <a:lnTo>
                  <a:pt x="4219053" y="1870112"/>
                </a:lnTo>
                <a:lnTo>
                  <a:pt x="4273316" y="1905760"/>
                </a:lnTo>
                <a:lnTo>
                  <a:pt x="4294820" y="1922647"/>
                </a:lnTo>
                <a:lnTo>
                  <a:pt x="4305884" y="1930319"/>
                </a:lnTo>
                <a:lnTo>
                  <a:pt x="4326034" y="1947163"/>
                </a:lnTo>
                <a:lnTo>
                  <a:pt x="4371194" y="1982629"/>
                </a:lnTo>
                <a:lnTo>
                  <a:pt x="4395114" y="2004906"/>
                </a:lnTo>
                <a:lnTo>
                  <a:pt x="4407752" y="2015469"/>
                </a:lnTo>
                <a:lnTo>
                  <a:pt x="4425088" y="2032820"/>
                </a:lnTo>
                <a:lnTo>
                  <a:pt x="4462204" y="2067383"/>
                </a:lnTo>
                <a:lnTo>
                  <a:pt x="4487823" y="2095602"/>
                </a:lnTo>
                <a:lnTo>
                  <a:pt x="4501580" y="2109370"/>
                </a:lnTo>
                <a:lnTo>
                  <a:pt x="4515948" y="2126583"/>
                </a:lnTo>
                <a:lnTo>
                  <a:pt x="4545846" y="2159517"/>
                </a:lnTo>
                <a:lnTo>
                  <a:pt x="4572383" y="2194191"/>
                </a:lnTo>
                <a:lnTo>
                  <a:pt x="4586756" y="2211408"/>
                </a:lnTo>
                <a:lnTo>
                  <a:pt x="4598190" y="2227912"/>
                </a:lnTo>
                <a:lnTo>
                  <a:pt x="4621623" y="2258530"/>
                </a:lnTo>
                <a:lnTo>
                  <a:pt x="4648242" y="2300144"/>
                </a:lnTo>
                <a:lnTo>
                  <a:pt x="4662670" y="2320968"/>
                </a:lnTo>
                <a:lnTo>
                  <a:pt x="4671340" y="2336257"/>
                </a:lnTo>
                <a:lnTo>
                  <a:pt x="4689028" y="2363911"/>
                </a:lnTo>
                <a:lnTo>
                  <a:pt x="4714840" y="2412970"/>
                </a:lnTo>
                <a:lnTo>
                  <a:pt x="4728716" y="2437439"/>
                </a:lnTo>
                <a:lnTo>
                  <a:pt x="4734877" y="2451053"/>
                </a:lnTo>
                <a:lnTo>
                  <a:pt x="4747562" y="2475157"/>
                </a:lnTo>
                <a:lnTo>
                  <a:pt x="4771636" y="2532261"/>
                </a:lnTo>
                <a:lnTo>
                  <a:pt x="4784286" y="2560208"/>
                </a:lnTo>
                <a:lnTo>
                  <a:pt x="4788274" y="2571729"/>
                </a:lnTo>
                <a:lnTo>
                  <a:pt x="4796723" y="2591766"/>
                </a:lnTo>
                <a:lnTo>
                  <a:pt x="4818078" y="2657796"/>
                </a:lnTo>
                <a:lnTo>
                  <a:pt x="4828766" y="2688660"/>
                </a:lnTo>
                <a:lnTo>
                  <a:pt x="4830988" y="2697714"/>
                </a:lnTo>
                <a:lnTo>
                  <a:pt x="4836008" y="2713229"/>
                </a:lnTo>
                <a:lnTo>
                  <a:pt x="4853629" y="2789921"/>
                </a:lnTo>
                <a:lnTo>
                  <a:pt x="4861550" y="2822183"/>
                </a:lnTo>
                <a:lnTo>
                  <a:pt x="4862477" y="2828433"/>
                </a:lnTo>
                <a:lnTo>
                  <a:pt x="4864917" y="2839043"/>
                </a:lnTo>
                <a:lnTo>
                  <a:pt x="4877746" y="2931303"/>
                </a:lnTo>
                <a:lnTo>
                  <a:pt x="4882029" y="2960161"/>
                </a:lnTo>
                <a:lnTo>
                  <a:pt x="4882180" y="2963200"/>
                </a:lnTo>
                <a:lnTo>
                  <a:pt x="4882946" y="2968703"/>
                </a:lnTo>
                <a:lnTo>
                  <a:pt x="4885956" y="3032692"/>
                </a:lnTo>
                <a:lnTo>
                  <a:pt x="4889624" y="3032692"/>
                </a:lnTo>
                <a:lnTo>
                  <a:pt x="4889624" y="3091686"/>
                </a:lnTo>
                <a:lnTo>
                  <a:pt x="4889624" y="3110675"/>
                </a:lnTo>
                <a:lnTo>
                  <a:pt x="4889624" y="3111118"/>
                </a:lnTo>
                <a:lnTo>
                  <a:pt x="4891379" y="3111118"/>
                </a:lnTo>
                <a:lnTo>
                  <a:pt x="4891379" y="3394564"/>
                </a:lnTo>
                <a:lnTo>
                  <a:pt x="4891379" y="3988016"/>
                </a:lnTo>
                <a:lnTo>
                  <a:pt x="4891379" y="4271461"/>
                </a:lnTo>
                <a:lnTo>
                  <a:pt x="4891379" y="4349890"/>
                </a:lnTo>
                <a:lnTo>
                  <a:pt x="4889640" y="4349890"/>
                </a:lnTo>
                <a:lnTo>
                  <a:pt x="4889640" y="5751787"/>
                </a:lnTo>
                <a:lnTo>
                  <a:pt x="4400501" y="5751787"/>
                </a:lnTo>
                <a:lnTo>
                  <a:pt x="3430753" y="5751787"/>
                </a:lnTo>
                <a:lnTo>
                  <a:pt x="3420593" y="5751787"/>
                </a:lnTo>
                <a:lnTo>
                  <a:pt x="3419727" y="5751787"/>
                </a:lnTo>
                <a:lnTo>
                  <a:pt x="3419712" y="5751788"/>
                </a:lnTo>
                <a:lnTo>
                  <a:pt x="3419699" y="5751787"/>
                </a:lnTo>
                <a:lnTo>
                  <a:pt x="3350656" y="5751787"/>
                </a:lnTo>
                <a:lnTo>
                  <a:pt x="2941613" y="5751787"/>
                </a:lnTo>
                <a:lnTo>
                  <a:pt x="2931453" y="5751787"/>
                </a:lnTo>
                <a:lnTo>
                  <a:pt x="2930587" y="5751787"/>
                </a:lnTo>
                <a:lnTo>
                  <a:pt x="2930574" y="5751788"/>
                </a:lnTo>
                <a:lnTo>
                  <a:pt x="2930558" y="5751787"/>
                </a:lnTo>
                <a:lnTo>
                  <a:pt x="2861517" y="5751787"/>
                </a:lnTo>
                <a:lnTo>
                  <a:pt x="1961706" y="5751787"/>
                </a:lnTo>
                <a:lnTo>
                  <a:pt x="1960839" y="5751787"/>
                </a:lnTo>
                <a:lnTo>
                  <a:pt x="1960824" y="5751788"/>
                </a:lnTo>
                <a:lnTo>
                  <a:pt x="1960810" y="5751787"/>
                </a:lnTo>
                <a:lnTo>
                  <a:pt x="1891768" y="5751787"/>
                </a:lnTo>
                <a:lnTo>
                  <a:pt x="1472566" y="5751787"/>
                </a:lnTo>
                <a:lnTo>
                  <a:pt x="1471699" y="5751787"/>
                </a:lnTo>
                <a:lnTo>
                  <a:pt x="1471686" y="5751788"/>
                </a:lnTo>
                <a:lnTo>
                  <a:pt x="1471671" y="5751787"/>
                </a:lnTo>
                <a:lnTo>
                  <a:pt x="1402630" y="5751787"/>
                </a:lnTo>
                <a:lnTo>
                  <a:pt x="1402630" y="5748454"/>
                </a:lnTo>
                <a:lnTo>
                  <a:pt x="1331464" y="5745061"/>
                </a:lnTo>
                <a:lnTo>
                  <a:pt x="1327146" y="5744440"/>
                </a:lnTo>
                <a:lnTo>
                  <a:pt x="1321394" y="5744149"/>
                </a:lnTo>
                <a:cubicBezTo>
                  <a:pt x="1234532" y="5735266"/>
                  <a:pt x="1149908" y="5718772"/>
                  <a:pt x="1068185" y="5695337"/>
                </a:cubicBezTo>
                <a:lnTo>
                  <a:pt x="1062227" y="5693342"/>
                </a:lnTo>
                <a:lnTo>
                  <a:pt x="1061200" y="5693093"/>
                </a:lnTo>
                <a:lnTo>
                  <a:pt x="1050981" y="5689577"/>
                </a:lnTo>
                <a:lnTo>
                  <a:pt x="947864" y="5655061"/>
                </a:lnTo>
                <a:lnTo>
                  <a:pt x="937281" y="5650461"/>
                </a:lnTo>
                <a:lnTo>
                  <a:pt x="933258" y="5649077"/>
                </a:lnTo>
                <a:lnTo>
                  <a:pt x="911512" y="5639261"/>
                </a:lnTo>
                <a:lnTo>
                  <a:pt x="832403" y="5604881"/>
                </a:lnTo>
                <a:lnTo>
                  <a:pt x="817638" y="5596891"/>
                </a:lnTo>
                <a:lnTo>
                  <a:pt x="810920" y="5593857"/>
                </a:lnTo>
                <a:lnTo>
                  <a:pt x="787324" y="5580484"/>
                </a:lnTo>
                <a:lnTo>
                  <a:pt x="722302" y="5545298"/>
                </a:lnTo>
                <a:lnTo>
                  <a:pt x="703875" y="5533192"/>
                </a:lnTo>
                <a:lnTo>
                  <a:pt x="694796" y="5528048"/>
                </a:lnTo>
                <a:lnTo>
                  <a:pt x="672327" y="5512468"/>
                </a:lnTo>
                <a:lnTo>
                  <a:pt x="618064" y="5476820"/>
                </a:lnTo>
                <a:lnTo>
                  <a:pt x="596562" y="5459933"/>
                </a:lnTo>
                <a:lnTo>
                  <a:pt x="585496" y="5452261"/>
                </a:lnTo>
                <a:lnTo>
                  <a:pt x="565345" y="5435418"/>
                </a:lnTo>
                <a:lnTo>
                  <a:pt x="520187" y="5399950"/>
                </a:lnTo>
                <a:lnTo>
                  <a:pt x="496267" y="5377676"/>
                </a:lnTo>
                <a:lnTo>
                  <a:pt x="483628" y="5367110"/>
                </a:lnTo>
                <a:lnTo>
                  <a:pt x="466291" y="5349761"/>
                </a:lnTo>
                <a:lnTo>
                  <a:pt x="429176" y="5315197"/>
                </a:lnTo>
                <a:lnTo>
                  <a:pt x="403557" y="5286978"/>
                </a:lnTo>
                <a:lnTo>
                  <a:pt x="389801" y="5273210"/>
                </a:lnTo>
                <a:lnTo>
                  <a:pt x="375432" y="5255998"/>
                </a:lnTo>
                <a:lnTo>
                  <a:pt x="345533" y="5223062"/>
                </a:lnTo>
                <a:lnTo>
                  <a:pt x="318997" y="5188388"/>
                </a:lnTo>
                <a:lnTo>
                  <a:pt x="304626" y="5171174"/>
                </a:lnTo>
                <a:lnTo>
                  <a:pt x="293189" y="5154668"/>
                </a:lnTo>
                <a:lnTo>
                  <a:pt x="269757" y="5124051"/>
                </a:lnTo>
                <a:lnTo>
                  <a:pt x="243139" y="5082435"/>
                </a:lnTo>
                <a:lnTo>
                  <a:pt x="228710" y="5061612"/>
                </a:lnTo>
                <a:lnTo>
                  <a:pt x="220040" y="5046323"/>
                </a:lnTo>
                <a:lnTo>
                  <a:pt x="202353" y="5018669"/>
                </a:lnTo>
                <a:lnTo>
                  <a:pt x="176540" y="4969611"/>
                </a:lnTo>
                <a:lnTo>
                  <a:pt x="162664" y="4945140"/>
                </a:lnTo>
                <a:lnTo>
                  <a:pt x="156502" y="4931527"/>
                </a:lnTo>
                <a:lnTo>
                  <a:pt x="143819" y="4907422"/>
                </a:lnTo>
                <a:lnTo>
                  <a:pt x="119746" y="4850319"/>
                </a:lnTo>
                <a:lnTo>
                  <a:pt x="107095" y="4822372"/>
                </a:lnTo>
                <a:lnTo>
                  <a:pt x="103107" y="4810852"/>
                </a:lnTo>
                <a:lnTo>
                  <a:pt x="94658" y="4790814"/>
                </a:lnTo>
                <a:lnTo>
                  <a:pt x="73303" y="4724785"/>
                </a:lnTo>
                <a:lnTo>
                  <a:pt x="62615" y="4693921"/>
                </a:lnTo>
                <a:lnTo>
                  <a:pt x="60392" y="4684865"/>
                </a:lnTo>
                <a:lnTo>
                  <a:pt x="55373" y="4669350"/>
                </a:lnTo>
                <a:lnTo>
                  <a:pt x="37752" y="4592660"/>
                </a:lnTo>
                <a:lnTo>
                  <a:pt x="29830" y="4560396"/>
                </a:lnTo>
                <a:lnTo>
                  <a:pt x="28902" y="4554148"/>
                </a:lnTo>
                <a:lnTo>
                  <a:pt x="26465" y="4543536"/>
                </a:lnTo>
                <a:lnTo>
                  <a:pt x="13636" y="4451278"/>
                </a:lnTo>
                <a:lnTo>
                  <a:pt x="9352" y="4422418"/>
                </a:lnTo>
                <a:lnTo>
                  <a:pt x="9200" y="4419380"/>
                </a:lnTo>
                <a:lnTo>
                  <a:pt x="8434" y="4413877"/>
                </a:lnTo>
                <a:lnTo>
                  <a:pt x="5426" y="4349890"/>
                </a:lnTo>
                <a:lnTo>
                  <a:pt x="1757" y="4349890"/>
                </a:lnTo>
                <a:lnTo>
                  <a:pt x="1757" y="4290894"/>
                </a:lnTo>
                <a:lnTo>
                  <a:pt x="1757" y="4271904"/>
                </a:lnTo>
                <a:lnTo>
                  <a:pt x="1757" y="4271461"/>
                </a:lnTo>
                <a:lnTo>
                  <a:pt x="0" y="4271461"/>
                </a:lnTo>
                <a:lnTo>
                  <a:pt x="0" y="3988016"/>
                </a:lnTo>
                <a:lnTo>
                  <a:pt x="0" y="3394564"/>
                </a:lnTo>
                <a:lnTo>
                  <a:pt x="0" y="3111118"/>
                </a:lnTo>
                <a:lnTo>
                  <a:pt x="0" y="3032692"/>
                </a:lnTo>
                <a:lnTo>
                  <a:pt x="1740" y="3032692"/>
                </a:lnTo>
                <a:lnTo>
                  <a:pt x="1740" y="3022121"/>
                </a:lnTo>
                <a:lnTo>
                  <a:pt x="0" y="302212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6092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75BDB38-C6FF-44C2-A529-8B55DC13093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A81D4AD-B3AA-46C8-8EE5-4753744EB46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0488" y="1686665"/>
            <a:ext cx="4920143" cy="4409314"/>
          </a:xfrm>
          <a:custGeom>
            <a:avLst/>
            <a:gdLst>
              <a:gd name="connsiteX0" fmla="*/ 1341763 w 4920143"/>
              <a:gd name="connsiteY0" fmla="*/ 1689277 h 4409314"/>
              <a:gd name="connsiteX1" fmla="*/ 1360019 w 4920143"/>
              <a:gd name="connsiteY1" fmla="*/ 1689277 h 4409314"/>
              <a:gd name="connsiteX2" fmla="*/ 2720036 w 4920143"/>
              <a:gd name="connsiteY2" fmla="*/ 1689277 h 4409314"/>
              <a:gd name="connsiteX3" fmla="*/ 2720036 w 4920143"/>
              <a:gd name="connsiteY3" fmla="*/ 3049283 h 4409314"/>
              <a:gd name="connsiteX4" fmla="*/ 2720037 w 4920143"/>
              <a:gd name="connsiteY4" fmla="*/ 3049296 h 4409314"/>
              <a:gd name="connsiteX5" fmla="*/ 2720036 w 4920143"/>
              <a:gd name="connsiteY5" fmla="*/ 3049309 h 4409314"/>
              <a:gd name="connsiteX6" fmla="*/ 2720036 w 4920143"/>
              <a:gd name="connsiteY6" fmla="*/ 3113189 h 4409314"/>
              <a:gd name="connsiteX7" fmla="*/ 2716811 w 4920143"/>
              <a:gd name="connsiteY7" fmla="*/ 3113189 h 4409314"/>
              <a:gd name="connsiteX8" fmla="*/ 2713016 w 4920143"/>
              <a:gd name="connsiteY8" fmla="*/ 3188350 h 4409314"/>
              <a:gd name="connsiteX9" fmla="*/ 1360019 w 4920143"/>
              <a:gd name="connsiteY9" fmla="*/ 4409314 h 4409314"/>
              <a:gd name="connsiteX10" fmla="*/ 0 w 4920143"/>
              <a:gd name="connsiteY10" fmla="*/ 3049296 h 4409314"/>
              <a:gd name="connsiteX11" fmla="*/ 1220965 w 4920143"/>
              <a:gd name="connsiteY11" fmla="*/ 1696299 h 4409314"/>
              <a:gd name="connsiteX12" fmla="*/ 1341763 w 4920143"/>
              <a:gd name="connsiteY12" fmla="*/ 1690199 h 4409314"/>
              <a:gd name="connsiteX13" fmla="*/ 3889525 w 4920143"/>
              <a:gd name="connsiteY13" fmla="*/ 242287 h 4409314"/>
              <a:gd name="connsiteX14" fmla="*/ 3889535 w 4920143"/>
              <a:gd name="connsiteY14" fmla="*/ 242288 h 4409314"/>
              <a:gd name="connsiteX15" fmla="*/ 3890141 w 4920143"/>
              <a:gd name="connsiteY15" fmla="*/ 242288 h 4409314"/>
              <a:gd name="connsiteX16" fmla="*/ 4918926 w 4920143"/>
              <a:gd name="connsiteY16" fmla="*/ 242288 h 4409314"/>
              <a:gd name="connsiteX17" fmla="*/ 4918926 w 4920143"/>
              <a:gd name="connsiteY17" fmla="*/ 1217442 h 4409314"/>
              <a:gd name="connsiteX18" fmla="*/ 4920143 w 4920143"/>
              <a:gd name="connsiteY18" fmla="*/ 1217442 h 4409314"/>
              <a:gd name="connsiteX19" fmla="*/ 4920143 w 4920143"/>
              <a:gd name="connsiteY19" fmla="*/ 1271995 h 4409314"/>
              <a:gd name="connsiteX20" fmla="*/ 4920143 w 4920143"/>
              <a:gd name="connsiteY20" fmla="*/ 1469159 h 4409314"/>
              <a:gd name="connsiteX21" fmla="*/ 4920143 w 4920143"/>
              <a:gd name="connsiteY21" fmla="*/ 1881961 h 4409314"/>
              <a:gd name="connsiteX22" fmla="*/ 4920143 w 4920143"/>
              <a:gd name="connsiteY22" fmla="*/ 2079124 h 4409314"/>
              <a:gd name="connsiteX23" fmla="*/ 4918913 w 4920143"/>
              <a:gd name="connsiteY23" fmla="*/ 2079124 h 4409314"/>
              <a:gd name="connsiteX24" fmla="*/ 4918913 w 4920143"/>
              <a:gd name="connsiteY24" fmla="*/ 2079125 h 4409314"/>
              <a:gd name="connsiteX25" fmla="*/ 4918913 w 4920143"/>
              <a:gd name="connsiteY25" fmla="*/ 2079432 h 4409314"/>
              <a:gd name="connsiteX26" fmla="*/ 4918913 w 4920143"/>
              <a:gd name="connsiteY26" fmla="*/ 2092642 h 4409314"/>
              <a:gd name="connsiteX27" fmla="*/ 4918913 w 4920143"/>
              <a:gd name="connsiteY27" fmla="*/ 2133678 h 4409314"/>
              <a:gd name="connsiteX28" fmla="*/ 4916345 w 4920143"/>
              <a:gd name="connsiteY28" fmla="*/ 2133678 h 4409314"/>
              <a:gd name="connsiteX29" fmla="*/ 4914238 w 4920143"/>
              <a:gd name="connsiteY29" fmla="*/ 2178188 h 4409314"/>
              <a:gd name="connsiteX30" fmla="*/ 4913701 w 4920143"/>
              <a:gd name="connsiteY30" fmla="*/ 2182015 h 4409314"/>
              <a:gd name="connsiteX31" fmla="*/ 4913595 w 4920143"/>
              <a:gd name="connsiteY31" fmla="*/ 2184129 h 4409314"/>
              <a:gd name="connsiteX32" fmla="*/ 4910595 w 4920143"/>
              <a:gd name="connsiteY32" fmla="*/ 2204203 h 4409314"/>
              <a:gd name="connsiteX33" fmla="*/ 4901610 w 4920143"/>
              <a:gd name="connsiteY33" fmla="*/ 2268379 h 4409314"/>
              <a:gd name="connsiteX34" fmla="*/ 4899903 w 4920143"/>
              <a:gd name="connsiteY34" fmla="*/ 2275759 h 4409314"/>
              <a:gd name="connsiteX35" fmla="*/ 4899254 w 4920143"/>
              <a:gd name="connsiteY35" fmla="*/ 2280107 h 4409314"/>
              <a:gd name="connsiteX36" fmla="*/ 4893706 w 4920143"/>
              <a:gd name="connsiteY36" fmla="*/ 2302548 h 4409314"/>
              <a:gd name="connsiteX37" fmla="*/ 4881366 w 4920143"/>
              <a:gd name="connsiteY37" fmla="*/ 2355894 h 4409314"/>
              <a:gd name="connsiteX38" fmla="*/ 4877851 w 4920143"/>
              <a:gd name="connsiteY38" fmla="*/ 2366687 h 4409314"/>
              <a:gd name="connsiteX39" fmla="*/ 4876295 w 4920143"/>
              <a:gd name="connsiteY39" fmla="*/ 2372985 h 4409314"/>
              <a:gd name="connsiteX40" fmla="*/ 4868810 w 4920143"/>
              <a:gd name="connsiteY40" fmla="*/ 2394454 h 4409314"/>
              <a:gd name="connsiteX41" fmla="*/ 4853854 w 4920143"/>
              <a:gd name="connsiteY41" fmla="*/ 2440384 h 4409314"/>
              <a:gd name="connsiteX42" fmla="*/ 4847938 w 4920143"/>
              <a:gd name="connsiteY42" fmla="*/ 2454322 h 4409314"/>
              <a:gd name="connsiteX43" fmla="*/ 4845145 w 4920143"/>
              <a:gd name="connsiteY43" fmla="*/ 2462335 h 4409314"/>
              <a:gd name="connsiteX44" fmla="*/ 4836286 w 4920143"/>
              <a:gd name="connsiteY44" fmla="*/ 2481775 h 4409314"/>
              <a:gd name="connsiteX45" fmla="*/ 4819427 w 4920143"/>
              <a:gd name="connsiteY45" fmla="*/ 2521496 h 4409314"/>
              <a:gd name="connsiteX46" fmla="*/ 4810544 w 4920143"/>
              <a:gd name="connsiteY46" fmla="*/ 2538263 h 4409314"/>
              <a:gd name="connsiteX47" fmla="*/ 4806229 w 4920143"/>
              <a:gd name="connsiteY47" fmla="*/ 2547733 h 4409314"/>
              <a:gd name="connsiteX48" fmla="*/ 4796511 w 4920143"/>
              <a:gd name="connsiteY48" fmla="*/ 2564754 h 4409314"/>
              <a:gd name="connsiteX49" fmla="*/ 4778435 w 4920143"/>
              <a:gd name="connsiteY49" fmla="*/ 2598879 h 4409314"/>
              <a:gd name="connsiteX50" fmla="*/ 4766048 w 4920143"/>
              <a:gd name="connsiteY50" fmla="*/ 2618115 h 4409314"/>
              <a:gd name="connsiteX51" fmla="*/ 4759977 w 4920143"/>
              <a:gd name="connsiteY51" fmla="*/ 2628749 h 4409314"/>
              <a:gd name="connsiteX52" fmla="*/ 4749872 w 4920143"/>
              <a:gd name="connsiteY52" fmla="*/ 2643234 h 4409314"/>
              <a:gd name="connsiteX53" fmla="*/ 4731231 w 4920143"/>
              <a:gd name="connsiteY53" fmla="*/ 2672182 h 4409314"/>
              <a:gd name="connsiteX54" fmla="*/ 4714821 w 4920143"/>
              <a:gd name="connsiteY54" fmla="*/ 2693479 h 4409314"/>
              <a:gd name="connsiteX55" fmla="*/ 4706813 w 4920143"/>
              <a:gd name="connsiteY55" fmla="*/ 2704960 h 4409314"/>
              <a:gd name="connsiteX56" fmla="*/ 4696748 w 4920143"/>
              <a:gd name="connsiteY56" fmla="*/ 2716934 h 4409314"/>
              <a:gd name="connsiteX57" fmla="*/ 4678165 w 4920143"/>
              <a:gd name="connsiteY57" fmla="*/ 2741053 h 4409314"/>
              <a:gd name="connsiteX58" fmla="*/ 4657225 w 4920143"/>
              <a:gd name="connsiteY58" fmla="*/ 2763963 h 4409314"/>
              <a:gd name="connsiteX59" fmla="*/ 4647164 w 4920143"/>
              <a:gd name="connsiteY59" fmla="*/ 2775936 h 4409314"/>
              <a:gd name="connsiteX60" fmla="*/ 4637529 w 4920143"/>
              <a:gd name="connsiteY60" fmla="*/ 2785513 h 4409314"/>
              <a:gd name="connsiteX61" fmla="*/ 4619589 w 4920143"/>
              <a:gd name="connsiteY61" fmla="*/ 2805142 h 4409314"/>
              <a:gd name="connsiteX62" fmla="*/ 4593597 w 4920143"/>
              <a:gd name="connsiteY62" fmla="*/ 2829184 h 4409314"/>
              <a:gd name="connsiteX63" fmla="*/ 4581456 w 4920143"/>
              <a:gd name="connsiteY63" fmla="*/ 2841253 h 4409314"/>
              <a:gd name="connsiteX64" fmla="*/ 4572605 w 4920143"/>
              <a:gd name="connsiteY64" fmla="*/ 2848601 h 4409314"/>
              <a:gd name="connsiteX65" fmla="*/ 4555853 w 4920143"/>
              <a:gd name="connsiteY65" fmla="*/ 2864096 h 4409314"/>
              <a:gd name="connsiteX66" fmla="*/ 4524228 w 4920143"/>
              <a:gd name="connsiteY66" fmla="*/ 2888767 h 4409314"/>
              <a:gd name="connsiteX67" fmla="*/ 4510117 w 4920143"/>
              <a:gd name="connsiteY67" fmla="*/ 2900483 h 4409314"/>
              <a:gd name="connsiteX68" fmla="*/ 4502368 w 4920143"/>
              <a:gd name="connsiteY68" fmla="*/ 2905820 h 4409314"/>
              <a:gd name="connsiteX69" fmla="*/ 4487310 w 4920143"/>
              <a:gd name="connsiteY69" fmla="*/ 2917566 h 4409314"/>
              <a:gd name="connsiteX70" fmla="*/ 4449308 w 4920143"/>
              <a:gd name="connsiteY70" fmla="*/ 2942363 h 4409314"/>
              <a:gd name="connsiteX71" fmla="*/ 4433574 w 4920143"/>
              <a:gd name="connsiteY71" fmla="*/ 2953200 h 4409314"/>
              <a:gd name="connsiteX72" fmla="*/ 4427215 w 4920143"/>
              <a:gd name="connsiteY72" fmla="*/ 2956778 h 4409314"/>
              <a:gd name="connsiteX73" fmla="*/ 4414311 w 4920143"/>
              <a:gd name="connsiteY73" fmla="*/ 2965199 h 4409314"/>
              <a:gd name="connsiteX74" fmla="*/ 4368776 w 4920143"/>
              <a:gd name="connsiteY74" fmla="*/ 2989675 h 4409314"/>
              <a:gd name="connsiteX75" fmla="*/ 4352251 w 4920143"/>
              <a:gd name="connsiteY75" fmla="*/ 2998977 h 4409314"/>
              <a:gd name="connsiteX76" fmla="*/ 4347546 w 4920143"/>
              <a:gd name="connsiteY76" fmla="*/ 3001086 h 4409314"/>
              <a:gd name="connsiteX77" fmla="*/ 4337206 w 4920143"/>
              <a:gd name="connsiteY77" fmla="*/ 3006644 h 4409314"/>
              <a:gd name="connsiteX78" fmla="*/ 4281806 w 4920143"/>
              <a:gd name="connsiteY78" fmla="*/ 3030559 h 4409314"/>
              <a:gd name="connsiteX79" fmla="*/ 4266577 w 4920143"/>
              <a:gd name="connsiteY79" fmla="*/ 3037387 h 4409314"/>
              <a:gd name="connsiteX80" fmla="*/ 4263760 w 4920143"/>
              <a:gd name="connsiteY80" fmla="*/ 3038350 h 4409314"/>
              <a:gd name="connsiteX81" fmla="*/ 4256348 w 4920143"/>
              <a:gd name="connsiteY81" fmla="*/ 3041550 h 4409314"/>
              <a:gd name="connsiteX82" fmla="*/ 4184135 w 4920143"/>
              <a:gd name="connsiteY82" fmla="*/ 3065558 h 4409314"/>
              <a:gd name="connsiteX83" fmla="*/ 4176978 w 4920143"/>
              <a:gd name="connsiteY83" fmla="*/ 3068005 h 4409314"/>
              <a:gd name="connsiteX84" fmla="*/ 4176259 w 4920143"/>
              <a:gd name="connsiteY84" fmla="*/ 3068178 h 4409314"/>
              <a:gd name="connsiteX85" fmla="*/ 4172087 w 4920143"/>
              <a:gd name="connsiteY85" fmla="*/ 3069565 h 4409314"/>
              <a:gd name="connsiteX86" fmla="*/ 3994762 w 4920143"/>
              <a:gd name="connsiteY86" fmla="*/ 3103519 h 4409314"/>
              <a:gd name="connsiteX87" fmla="*/ 3990734 w 4920143"/>
              <a:gd name="connsiteY87" fmla="*/ 3103721 h 4409314"/>
              <a:gd name="connsiteX88" fmla="*/ 3987710 w 4920143"/>
              <a:gd name="connsiteY88" fmla="*/ 3104154 h 4409314"/>
              <a:gd name="connsiteX89" fmla="*/ 3937873 w 4920143"/>
              <a:gd name="connsiteY89" fmla="*/ 3106514 h 4409314"/>
              <a:gd name="connsiteX90" fmla="*/ 3937873 w 4920143"/>
              <a:gd name="connsiteY90" fmla="*/ 3108833 h 4409314"/>
              <a:gd name="connsiteX91" fmla="*/ 3889523 w 4920143"/>
              <a:gd name="connsiteY91" fmla="*/ 3108833 h 4409314"/>
              <a:gd name="connsiteX92" fmla="*/ 3889512 w 4920143"/>
              <a:gd name="connsiteY92" fmla="*/ 3108833 h 4409314"/>
              <a:gd name="connsiteX93" fmla="*/ 3889503 w 4920143"/>
              <a:gd name="connsiteY93" fmla="*/ 3108833 h 4409314"/>
              <a:gd name="connsiteX94" fmla="*/ 3888896 w 4920143"/>
              <a:gd name="connsiteY94" fmla="*/ 3108833 h 4409314"/>
              <a:gd name="connsiteX95" fmla="*/ 2860112 w 4920143"/>
              <a:gd name="connsiteY95" fmla="*/ 3108833 h 4409314"/>
              <a:gd name="connsiteX96" fmla="*/ 2860112 w 4920143"/>
              <a:gd name="connsiteY96" fmla="*/ 2133678 h 4409314"/>
              <a:gd name="connsiteX97" fmla="*/ 2858894 w 4920143"/>
              <a:gd name="connsiteY97" fmla="*/ 2133678 h 4409314"/>
              <a:gd name="connsiteX98" fmla="*/ 2858894 w 4920143"/>
              <a:gd name="connsiteY98" fmla="*/ 2079125 h 4409314"/>
              <a:gd name="connsiteX99" fmla="*/ 2858894 w 4920143"/>
              <a:gd name="connsiteY99" fmla="*/ 1881961 h 4409314"/>
              <a:gd name="connsiteX100" fmla="*/ 2858894 w 4920143"/>
              <a:gd name="connsiteY100" fmla="*/ 1469159 h 4409314"/>
              <a:gd name="connsiteX101" fmla="*/ 2858894 w 4920143"/>
              <a:gd name="connsiteY101" fmla="*/ 1271996 h 4409314"/>
              <a:gd name="connsiteX102" fmla="*/ 2860124 w 4920143"/>
              <a:gd name="connsiteY102" fmla="*/ 1271996 h 4409314"/>
              <a:gd name="connsiteX103" fmla="*/ 2860124 w 4920143"/>
              <a:gd name="connsiteY103" fmla="*/ 1271995 h 4409314"/>
              <a:gd name="connsiteX104" fmla="*/ 2860124 w 4920143"/>
              <a:gd name="connsiteY104" fmla="*/ 1271687 h 4409314"/>
              <a:gd name="connsiteX105" fmla="*/ 2860124 w 4920143"/>
              <a:gd name="connsiteY105" fmla="*/ 1258478 h 4409314"/>
              <a:gd name="connsiteX106" fmla="*/ 2860124 w 4920143"/>
              <a:gd name="connsiteY106" fmla="*/ 1217442 h 4409314"/>
              <a:gd name="connsiteX107" fmla="*/ 2862693 w 4920143"/>
              <a:gd name="connsiteY107" fmla="*/ 1217442 h 4409314"/>
              <a:gd name="connsiteX108" fmla="*/ 2864800 w 4920143"/>
              <a:gd name="connsiteY108" fmla="*/ 1172932 h 4409314"/>
              <a:gd name="connsiteX109" fmla="*/ 2865336 w 4920143"/>
              <a:gd name="connsiteY109" fmla="*/ 1169104 h 4409314"/>
              <a:gd name="connsiteX110" fmla="*/ 2865443 w 4920143"/>
              <a:gd name="connsiteY110" fmla="*/ 1166991 h 4409314"/>
              <a:gd name="connsiteX111" fmla="*/ 2868442 w 4920143"/>
              <a:gd name="connsiteY111" fmla="*/ 1146917 h 4409314"/>
              <a:gd name="connsiteX112" fmla="*/ 2877427 w 4920143"/>
              <a:gd name="connsiteY112" fmla="*/ 1082741 h 4409314"/>
              <a:gd name="connsiteX113" fmla="*/ 2879134 w 4920143"/>
              <a:gd name="connsiteY113" fmla="*/ 1075360 h 4409314"/>
              <a:gd name="connsiteX114" fmla="*/ 2879784 w 4920143"/>
              <a:gd name="connsiteY114" fmla="*/ 1071013 h 4409314"/>
              <a:gd name="connsiteX115" fmla="*/ 2885331 w 4920143"/>
              <a:gd name="connsiteY115" fmla="*/ 1048572 h 4409314"/>
              <a:gd name="connsiteX116" fmla="*/ 2897672 w 4920143"/>
              <a:gd name="connsiteY116" fmla="*/ 995225 h 4409314"/>
              <a:gd name="connsiteX117" fmla="*/ 2901186 w 4920143"/>
              <a:gd name="connsiteY117" fmla="*/ 984433 h 4409314"/>
              <a:gd name="connsiteX118" fmla="*/ 2902743 w 4920143"/>
              <a:gd name="connsiteY118" fmla="*/ 978135 h 4409314"/>
              <a:gd name="connsiteX119" fmla="*/ 2910227 w 4920143"/>
              <a:gd name="connsiteY119" fmla="*/ 956666 h 4409314"/>
              <a:gd name="connsiteX120" fmla="*/ 2925183 w 4920143"/>
              <a:gd name="connsiteY120" fmla="*/ 910736 h 4409314"/>
              <a:gd name="connsiteX121" fmla="*/ 2931099 w 4920143"/>
              <a:gd name="connsiteY121" fmla="*/ 896798 h 4409314"/>
              <a:gd name="connsiteX122" fmla="*/ 2933893 w 4920143"/>
              <a:gd name="connsiteY122" fmla="*/ 888785 h 4409314"/>
              <a:gd name="connsiteX123" fmla="*/ 2942752 w 4920143"/>
              <a:gd name="connsiteY123" fmla="*/ 869345 h 4409314"/>
              <a:gd name="connsiteX124" fmla="*/ 2959611 w 4920143"/>
              <a:gd name="connsiteY124" fmla="*/ 829624 h 4409314"/>
              <a:gd name="connsiteX125" fmla="*/ 2968493 w 4920143"/>
              <a:gd name="connsiteY125" fmla="*/ 812857 h 4409314"/>
              <a:gd name="connsiteX126" fmla="*/ 2972808 w 4920143"/>
              <a:gd name="connsiteY126" fmla="*/ 803388 h 4409314"/>
              <a:gd name="connsiteX127" fmla="*/ 2982526 w 4920143"/>
              <a:gd name="connsiteY127" fmla="*/ 786366 h 4409314"/>
              <a:gd name="connsiteX128" fmla="*/ 3000602 w 4920143"/>
              <a:gd name="connsiteY128" fmla="*/ 752241 h 4409314"/>
              <a:gd name="connsiteX129" fmla="*/ 3012989 w 4920143"/>
              <a:gd name="connsiteY129" fmla="*/ 733005 h 4409314"/>
              <a:gd name="connsiteX130" fmla="*/ 3019061 w 4920143"/>
              <a:gd name="connsiteY130" fmla="*/ 722370 h 4409314"/>
              <a:gd name="connsiteX131" fmla="*/ 3029166 w 4920143"/>
              <a:gd name="connsiteY131" fmla="*/ 707885 h 4409314"/>
              <a:gd name="connsiteX132" fmla="*/ 3047806 w 4920143"/>
              <a:gd name="connsiteY132" fmla="*/ 678938 h 4409314"/>
              <a:gd name="connsiteX133" fmla="*/ 3064216 w 4920143"/>
              <a:gd name="connsiteY133" fmla="*/ 657642 h 4409314"/>
              <a:gd name="connsiteX134" fmla="*/ 3072225 w 4920143"/>
              <a:gd name="connsiteY134" fmla="*/ 646160 h 4409314"/>
              <a:gd name="connsiteX135" fmla="*/ 3082289 w 4920143"/>
              <a:gd name="connsiteY135" fmla="*/ 634186 h 4409314"/>
              <a:gd name="connsiteX136" fmla="*/ 3100873 w 4920143"/>
              <a:gd name="connsiteY136" fmla="*/ 610067 h 4409314"/>
              <a:gd name="connsiteX137" fmla="*/ 3121812 w 4920143"/>
              <a:gd name="connsiteY137" fmla="*/ 587157 h 4409314"/>
              <a:gd name="connsiteX138" fmla="*/ 3131874 w 4920143"/>
              <a:gd name="connsiteY138" fmla="*/ 575184 h 4409314"/>
              <a:gd name="connsiteX139" fmla="*/ 3141508 w 4920143"/>
              <a:gd name="connsiteY139" fmla="*/ 565607 h 4409314"/>
              <a:gd name="connsiteX140" fmla="*/ 3159449 w 4920143"/>
              <a:gd name="connsiteY140" fmla="*/ 545978 h 4409314"/>
              <a:gd name="connsiteX141" fmla="*/ 3185440 w 4920143"/>
              <a:gd name="connsiteY141" fmla="*/ 521936 h 4409314"/>
              <a:gd name="connsiteX142" fmla="*/ 3197581 w 4920143"/>
              <a:gd name="connsiteY142" fmla="*/ 509867 h 4409314"/>
              <a:gd name="connsiteX143" fmla="*/ 3206432 w 4920143"/>
              <a:gd name="connsiteY143" fmla="*/ 502518 h 4409314"/>
              <a:gd name="connsiteX144" fmla="*/ 3223184 w 4920143"/>
              <a:gd name="connsiteY144" fmla="*/ 487023 h 4409314"/>
              <a:gd name="connsiteX145" fmla="*/ 3254809 w 4920143"/>
              <a:gd name="connsiteY145" fmla="*/ 462354 h 4409314"/>
              <a:gd name="connsiteX146" fmla="*/ 3268920 w 4920143"/>
              <a:gd name="connsiteY146" fmla="*/ 450637 h 4409314"/>
              <a:gd name="connsiteX147" fmla="*/ 3276669 w 4920143"/>
              <a:gd name="connsiteY147" fmla="*/ 445300 h 4409314"/>
              <a:gd name="connsiteX148" fmla="*/ 3291727 w 4920143"/>
              <a:gd name="connsiteY148" fmla="*/ 433554 h 4409314"/>
              <a:gd name="connsiteX149" fmla="*/ 3329729 w 4920143"/>
              <a:gd name="connsiteY149" fmla="*/ 408757 h 4409314"/>
              <a:gd name="connsiteX150" fmla="*/ 3345464 w 4920143"/>
              <a:gd name="connsiteY150" fmla="*/ 397920 h 4409314"/>
              <a:gd name="connsiteX151" fmla="*/ 3351822 w 4920143"/>
              <a:gd name="connsiteY151" fmla="*/ 394342 h 4409314"/>
              <a:gd name="connsiteX152" fmla="*/ 3364727 w 4920143"/>
              <a:gd name="connsiteY152" fmla="*/ 385921 h 4409314"/>
              <a:gd name="connsiteX153" fmla="*/ 3410262 w 4920143"/>
              <a:gd name="connsiteY153" fmla="*/ 361445 h 4409314"/>
              <a:gd name="connsiteX154" fmla="*/ 3426786 w 4920143"/>
              <a:gd name="connsiteY154" fmla="*/ 352143 h 4409314"/>
              <a:gd name="connsiteX155" fmla="*/ 3431491 w 4920143"/>
              <a:gd name="connsiteY155" fmla="*/ 350034 h 4409314"/>
              <a:gd name="connsiteX156" fmla="*/ 3441831 w 4920143"/>
              <a:gd name="connsiteY156" fmla="*/ 344476 h 4409314"/>
              <a:gd name="connsiteX157" fmla="*/ 3497231 w 4920143"/>
              <a:gd name="connsiteY157" fmla="*/ 320561 h 4409314"/>
              <a:gd name="connsiteX158" fmla="*/ 3512460 w 4920143"/>
              <a:gd name="connsiteY158" fmla="*/ 313733 h 4409314"/>
              <a:gd name="connsiteX159" fmla="*/ 3515277 w 4920143"/>
              <a:gd name="connsiteY159" fmla="*/ 312771 h 4409314"/>
              <a:gd name="connsiteX160" fmla="*/ 3522689 w 4920143"/>
              <a:gd name="connsiteY160" fmla="*/ 309570 h 4409314"/>
              <a:gd name="connsiteX161" fmla="*/ 3594903 w 4920143"/>
              <a:gd name="connsiteY161" fmla="*/ 285562 h 4409314"/>
              <a:gd name="connsiteX162" fmla="*/ 3602059 w 4920143"/>
              <a:gd name="connsiteY162" fmla="*/ 283116 h 4409314"/>
              <a:gd name="connsiteX163" fmla="*/ 3602778 w 4920143"/>
              <a:gd name="connsiteY163" fmla="*/ 282942 h 4409314"/>
              <a:gd name="connsiteX164" fmla="*/ 3606950 w 4920143"/>
              <a:gd name="connsiteY164" fmla="*/ 281556 h 4409314"/>
              <a:gd name="connsiteX165" fmla="*/ 3784274 w 4920143"/>
              <a:gd name="connsiteY165" fmla="*/ 247602 h 4409314"/>
              <a:gd name="connsiteX166" fmla="*/ 3788303 w 4920143"/>
              <a:gd name="connsiteY166" fmla="*/ 247399 h 4409314"/>
              <a:gd name="connsiteX167" fmla="*/ 3791327 w 4920143"/>
              <a:gd name="connsiteY167" fmla="*/ 246966 h 4409314"/>
              <a:gd name="connsiteX168" fmla="*/ 3841164 w 4920143"/>
              <a:gd name="connsiteY168" fmla="*/ 244606 h 4409314"/>
              <a:gd name="connsiteX169" fmla="*/ 3841164 w 4920143"/>
              <a:gd name="connsiteY169" fmla="*/ 242288 h 4409314"/>
              <a:gd name="connsiteX170" fmla="*/ 3889515 w 4920143"/>
              <a:gd name="connsiteY170" fmla="*/ 242288 h 4409314"/>
              <a:gd name="connsiteX171" fmla="*/ 1951529 w 4920143"/>
              <a:gd name="connsiteY171" fmla="*/ 0 h 4409314"/>
              <a:gd name="connsiteX172" fmla="*/ 2716068 w 4920143"/>
              <a:gd name="connsiteY172" fmla="*/ 689931 h 4409314"/>
              <a:gd name="connsiteX173" fmla="*/ 2718212 w 4920143"/>
              <a:gd name="connsiteY173" fmla="*/ 732402 h 4409314"/>
              <a:gd name="connsiteX174" fmla="*/ 2720035 w 4920143"/>
              <a:gd name="connsiteY174" fmla="*/ 732402 h 4409314"/>
              <a:gd name="connsiteX175" fmla="*/ 2720035 w 4920143"/>
              <a:gd name="connsiteY175" fmla="*/ 768498 h 4409314"/>
              <a:gd name="connsiteX176" fmla="*/ 2720035 w 4920143"/>
              <a:gd name="connsiteY176" fmla="*/ 768506 h 4409314"/>
              <a:gd name="connsiteX177" fmla="*/ 2720035 w 4920143"/>
              <a:gd name="connsiteY177" fmla="*/ 768513 h 4409314"/>
              <a:gd name="connsiteX178" fmla="*/ 2720035 w 4920143"/>
              <a:gd name="connsiteY178" fmla="*/ 1537012 h 4409314"/>
              <a:gd name="connsiteX179" fmla="*/ 1951529 w 4920143"/>
              <a:gd name="connsiteY179" fmla="*/ 1537012 h 4409314"/>
              <a:gd name="connsiteX180" fmla="*/ 1941213 w 4920143"/>
              <a:gd name="connsiteY180" fmla="*/ 1537012 h 4409314"/>
              <a:gd name="connsiteX181" fmla="*/ 1941213 w 4920143"/>
              <a:gd name="connsiteY181" fmla="*/ 1536491 h 4409314"/>
              <a:gd name="connsiteX182" fmla="*/ 1872954 w 4920143"/>
              <a:gd name="connsiteY182" fmla="*/ 1533044 h 4409314"/>
              <a:gd name="connsiteX183" fmla="*/ 1183023 w 4920143"/>
              <a:gd name="connsiteY183" fmla="*/ 768506 h 4409314"/>
              <a:gd name="connsiteX184" fmla="*/ 1951529 w 4920143"/>
              <a:gd name="connsiteY184" fmla="*/ 0 h 4409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</a:cxnLst>
            <a:rect l="l" t="t" r="r" b="b"/>
            <a:pathLst>
              <a:path w="4920143" h="4409314">
                <a:moveTo>
                  <a:pt x="1341763" y="1689277"/>
                </a:moveTo>
                <a:lnTo>
                  <a:pt x="1360019" y="1689277"/>
                </a:lnTo>
                <a:lnTo>
                  <a:pt x="2720036" y="1689277"/>
                </a:lnTo>
                <a:lnTo>
                  <a:pt x="2720036" y="3049283"/>
                </a:lnTo>
                <a:lnTo>
                  <a:pt x="2720037" y="3049296"/>
                </a:lnTo>
                <a:lnTo>
                  <a:pt x="2720036" y="3049309"/>
                </a:lnTo>
                <a:lnTo>
                  <a:pt x="2720036" y="3113189"/>
                </a:lnTo>
                <a:lnTo>
                  <a:pt x="2716811" y="3113189"/>
                </a:lnTo>
                <a:lnTo>
                  <a:pt x="2713016" y="3188350"/>
                </a:lnTo>
                <a:cubicBezTo>
                  <a:pt x="2643369" y="3874147"/>
                  <a:pt x="2064191" y="4409314"/>
                  <a:pt x="1360019" y="4409314"/>
                </a:cubicBezTo>
                <a:cubicBezTo>
                  <a:pt x="608901" y="4409314"/>
                  <a:pt x="0" y="3800413"/>
                  <a:pt x="0" y="3049296"/>
                </a:cubicBezTo>
                <a:cubicBezTo>
                  <a:pt x="0" y="2345123"/>
                  <a:pt x="535167" y="1765946"/>
                  <a:pt x="1220965" y="1696299"/>
                </a:cubicBezTo>
                <a:lnTo>
                  <a:pt x="1341763" y="1690199"/>
                </a:lnTo>
                <a:close/>
                <a:moveTo>
                  <a:pt x="3889525" y="242287"/>
                </a:moveTo>
                <a:lnTo>
                  <a:pt x="3889535" y="242288"/>
                </a:lnTo>
                <a:lnTo>
                  <a:pt x="3890141" y="242288"/>
                </a:lnTo>
                <a:lnTo>
                  <a:pt x="4918926" y="242288"/>
                </a:lnTo>
                <a:lnTo>
                  <a:pt x="4918926" y="1217442"/>
                </a:lnTo>
                <a:lnTo>
                  <a:pt x="4920143" y="1217442"/>
                </a:lnTo>
                <a:lnTo>
                  <a:pt x="4920143" y="1271995"/>
                </a:lnTo>
                <a:lnTo>
                  <a:pt x="4920143" y="1469159"/>
                </a:lnTo>
                <a:lnTo>
                  <a:pt x="4920143" y="1881961"/>
                </a:lnTo>
                <a:lnTo>
                  <a:pt x="4920143" y="2079124"/>
                </a:lnTo>
                <a:lnTo>
                  <a:pt x="4918913" y="2079124"/>
                </a:lnTo>
                <a:lnTo>
                  <a:pt x="4918913" y="2079125"/>
                </a:lnTo>
                <a:lnTo>
                  <a:pt x="4918913" y="2079432"/>
                </a:lnTo>
                <a:lnTo>
                  <a:pt x="4918913" y="2092642"/>
                </a:lnTo>
                <a:lnTo>
                  <a:pt x="4918913" y="2133678"/>
                </a:lnTo>
                <a:lnTo>
                  <a:pt x="4916345" y="2133678"/>
                </a:lnTo>
                <a:lnTo>
                  <a:pt x="4914238" y="2178188"/>
                </a:lnTo>
                <a:lnTo>
                  <a:pt x="4913701" y="2182015"/>
                </a:lnTo>
                <a:lnTo>
                  <a:pt x="4913595" y="2184129"/>
                </a:lnTo>
                <a:lnTo>
                  <a:pt x="4910595" y="2204203"/>
                </a:lnTo>
                <a:lnTo>
                  <a:pt x="4901610" y="2268379"/>
                </a:lnTo>
                <a:lnTo>
                  <a:pt x="4899903" y="2275759"/>
                </a:lnTo>
                <a:lnTo>
                  <a:pt x="4899254" y="2280107"/>
                </a:lnTo>
                <a:lnTo>
                  <a:pt x="4893706" y="2302548"/>
                </a:lnTo>
                <a:lnTo>
                  <a:pt x="4881366" y="2355894"/>
                </a:lnTo>
                <a:lnTo>
                  <a:pt x="4877851" y="2366687"/>
                </a:lnTo>
                <a:lnTo>
                  <a:pt x="4876295" y="2372985"/>
                </a:lnTo>
                <a:lnTo>
                  <a:pt x="4868810" y="2394454"/>
                </a:lnTo>
                <a:lnTo>
                  <a:pt x="4853854" y="2440384"/>
                </a:lnTo>
                <a:lnTo>
                  <a:pt x="4847938" y="2454322"/>
                </a:lnTo>
                <a:lnTo>
                  <a:pt x="4845145" y="2462335"/>
                </a:lnTo>
                <a:lnTo>
                  <a:pt x="4836286" y="2481775"/>
                </a:lnTo>
                <a:lnTo>
                  <a:pt x="4819427" y="2521496"/>
                </a:lnTo>
                <a:lnTo>
                  <a:pt x="4810544" y="2538263"/>
                </a:lnTo>
                <a:lnTo>
                  <a:pt x="4806229" y="2547733"/>
                </a:lnTo>
                <a:lnTo>
                  <a:pt x="4796511" y="2564754"/>
                </a:lnTo>
                <a:lnTo>
                  <a:pt x="4778435" y="2598879"/>
                </a:lnTo>
                <a:lnTo>
                  <a:pt x="4766048" y="2618115"/>
                </a:lnTo>
                <a:lnTo>
                  <a:pt x="4759977" y="2628749"/>
                </a:lnTo>
                <a:lnTo>
                  <a:pt x="4749872" y="2643234"/>
                </a:lnTo>
                <a:lnTo>
                  <a:pt x="4731231" y="2672182"/>
                </a:lnTo>
                <a:lnTo>
                  <a:pt x="4714821" y="2693479"/>
                </a:lnTo>
                <a:lnTo>
                  <a:pt x="4706813" y="2704960"/>
                </a:lnTo>
                <a:lnTo>
                  <a:pt x="4696748" y="2716934"/>
                </a:lnTo>
                <a:lnTo>
                  <a:pt x="4678165" y="2741053"/>
                </a:lnTo>
                <a:lnTo>
                  <a:pt x="4657225" y="2763963"/>
                </a:lnTo>
                <a:lnTo>
                  <a:pt x="4647164" y="2775936"/>
                </a:lnTo>
                <a:lnTo>
                  <a:pt x="4637529" y="2785513"/>
                </a:lnTo>
                <a:lnTo>
                  <a:pt x="4619589" y="2805142"/>
                </a:lnTo>
                <a:lnTo>
                  <a:pt x="4593597" y="2829184"/>
                </a:lnTo>
                <a:lnTo>
                  <a:pt x="4581456" y="2841253"/>
                </a:lnTo>
                <a:lnTo>
                  <a:pt x="4572605" y="2848601"/>
                </a:lnTo>
                <a:lnTo>
                  <a:pt x="4555853" y="2864096"/>
                </a:lnTo>
                <a:lnTo>
                  <a:pt x="4524228" y="2888767"/>
                </a:lnTo>
                <a:lnTo>
                  <a:pt x="4510117" y="2900483"/>
                </a:lnTo>
                <a:lnTo>
                  <a:pt x="4502368" y="2905820"/>
                </a:lnTo>
                <a:lnTo>
                  <a:pt x="4487310" y="2917566"/>
                </a:lnTo>
                <a:lnTo>
                  <a:pt x="4449308" y="2942363"/>
                </a:lnTo>
                <a:lnTo>
                  <a:pt x="4433574" y="2953200"/>
                </a:lnTo>
                <a:lnTo>
                  <a:pt x="4427215" y="2956778"/>
                </a:lnTo>
                <a:lnTo>
                  <a:pt x="4414311" y="2965199"/>
                </a:lnTo>
                <a:lnTo>
                  <a:pt x="4368776" y="2989675"/>
                </a:lnTo>
                <a:lnTo>
                  <a:pt x="4352251" y="2998977"/>
                </a:lnTo>
                <a:lnTo>
                  <a:pt x="4347546" y="3001086"/>
                </a:lnTo>
                <a:lnTo>
                  <a:pt x="4337206" y="3006644"/>
                </a:lnTo>
                <a:lnTo>
                  <a:pt x="4281806" y="3030559"/>
                </a:lnTo>
                <a:lnTo>
                  <a:pt x="4266577" y="3037387"/>
                </a:lnTo>
                <a:lnTo>
                  <a:pt x="4263760" y="3038350"/>
                </a:lnTo>
                <a:lnTo>
                  <a:pt x="4256348" y="3041550"/>
                </a:lnTo>
                <a:lnTo>
                  <a:pt x="4184135" y="3065558"/>
                </a:lnTo>
                <a:lnTo>
                  <a:pt x="4176978" y="3068005"/>
                </a:lnTo>
                <a:lnTo>
                  <a:pt x="4176259" y="3068178"/>
                </a:lnTo>
                <a:lnTo>
                  <a:pt x="4172087" y="3069565"/>
                </a:lnTo>
                <a:cubicBezTo>
                  <a:pt x="4114856" y="3085867"/>
                  <a:pt x="4055593" y="3097340"/>
                  <a:pt x="3994762" y="3103519"/>
                </a:cubicBezTo>
                <a:lnTo>
                  <a:pt x="3990734" y="3103721"/>
                </a:lnTo>
                <a:lnTo>
                  <a:pt x="3987710" y="3104154"/>
                </a:lnTo>
                <a:lnTo>
                  <a:pt x="3937873" y="3106514"/>
                </a:lnTo>
                <a:lnTo>
                  <a:pt x="3937873" y="3108833"/>
                </a:lnTo>
                <a:lnTo>
                  <a:pt x="3889523" y="3108833"/>
                </a:lnTo>
                <a:lnTo>
                  <a:pt x="3889512" y="3108833"/>
                </a:lnTo>
                <a:lnTo>
                  <a:pt x="3889503" y="3108833"/>
                </a:lnTo>
                <a:lnTo>
                  <a:pt x="3888896" y="3108833"/>
                </a:lnTo>
                <a:lnTo>
                  <a:pt x="2860112" y="3108833"/>
                </a:lnTo>
                <a:lnTo>
                  <a:pt x="2860112" y="2133678"/>
                </a:lnTo>
                <a:lnTo>
                  <a:pt x="2858894" y="2133678"/>
                </a:lnTo>
                <a:lnTo>
                  <a:pt x="2858894" y="2079125"/>
                </a:lnTo>
                <a:lnTo>
                  <a:pt x="2858894" y="1881961"/>
                </a:lnTo>
                <a:lnTo>
                  <a:pt x="2858894" y="1469159"/>
                </a:lnTo>
                <a:lnTo>
                  <a:pt x="2858894" y="1271996"/>
                </a:lnTo>
                <a:lnTo>
                  <a:pt x="2860124" y="1271996"/>
                </a:lnTo>
                <a:lnTo>
                  <a:pt x="2860124" y="1271995"/>
                </a:lnTo>
                <a:lnTo>
                  <a:pt x="2860124" y="1271687"/>
                </a:lnTo>
                <a:lnTo>
                  <a:pt x="2860124" y="1258478"/>
                </a:lnTo>
                <a:lnTo>
                  <a:pt x="2860124" y="1217442"/>
                </a:lnTo>
                <a:lnTo>
                  <a:pt x="2862693" y="1217442"/>
                </a:lnTo>
                <a:lnTo>
                  <a:pt x="2864800" y="1172932"/>
                </a:lnTo>
                <a:lnTo>
                  <a:pt x="2865336" y="1169104"/>
                </a:lnTo>
                <a:lnTo>
                  <a:pt x="2865443" y="1166991"/>
                </a:lnTo>
                <a:lnTo>
                  <a:pt x="2868442" y="1146917"/>
                </a:lnTo>
                <a:lnTo>
                  <a:pt x="2877427" y="1082741"/>
                </a:lnTo>
                <a:lnTo>
                  <a:pt x="2879134" y="1075360"/>
                </a:lnTo>
                <a:lnTo>
                  <a:pt x="2879784" y="1071013"/>
                </a:lnTo>
                <a:lnTo>
                  <a:pt x="2885331" y="1048572"/>
                </a:lnTo>
                <a:lnTo>
                  <a:pt x="2897672" y="995225"/>
                </a:lnTo>
                <a:lnTo>
                  <a:pt x="2901186" y="984433"/>
                </a:lnTo>
                <a:lnTo>
                  <a:pt x="2902743" y="978135"/>
                </a:lnTo>
                <a:lnTo>
                  <a:pt x="2910227" y="956666"/>
                </a:lnTo>
                <a:lnTo>
                  <a:pt x="2925183" y="910736"/>
                </a:lnTo>
                <a:lnTo>
                  <a:pt x="2931099" y="896798"/>
                </a:lnTo>
                <a:lnTo>
                  <a:pt x="2933893" y="888785"/>
                </a:lnTo>
                <a:lnTo>
                  <a:pt x="2942752" y="869345"/>
                </a:lnTo>
                <a:lnTo>
                  <a:pt x="2959611" y="829624"/>
                </a:lnTo>
                <a:lnTo>
                  <a:pt x="2968493" y="812857"/>
                </a:lnTo>
                <a:lnTo>
                  <a:pt x="2972808" y="803388"/>
                </a:lnTo>
                <a:lnTo>
                  <a:pt x="2982526" y="786366"/>
                </a:lnTo>
                <a:lnTo>
                  <a:pt x="3000602" y="752241"/>
                </a:lnTo>
                <a:lnTo>
                  <a:pt x="3012989" y="733005"/>
                </a:lnTo>
                <a:lnTo>
                  <a:pt x="3019061" y="722370"/>
                </a:lnTo>
                <a:lnTo>
                  <a:pt x="3029166" y="707885"/>
                </a:lnTo>
                <a:lnTo>
                  <a:pt x="3047806" y="678938"/>
                </a:lnTo>
                <a:lnTo>
                  <a:pt x="3064216" y="657642"/>
                </a:lnTo>
                <a:lnTo>
                  <a:pt x="3072225" y="646160"/>
                </a:lnTo>
                <a:lnTo>
                  <a:pt x="3082289" y="634186"/>
                </a:lnTo>
                <a:lnTo>
                  <a:pt x="3100873" y="610067"/>
                </a:lnTo>
                <a:lnTo>
                  <a:pt x="3121812" y="587157"/>
                </a:lnTo>
                <a:lnTo>
                  <a:pt x="3131874" y="575184"/>
                </a:lnTo>
                <a:lnTo>
                  <a:pt x="3141508" y="565607"/>
                </a:lnTo>
                <a:lnTo>
                  <a:pt x="3159449" y="545978"/>
                </a:lnTo>
                <a:lnTo>
                  <a:pt x="3185440" y="521936"/>
                </a:lnTo>
                <a:lnTo>
                  <a:pt x="3197581" y="509867"/>
                </a:lnTo>
                <a:lnTo>
                  <a:pt x="3206432" y="502518"/>
                </a:lnTo>
                <a:lnTo>
                  <a:pt x="3223184" y="487023"/>
                </a:lnTo>
                <a:lnTo>
                  <a:pt x="3254809" y="462354"/>
                </a:lnTo>
                <a:lnTo>
                  <a:pt x="3268920" y="450637"/>
                </a:lnTo>
                <a:lnTo>
                  <a:pt x="3276669" y="445300"/>
                </a:lnTo>
                <a:lnTo>
                  <a:pt x="3291727" y="433554"/>
                </a:lnTo>
                <a:lnTo>
                  <a:pt x="3329729" y="408757"/>
                </a:lnTo>
                <a:lnTo>
                  <a:pt x="3345464" y="397920"/>
                </a:lnTo>
                <a:lnTo>
                  <a:pt x="3351822" y="394342"/>
                </a:lnTo>
                <a:lnTo>
                  <a:pt x="3364727" y="385921"/>
                </a:lnTo>
                <a:lnTo>
                  <a:pt x="3410262" y="361445"/>
                </a:lnTo>
                <a:lnTo>
                  <a:pt x="3426786" y="352143"/>
                </a:lnTo>
                <a:lnTo>
                  <a:pt x="3431491" y="350034"/>
                </a:lnTo>
                <a:lnTo>
                  <a:pt x="3441831" y="344476"/>
                </a:lnTo>
                <a:lnTo>
                  <a:pt x="3497231" y="320561"/>
                </a:lnTo>
                <a:lnTo>
                  <a:pt x="3512460" y="313733"/>
                </a:lnTo>
                <a:lnTo>
                  <a:pt x="3515277" y="312771"/>
                </a:lnTo>
                <a:lnTo>
                  <a:pt x="3522689" y="309570"/>
                </a:lnTo>
                <a:lnTo>
                  <a:pt x="3594903" y="285562"/>
                </a:lnTo>
                <a:lnTo>
                  <a:pt x="3602059" y="283116"/>
                </a:lnTo>
                <a:lnTo>
                  <a:pt x="3602778" y="282942"/>
                </a:lnTo>
                <a:lnTo>
                  <a:pt x="3606950" y="281556"/>
                </a:lnTo>
                <a:cubicBezTo>
                  <a:pt x="3664181" y="265254"/>
                  <a:pt x="3723445" y="253780"/>
                  <a:pt x="3784274" y="247602"/>
                </a:cubicBezTo>
                <a:lnTo>
                  <a:pt x="3788303" y="247399"/>
                </a:lnTo>
                <a:lnTo>
                  <a:pt x="3791327" y="246966"/>
                </a:lnTo>
                <a:lnTo>
                  <a:pt x="3841164" y="244606"/>
                </a:lnTo>
                <a:lnTo>
                  <a:pt x="3841164" y="242288"/>
                </a:lnTo>
                <a:lnTo>
                  <a:pt x="3889515" y="242288"/>
                </a:lnTo>
                <a:close/>
                <a:moveTo>
                  <a:pt x="1951529" y="0"/>
                </a:moveTo>
                <a:cubicBezTo>
                  <a:pt x="2349436" y="0"/>
                  <a:pt x="2676712" y="302407"/>
                  <a:pt x="2716068" y="689931"/>
                </a:cubicBezTo>
                <a:lnTo>
                  <a:pt x="2718212" y="732402"/>
                </a:lnTo>
                <a:lnTo>
                  <a:pt x="2720035" y="732402"/>
                </a:lnTo>
                <a:lnTo>
                  <a:pt x="2720035" y="768498"/>
                </a:lnTo>
                <a:lnTo>
                  <a:pt x="2720035" y="768506"/>
                </a:lnTo>
                <a:lnTo>
                  <a:pt x="2720035" y="768513"/>
                </a:lnTo>
                <a:lnTo>
                  <a:pt x="2720035" y="1537012"/>
                </a:lnTo>
                <a:lnTo>
                  <a:pt x="1951529" y="1537012"/>
                </a:lnTo>
                <a:lnTo>
                  <a:pt x="1941213" y="1537012"/>
                </a:lnTo>
                <a:lnTo>
                  <a:pt x="1941213" y="1536491"/>
                </a:lnTo>
                <a:lnTo>
                  <a:pt x="1872954" y="1533044"/>
                </a:lnTo>
                <a:cubicBezTo>
                  <a:pt x="1485430" y="1493689"/>
                  <a:pt x="1183023" y="1166413"/>
                  <a:pt x="1183023" y="768506"/>
                </a:cubicBezTo>
                <a:cubicBezTo>
                  <a:pt x="1183023" y="344072"/>
                  <a:pt x="1527095" y="0"/>
                  <a:pt x="19515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14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74D766E-C329-4E8E-9BE7-5A9155152C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1521" y="421903"/>
            <a:ext cx="4276338" cy="6031595"/>
          </a:xfrm>
          <a:custGeom>
            <a:avLst/>
            <a:gdLst>
              <a:gd name="connsiteX0" fmla="*/ 2781255 w 4276338"/>
              <a:gd name="connsiteY0" fmla="*/ 0 h 6031595"/>
              <a:gd name="connsiteX1" fmla="*/ 2781270 w 4276338"/>
              <a:gd name="connsiteY1" fmla="*/ 1 h 6031595"/>
              <a:gd name="connsiteX2" fmla="*/ 2851409 w 4276338"/>
              <a:gd name="connsiteY2" fmla="*/ 1 h 6031595"/>
              <a:gd name="connsiteX3" fmla="*/ 2851409 w 4276338"/>
              <a:gd name="connsiteY3" fmla="*/ 3435 h 6031595"/>
              <a:gd name="connsiteX4" fmla="*/ 2923707 w 4276338"/>
              <a:gd name="connsiteY4" fmla="*/ 6932 h 6031595"/>
              <a:gd name="connsiteX5" fmla="*/ 2928093 w 4276338"/>
              <a:gd name="connsiteY5" fmla="*/ 7572 h 6031595"/>
              <a:gd name="connsiteX6" fmla="*/ 2933936 w 4276338"/>
              <a:gd name="connsiteY6" fmla="*/ 7873 h 6031595"/>
              <a:gd name="connsiteX7" fmla="*/ 3191171 w 4276338"/>
              <a:gd name="connsiteY7" fmla="*/ 58173 h 6031595"/>
              <a:gd name="connsiteX8" fmla="*/ 3197224 w 4276338"/>
              <a:gd name="connsiteY8" fmla="*/ 60227 h 6031595"/>
              <a:gd name="connsiteX9" fmla="*/ 3198266 w 4276338"/>
              <a:gd name="connsiteY9" fmla="*/ 60485 h 6031595"/>
              <a:gd name="connsiteX10" fmla="*/ 3208649 w 4276338"/>
              <a:gd name="connsiteY10" fmla="*/ 64107 h 6031595"/>
              <a:gd name="connsiteX11" fmla="*/ 3313404 w 4276338"/>
              <a:gd name="connsiteY11" fmla="*/ 99675 h 6031595"/>
              <a:gd name="connsiteX12" fmla="*/ 3324157 w 4276338"/>
              <a:gd name="connsiteY12" fmla="*/ 104416 h 6031595"/>
              <a:gd name="connsiteX13" fmla="*/ 3328243 w 4276338"/>
              <a:gd name="connsiteY13" fmla="*/ 105842 h 6031595"/>
              <a:gd name="connsiteX14" fmla="*/ 3350335 w 4276338"/>
              <a:gd name="connsiteY14" fmla="*/ 115957 h 6031595"/>
              <a:gd name="connsiteX15" fmla="*/ 3430701 w 4276338"/>
              <a:gd name="connsiteY15" fmla="*/ 151385 h 6031595"/>
              <a:gd name="connsiteX16" fmla="*/ 3445700 w 4276338"/>
              <a:gd name="connsiteY16" fmla="*/ 159618 h 6031595"/>
              <a:gd name="connsiteX17" fmla="*/ 3452526 w 4276338"/>
              <a:gd name="connsiteY17" fmla="*/ 162743 h 6031595"/>
              <a:gd name="connsiteX18" fmla="*/ 3476498 w 4276338"/>
              <a:gd name="connsiteY18" fmla="*/ 176524 h 6031595"/>
              <a:gd name="connsiteX19" fmla="*/ 3542552 w 4276338"/>
              <a:gd name="connsiteY19" fmla="*/ 212783 h 6031595"/>
              <a:gd name="connsiteX20" fmla="*/ 3561272 w 4276338"/>
              <a:gd name="connsiteY20" fmla="*/ 225258 h 6031595"/>
              <a:gd name="connsiteX21" fmla="*/ 3570497 w 4276338"/>
              <a:gd name="connsiteY21" fmla="*/ 230558 h 6031595"/>
              <a:gd name="connsiteX22" fmla="*/ 3593322 w 4276338"/>
              <a:gd name="connsiteY22" fmla="*/ 246613 h 6031595"/>
              <a:gd name="connsiteX23" fmla="*/ 3648450 w 4276338"/>
              <a:gd name="connsiteY23" fmla="*/ 283348 h 6031595"/>
              <a:gd name="connsiteX24" fmla="*/ 3670293 w 4276338"/>
              <a:gd name="connsiteY24" fmla="*/ 300749 h 6031595"/>
              <a:gd name="connsiteX25" fmla="*/ 3681535 w 4276338"/>
              <a:gd name="connsiteY25" fmla="*/ 308654 h 6031595"/>
              <a:gd name="connsiteX26" fmla="*/ 3702004 w 4276338"/>
              <a:gd name="connsiteY26" fmla="*/ 326011 h 6031595"/>
              <a:gd name="connsiteX27" fmla="*/ 3747882 w 4276338"/>
              <a:gd name="connsiteY27" fmla="*/ 362560 h 6031595"/>
              <a:gd name="connsiteX28" fmla="*/ 3772182 w 4276338"/>
              <a:gd name="connsiteY28" fmla="*/ 385514 h 6031595"/>
              <a:gd name="connsiteX29" fmla="*/ 3785022 w 4276338"/>
              <a:gd name="connsiteY29" fmla="*/ 396400 h 6031595"/>
              <a:gd name="connsiteX30" fmla="*/ 3802634 w 4276338"/>
              <a:gd name="connsiteY30" fmla="*/ 414279 h 6031595"/>
              <a:gd name="connsiteX31" fmla="*/ 3840339 w 4276338"/>
              <a:gd name="connsiteY31" fmla="*/ 449896 h 6031595"/>
              <a:gd name="connsiteX32" fmla="*/ 3866365 w 4276338"/>
              <a:gd name="connsiteY32" fmla="*/ 478975 h 6031595"/>
              <a:gd name="connsiteX33" fmla="*/ 3880341 w 4276338"/>
              <a:gd name="connsiteY33" fmla="*/ 493162 h 6031595"/>
              <a:gd name="connsiteX34" fmla="*/ 3894937 w 4276338"/>
              <a:gd name="connsiteY34" fmla="*/ 510898 h 6031595"/>
              <a:gd name="connsiteX35" fmla="*/ 3925313 w 4276338"/>
              <a:gd name="connsiteY35" fmla="*/ 544839 h 6031595"/>
              <a:gd name="connsiteX36" fmla="*/ 3952271 w 4276338"/>
              <a:gd name="connsiteY36" fmla="*/ 580568 h 6031595"/>
              <a:gd name="connsiteX37" fmla="*/ 3966871 w 4276338"/>
              <a:gd name="connsiteY37" fmla="*/ 598307 h 6031595"/>
              <a:gd name="connsiteX38" fmla="*/ 3978488 w 4276338"/>
              <a:gd name="connsiteY38" fmla="*/ 615316 h 6031595"/>
              <a:gd name="connsiteX39" fmla="*/ 4002293 w 4276338"/>
              <a:gd name="connsiteY39" fmla="*/ 646866 h 6031595"/>
              <a:gd name="connsiteX40" fmla="*/ 4029333 w 4276338"/>
              <a:gd name="connsiteY40" fmla="*/ 689750 h 6031595"/>
              <a:gd name="connsiteX41" fmla="*/ 4043994 w 4276338"/>
              <a:gd name="connsiteY41" fmla="*/ 711208 h 6031595"/>
              <a:gd name="connsiteX42" fmla="*/ 4052801 w 4276338"/>
              <a:gd name="connsiteY42" fmla="*/ 726962 h 6031595"/>
              <a:gd name="connsiteX43" fmla="*/ 4070770 w 4276338"/>
              <a:gd name="connsiteY43" fmla="*/ 755459 h 6031595"/>
              <a:gd name="connsiteX44" fmla="*/ 4096992 w 4276338"/>
              <a:gd name="connsiteY44" fmla="*/ 806012 h 6031595"/>
              <a:gd name="connsiteX45" fmla="*/ 4111089 w 4276338"/>
              <a:gd name="connsiteY45" fmla="*/ 831229 h 6031595"/>
              <a:gd name="connsiteX46" fmla="*/ 4117349 w 4276338"/>
              <a:gd name="connsiteY46" fmla="*/ 845256 h 6031595"/>
              <a:gd name="connsiteX47" fmla="*/ 4130234 w 4276338"/>
              <a:gd name="connsiteY47" fmla="*/ 870096 h 6031595"/>
              <a:gd name="connsiteX48" fmla="*/ 4154690 w 4276338"/>
              <a:gd name="connsiteY48" fmla="*/ 928939 h 6031595"/>
              <a:gd name="connsiteX49" fmla="*/ 4167542 w 4276338"/>
              <a:gd name="connsiteY49" fmla="*/ 957739 h 6031595"/>
              <a:gd name="connsiteX50" fmla="*/ 4171594 w 4276338"/>
              <a:gd name="connsiteY50" fmla="*/ 969609 h 6031595"/>
              <a:gd name="connsiteX51" fmla="*/ 4180176 w 4276338"/>
              <a:gd name="connsiteY51" fmla="*/ 990257 h 6031595"/>
              <a:gd name="connsiteX52" fmla="*/ 4201872 w 4276338"/>
              <a:gd name="connsiteY52" fmla="*/ 1058299 h 6031595"/>
              <a:gd name="connsiteX53" fmla="*/ 4212729 w 4276338"/>
              <a:gd name="connsiteY53" fmla="*/ 1090104 h 6031595"/>
              <a:gd name="connsiteX54" fmla="*/ 4214988 w 4276338"/>
              <a:gd name="connsiteY54" fmla="*/ 1099433 h 6031595"/>
              <a:gd name="connsiteX55" fmla="*/ 4220085 w 4276338"/>
              <a:gd name="connsiteY55" fmla="*/ 1115422 h 6031595"/>
              <a:gd name="connsiteX56" fmla="*/ 4237987 w 4276338"/>
              <a:gd name="connsiteY56" fmla="*/ 1194451 h 6031595"/>
              <a:gd name="connsiteX57" fmla="*/ 4246035 w 4276338"/>
              <a:gd name="connsiteY57" fmla="*/ 1227696 h 6031595"/>
              <a:gd name="connsiteX58" fmla="*/ 4246977 w 4276338"/>
              <a:gd name="connsiteY58" fmla="*/ 1234136 h 6031595"/>
              <a:gd name="connsiteX59" fmla="*/ 4249454 w 4276338"/>
              <a:gd name="connsiteY59" fmla="*/ 1245070 h 6031595"/>
              <a:gd name="connsiteX60" fmla="*/ 4262487 w 4276338"/>
              <a:gd name="connsiteY60" fmla="*/ 1340141 h 6031595"/>
              <a:gd name="connsiteX61" fmla="*/ 4266839 w 4276338"/>
              <a:gd name="connsiteY61" fmla="*/ 1369879 h 6031595"/>
              <a:gd name="connsiteX62" fmla="*/ 4266994 w 4276338"/>
              <a:gd name="connsiteY62" fmla="*/ 1373011 h 6031595"/>
              <a:gd name="connsiteX63" fmla="*/ 4267770 w 4276338"/>
              <a:gd name="connsiteY63" fmla="*/ 1378680 h 6031595"/>
              <a:gd name="connsiteX64" fmla="*/ 4270828 w 4276338"/>
              <a:gd name="connsiteY64" fmla="*/ 1444619 h 6031595"/>
              <a:gd name="connsiteX65" fmla="*/ 4274554 w 4276338"/>
              <a:gd name="connsiteY65" fmla="*/ 1444619 h 6031595"/>
              <a:gd name="connsiteX66" fmla="*/ 4274554 w 4276338"/>
              <a:gd name="connsiteY66" fmla="*/ 1505411 h 6031595"/>
              <a:gd name="connsiteX67" fmla="*/ 4274554 w 4276338"/>
              <a:gd name="connsiteY67" fmla="*/ 1524979 h 6031595"/>
              <a:gd name="connsiteX68" fmla="*/ 4274554 w 4276338"/>
              <a:gd name="connsiteY68" fmla="*/ 1525435 h 6031595"/>
              <a:gd name="connsiteX69" fmla="*/ 4274554 w 4276338"/>
              <a:gd name="connsiteY69" fmla="*/ 1525436 h 6031595"/>
              <a:gd name="connsiteX70" fmla="*/ 4276338 w 4276338"/>
              <a:gd name="connsiteY70" fmla="*/ 1525436 h 6031595"/>
              <a:gd name="connsiteX71" fmla="*/ 4276338 w 4276338"/>
              <a:gd name="connsiteY71" fmla="*/ 1724345 h 6031595"/>
              <a:gd name="connsiteX72" fmla="*/ 4276338 w 4276338"/>
              <a:gd name="connsiteY72" fmla="*/ 1817518 h 6031595"/>
              <a:gd name="connsiteX73" fmla="*/ 4276338 w 4276338"/>
              <a:gd name="connsiteY73" fmla="*/ 1983152 h 6031595"/>
              <a:gd name="connsiteX74" fmla="*/ 4276338 w 4276338"/>
              <a:gd name="connsiteY74" fmla="*/ 2006218 h 6031595"/>
              <a:gd name="connsiteX75" fmla="*/ 4276338 w 4276338"/>
              <a:gd name="connsiteY75" fmla="*/ 2087036 h 6031595"/>
              <a:gd name="connsiteX76" fmla="*/ 4274572 w 4276338"/>
              <a:gd name="connsiteY76" fmla="*/ 2087036 h 6031595"/>
              <a:gd name="connsiteX77" fmla="*/ 4274572 w 4276338"/>
              <a:gd name="connsiteY77" fmla="*/ 2117837 h 6031595"/>
              <a:gd name="connsiteX78" fmla="*/ 3339497 w 4276338"/>
              <a:gd name="connsiteY78" fmla="*/ 2117837 h 6031595"/>
              <a:gd name="connsiteX79" fmla="*/ 3427735 w 4276338"/>
              <a:gd name="connsiteY79" fmla="*/ 2178609 h 6031595"/>
              <a:gd name="connsiteX80" fmla="*/ 4265298 w 4276338"/>
              <a:gd name="connsiteY80" fmla="*/ 3665658 h 6031595"/>
              <a:gd name="connsiteX81" fmla="*/ 4274888 w 4276338"/>
              <a:gd name="connsiteY81" fmla="*/ 3855572 h 6031595"/>
              <a:gd name="connsiteX82" fmla="*/ 4276337 w 4276338"/>
              <a:gd name="connsiteY82" fmla="*/ 3855572 h 6031595"/>
              <a:gd name="connsiteX83" fmla="*/ 4276337 w 4276338"/>
              <a:gd name="connsiteY83" fmla="*/ 3884273 h 6031595"/>
              <a:gd name="connsiteX84" fmla="*/ 4276337 w 4276338"/>
              <a:gd name="connsiteY84" fmla="*/ 4511467 h 6031595"/>
              <a:gd name="connsiteX85" fmla="*/ 4276338 w 4276338"/>
              <a:gd name="connsiteY85" fmla="*/ 4511467 h 6031595"/>
              <a:gd name="connsiteX86" fmla="*/ 4276338 w 4276338"/>
              <a:gd name="connsiteY86" fmla="*/ 4586977 h 6031595"/>
              <a:gd name="connsiteX87" fmla="*/ 4276337 w 4276338"/>
              <a:gd name="connsiteY87" fmla="*/ 4586977 h 6031595"/>
              <a:gd name="connsiteX88" fmla="*/ 4276337 w 4276338"/>
              <a:gd name="connsiteY88" fmla="*/ 6022440 h 6031595"/>
              <a:gd name="connsiteX89" fmla="*/ 4274571 w 4276338"/>
              <a:gd name="connsiteY89" fmla="*/ 6022440 h 6031595"/>
              <a:gd name="connsiteX90" fmla="*/ 4274571 w 4276338"/>
              <a:gd name="connsiteY90" fmla="*/ 6031594 h 6031595"/>
              <a:gd name="connsiteX91" fmla="*/ 2782168 w 4276338"/>
              <a:gd name="connsiteY91" fmla="*/ 6031594 h 6031595"/>
              <a:gd name="connsiteX92" fmla="*/ 2781288 w 4276338"/>
              <a:gd name="connsiteY92" fmla="*/ 6031594 h 6031595"/>
              <a:gd name="connsiteX93" fmla="*/ 2781274 w 4276338"/>
              <a:gd name="connsiteY93" fmla="*/ 6031595 h 6031595"/>
              <a:gd name="connsiteX94" fmla="*/ 2781260 w 4276338"/>
              <a:gd name="connsiteY94" fmla="*/ 6031594 h 6031595"/>
              <a:gd name="connsiteX95" fmla="*/ 2711119 w 4276338"/>
              <a:gd name="connsiteY95" fmla="*/ 6031594 h 6031595"/>
              <a:gd name="connsiteX96" fmla="*/ 2711119 w 4276338"/>
              <a:gd name="connsiteY96" fmla="*/ 6028160 h 6031595"/>
              <a:gd name="connsiteX97" fmla="*/ 2638822 w 4276338"/>
              <a:gd name="connsiteY97" fmla="*/ 6024663 h 6031595"/>
              <a:gd name="connsiteX98" fmla="*/ 2634436 w 4276338"/>
              <a:gd name="connsiteY98" fmla="*/ 6024023 h 6031595"/>
              <a:gd name="connsiteX99" fmla="*/ 2628593 w 4276338"/>
              <a:gd name="connsiteY99" fmla="*/ 6023723 h 6031595"/>
              <a:gd name="connsiteX100" fmla="*/ 2620014 w 4276338"/>
              <a:gd name="connsiteY100" fmla="*/ 6022440 h 6031595"/>
              <a:gd name="connsiteX101" fmla="*/ 2138188 w 4276338"/>
              <a:gd name="connsiteY101" fmla="*/ 6022440 h 6031595"/>
              <a:gd name="connsiteX102" fmla="*/ 2138169 w 4276338"/>
              <a:gd name="connsiteY102" fmla="*/ 6022441 h 6031595"/>
              <a:gd name="connsiteX103" fmla="*/ 2138148 w 4276338"/>
              <a:gd name="connsiteY103" fmla="*/ 6022440 h 6031595"/>
              <a:gd name="connsiteX104" fmla="*/ 2037719 w 4276338"/>
              <a:gd name="connsiteY104" fmla="*/ 6022440 h 6031595"/>
              <a:gd name="connsiteX105" fmla="*/ 2037719 w 4276338"/>
              <a:gd name="connsiteY105" fmla="*/ 6017369 h 6031595"/>
              <a:gd name="connsiteX106" fmla="*/ 1919554 w 4276338"/>
              <a:gd name="connsiteY106" fmla="*/ 6011403 h 6031595"/>
              <a:gd name="connsiteX107" fmla="*/ 0 w 4276338"/>
              <a:gd name="connsiteY107" fmla="*/ 3884273 h 6031595"/>
              <a:gd name="connsiteX108" fmla="*/ 1118990 w 4276338"/>
              <a:gd name="connsiteY108" fmla="*/ 2004170 h 6031595"/>
              <a:gd name="connsiteX109" fmla="*/ 1286191 w 4276338"/>
              <a:gd name="connsiteY109" fmla="*/ 1923625 h 6031595"/>
              <a:gd name="connsiteX110" fmla="*/ 1286191 w 4276338"/>
              <a:gd name="connsiteY110" fmla="*/ 1817518 h 6031595"/>
              <a:gd name="connsiteX111" fmla="*/ 1286191 w 4276338"/>
              <a:gd name="connsiteY111" fmla="*/ 1724345 h 6031595"/>
              <a:gd name="connsiteX112" fmla="*/ 1286191 w 4276338"/>
              <a:gd name="connsiteY112" fmla="*/ 1525435 h 6031595"/>
              <a:gd name="connsiteX113" fmla="*/ 1286191 w 4276338"/>
              <a:gd name="connsiteY113" fmla="*/ 1444619 h 6031595"/>
              <a:gd name="connsiteX114" fmla="*/ 1287958 w 4276338"/>
              <a:gd name="connsiteY114" fmla="*/ 1444619 h 6031595"/>
              <a:gd name="connsiteX115" fmla="*/ 1287958 w 4276338"/>
              <a:gd name="connsiteY115" fmla="*/ 1 h 6031595"/>
              <a:gd name="connsiteX116" fmla="*/ 2780361 w 4276338"/>
              <a:gd name="connsiteY116" fmla="*/ 1 h 6031595"/>
              <a:gd name="connsiteX117" fmla="*/ 2781241 w 4276338"/>
              <a:gd name="connsiteY117" fmla="*/ 1 h 6031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4276338" h="6031595">
                <a:moveTo>
                  <a:pt x="2781255" y="0"/>
                </a:moveTo>
                <a:lnTo>
                  <a:pt x="2781270" y="1"/>
                </a:lnTo>
                <a:lnTo>
                  <a:pt x="2851409" y="1"/>
                </a:lnTo>
                <a:lnTo>
                  <a:pt x="2851409" y="3435"/>
                </a:lnTo>
                <a:lnTo>
                  <a:pt x="2923707" y="6932"/>
                </a:lnTo>
                <a:lnTo>
                  <a:pt x="2928093" y="7572"/>
                </a:lnTo>
                <a:lnTo>
                  <a:pt x="2933936" y="7873"/>
                </a:lnTo>
                <a:cubicBezTo>
                  <a:pt x="3022179" y="17025"/>
                  <a:pt x="3108150" y="34023"/>
                  <a:pt x="3191171" y="58173"/>
                </a:cubicBezTo>
                <a:lnTo>
                  <a:pt x="3197224" y="60227"/>
                </a:lnTo>
                <a:lnTo>
                  <a:pt x="3198266" y="60485"/>
                </a:lnTo>
                <a:lnTo>
                  <a:pt x="3208649" y="64107"/>
                </a:lnTo>
                <a:lnTo>
                  <a:pt x="3313404" y="99675"/>
                </a:lnTo>
                <a:lnTo>
                  <a:pt x="3324157" y="104416"/>
                </a:lnTo>
                <a:lnTo>
                  <a:pt x="3328243" y="105842"/>
                </a:lnTo>
                <a:lnTo>
                  <a:pt x="3350335" y="115957"/>
                </a:lnTo>
                <a:lnTo>
                  <a:pt x="3430701" y="151385"/>
                </a:lnTo>
                <a:lnTo>
                  <a:pt x="3445700" y="159618"/>
                </a:lnTo>
                <a:lnTo>
                  <a:pt x="3452526" y="162743"/>
                </a:lnTo>
                <a:lnTo>
                  <a:pt x="3476498" y="176524"/>
                </a:lnTo>
                <a:lnTo>
                  <a:pt x="3542552" y="212783"/>
                </a:lnTo>
                <a:lnTo>
                  <a:pt x="3561272" y="225258"/>
                </a:lnTo>
                <a:lnTo>
                  <a:pt x="3570497" y="230558"/>
                </a:lnTo>
                <a:lnTo>
                  <a:pt x="3593322" y="246613"/>
                </a:lnTo>
                <a:lnTo>
                  <a:pt x="3648450" y="283348"/>
                </a:lnTo>
                <a:lnTo>
                  <a:pt x="3670293" y="300749"/>
                </a:lnTo>
                <a:lnTo>
                  <a:pt x="3681535" y="308654"/>
                </a:lnTo>
                <a:lnTo>
                  <a:pt x="3702004" y="326011"/>
                </a:lnTo>
                <a:lnTo>
                  <a:pt x="3747882" y="362560"/>
                </a:lnTo>
                <a:lnTo>
                  <a:pt x="3772182" y="385514"/>
                </a:lnTo>
                <a:lnTo>
                  <a:pt x="3785022" y="396400"/>
                </a:lnTo>
                <a:lnTo>
                  <a:pt x="3802634" y="414279"/>
                </a:lnTo>
                <a:lnTo>
                  <a:pt x="3840339" y="449896"/>
                </a:lnTo>
                <a:lnTo>
                  <a:pt x="3866365" y="478975"/>
                </a:lnTo>
                <a:lnTo>
                  <a:pt x="3880341" y="493162"/>
                </a:lnTo>
                <a:lnTo>
                  <a:pt x="3894937" y="510898"/>
                </a:lnTo>
                <a:lnTo>
                  <a:pt x="3925313" y="544839"/>
                </a:lnTo>
                <a:lnTo>
                  <a:pt x="3952271" y="580568"/>
                </a:lnTo>
                <a:lnTo>
                  <a:pt x="3966871" y="598307"/>
                </a:lnTo>
                <a:lnTo>
                  <a:pt x="3978488" y="615316"/>
                </a:lnTo>
                <a:lnTo>
                  <a:pt x="4002293" y="646866"/>
                </a:lnTo>
                <a:lnTo>
                  <a:pt x="4029333" y="689750"/>
                </a:lnTo>
                <a:lnTo>
                  <a:pt x="4043994" y="711208"/>
                </a:lnTo>
                <a:lnTo>
                  <a:pt x="4052801" y="726962"/>
                </a:lnTo>
                <a:lnTo>
                  <a:pt x="4070770" y="755459"/>
                </a:lnTo>
                <a:lnTo>
                  <a:pt x="4096992" y="806012"/>
                </a:lnTo>
                <a:lnTo>
                  <a:pt x="4111089" y="831229"/>
                </a:lnTo>
                <a:lnTo>
                  <a:pt x="4117349" y="845256"/>
                </a:lnTo>
                <a:lnTo>
                  <a:pt x="4130234" y="870096"/>
                </a:lnTo>
                <a:lnTo>
                  <a:pt x="4154690" y="928939"/>
                </a:lnTo>
                <a:lnTo>
                  <a:pt x="4167542" y="957739"/>
                </a:lnTo>
                <a:lnTo>
                  <a:pt x="4171594" y="969609"/>
                </a:lnTo>
                <a:lnTo>
                  <a:pt x="4180176" y="990257"/>
                </a:lnTo>
                <a:lnTo>
                  <a:pt x="4201872" y="1058299"/>
                </a:lnTo>
                <a:lnTo>
                  <a:pt x="4212729" y="1090104"/>
                </a:lnTo>
                <a:lnTo>
                  <a:pt x="4214988" y="1099433"/>
                </a:lnTo>
                <a:lnTo>
                  <a:pt x="4220085" y="1115422"/>
                </a:lnTo>
                <a:lnTo>
                  <a:pt x="4237987" y="1194451"/>
                </a:lnTo>
                <a:lnTo>
                  <a:pt x="4246035" y="1227696"/>
                </a:lnTo>
                <a:lnTo>
                  <a:pt x="4246977" y="1234136"/>
                </a:lnTo>
                <a:lnTo>
                  <a:pt x="4249454" y="1245070"/>
                </a:lnTo>
                <a:lnTo>
                  <a:pt x="4262487" y="1340141"/>
                </a:lnTo>
                <a:lnTo>
                  <a:pt x="4266839" y="1369879"/>
                </a:lnTo>
                <a:lnTo>
                  <a:pt x="4266994" y="1373011"/>
                </a:lnTo>
                <a:lnTo>
                  <a:pt x="4267770" y="1378680"/>
                </a:lnTo>
                <a:lnTo>
                  <a:pt x="4270828" y="1444619"/>
                </a:lnTo>
                <a:lnTo>
                  <a:pt x="4274554" y="1444619"/>
                </a:lnTo>
                <a:lnTo>
                  <a:pt x="4274554" y="1505411"/>
                </a:lnTo>
                <a:lnTo>
                  <a:pt x="4274554" y="1524979"/>
                </a:lnTo>
                <a:lnTo>
                  <a:pt x="4274554" y="1525435"/>
                </a:lnTo>
                <a:lnTo>
                  <a:pt x="4274554" y="1525436"/>
                </a:lnTo>
                <a:lnTo>
                  <a:pt x="4276338" y="1525436"/>
                </a:lnTo>
                <a:lnTo>
                  <a:pt x="4276338" y="1724345"/>
                </a:lnTo>
                <a:lnTo>
                  <a:pt x="4276338" y="1817518"/>
                </a:lnTo>
                <a:lnTo>
                  <a:pt x="4276338" y="1983152"/>
                </a:lnTo>
                <a:lnTo>
                  <a:pt x="4276338" y="2006218"/>
                </a:lnTo>
                <a:lnTo>
                  <a:pt x="4276338" y="2087036"/>
                </a:lnTo>
                <a:lnTo>
                  <a:pt x="4274572" y="2087036"/>
                </a:lnTo>
                <a:lnTo>
                  <a:pt x="4274572" y="2117837"/>
                </a:lnTo>
                <a:lnTo>
                  <a:pt x="3339497" y="2117837"/>
                </a:lnTo>
                <a:lnTo>
                  <a:pt x="3427735" y="2178609"/>
                </a:lnTo>
                <a:cubicBezTo>
                  <a:pt x="3888653" y="2527630"/>
                  <a:pt x="4203707" y="3059179"/>
                  <a:pt x="4265298" y="3665658"/>
                </a:cubicBezTo>
                <a:lnTo>
                  <a:pt x="4274888" y="3855572"/>
                </a:lnTo>
                <a:lnTo>
                  <a:pt x="4276337" y="3855572"/>
                </a:lnTo>
                <a:lnTo>
                  <a:pt x="4276337" y="3884273"/>
                </a:lnTo>
                <a:lnTo>
                  <a:pt x="4276337" y="4511467"/>
                </a:lnTo>
                <a:lnTo>
                  <a:pt x="4276338" y="4511467"/>
                </a:lnTo>
                <a:lnTo>
                  <a:pt x="4276338" y="4586977"/>
                </a:lnTo>
                <a:lnTo>
                  <a:pt x="4276337" y="4586977"/>
                </a:lnTo>
                <a:lnTo>
                  <a:pt x="4276337" y="6022440"/>
                </a:lnTo>
                <a:lnTo>
                  <a:pt x="4274571" y="6022440"/>
                </a:lnTo>
                <a:lnTo>
                  <a:pt x="4274571" y="6031594"/>
                </a:lnTo>
                <a:lnTo>
                  <a:pt x="2782168" y="6031594"/>
                </a:lnTo>
                <a:lnTo>
                  <a:pt x="2781288" y="6031594"/>
                </a:lnTo>
                <a:lnTo>
                  <a:pt x="2781274" y="6031595"/>
                </a:lnTo>
                <a:lnTo>
                  <a:pt x="2781260" y="6031594"/>
                </a:lnTo>
                <a:lnTo>
                  <a:pt x="2711119" y="6031594"/>
                </a:lnTo>
                <a:lnTo>
                  <a:pt x="2711119" y="6028160"/>
                </a:lnTo>
                <a:lnTo>
                  <a:pt x="2638822" y="6024663"/>
                </a:lnTo>
                <a:lnTo>
                  <a:pt x="2634436" y="6024023"/>
                </a:lnTo>
                <a:lnTo>
                  <a:pt x="2628593" y="6023723"/>
                </a:lnTo>
                <a:lnTo>
                  <a:pt x="2620014" y="6022440"/>
                </a:lnTo>
                <a:lnTo>
                  <a:pt x="2138188" y="6022440"/>
                </a:lnTo>
                <a:lnTo>
                  <a:pt x="2138169" y="6022441"/>
                </a:lnTo>
                <a:lnTo>
                  <a:pt x="2138148" y="6022440"/>
                </a:lnTo>
                <a:lnTo>
                  <a:pt x="2037719" y="6022440"/>
                </a:lnTo>
                <a:lnTo>
                  <a:pt x="2037719" y="6017369"/>
                </a:lnTo>
                <a:lnTo>
                  <a:pt x="1919554" y="6011403"/>
                </a:lnTo>
                <a:cubicBezTo>
                  <a:pt x="841369" y="5901906"/>
                  <a:pt x="0" y="4991346"/>
                  <a:pt x="0" y="3884273"/>
                </a:cubicBezTo>
                <a:cubicBezTo>
                  <a:pt x="0" y="3072419"/>
                  <a:pt x="452469" y="2366246"/>
                  <a:pt x="1118990" y="2004170"/>
                </a:cubicBezTo>
                <a:lnTo>
                  <a:pt x="1286191" y="1923625"/>
                </a:lnTo>
                <a:lnTo>
                  <a:pt x="1286191" y="1817518"/>
                </a:lnTo>
                <a:lnTo>
                  <a:pt x="1286191" y="1724345"/>
                </a:lnTo>
                <a:lnTo>
                  <a:pt x="1286191" y="1525435"/>
                </a:lnTo>
                <a:lnTo>
                  <a:pt x="1286191" y="1444619"/>
                </a:lnTo>
                <a:lnTo>
                  <a:pt x="1287958" y="1444619"/>
                </a:lnTo>
                <a:lnTo>
                  <a:pt x="1287958" y="1"/>
                </a:lnTo>
                <a:lnTo>
                  <a:pt x="2780361" y="1"/>
                </a:lnTo>
                <a:lnTo>
                  <a:pt x="2781241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34011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35AA4D9-8E71-425F-B709-FFF07857CF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65546" y="502816"/>
            <a:ext cx="3545964" cy="5948510"/>
          </a:xfrm>
          <a:custGeom>
            <a:avLst/>
            <a:gdLst>
              <a:gd name="connsiteX0" fmla="*/ 2388888 w 3545964"/>
              <a:gd name="connsiteY0" fmla="*/ 3738199 h 5948510"/>
              <a:gd name="connsiteX1" fmla="*/ 2440798 w 3545964"/>
              <a:gd name="connsiteY1" fmla="*/ 3738199 h 5948510"/>
              <a:gd name="connsiteX2" fmla="*/ 2440808 w 3545964"/>
              <a:gd name="connsiteY2" fmla="*/ 3738199 h 5948510"/>
              <a:gd name="connsiteX3" fmla="*/ 2440818 w 3545964"/>
              <a:gd name="connsiteY3" fmla="*/ 3738199 h 5948510"/>
              <a:gd name="connsiteX4" fmla="*/ 3545964 w 3545964"/>
              <a:gd name="connsiteY4" fmla="*/ 3738199 h 5948510"/>
              <a:gd name="connsiteX5" fmla="*/ 3545964 w 3545964"/>
              <a:gd name="connsiteY5" fmla="*/ 4843354 h 5948510"/>
              <a:gd name="connsiteX6" fmla="*/ 3545964 w 3545964"/>
              <a:gd name="connsiteY6" fmla="*/ 4858189 h 5948510"/>
              <a:gd name="connsiteX7" fmla="*/ 3545214 w 3545964"/>
              <a:gd name="connsiteY7" fmla="*/ 4858189 h 5948510"/>
              <a:gd name="connsiteX8" fmla="*/ 3540258 w 3545964"/>
              <a:gd name="connsiteY8" fmla="*/ 4956350 h 5948510"/>
              <a:gd name="connsiteX9" fmla="*/ 2440808 w 3545964"/>
              <a:gd name="connsiteY9" fmla="*/ 5948510 h 5948510"/>
              <a:gd name="connsiteX10" fmla="*/ 1335652 w 3545964"/>
              <a:gd name="connsiteY10" fmla="*/ 4843354 h 5948510"/>
              <a:gd name="connsiteX11" fmla="*/ 2327812 w 3545964"/>
              <a:gd name="connsiteY11" fmla="*/ 3743904 h 5948510"/>
              <a:gd name="connsiteX12" fmla="*/ 2388888 w 3545964"/>
              <a:gd name="connsiteY12" fmla="*/ 3740820 h 5948510"/>
              <a:gd name="connsiteX13" fmla="*/ 1772981 w 3545964"/>
              <a:gd name="connsiteY13" fmla="*/ 0 h 5948510"/>
              <a:gd name="connsiteX14" fmla="*/ 3536810 w 3545964"/>
              <a:gd name="connsiteY14" fmla="*/ 1591706 h 5948510"/>
              <a:gd name="connsiteX15" fmla="*/ 3544762 w 3545964"/>
              <a:gd name="connsiteY15" fmla="*/ 1749184 h 5948510"/>
              <a:gd name="connsiteX16" fmla="*/ 3545964 w 3545964"/>
              <a:gd name="connsiteY16" fmla="*/ 1749184 h 5948510"/>
              <a:gd name="connsiteX17" fmla="*/ 3545964 w 3545964"/>
              <a:gd name="connsiteY17" fmla="*/ 1772983 h 5948510"/>
              <a:gd name="connsiteX18" fmla="*/ 3545964 w 3545964"/>
              <a:gd name="connsiteY18" fmla="*/ 3545964 h 5948510"/>
              <a:gd name="connsiteX19" fmla="*/ 1772998 w 3545964"/>
              <a:gd name="connsiteY19" fmla="*/ 3545964 h 5948510"/>
              <a:gd name="connsiteX20" fmla="*/ 1772982 w 3545964"/>
              <a:gd name="connsiteY20" fmla="*/ 3545965 h 5948510"/>
              <a:gd name="connsiteX21" fmla="*/ 1772964 w 3545964"/>
              <a:gd name="connsiteY21" fmla="*/ 3545964 h 5948510"/>
              <a:gd name="connsiteX22" fmla="*/ 1689688 w 3545964"/>
              <a:gd name="connsiteY22" fmla="*/ 3545964 h 5948510"/>
              <a:gd name="connsiteX23" fmla="*/ 1689688 w 3545964"/>
              <a:gd name="connsiteY23" fmla="*/ 3541759 h 5948510"/>
              <a:gd name="connsiteX24" fmla="*/ 1591706 w 3545964"/>
              <a:gd name="connsiteY24" fmla="*/ 3536812 h 5948510"/>
              <a:gd name="connsiteX25" fmla="*/ 0 w 3545964"/>
              <a:gd name="connsiteY25" fmla="*/ 1772982 h 5948510"/>
              <a:gd name="connsiteX26" fmla="*/ 1772981 w 3545964"/>
              <a:gd name="connsiteY26" fmla="*/ 0 h 5948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545964" h="5948510">
                <a:moveTo>
                  <a:pt x="2388888" y="3738199"/>
                </a:moveTo>
                <a:lnTo>
                  <a:pt x="2440798" y="3738199"/>
                </a:lnTo>
                <a:lnTo>
                  <a:pt x="2440808" y="3738199"/>
                </a:lnTo>
                <a:lnTo>
                  <a:pt x="2440818" y="3738199"/>
                </a:lnTo>
                <a:lnTo>
                  <a:pt x="3545964" y="3738199"/>
                </a:lnTo>
                <a:lnTo>
                  <a:pt x="3545964" y="4843354"/>
                </a:lnTo>
                <a:lnTo>
                  <a:pt x="3545964" y="4858189"/>
                </a:lnTo>
                <a:lnTo>
                  <a:pt x="3545214" y="4858189"/>
                </a:lnTo>
                <a:lnTo>
                  <a:pt x="3540258" y="4956350"/>
                </a:lnTo>
                <a:cubicBezTo>
                  <a:pt x="3483662" y="5513631"/>
                  <a:pt x="3013022" y="5948510"/>
                  <a:pt x="2440808" y="5948510"/>
                </a:cubicBezTo>
                <a:cubicBezTo>
                  <a:pt x="1830448" y="5948510"/>
                  <a:pt x="1335652" y="5453715"/>
                  <a:pt x="1335652" y="4843354"/>
                </a:cubicBezTo>
                <a:cubicBezTo>
                  <a:pt x="1335652" y="4271141"/>
                  <a:pt x="1770530" y="3800500"/>
                  <a:pt x="2327812" y="3743904"/>
                </a:cubicBezTo>
                <a:lnTo>
                  <a:pt x="2388888" y="3740820"/>
                </a:lnTo>
                <a:close/>
                <a:moveTo>
                  <a:pt x="1772981" y="0"/>
                </a:moveTo>
                <a:cubicBezTo>
                  <a:pt x="2690973" y="0"/>
                  <a:pt x="3446016" y="697668"/>
                  <a:pt x="3536810" y="1591706"/>
                </a:cubicBezTo>
                <a:lnTo>
                  <a:pt x="3544762" y="1749184"/>
                </a:lnTo>
                <a:lnTo>
                  <a:pt x="3545964" y="1749184"/>
                </a:lnTo>
                <a:lnTo>
                  <a:pt x="3545964" y="1772983"/>
                </a:lnTo>
                <a:lnTo>
                  <a:pt x="3545964" y="3545964"/>
                </a:lnTo>
                <a:lnTo>
                  <a:pt x="1772998" y="3545964"/>
                </a:lnTo>
                <a:lnTo>
                  <a:pt x="1772982" y="3545965"/>
                </a:lnTo>
                <a:lnTo>
                  <a:pt x="1772964" y="3545964"/>
                </a:lnTo>
                <a:lnTo>
                  <a:pt x="1689688" y="3545964"/>
                </a:lnTo>
                <a:lnTo>
                  <a:pt x="1689688" y="3541759"/>
                </a:lnTo>
                <a:lnTo>
                  <a:pt x="1591706" y="3536812"/>
                </a:lnTo>
                <a:cubicBezTo>
                  <a:pt x="697668" y="3446016"/>
                  <a:pt x="0" y="2690974"/>
                  <a:pt x="0" y="1772982"/>
                </a:cubicBezTo>
                <a:cubicBezTo>
                  <a:pt x="0" y="793791"/>
                  <a:pt x="793790" y="0"/>
                  <a:pt x="17729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5845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BB16BA-0155-46A1-9874-9AB1FD5526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21007" y="1269833"/>
            <a:ext cx="3418030" cy="4878949"/>
          </a:xfrm>
          <a:custGeom>
            <a:avLst/>
            <a:gdLst>
              <a:gd name="connsiteX0" fmla="*/ 1191331 w 3418030"/>
              <a:gd name="connsiteY0" fmla="*/ 0 h 4878949"/>
              <a:gd name="connsiteX1" fmla="*/ 1294432 w 3418030"/>
              <a:gd name="connsiteY1" fmla="*/ 0 h 4878949"/>
              <a:gd name="connsiteX2" fmla="*/ 1457098 w 3418030"/>
              <a:gd name="connsiteY2" fmla="*/ 0 h 4878949"/>
              <a:gd name="connsiteX3" fmla="*/ 1564784 w 3418030"/>
              <a:gd name="connsiteY3" fmla="*/ 0 h 4878949"/>
              <a:gd name="connsiteX4" fmla="*/ 2013538 w 3418030"/>
              <a:gd name="connsiteY4" fmla="*/ 0 h 4878949"/>
              <a:gd name="connsiteX5" fmla="*/ 2038520 w 3418030"/>
              <a:gd name="connsiteY5" fmla="*/ 0 h 4878949"/>
              <a:gd name="connsiteX6" fmla="*/ 2130825 w 3418030"/>
              <a:gd name="connsiteY6" fmla="*/ 0 h 4878949"/>
              <a:gd name="connsiteX7" fmla="*/ 2156238 w 3418030"/>
              <a:gd name="connsiteY7" fmla="*/ 0 h 4878949"/>
              <a:gd name="connsiteX8" fmla="*/ 2221889 w 3418030"/>
              <a:gd name="connsiteY8" fmla="*/ 0 h 4878949"/>
              <a:gd name="connsiteX9" fmla="*/ 2277890 w 3418030"/>
              <a:gd name="connsiteY9" fmla="*/ 0 h 4878949"/>
              <a:gd name="connsiteX10" fmla="*/ 2342770 w 3418030"/>
              <a:gd name="connsiteY10" fmla="*/ 0 h 4878949"/>
              <a:gd name="connsiteX11" fmla="*/ 2399737 w 3418030"/>
              <a:gd name="connsiteY11" fmla="*/ 0 h 4878949"/>
              <a:gd name="connsiteX12" fmla="*/ 2399737 w 3418030"/>
              <a:gd name="connsiteY12" fmla="*/ 1224 h 4878949"/>
              <a:gd name="connsiteX13" fmla="*/ 3278911 w 3418030"/>
              <a:gd name="connsiteY13" fmla="*/ 1224 h 4878949"/>
              <a:gd name="connsiteX14" fmla="*/ 3418030 w 3418030"/>
              <a:gd name="connsiteY14" fmla="*/ 1224 h 4878949"/>
              <a:gd name="connsiteX15" fmla="*/ 3418030 w 3418030"/>
              <a:gd name="connsiteY15" fmla="*/ 70784 h 4878949"/>
              <a:gd name="connsiteX16" fmla="*/ 3418030 w 3418030"/>
              <a:gd name="connsiteY16" fmla="*/ 685938 h 4878949"/>
              <a:gd name="connsiteX17" fmla="*/ 3418030 w 3418030"/>
              <a:gd name="connsiteY17" fmla="*/ 732837 h 4878949"/>
              <a:gd name="connsiteX18" fmla="*/ 3418030 w 3418030"/>
              <a:gd name="connsiteY18" fmla="*/ 755498 h 4878949"/>
              <a:gd name="connsiteX19" fmla="*/ 3418030 w 3418030"/>
              <a:gd name="connsiteY19" fmla="*/ 802397 h 4878949"/>
              <a:gd name="connsiteX20" fmla="*/ 3418030 w 3418030"/>
              <a:gd name="connsiteY20" fmla="*/ 1036312 h 4878949"/>
              <a:gd name="connsiteX21" fmla="*/ 3418030 w 3418030"/>
              <a:gd name="connsiteY21" fmla="*/ 1036923 h 4878949"/>
              <a:gd name="connsiteX22" fmla="*/ 3418030 w 3418030"/>
              <a:gd name="connsiteY22" fmla="*/ 1036933 h 4878949"/>
              <a:gd name="connsiteX23" fmla="*/ 3418030 w 3418030"/>
              <a:gd name="connsiteY23" fmla="*/ 1036943 h 4878949"/>
              <a:gd name="connsiteX24" fmla="*/ 3418030 w 3418030"/>
              <a:gd name="connsiteY24" fmla="*/ 1085589 h 4878949"/>
              <a:gd name="connsiteX25" fmla="*/ 3418030 w 3418030"/>
              <a:gd name="connsiteY25" fmla="*/ 1105871 h 4878949"/>
              <a:gd name="connsiteX26" fmla="*/ 3418030 w 3418030"/>
              <a:gd name="connsiteY26" fmla="*/ 1106482 h 4878949"/>
              <a:gd name="connsiteX27" fmla="*/ 3418030 w 3418030"/>
              <a:gd name="connsiteY27" fmla="*/ 1106491 h 4878949"/>
              <a:gd name="connsiteX28" fmla="*/ 3418030 w 3418030"/>
              <a:gd name="connsiteY28" fmla="*/ 1106501 h 4878949"/>
              <a:gd name="connsiteX29" fmla="*/ 3418030 w 3418030"/>
              <a:gd name="connsiteY29" fmla="*/ 1155149 h 4878949"/>
              <a:gd name="connsiteX30" fmla="*/ 3418030 w 3418030"/>
              <a:gd name="connsiteY30" fmla="*/ 1417551 h 4878949"/>
              <a:gd name="connsiteX31" fmla="*/ 3418030 w 3418030"/>
              <a:gd name="connsiteY31" fmla="*/ 1487111 h 4878949"/>
              <a:gd name="connsiteX32" fmla="*/ 3418030 w 3418030"/>
              <a:gd name="connsiteY32" fmla="*/ 1721026 h 4878949"/>
              <a:gd name="connsiteX33" fmla="*/ 3418030 w 3418030"/>
              <a:gd name="connsiteY33" fmla="*/ 1721637 h 4878949"/>
              <a:gd name="connsiteX34" fmla="*/ 3418030 w 3418030"/>
              <a:gd name="connsiteY34" fmla="*/ 1721646 h 4878949"/>
              <a:gd name="connsiteX35" fmla="*/ 3418030 w 3418030"/>
              <a:gd name="connsiteY35" fmla="*/ 1721657 h 4878949"/>
              <a:gd name="connsiteX36" fmla="*/ 3418030 w 3418030"/>
              <a:gd name="connsiteY36" fmla="*/ 1767925 h 4878949"/>
              <a:gd name="connsiteX37" fmla="*/ 3418030 w 3418030"/>
              <a:gd name="connsiteY37" fmla="*/ 1768536 h 4878949"/>
              <a:gd name="connsiteX38" fmla="*/ 3418030 w 3418030"/>
              <a:gd name="connsiteY38" fmla="*/ 1768546 h 4878949"/>
              <a:gd name="connsiteX39" fmla="*/ 3418030 w 3418030"/>
              <a:gd name="connsiteY39" fmla="*/ 1768556 h 4878949"/>
              <a:gd name="connsiteX40" fmla="*/ 3418030 w 3418030"/>
              <a:gd name="connsiteY40" fmla="*/ 1770303 h 4878949"/>
              <a:gd name="connsiteX41" fmla="*/ 3418030 w 3418030"/>
              <a:gd name="connsiteY41" fmla="*/ 1790585 h 4878949"/>
              <a:gd name="connsiteX42" fmla="*/ 3418030 w 3418030"/>
              <a:gd name="connsiteY42" fmla="*/ 1791196 h 4878949"/>
              <a:gd name="connsiteX43" fmla="*/ 3418030 w 3418030"/>
              <a:gd name="connsiteY43" fmla="*/ 1791205 h 4878949"/>
              <a:gd name="connsiteX44" fmla="*/ 3418030 w 3418030"/>
              <a:gd name="connsiteY44" fmla="*/ 1791215 h 4878949"/>
              <a:gd name="connsiteX45" fmla="*/ 3418030 w 3418030"/>
              <a:gd name="connsiteY45" fmla="*/ 1817203 h 4878949"/>
              <a:gd name="connsiteX46" fmla="*/ 3418030 w 3418030"/>
              <a:gd name="connsiteY46" fmla="*/ 1837484 h 4878949"/>
              <a:gd name="connsiteX47" fmla="*/ 3418030 w 3418030"/>
              <a:gd name="connsiteY47" fmla="*/ 1838095 h 4878949"/>
              <a:gd name="connsiteX48" fmla="*/ 3418030 w 3418030"/>
              <a:gd name="connsiteY48" fmla="*/ 1838105 h 4878949"/>
              <a:gd name="connsiteX49" fmla="*/ 3418030 w 3418030"/>
              <a:gd name="connsiteY49" fmla="*/ 1838115 h 4878949"/>
              <a:gd name="connsiteX50" fmla="*/ 3418030 w 3418030"/>
              <a:gd name="connsiteY50" fmla="*/ 1839863 h 4878949"/>
              <a:gd name="connsiteX51" fmla="*/ 3418030 w 3418030"/>
              <a:gd name="connsiteY51" fmla="*/ 1886762 h 4878949"/>
              <a:gd name="connsiteX52" fmla="*/ 3418030 w 3418030"/>
              <a:gd name="connsiteY52" fmla="*/ 2452639 h 4878949"/>
              <a:gd name="connsiteX53" fmla="*/ 3418030 w 3418030"/>
              <a:gd name="connsiteY53" fmla="*/ 2453250 h 4878949"/>
              <a:gd name="connsiteX54" fmla="*/ 3418030 w 3418030"/>
              <a:gd name="connsiteY54" fmla="*/ 2453260 h 4878949"/>
              <a:gd name="connsiteX55" fmla="*/ 3418030 w 3418030"/>
              <a:gd name="connsiteY55" fmla="*/ 2453270 h 4878949"/>
              <a:gd name="connsiteX56" fmla="*/ 3418030 w 3418030"/>
              <a:gd name="connsiteY56" fmla="*/ 2501917 h 4878949"/>
              <a:gd name="connsiteX57" fmla="*/ 3418030 w 3418030"/>
              <a:gd name="connsiteY57" fmla="*/ 2522198 h 4878949"/>
              <a:gd name="connsiteX58" fmla="*/ 3418030 w 3418030"/>
              <a:gd name="connsiteY58" fmla="*/ 2522809 h 4878949"/>
              <a:gd name="connsiteX59" fmla="*/ 3418030 w 3418030"/>
              <a:gd name="connsiteY59" fmla="*/ 2522819 h 4878949"/>
              <a:gd name="connsiteX60" fmla="*/ 3418030 w 3418030"/>
              <a:gd name="connsiteY60" fmla="*/ 2522830 h 4878949"/>
              <a:gd name="connsiteX61" fmla="*/ 3418030 w 3418030"/>
              <a:gd name="connsiteY61" fmla="*/ 2571476 h 4878949"/>
              <a:gd name="connsiteX62" fmla="*/ 3415609 w 3418030"/>
              <a:gd name="connsiteY62" fmla="*/ 2571476 h 4878949"/>
              <a:gd name="connsiteX63" fmla="*/ 3413143 w 3418030"/>
              <a:gd name="connsiteY63" fmla="*/ 2621619 h 4878949"/>
              <a:gd name="connsiteX64" fmla="*/ 3412693 w 3418030"/>
              <a:gd name="connsiteY64" fmla="*/ 2624661 h 4878949"/>
              <a:gd name="connsiteX65" fmla="*/ 3412480 w 3418030"/>
              <a:gd name="connsiteY65" fmla="*/ 2628713 h 4878949"/>
              <a:gd name="connsiteX66" fmla="*/ 3377025 w 3418030"/>
              <a:gd name="connsiteY66" fmla="*/ 2807125 h 4878949"/>
              <a:gd name="connsiteX67" fmla="*/ 3375576 w 3418030"/>
              <a:gd name="connsiteY67" fmla="*/ 2811322 h 4878949"/>
              <a:gd name="connsiteX68" fmla="*/ 3375395 w 3418030"/>
              <a:gd name="connsiteY68" fmla="*/ 2812045 h 4878949"/>
              <a:gd name="connsiteX69" fmla="*/ 3372842 w 3418030"/>
              <a:gd name="connsiteY69" fmla="*/ 2819247 h 4878949"/>
              <a:gd name="connsiteX70" fmla="*/ 3347771 w 3418030"/>
              <a:gd name="connsiteY70" fmla="*/ 2891903 h 4878949"/>
              <a:gd name="connsiteX71" fmla="*/ 3344429 w 3418030"/>
              <a:gd name="connsiteY71" fmla="*/ 2899360 h 4878949"/>
              <a:gd name="connsiteX72" fmla="*/ 3343424 w 3418030"/>
              <a:gd name="connsiteY72" fmla="*/ 2902194 h 4878949"/>
              <a:gd name="connsiteX73" fmla="*/ 3336294 w 3418030"/>
              <a:gd name="connsiteY73" fmla="*/ 2917516 h 4878949"/>
              <a:gd name="connsiteX74" fmla="*/ 3311321 w 3418030"/>
              <a:gd name="connsiteY74" fmla="*/ 2973257 h 4878949"/>
              <a:gd name="connsiteX75" fmla="*/ 3305517 w 3418030"/>
              <a:gd name="connsiteY75" fmla="*/ 2983659 h 4878949"/>
              <a:gd name="connsiteX76" fmla="*/ 3303314 w 3418030"/>
              <a:gd name="connsiteY76" fmla="*/ 2988394 h 4878949"/>
              <a:gd name="connsiteX77" fmla="*/ 3293601 w 3418030"/>
              <a:gd name="connsiteY77" fmla="*/ 3005019 h 4878949"/>
              <a:gd name="connsiteX78" fmla="*/ 3268042 w 3418030"/>
              <a:gd name="connsiteY78" fmla="*/ 3050833 h 4878949"/>
              <a:gd name="connsiteX79" fmla="*/ 3259248 w 3418030"/>
              <a:gd name="connsiteY79" fmla="*/ 3063817 h 4878949"/>
              <a:gd name="connsiteX80" fmla="*/ 3255513 w 3418030"/>
              <a:gd name="connsiteY80" fmla="*/ 3070215 h 4878949"/>
              <a:gd name="connsiteX81" fmla="*/ 3244196 w 3418030"/>
              <a:gd name="connsiteY81" fmla="*/ 3086045 h 4878949"/>
              <a:gd name="connsiteX82" fmla="*/ 3218302 w 3418030"/>
              <a:gd name="connsiteY82" fmla="*/ 3124280 h 4878949"/>
              <a:gd name="connsiteX83" fmla="*/ 3206037 w 3418030"/>
              <a:gd name="connsiteY83" fmla="*/ 3139430 h 4878949"/>
              <a:gd name="connsiteX84" fmla="*/ 3200464 w 3418030"/>
              <a:gd name="connsiteY84" fmla="*/ 3147227 h 4878949"/>
              <a:gd name="connsiteX85" fmla="*/ 3188229 w 3418030"/>
              <a:gd name="connsiteY85" fmla="*/ 3161424 h 4878949"/>
              <a:gd name="connsiteX86" fmla="*/ 3162468 w 3418030"/>
              <a:gd name="connsiteY86" fmla="*/ 3193243 h 4878949"/>
              <a:gd name="connsiteX87" fmla="*/ 3146287 w 3418030"/>
              <a:gd name="connsiteY87" fmla="*/ 3210097 h 4878949"/>
              <a:gd name="connsiteX88" fmla="*/ 3138613 w 3418030"/>
              <a:gd name="connsiteY88" fmla="*/ 3219003 h 4878949"/>
              <a:gd name="connsiteX89" fmla="*/ 3126010 w 3418030"/>
              <a:gd name="connsiteY89" fmla="*/ 3231219 h 4878949"/>
              <a:gd name="connsiteX90" fmla="*/ 3100905 w 3418030"/>
              <a:gd name="connsiteY90" fmla="*/ 3257369 h 4878949"/>
              <a:gd name="connsiteX91" fmla="*/ 3080407 w 3418030"/>
              <a:gd name="connsiteY91" fmla="*/ 3275420 h 4878949"/>
              <a:gd name="connsiteX92" fmla="*/ 3070407 w 3418030"/>
              <a:gd name="connsiteY92" fmla="*/ 3285113 h 4878949"/>
              <a:gd name="connsiteX93" fmla="*/ 3057904 w 3418030"/>
              <a:gd name="connsiteY93" fmla="*/ 3295236 h 4878949"/>
              <a:gd name="connsiteX94" fmla="*/ 3033981 w 3418030"/>
              <a:gd name="connsiteY94" fmla="*/ 3316304 h 4878949"/>
              <a:gd name="connsiteX95" fmla="*/ 3008795 w 3418030"/>
              <a:gd name="connsiteY95" fmla="*/ 3335002 h 4878949"/>
              <a:gd name="connsiteX96" fmla="*/ 2996290 w 3418030"/>
              <a:gd name="connsiteY96" fmla="*/ 3345128 h 4878949"/>
              <a:gd name="connsiteX97" fmla="*/ 2984301 w 3418030"/>
              <a:gd name="connsiteY97" fmla="*/ 3353185 h 4878949"/>
              <a:gd name="connsiteX98" fmla="*/ 2962062 w 3418030"/>
              <a:gd name="connsiteY98" fmla="*/ 3369695 h 4878949"/>
              <a:gd name="connsiteX99" fmla="*/ 2931835 w 3418030"/>
              <a:gd name="connsiteY99" fmla="*/ 3388450 h 4878949"/>
              <a:gd name="connsiteX100" fmla="*/ 2916709 w 3418030"/>
              <a:gd name="connsiteY100" fmla="*/ 3398618 h 4878949"/>
              <a:gd name="connsiteX101" fmla="*/ 2905603 w 3418030"/>
              <a:gd name="connsiteY101" fmla="*/ 3404726 h 4878949"/>
              <a:gd name="connsiteX102" fmla="*/ 2885517 w 3418030"/>
              <a:gd name="connsiteY102" fmla="*/ 3417189 h 4878949"/>
              <a:gd name="connsiteX103" fmla="*/ 2849882 w 3418030"/>
              <a:gd name="connsiteY103" fmla="*/ 3435375 h 4878949"/>
              <a:gd name="connsiteX104" fmla="*/ 2832108 w 3418030"/>
              <a:gd name="connsiteY104" fmla="*/ 3445153 h 4878949"/>
              <a:gd name="connsiteX105" fmla="*/ 2822219 w 3418030"/>
              <a:gd name="connsiteY105" fmla="*/ 3449494 h 4878949"/>
              <a:gd name="connsiteX106" fmla="*/ 2804710 w 3418030"/>
              <a:gd name="connsiteY106" fmla="*/ 3458432 h 4878949"/>
              <a:gd name="connsiteX107" fmla="*/ 2763233 w 3418030"/>
              <a:gd name="connsiteY107" fmla="*/ 3475393 h 4878949"/>
              <a:gd name="connsiteX108" fmla="*/ 2742933 w 3418030"/>
              <a:gd name="connsiteY108" fmla="*/ 3484308 h 4878949"/>
              <a:gd name="connsiteX109" fmla="*/ 2734565 w 3418030"/>
              <a:gd name="connsiteY109" fmla="*/ 3487117 h 4878949"/>
              <a:gd name="connsiteX110" fmla="*/ 2720010 w 3418030"/>
              <a:gd name="connsiteY110" fmla="*/ 3493070 h 4878949"/>
              <a:gd name="connsiteX111" fmla="*/ 2672049 w 3418030"/>
              <a:gd name="connsiteY111" fmla="*/ 3508117 h 4878949"/>
              <a:gd name="connsiteX112" fmla="*/ 2649630 w 3418030"/>
              <a:gd name="connsiteY112" fmla="*/ 3515648 h 4878949"/>
              <a:gd name="connsiteX113" fmla="*/ 2643052 w 3418030"/>
              <a:gd name="connsiteY113" fmla="*/ 3517214 h 4878949"/>
              <a:gd name="connsiteX114" fmla="*/ 2631783 w 3418030"/>
              <a:gd name="connsiteY114" fmla="*/ 3520749 h 4878949"/>
              <a:gd name="connsiteX115" fmla="*/ 2576079 w 3418030"/>
              <a:gd name="connsiteY115" fmla="*/ 3533167 h 4878949"/>
              <a:gd name="connsiteX116" fmla="*/ 2552643 w 3418030"/>
              <a:gd name="connsiteY116" fmla="*/ 3538747 h 4878949"/>
              <a:gd name="connsiteX117" fmla="*/ 2548104 w 3418030"/>
              <a:gd name="connsiteY117" fmla="*/ 3539401 h 4878949"/>
              <a:gd name="connsiteX118" fmla="*/ 2540397 w 3418030"/>
              <a:gd name="connsiteY118" fmla="*/ 3541118 h 4878949"/>
              <a:gd name="connsiteX119" fmla="*/ 2473383 w 3418030"/>
              <a:gd name="connsiteY119" fmla="*/ 3550158 h 4878949"/>
              <a:gd name="connsiteX120" fmla="*/ 2452420 w 3418030"/>
              <a:gd name="connsiteY120" fmla="*/ 3553176 h 4878949"/>
              <a:gd name="connsiteX121" fmla="*/ 2450212 w 3418030"/>
              <a:gd name="connsiteY121" fmla="*/ 3553284 h 4878949"/>
              <a:gd name="connsiteX122" fmla="*/ 2446216 w 3418030"/>
              <a:gd name="connsiteY122" fmla="*/ 3553824 h 4878949"/>
              <a:gd name="connsiteX123" fmla="*/ 2399737 w 3418030"/>
              <a:gd name="connsiteY123" fmla="*/ 3555943 h 4878949"/>
              <a:gd name="connsiteX124" fmla="*/ 2399737 w 3418030"/>
              <a:gd name="connsiteY124" fmla="*/ 3558529 h 4878949"/>
              <a:gd name="connsiteX125" fmla="*/ 2366297 w 3418030"/>
              <a:gd name="connsiteY125" fmla="*/ 3558529 h 4878949"/>
              <a:gd name="connsiteX126" fmla="*/ 2350286 w 3418030"/>
              <a:gd name="connsiteY126" fmla="*/ 3560726 h 4878949"/>
              <a:gd name="connsiteX127" fmla="*/ 2329679 w 3418030"/>
              <a:gd name="connsiteY127" fmla="*/ 3563743 h 4878949"/>
              <a:gd name="connsiteX128" fmla="*/ 2327509 w 3418030"/>
              <a:gd name="connsiteY128" fmla="*/ 3563851 h 4878949"/>
              <a:gd name="connsiteX129" fmla="*/ 2323580 w 3418030"/>
              <a:gd name="connsiteY129" fmla="*/ 3564391 h 4878949"/>
              <a:gd name="connsiteX130" fmla="*/ 2277890 w 3418030"/>
              <a:gd name="connsiteY130" fmla="*/ 3566510 h 4878949"/>
              <a:gd name="connsiteX131" fmla="*/ 2277890 w 3418030"/>
              <a:gd name="connsiteY131" fmla="*/ 3569096 h 4878949"/>
              <a:gd name="connsiteX132" fmla="*/ 2235765 w 3418030"/>
              <a:gd name="connsiteY132" fmla="*/ 3569096 h 4878949"/>
              <a:gd name="connsiteX133" fmla="*/ 2222205 w 3418030"/>
              <a:gd name="connsiteY133" fmla="*/ 3569096 h 4878949"/>
              <a:gd name="connsiteX134" fmla="*/ 2221889 w 3418030"/>
              <a:gd name="connsiteY134" fmla="*/ 3569096 h 4878949"/>
              <a:gd name="connsiteX135" fmla="*/ 2221889 w 3418030"/>
              <a:gd name="connsiteY135" fmla="*/ 3570333 h 4878949"/>
              <a:gd name="connsiteX136" fmla="*/ 2038520 w 3418030"/>
              <a:gd name="connsiteY136" fmla="*/ 3570333 h 4878949"/>
              <a:gd name="connsiteX137" fmla="*/ 2013539 w 3418030"/>
              <a:gd name="connsiteY137" fmla="*/ 3570333 h 4878949"/>
              <a:gd name="connsiteX138" fmla="*/ 1650818 w 3418030"/>
              <a:gd name="connsiteY138" fmla="*/ 3570333 h 4878949"/>
              <a:gd name="connsiteX139" fmla="*/ 1650818 w 3418030"/>
              <a:gd name="connsiteY139" fmla="*/ 3570744 h 4878949"/>
              <a:gd name="connsiteX140" fmla="*/ 1652012 w 3418030"/>
              <a:gd name="connsiteY140" fmla="*/ 3570744 h 4878949"/>
              <a:gd name="connsiteX141" fmla="*/ 1652012 w 3418030"/>
              <a:gd name="connsiteY141" fmla="*/ 3571721 h 4878949"/>
              <a:gd name="connsiteX142" fmla="*/ 1671221 w 3418030"/>
              <a:gd name="connsiteY142" fmla="*/ 3572716 h 4878949"/>
              <a:gd name="connsiteX143" fmla="*/ 1672387 w 3418030"/>
              <a:gd name="connsiteY143" fmla="*/ 3572898 h 4878949"/>
              <a:gd name="connsiteX144" fmla="*/ 1673940 w 3418030"/>
              <a:gd name="connsiteY144" fmla="*/ 3572984 h 4878949"/>
              <a:gd name="connsiteX145" fmla="*/ 1742290 w 3418030"/>
              <a:gd name="connsiteY145" fmla="*/ 3587296 h 4878949"/>
              <a:gd name="connsiteX146" fmla="*/ 1743898 w 3418030"/>
              <a:gd name="connsiteY146" fmla="*/ 3587880 h 4878949"/>
              <a:gd name="connsiteX147" fmla="*/ 1744176 w 3418030"/>
              <a:gd name="connsiteY147" fmla="*/ 3587953 h 4878949"/>
              <a:gd name="connsiteX148" fmla="*/ 1746934 w 3418030"/>
              <a:gd name="connsiteY148" fmla="*/ 3588984 h 4878949"/>
              <a:gd name="connsiteX149" fmla="*/ 1774769 w 3418030"/>
              <a:gd name="connsiteY149" fmla="*/ 3599104 h 4878949"/>
              <a:gd name="connsiteX150" fmla="*/ 1777626 w 3418030"/>
              <a:gd name="connsiteY150" fmla="*/ 3600453 h 4878949"/>
              <a:gd name="connsiteX151" fmla="*/ 1778712 w 3418030"/>
              <a:gd name="connsiteY151" fmla="*/ 3600858 h 4878949"/>
              <a:gd name="connsiteX152" fmla="*/ 1784582 w 3418030"/>
              <a:gd name="connsiteY152" fmla="*/ 3603737 h 4878949"/>
              <a:gd name="connsiteX153" fmla="*/ 1805936 w 3418030"/>
              <a:gd name="connsiteY153" fmla="*/ 3613817 h 4878949"/>
              <a:gd name="connsiteX154" fmla="*/ 1809922 w 3418030"/>
              <a:gd name="connsiteY154" fmla="*/ 3616160 h 4878949"/>
              <a:gd name="connsiteX155" fmla="*/ 1811736 w 3418030"/>
              <a:gd name="connsiteY155" fmla="*/ 3617049 h 4878949"/>
              <a:gd name="connsiteX156" fmla="*/ 1818105 w 3418030"/>
              <a:gd name="connsiteY156" fmla="*/ 3620970 h 4878949"/>
              <a:gd name="connsiteX157" fmla="*/ 1835657 w 3418030"/>
              <a:gd name="connsiteY157" fmla="*/ 3631287 h 4878949"/>
              <a:gd name="connsiteX158" fmla="*/ 1840631 w 3418030"/>
              <a:gd name="connsiteY158" fmla="*/ 3634836 h 4878949"/>
              <a:gd name="connsiteX159" fmla="*/ 1843082 w 3418030"/>
              <a:gd name="connsiteY159" fmla="*/ 3636344 h 4878949"/>
              <a:gd name="connsiteX160" fmla="*/ 1849146 w 3418030"/>
              <a:gd name="connsiteY160" fmla="*/ 3640912 h 4878949"/>
              <a:gd name="connsiteX161" fmla="*/ 1863794 w 3418030"/>
              <a:gd name="connsiteY161" fmla="*/ 3651364 h 4878949"/>
              <a:gd name="connsiteX162" fmla="*/ 1869598 w 3418030"/>
              <a:gd name="connsiteY162" fmla="*/ 3656316 h 4878949"/>
              <a:gd name="connsiteX163" fmla="*/ 1872586 w 3418030"/>
              <a:gd name="connsiteY163" fmla="*/ 3658565 h 4878949"/>
              <a:gd name="connsiteX164" fmla="*/ 1878025 w 3418030"/>
              <a:gd name="connsiteY164" fmla="*/ 3663504 h 4878949"/>
              <a:gd name="connsiteX165" fmla="*/ 1890215 w 3418030"/>
              <a:gd name="connsiteY165" fmla="*/ 3673902 h 4878949"/>
              <a:gd name="connsiteX166" fmla="*/ 1896672 w 3418030"/>
              <a:gd name="connsiteY166" fmla="*/ 3680434 h 4878949"/>
              <a:gd name="connsiteX167" fmla="*/ 1900084 w 3418030"/>
              <a:gd name="connsiteY167" fmla="*/ 3683531 h 4878949"/>
              <a:gd name="connsiteX168" fmla="*/ 1904763 w 3418030"/>
              <a:gd name="connsiteY168" fmla="*/ 3688618 h 4878949"/>
              <a:gd name="connsiteX169" fmla="*/ 1914782 w 3418030"/>
              <a:gd name="connsiteY169" fmla="*/ 3698752 h 4878949"/>
              <a:gd name="connsiteX170" fmla="*/ 1921697 w 3418030"/>
              <a:gd name="connsiteY170" fmla="*/ 3707026 h 4878949"/>
              <a:gd name="connsiteX171" fmla="*/ 1925411 w 3418030"/>
              <a:gd name="connsiteY171" fmla="*/ 3711062 h 4878949"/>
              <a:gd name="connsiteX172" fmla="*/ 1929289 w 3418030"/>
              <a:gd name="connsiteY172" fmla="*/ 3716109 h 4878949"/>
              <a:gd name="connsiteX173" fmla="*/ 1937360 w 3418030"/>
              <a:gd name="connsiteY173" fmla="*/ 3725766 h 4878949"/>
              <a:gd name="connsiteX174" fmla="*/ 1944523 w 3418030"/>
              <a:gd name="connsiteY174" fmla="*/ 3735932 h 4878949"/>
              <a:gd name="connsiteX175" fmla="*/ 1948403 w 3418030"/>
              <a:gd name="connsiteY175" fmla="*/ 3740980 h 4878949"/>
              <a:gd name="connsiteX176" fmla="*/ 1951490 w 3418030"/>
              <a:gd name="connsiteY176" fmla="*/ 3745819 h 4878949"/>
              <a:gd name="connsiteX177" fmla="*/ 1957815 w 3418030"/>
              <a:gd name="connsiteY177" fmla="*/ 3754796 h 4878949"/>
              <a:gd name="connsiteX178" fmla="*/ 1965000 w 3418030"/>
              <a:gd name="connsiteY178" fmla="*/ 3766998 h 4878949"/>
              <a:gd name="connsiteX179" fmla="*/ 1968895 w 3418030"/>
              <a:gd name="connsiteY179" fmla="*/ 3773103 h 4878949"/>
              <a:gd name="connsiteX180" fmla="*/ 1971236 w 3418030"/>
              <a:gd name="connsiteY180" fmla="*/ 3777586 h 4878949"/>
              <a:gd name="connsiteX181" fmla="*/ 1976010 w 3418030"/>
              <a:gd name="connsiteY181" fmla="*/ 3785694 h 4878949"/>
              <a:gd name="connsiteX182" fmla="*/ 1982978 w 3418030"/>
              <a:gd name="connsiteY182" fmla="*/ 3800078 h 4878949"/>
              <a:gd name="connsiteX183" fmla="*/ 1986724 w 3418030"/>
              <a:gd name="connsiteY183" fmla="*/ 3807252 h 4878949"/>
              <a:gd name="connsiteX184" fmla="*/ 1988387 w 3418030"/>
              <a:gd name="connsiteY184" fmla="*/ 3811244 h 4878949"/>
              <a:gd name="connsiteX185" fmla="*/ 1991811 w 3418030"/>
              <a:gd name="connsiteY185" fmla="*/ 3818312 h 4878949"/>
              <a:gd name="connsiteX186" fmla="*/ 1998309 w 3418030"/>
              <a:gd name="connsiteY186" fmla="*/ 3835054 h 4878949"/>
              <a:gd name="connsiteX187" fmla="*/ 2001724 w 3418030"/>
              <a:gd name="connsiteY187" fmla="*/ 3843248 h 4878949"/>
              <a:gd name="connsiteX188" fmla="*/ 2002801 w 3418030"/>
              <a:gd name="connsiteY188" fmla="*/ 3846626 h 4878949"/>
              <a:gd name="connsiteX189" fmla="*/ 2005081 w 3418030"/>
              <a:gd name="connsiteY189" fmla="*/ 3852501 h 4878949"/>
              <a:gd name="connsiteX190" fmla="*/ 2010846 w 3418030"/>
              <a:gd name="connsiteY190" fmla="*/ 3871861 h 4878949"/>
              <a:gd name="connsiteX191" fmla="*/ 2013730 w 3418030"/>
              <a:gd name="connsiteY191" fmla="*/ 3880910 h 4878949"/>
              <a:gd name="connsiteX192" fmla="*/ 2014331 w 3418030"/>
              <a:gd name="connsiteY192" fmla="*/ 3883565 h 4878949"/>
              <a:gd name="connsiteX193" fmla="*/ 2015685 w 3418030"/>
              <a:gd name="connsiteY193" fmla="*/ 3888114 h 4878949"/>
              <a:gd name="connsiteX194" fmla="*/ 2020442 w 3418030"/>
              <a:gd name="connsiteY194" fmla="*/ 3910600 h 4878949"/>
              <a:gd name="connsiteX195" fmla="*/ 2020535 w 3418030"/>
              <a:gd name="connsiteY195" fmla="*/ 3911014 h 4878949"/>
              <a:gd name="connsiteX196" fmla="*/ 2021162 w 3418030"/>
              <a:gd name="connsiteY196" fmla="*/ 3911014 h 4878949"/>
              <a:gd name="connsiteX197" fmla="*/ 2023207 w 3418030"/>
              <a:gd name="connsiteY197" fmla="*/ 3922096 h 4878949"/>
              <a:gd name="connsiteX198" fmla="*/ 2023457 w 3418030"/>
              <a:gd name="connsiteY198" fmla="*/ 3924341 h 4878949"/>
              <a:gd name="connsiteX199" fmla="*/ 2024115 w 3418030"/>
              <a:gd name="connsiteY199" fmla="*/ 3928152 h 4878949"/>
              <a:gd name="connsiteX200" fmla="*/ 2027578 w 3418030"/>
              <a:gd name="connsiteY200" fmla="*/ 3961293 h 4878949"/>
              <a:gd name="connsiteX201" fmla="*/ 2028734 w 3418030"/>
              <a:gd name="connsiteY201" fmla="*/ 3971660 h 4878949"/>
              <a:gd name="connsiteX202" fmla="*/ 2028775 w 3418030"/>
              <a:gd name="connsiteY202" fmla="*/ 3972751 h 4878949"/>
              <a:gd name="connsiteX203" fmla="*/ 2028982 w 3418030"/>
              <a:gd name="connsiteY203" fmla="*/ 3974727 h 4878949"/>
              <a:gd name="connsiteX204" fmla="*/ 2029794 w 3418030"/>
              <a:gd name="connsiteY204" fmla="*/ 3997713 h 4878949"/>
              <a:gd name="connsiteX205" fmla="*/ 2030784 w 3418030"/>
              <a:gd name="connsiteY205" fmla="*/ 3997713 h 4878949"/>
              <a:gd name="connsiteX206" fmla="*/ 2030784 w 3418030"/>
              <a:gd name="connsiteY206" fmla="*/ 4018905 h 4878949"/>
              <a:gd name="connsiteX207" fmla="*/ 2030784 w 3418030"/>
              <a:gd name="connsiteY207" fmla="*/ 4025726 h 4878949"/>
              <a:gd name="connsiteX208" fmla="*/ 2030784 w 3418030"/>
              <a:gd name="connsiteY208" fmla="*/ 4025885 h 4878949"/>
              <a:gd name="connsiteX209" fmla="*/ 2030784 w 3418030"/>
              <a:gd name="connsiteY209" fmla="*/ 4025886 h 4878949"/>
              <a:gd name="connsiteX210" fmla="*/ 2031258 w 3418030"/>
              <a:gd name="connsiteY210" fmla="*/ 4025886 h 4878949"/>
              <a:gd name="connsiteX211" fmla="*/ 2031258 w 3418030"/>
              <a:gd name="connsiteY211" fmla="*/ 4065384 h 4878949"/>
              <a:gd name="connsiteX212" fmla="*/ 2031258 w 3418030"/>
              <a:gd name="connsiteY212" fmla="*/ 4127703 h 4878949"/>
              <a:gd name="connsiteX213" fmla="*/ 2031258 w 3418030"/>
              <a:gd name="connsiteY213" fmla="*/ 4168958 h 4878949"/>
              <a:gd name="connsiteX214" fmla="*/ 2031258 w 3418030"/>
              <a:gd name="connsiteY214" fmla="*/ 4340879 h 4878949"/>
              <a:gd name="connsiteX215" fmla="*/ 2031258 w 3418030"/>
              <a:gd name="connsiteY215" fmla="*/ 4350450 h 4878949"/>
              <a:gd name="connsiteX216" fmla="*/ 2031258 w 3418030"/>
              <a:gd name="connsiteY216" fmla="*/ 4385812 h 4878949"/>
              <a:gd name="connsiteX217" fmla="*/ 2031258 w 3418030"/>
              <a:gd name="connsiteY217" fmla="*/ 4395548 h 4878949"/>
              <a:gd name="connsiteX218" fmla="*/ 2031258 w 3418030"/>
              <a:gd name="connsiteY218" fmla="*/ 4420700 h 4878949"/>
              <a:gd name="connsiteX219" fmla="*/ 2031258 w 3418030"/>
              <a:gd name="connsiteY219" fmla="*/ 4442154 h 4878949"/>
              <a:gd name="connsiteX220" fmla="*/ 2031258 w 3418030"/>
              <a:gd name="connsiteY220" fmla="*/ 4467010 h 4878949"/>
              <a:gd name="connsiteX221" fmla="*/ 2031258 w 3418030"/>
              <a:gd name="connsiteY221" fmla="*/ 4488834 h 4878949"/>
              <a:gd name="connsiteX222" fmla="*/ 2030789 w 3418030"/>
              <a:gd name="connsiteY222" fmla="*/ 4488834 h 4878949"/>
              <a:gd name="connsiteX223" fmla="*/ 2030789 w 3418030"/>
              <a:gd name="connsiteY223" fmla="*/ 4825652 h 4878949"/>
              <a:gd name="connsiteX224" fmla="*/ 2030789 w 3418030"/>
              <a:gd name="connsiteY224" fmla="*/ 4878949 h 4878949"/>
              <a:gd name="connsiteX225" fmla="*/ 2004140 w 3418030"/>
              <a:gd name="connsiteY225" fmla="*/ 4878949 h 4878949"/>
              <a:gd name="connsiteX226" fmla="*/ 1768470 w 3418030"/>
              <a:gd name="connsiteY226" fmla="*/ 4878949 h 4878949"/>
              <a:gd name="connsiteX227" fmla="*/ 1750503 w 3418030"/>
              <a:gd name="connsiteY227" fmla="*/ 4878949 h 4878949"/>
              <a:gd name="connsiteX228" fmla="*/ 1741822 w 3418030"/>
              <a:gd name="connsiteY228" fmla="*/ 4878949 h 4878949"/>
              <a:gd name="connsiteX229" fmla="*/ 1723854 w 3418030"/>
              <a:gd name="connsiteY229" fmla="*/ 4878949 h 4878949"/>
              <a:gd name="connsiteX230" fmla="*/ 1634240 w 3418030"/>
              <a:gd name="connsiteY230" fmla="*/ 4878949 h 4878949"/>
              <a:gd name="connsiteX231" fmla="*/ 1634005 w 3418030"/>
              <a:gd name="connsiteY231" fmla="*/ 4878949 h 4878949"/>
              <a:gd name="connsiteX232" fmla="*/ 1634002 w 3418030"/>
              <a:gd name="connsiteY232" fmla="*/ 4878949 h 4878949"/>
              <a:gd name="connsiteX233" fmla="*/ 1633998 w 3418030"/>
              <a:gd name="connsiteY233" fmla="*/ 4878949 h 4878949"/>
              <a:gd name="connsiteX234" fmla="*/ 1615361 w 3418030"/>
              <a:gd name="connsiteY234" fmla="*/ 4878949 h 4878949"/>
              <a:gd name="connsiteX235" fmla="*/ 1607591 w 3418030"/>
              <a:gd name="connsiteY235" fmla="*/ 4878949 h 4878949"/>
              <a:gd name="connsiteX236" fmla="*/ 1607357 w 3418030"/>
              <a:gd name="connsiteY236" fmla="*/ 4878949 h 4878949"/>
              <a:gd name="connsiteX237" fmla="*/ 1607354 w 3418030"/>
              <a:gd name="connsiteY237" fmla="*/ 4878949 h 4878949"/>
              <a:gd name="connsiteX238" fmla="*/ 1607350 w 3418030"/>
              <a:gd name="connsiteY238" fmla="*/ 4878949 h 4878949"/>
              <a:gd name="connsiteX239" fmla="*/ 1588712 w 3418030"/>
              <a:gd name="connsiteY239" fmla="*/ 4878949 h 4878949"/>
              <a:gd name="connsiteX240" fmla="*/ 1488184 w 3418030"/>
              <a:gd name="connsiteY240" fmla="*/ 4878949 h 4878949"/>
              <a:gd name="connsiteX241" fmla="*/ 1461535 w 3418030"/>
              <a:gd name="connsiteY241" fmla="*/ 4878949 h 4878949"/>
              <a:gd name="connsiteX242" fmla="*/ 1371921 w 3418030"/>
              <a:gd name="connsiteY242" fmla="*/ 4878949 h 4878949"/>
              <a:gd name="connsiteX243" fmla="*/ 1371687 w 3418030"/>
              <a:gd name="connsiteY243" fmla="*/ 4878949 h 4878949"/>
              <a:gd name="connsiteX244" fmla="*/ 1371683 w 3418030"/>
              <a:gd name="connsiteY244" fmla="*/ 4878949 h 4878949"/>
              <a:gd name="connsiteX245" fmla="*/ 1371679 w 3418030"/>
              <a:gd name="connsiteY245" fmla="*/ 4878949 h 4878949"/>
              <a:gd name="connsiteX246" fmla="*/ 1367507 w 3418030"/>
              <a:gd name="connsiteY246" fmla="*/ 4878949 h 4878949"/>
              <a:gd name="connsiteX247" fmla="*/ 1353954 w 3418030"/>
              <a:gd name="connsiteY247" fmla="*/ 4878949 h 4878949"/>
              <a:gd name="connsiteX248" fmla="*/ 1353719 w 3418030"/>
              <a:gd name="connsiteY248" fmla="*/ 4878949 h 4878949"/>
              <a:gd name="connsiteX249" fmla="*/ 1353716 w 3418030"/>
              <a:gd name="connsiteY249" fmla="*/ 4878949 h 4878949"/>
              <a:gd name="connsiteX250" fmla="*/ 1353712 w 3418030"/>
              <a:gd name="connsiteY250" fmla="*/ 4878949 h 4878949"/>
              <a:gd name="connsiteX251" fmla="*/ 1353043 w 3418030"/>
              <a:gd name="connsiteY251" fmla="*/ 4878949 h 4878949"/>
              <a:gd name="connsiteX252" fmla="*/ 1345272 w 3418030"/>
              <a:gd name="connsiteY252" fmla="*/ 4878949 h 4878949"/>
              <a:gd name="connsiteX253" fmla="*/ 1345038 w 3418030"/>
              <a:gd name="connsiteY253" fmla="*/ 4878949 h 4878949"/>
              <a:gd name="connsiteX254" fmla="*/ 1345035 w 3418030"/>
              <a:gd name="connsiteY254" fmla="*/ 4878949 h 4878949"/>
              <a:gd name="connsiteX255" fmla="*/ 1345031 w 3418030"/>
              <a:gd name="connsiteY255" fmla="*/ 4878949 h 4878949"/>
              <a:gd name="connsiteX256" fmla="*/ 1340858 w 3418030"/>
              <a:gd name="connsiteY256" fmla="*/ 4878949 h 4878949"/>
              <a:gd name="connsiteX257" fmla="*/ 1335075 w 3418030"/>
              <a:gd name="connsiteY257" fmla="*/ 4878949 h 4878949"/>
              <a:gd name="connsiteX258" fmla="*/ 1327305 w 3418030"/>
              <a:gd name="connsiteY258" fmla="*/ 4878949 h 4878949"/>
              <a:gd name="connsiteX259" fmla="*/ 1327071 w 3418030"/>
              <a:gd name="connsiteY259" fmla="*/ 4878949 h 4878949"/>
              <a:gd name="connsiteX260" fmla="*/ 1327067 w 3418030"/>
              <a:gd name="connsiteY260" fmla="*/ 4878949 h 4878949"/>
              <a:gd name="connsiteX261" fmla="*/ 1327063 w 3418030"/>
              <a:gd name="connsiteY261" fmla="*/ 4878949 h 4878949"/>
              <a:gd name="connsiteX262" fmla="*/ 1326394 w 3418030"/>
              <a:gd name="connsiteY262" fmla="*/ 4878949 h 4878949"/>
              <a:gd name="connsiteX263" fmla="*/ 1308426 w 3418030"/>
              <a:gd name="connsiteY263" fmla="*/ 4878949 h 4878949"/>
              <a:gd name="connsiteX264" fmla="*/ 1105188 w 3418030"/>
              <a:gd name="connsiteY264" fmla="*/ 4878949 h 4878949"/>
              <a:gd name="connsiteX265" fmla="*/ 1091635 w 3418030"/>
              <a:gd name="connsiteY265" fmla="*/ 4878949 h 4878949"/>
              <a:gd name="connsiteX266" fmla="*/ 1091401 w 3418030"/>
              <a:gd name="connsiteY266" fmla="*/ 4878949 h 4878949"/>
              <a:gd name="connsiteX267" fmla="*/ 1091397 w 3418030"/>
              <a:gd name="connsiteY267" fmla="*/ 4878949 h 4878949"/>
              <a:gd name="connsiteX268" fmla="*/ 1091393 w 3418030"/>
              <a:gd name="connsiteY268" fmla="*/ 4878949 h 4878949"/>
              <a:gd name="connsiteX269" fmla="*/ 1087221 w 3418030"/>
              <a:gd name="connsiteY269" fmla="*/ 4878949 h 4878949"/>
              <a:gd name="connsiteX270" fmla="*/ 1078540 w 3418030"/>
              <a:gd name="connsiteY270" fmla="*/ 4878949 h 4878949"/>
              <a:gd name="connsiteX271" fmla="*/ 1072756 w 3418030"/>
              <a:gd name="connsiteY271" fmla="*/ 4878949 h 4878949"/>
              <a:gd name="connsiteX272" fmla="*/ 1064986 w 3418030"/>
              <a:gd name="connsiteY272" fmla="*/ 4878949 h 4878949"/>
              <a:gd name="connsiteX273" fmla="*/ 1064752 w 3418030"/>
              <a:gd name="connsiteY273" fmla="*/ 4878949 h 4878949"/>
              <a:gd name="connsiteX274" fmla="*/ 1064748 w 3418030"/>
              <a:gd name="connsiteY274" fmla="*/ 4878949 h 4878949"/>
              <a:gd name="connsiteX275" fmla="*/ 1064745 w 3418030"/>
              <a:gd name="connsiteY275" fmla="*/ 4878949 h 4878949"/>
              <a:gd name="connsiteX276" fmla="*/ 1060572 w 3418030"/>
              <a:gd name="connsiteY276" fmla="*/ 4878949 h 4878949"/>
              <a:gd name="connsiteX277" fmla="*/ 1046108 w 3418030"/>
              <a:gd name="connsiteY277" fmla="*/ 4878949 h 4878949"/>
              <a:gd name="connsiteX278" fmla="*/ 970958 w 3418030"/>
              <a:gd name="connsiteY278" fmla="*/ 4878949 h 4878949"/>
              <a:gd name="connsiteX279" fmla="*/ 970723 w 3418030"/>
              <a:gd name="connsiteY279" fmla="*/ 4878949 h 4878949"/>
              <a:gd name="connsiteX280" fmla="*/ 970720 w 3418030"/>
              <a:gd name="connsiteY280" fmla="*/ 4878949 h 4878949"/>
              <a:gd name="connsiteX281" fmla="*/ 970716 w 3418030"/>
              <a:gd name="connsiteY281" fmla="*/ 4878949 h 4878949"/>
              <a:gd name="connsiteX282" fmla="*/ 952079 w 3418030"/>
              <a:gd name="connsiteY282" fmla="*/ 4878949 h 4878949"/>
              <a:gd name="connsiteX283" fmla="*/ 944309 w 3418030"/>
              <a:gd name="connsiteY283" fmla="*/ 4878949 h 4878949"/>
              <a:gd name="connsiteX284" fmla="*/ 944075 w 3418030"/>
              <a:gd name="connsiteY284" fmla="*/ 4878949 h 4878949"/>
              <a:gd name="connsiteX285" fmla="*/ 944072 w 3418030"/>
              <a:gd name="connsiteY285" fmla="*/ 4878949 h 4878949"/>
              <a:gd name="connsiteX286" fmla="*/ 944068 w 3418030"/>
              <a:gd name="connsiteY286" fmla="*/ 4878949 h 4878949"/>
              <a:gd name="connsiteX287" fmla="*/ 925430 w 3418030"/>
              <a:gd name="connsiteY287" fmla="*/ 4878949 h 4878949"/>
              <a:gd name="connsiteX288" fmla="*/ 824902 w 3418030"/>
              <a:gd name="connsiteY288" fmla="*/ 4878949 h 4878949"/>
              <a:gd name="connsiteX289" fmla="*/ 798253 w 3418030"/>
              <a:gd name="connsiteY289" fmla="*/ 4878949 h 4878949"/>
              <a:gd name="connsiteX290" fmla="*/ 708639 w 3418030"/>
              <a:gd name="connsiteY290" fmla="*/ 4878949 h 4878949"/>
              <a:gd name="connsiteX291" fmla="*/ 708405 w 3418030"/>
              <a:gd name="connsiteY291" fmla="*/ 4878949 h 4878949"/>
              <a:gd name="connsiteX292" fmla="*/ 708401 w 3418030"/>
              <a:gd name="connsiteY292" fmla="*/ 4878949 h 4878949"/>
              <a:gd name="connsiteX293" fmla="*/ 708397 w 3418030"/>
              <a:gd name="connsiteY293" fmla="*/ 4878949 h 4878949"/>
              <a:gd name="connsiteX294" fmla="*/ 690672 w 3418030"/>
              <a:gd name="connsiteY294" fmla="*/ 4878949 h 4878949"/>
              <a:gd name="connsiteX295" fmla="*/ 690437 w 3418030"/>
              <a:gd name="connsiteY295" fmla="*/ 4878949 h 4878949"/>
              <a:gd name="connsiteX296" fmla="*/ 690434 w 3418030"/>
              <a:gd name="connsiteY296" fmla="*/ 4878949 h 4878949"/>
              <a:gd name="connsiteX297" fmla="*/ 690430 w 3418030"/>
              <a:gd name="connsiteY297" fmla="*/ 4878949 h 4878949"/>
              <a:gd name="connsiteX298" fmla="*/ 689761 w 3418030"/>
              <a:gd name="connsiteY298" fmla="*/ 4878949 h 4878949"/>
              <a:gd name="connsiteX299" fmla="*/ 681990 w 3418030"/>
              <a:gd name="connsiteY299" fmla="*/ 4878949 h 4878949"/>
              <a:gd name="connsiteX300" fmla="*/ 681756 w 3418030"/>
              <a:gd name="connsiteY300" fmla="*/ 4878949 h 4878949"/>
              <a:gd name="connsiteX301" fmla="*/ 681753 w 3418030"/>
              <a:gd name="connsiteY301" fmla="*/ 4878949 h 4878949"/>
              <a:gd name="connsiteX302" fmla="*/ 681749 w 3418030"/>
              <a:gd name="connsiteY302" fmla="*/ 4878949 h 4878949"/>
              <a:gd name="connsiteX303" fmla="*/ 671793 w 3418030"/>
              <a:gd name="connsiteY303" fmla="*/ 4878949 h 4878949"/>
              <a:gd name="connsiteX304" fmla="*/ 664023 w 3418030"/>
              <a:gd name="connsiteY304" fmla="*/ 4878949 h 4878949"/>
              <a:gd name="connsiteX305" fmla="*/ 663789 w 3418030"/>
              <a:gd name="connsiteY305" fmla="*/ 4878949 h 4878949"/>
              <a:gd name="connsiteX306" fmla="*/ 663785 w 3418030"/>
              <a:gd name="connsiteY306" fmla="*/ 4878949 h 4878949"/>
              <a:gd name="connsiteX307" fmla="*/ 663781 w 3418030"/>
              <a:gd name="connsiteY307" fmla="*/ 4878949 h 4878949"/>
              <a:gd name="connsiteX308" fmla="*/ 663112 w 3418030"/>
              <a:gd name="connsiteY308" fmla="*/ 4878949 h 4878949"/>
              <a:gd name="connsiteX309" fmla="*/ 645144 w 3418030"/>
              <a:gd name="connsiteY309" fmla="*/ 4878949 h 4878949"/>
              <a:gd name="connsiteX310" fmla="*/ 428353 w 3418030"/>
              <a:gd name="connsiteY310" fmla="*/ 4878949 h 4878949"/>
              <a:gd name="connsiteX311" fmla="*/ 428119 w 3418030"/>
              <a:gd name="connsiteY311" fmla="*/ 4878949 h 4878949"/>
              <a:gd name="connsiteX312" fmla="*/ 428115 w 3418030"/>
              <a:gd name="connsiteY312" fmla="*/ 4878949 h 4878949"/>
              <a:gd name="connsiteX313" fmla="*/ 428111 w 3418030"/>
              <a:gd name="connsiteY313" fmla="*/ 4878949 h 4878949"/>
              <a:gd name="connsiteX314" fmla="*/ 409474 w 3418030"/>
              <a:gd name="connsiteY314" fmla="*/ 4878949 h 4878949"/>
              <a:gd name="connsiteX315" fmla="*/ 401704 w 3418030"/>
              <a:gd name="connsiteY315" fmla="*/ 4878949 h 4878949"/>
              <a:gd name="connsiteX316" fmla="*/ 401470 w 3418030"/>
              <a:gd name="connsiteY316" fmla="*/ 4878949 h 4878949"/>
              <a:gd name="connsiteX317" fmla="*/ 401466 w 3418030"/>
              <a:gd name="connsiteY317" fmla="*/ 4878949 h 4878949"/>
              <a:gd name="connsiteX318" fmla="*/ 401462 w 3418030"/>
              <a:gd name="connsiteY318" fmla="*/ 4878949 h 4878949"/>
              <a:gd name="connsiteX319" fmla="*/ 382826 w 3418030"/>
              <a:gd name="connsiteY319" fmla="*/ 4878949 h 4878949"/>
              <a:gd name="connsiteX320" fmla="*/ 382826 w 3418030"/>
              <a:gd name="connsiteY320" fmla="*/ 4878022 h 4878949"/>
              <a:gd name="connsiteX321" fmla="*/ 363616 w 3418030"/>
              <a:gd name="connsiteY321" fmla="*/ 4877077 h 4878949"/>
              <a:gd name="connsiteX322" fmla="*/ 362450 w 3418030"/>
              <a:gd name="connsiteY322" fmla="*/ 4876905 h 4878949"/>
              <a:gd name="connsiteX323" fmla="*/ 360898 w 3418030"/>
              <a:gd name="connsiteY323" fmla="*/ 4876823 h 4878949"/>
              <a:gd name="connsiteX324" fmla="*/ 292547 w 3418030"/>
              <a:gd name="connsiteY324" fmla="*/ 4863240 h 4878949"/>
              <a:gd name="connsiteX325" fmla="*/ 290939 w 3418030"/>
              <a:gd name="connsiteY325" fmla="*/ 4862685 h 4878949"/>
              <a:gd name="connsiteX326" fmla="*/ 290662 w 3418030"/>
              <a:gd name="connsiteY326" fmla="*/ 4862616 h 4878949"/>
              <a:gd name="connsiteX327" fmla="*/ 287903 w 3418030"/>
              <a:gd name="connsiteY327" fmla="*/ 4861637 h 4878949"/>
              <a:gd name="connsiteX328" fmla="*/ 260068 w 3418030"/>
              <a:gd name="connsiteY328" fmla="*/ 4852032 h 4878949"/>
              <a:gd name="connsiteX329" fmla="*/ 257211 w 3418030"/>
              <a:gd name="connsiteY329" fmla="*/ 4850752 h 4878949"/>
              <a:gd name="connsiteX330" fmla="*/ 256125 w 3418030"/>
              <a:gd name="connsiteY330" fmla="*/ 4850367 h 4878949"/>
              <a:gd name="connsiteX331" fmla="*/ 250255 w 3418030"/>
              <a:gd name="connsiteY331" fmla="*/ 4847636 h 4878949"/>
              <a:gd name="connsiteX332" fmla="*/ 228901 w 3418030"/>
              <a:gd name="connsiteY332" fmla="*/ 4838068 h 4878949"/>
              <a:gd name="connsiteX333" fmla="*/ 224915 w 3418030"/>
              <a:gd name="connsiteY333" fmla="*/ 4835845 h 4878949"/>
              <a:gd name="connsiteX334" fmla="*/ 223101 w 3418030"/>
              <a:gd name="connsiteY334" fmla="*/ 4835001 h 4878949"/>
              <a:gd name="connsiteX335" fmla="*/ 216732 w 3418030"/>
              <a:gd name="connsiteY335" fmla="*/ 4831280 h 4878949"/>
              <a:gd name="connsiteX336" fmla="*/ 199181 w 3418030"/>
              <a:gd name="connsiteY336" fmla="*/ 4821488 h 4878949"/>
              <a:gd name="connsiteX337" fmla="*/ 194206 w 3418030"/>
              <a:gd name="connsiteY337" fmla="*/ 4818119 h 4878949"/>
              <a:gd name="connsiteX338" fmla="*/ 191756 w 3418030"/>
              <a:gd name="connsiteY338" fmla="*/ 4816688 h 4878949"/>
              <a:gd name="connsiteX339" fmla="*/ 185691 w 3418030"/>
              <a:gd name="connsiteY339" fmla="*/ 4812352 h 4878949"/>
              <a:gd name="connsiteX340" fmla="*/ 171043 w 3418030"/>
              <a:gd name="connsiteY340" fmla="*/ 4802432 h 4878949"/>
              <a:gd name="connsiteX341" fmla="*/ 165239 w 3418030"/>
              <a:gd name="connsiteY341" fmla="*/ 4797733 h 4878949"/>
              <a:gd name="connsiteX342" fmla="*/ 162251 w 3418030"/>
              <a:gd name="connsiteY342" fmla="*/ 4795598 h 4878949"/>
              <a:gd name="connsiteX343" fmla="*/ 156813 w 3418030"/>
              <a:gd name="connsiteY343" fmla="*/ 4790911 h 4878949"/>
              <a:gd name="connsiteX344" fmla="*/ 144622 w 3418030"/>
              <a:gd name="connsiteY344" fmla="*/ 4781042 h 4878949"/>
              <a:gd name="connsiteX345" fmla="*/ 138166 w 3418030"/>
              <a:gd name="connsiteY345" fmla="*/ 4774843 h 4878949"/>
              <a:gd name="connsiteX346" fmla="*/ 134753 w 3418030"/>
              <a:gd name="connsiteY346" fmla="*/ 4771903 h 4878949"/>
              <a:gd name="connsiteX347" fmla="*/ 130074 w 3418030"/>
              <a:gd name="connsiteY347" fmla="*/ 4767074 h 4878949"/>
              <a:gd name="connsiteX348" fmla="*/ 120055 w 3418030"/>
              <a:gd name="connsiteY348" fmla="*/ 4757456 h 4878949"/>
              <a:gd name="connsiteX349" fmla="*/ 113140 w 3418030"/>
              <a:gd name="connsiteY349" fmla="*/ 4749604 h 4878949"/>
              <a:gd name="connsiteX350" fmla="*/ 109426 w 3418030"/>
              <a:gd name="connsiteY350" fmla="*/ 4745772 h 4878949"/>
              <a:gd name="connsiteX351" fmla="*/ 105548 w 3418030"/>
              <a:gd name="connsiteY351" fmla="*/ 4740983 h 4878949"/>
              <a:gd name="connsiteX352" fmla="*/ 97477 w 3418030"/>
              <a:gd name="connsiteY352" fmla="*/ 4731817 h 4878949"/>
              <a:gd name="connsiteX353" fmla="*/ 90314 w 3418030"/>
              <a:gd name="connsiteY353" fmla="*/ 4722168 h 4878949"/>
              <a:gd name="connsiteX354" fmla="*/ 86434 w 3418030"/>
              <a:gd name="connsiteY354" fmla="*/ 4717378 h 4878949"/>
              <a:gd name="connsiteX355" fmla="*/ 83347 w 3418030"/>
              <a:gd name="connsiteY355" fmla="*/ 4712785 h 4878949"/>
              <a:gd name="connsiteX356" fmla="*/ 77022 w 3418030"/>
              <a:gd name="connsiteY356" fmla="*/ 4704265 h 4878949"/>
              <a:gd name="connsiteX357" fmla="*/ 69837 w 3418030"/>
              <a:gd name="connsiteY357" fmla="*/ 4692685 h 4878949"/>
              <a:gd name="connsiteX358" fmla="*/ 65942 w 3418030"/>
              <a:gd name="connsiteY358" fmla="*/ 4686890 h 4878949"/>
              <a:gd name="connsiteX359" fmla="*/ 63602 w 3418030"/>
              <a:gd name="connsiteY359" fmla="*/ 4682635 h 4878949"/>
              <a:gd name="connsiteX360" fmla="*/ 58827 w 3418030"/>
              <a:gd name="connsiteY360" fmla="*/ 4674940 h 4878949"/>
              <a:gd name="connsiteX361" fmla="*/ 51860 w 3418030"/>
              <a:gd name="connsiteY361" fmla="*/ 4661288 h 4878949"/>
              <a:gd name="connsiteX362" fmla="*/ 48114 w 3418030"/>
              <a:gd name="connsiteY362" fmla="*/ 4654479 h 4878949"/>
              <a:gd name="connsiteX363" fmla="*/ 46451 w 3418030"/>
              <a:gd name="connsiteY363" fmla="*/ 4650690 h 4878949"/>
              <a:gd name="connsiteX364" fmla="*/ 43027 w 3418030"/>
              <a:gd name="connsiteY364" fmla="*/ 4643982 h 4878949"/>
              <a:gd name="connsiteX365" fmla="*/ 36529 w 3418030"/>
              <a:gd name="connsiteY365" fmla="*/ 4628092 h 4878949"/>
              <a:gd name="connsiteX366" fmla="*/ 33114 w 3418030"/>
              <a:gd name="connsiteY366" fmla="*/ 4620315 h 4878949"/>
              <a:gd name="connsiteX367" fmla="*/ 32037 w 3418030"/>
              <a:gd name="connsiteY367" fmla="*/ 4617109 h 4878949"/>
              <a:gd name="connsiteX368" fmla="*/ 29757 w 3418030"/>
              <a:gd name="connsiteY368" fmla="*/ 4611533 h 4878949"/>
              <a:gd name="connsiteX369" fmla="*/ 23992 w 3418030"/>
              <a:gd name="connsiteY369" fmla="*/ 4593159 h 4878949"/>
              <a:gd name="connsiteX370" fmla="*/ 21107 w 3418030"/>
              <a:gd name="connsiteY370" fmla="*/ 4584570 h 4878949"/>
              <a:gd name="connsiteX371" fmla="*/ 20507 w 3418030"/>
              <a:gd name="connsiteY371" fmla="*/ 4582050 h 4878949"/>
              <a:gd name="connsiteX372" fmla="*/ 19153 w 3418030"/>
              <a:gd name="connsiteY372" fmla="*/ 4577733 h 4878949"/>
              <a:gd name="connsiteX373" fmla="*/ 14395 w 3418030"/>
              <a:gd name="connsiteY373" fmla="*/ 4556392 h 4878949"/>
              <a:gd name="connsiteX374" fmla="*/ 12257 w 3418030"/>
              <a:gd name="connsiteY374" fmla="*/ 4547414 h 4878949"/>
              <a:gd name="connsiteX375" fmla="*/ 12007 w 3418030"/>
              <a:gd name="connsiteY375" fmla="*/ 4545675 h 4878949"/>
              <a:gd name="connsiteX376" fmla="*/ 11349 w 3418030"/>
              <a:gd name="connsiteY376" fmla="*/ 4542722 h 4878949"/>
              <a:gd name="connsiteX377" fmla="*/ 7886 w 3418030"/>
              <a:gd name="connsiteY377" fmla="*/ 4517048 h 4878949"/>
              <a:gd name="connsiteX378" fmla="*/ 6730 w 3418030"/>
              <a:gd name="connsiteY378" fmla="*/ 4509017 h 4878949"/>
              <a:gd name="connsiteX379" fmla="*/ 6688 w 3418030"/>
              <a:gd name="connsiteY379" fmla="*/ 4508172 h 4878949"/>
              <a:gd name="connsiteX380" fmla="*/ 6481 w 3418030"/>
              <a:gd name="connsiteY380" fmla="*/ 4506641 h 4878949"/>
              <a:gd name="connsiteX381" fmla="*/ 5670 w 3418030"/>
              <a:gd name="connsiteY381" fmla="*/ 4488834 h 4878949"/>
              <a:gd name="connsiteX382" fmla="*/ 4679 w 3418030"/>
              <a:gd name="connsiteY382" fmla="*/ 4488834 h 4878949"/>
              <a:gd name="connsiteX383" fmla="*/ 4679 w 3418030"/>
              <a:gd name="connsiteY383" fmla="*/ 4476023 h 4878949"/>
              <a:gd name="connsiteX384" fmla="*/ 3837 w 3418030"/>
              <a:gd name="connsiteY384" fmla="*/ 4469889 h 4878949"/>
              <a:gd name="connsiteX385" fmla="*/ 2681 w 3418030"/>
              <a:gd name="connsiteY385" fmla="*/ 4461995 h 4878949"/>
              <a:gd name="connsiteX386" fmla="*/ 2640 w 3418030"/>
              <a:gd name="connsiteY386" fmla="*/ 4461163 h 4878949"/>
              <a:gd name="connsiteX387" fmla="*/ 2433 w 3418030"/>
              <a:gd name="connsiteY387" fmla="*/ 4459658 h 4878949"/>
              <a:gd name="connsiteX388" fmla="*/ 1621 w 3418030"/>
              <a:gd name="connsiteY388" fmla="*/ 4442154 h 4878949"/>
              <a:gd name="connsiteX389" fmla="*/ 631 w 3418030"/>
              <a:gd name="connsiteY389" fmla="*/ 4442154 h 4878949"/>
              <a:gd name="connsiteX390" fmla="*/ 631 w 3418030"/>
              <a:gd name="connsiteY390" fmla="*/ 4426015 h 4878949"/>
              <a:gd name="connsiteX391" fmla="*/ 631 w 3418030"/>
              <a:gd name="connsiteY391" fmla="*/ 4420821 h 4878949"/>
              <a:gd name="connsiteX392" fmla="*/ 631 w 3418030"/>
              <a:gd name="connsiteY392" fmla="*/ 4420700 h 4878949"/>
              <a:gd name="connsiteX393" fmla="*/ 156 w 3418030"/>
              <a:gd name="connsiteY393" fmla="*/ 4420700 h 4878949"/>
              <a:gd name="connsiteX394" fmla="*/ 156 w 3418030"/>
              <a:gd name="connsiteY394" fmla="*/ 4350450 h 4878949"/>
              <a:gd name="connsiteX395" fmla="*/ 156 w 3418030"/>
              <a:gd name="connsiteY395" fmla="*/ 4340879 h 4878949"/>
              <a:gd name="connsiteX396" fmla="*/ 156 w 3418030"/>
              <a:gd name="connsiteY396" fmla="*/ 4127703 h 4878949"/>
              <a:gd name="connsiteX397" fmla="*/ 156 w 3418030"/>
              <a:gd name="connsiteY397" fmla="*/ 4025885 h 4878949"/>
              <a:gd name="connsiteX398" fmla="*/ 156 w 3418030"/>
              <a:gd name="connsiteY398" fmla="*/ 3997713 h 4878949"/>
              <a:gd name="connsiteX399" fmla="*/ 626 w 3418030"/>
              <a:gd name="connsiteY399" fmla="*/ 3997713 h 4878949"/>
              <a:gd name="connsiteX400" fmla="*/ 626 w 3418030"/>
              <a:gd name="connsiteY400" fmla="*/ 3911014 h 4878949"/>
              <a:gd name="connsiteX401" fmla="*/ 0 w 3418030"/>
              <a:gd name="connsiteY401" fmla="*/ 3911014 h 4878949"/>
              <a:gd name="connsiteX402" fmla="*/ 0 w 3418030"/>
              <a:gd name="connsiteY402" fmla="*/ 3908592 h 4878949"/>
              <a:gd name="connsiteX403" fmla="*/ 0 w 3418030"/>
              <a:gd name="connsiteY403" fmla="*/ 3570744 h 4878949"/>
              <a:gd name="connsiteX404" fmla="*/ 0 w 3418030"/>
              <a:gd name="connsiteY404" fmla="*/ 2076617 h 4878949"/>
              <a:gd name="connsiteX405" fmla="*/ 3302 w 3418030"/>
              <a:gd name="connsiteY405" fmla="*/ 2076617 h 4878949"/>
              <a:gd name="connsiteX406" fmla="*/ 3302 w 3418030"/>
              <a:gd name="connsiteY406" fmla="*/ 2074287 h 4878949"/>
              <a:gd name="connsiteX407" fmla="*/ 3302 w 3418030"/>
              <a:gd name="connsiteY407" fmla="*/ 1850939 h 4878949"/>
              <a:gd name="connsiteX408" fmla="*/ 3302 w 3418030"/>
              <a:gd name="connsiteY408" fmla="*/ 1850328 h 4878949"/>
              <a:gd name="connsiteX409" fmla="*/ 3301 w 3418030"/>
              <a:gd name="connsiteY409" fmla="*/ 1850319 h 4878949"/>
              <a:gd name="connsiteX410" fmla="*/ 3302 w 3418030"/>
              <a:gd name="connsiteY410" fmla="*/ 1850309 h 4878949"/>
              <a:gd name="connsiteX411" fmla="*/ 3302 w 3418030"/>
              <a:gd name="connsiteY411" fmla="*/ 1804040 h 4878949"/>
              <a:gd name="connsiteX412" fmla="*/ 3302 w 3418030"/>
              <a:gd name="connsiteY412" fmla="*/ 1803429 h 4878949"/>
              <a:gd name="connsiteX413" fmla="*/ 3301 w 3418030"/>
              <a:gd name="connsiteY413" fmla="*/ 1803419 h 4878949"/>
              <a:gd name="connsiteX414" fmla="*/ 3302 w 3418030"/>
              <a:gd name="connsiteY414" fmla="*/ 1803409 h 4878949"/>
              <a:gd name="connsiteX415" fmla="*/ 3302 w 3418030"/>
              <a:gd name="connsiteY415" fmla="*/ 1801662 h 4878949"/>
              <a:gd name="connsiteX416" fmla="*/ 3302 w 3418030"/>
              <a:gd name="connsiteY416" fmla="*/ 1770814 h 4878949"/>
              <a:gd name="connsiteX417" fmla="*/ 3302 w 3418030"/>
              <a:gd name="connsiteY417" fmla="*/ 1770203 h 4878949"/>
              <a:gd name="connsiteX418" fmla="*/ 3301 w 3418030"/>
              <a:gd name="connsiteY418" fmla="*/ 1770192 h 4878949"/>
              <a:gd name="connsiteX419" fmla="*/ 3302 w 3418030"/>
              <a:gd name="connsiteY419" fmla="*/ 1770183 h 4878949"/>
              <a:gd name="connsiteX420" fmla="*/ 3302 w 3418030"/>
              <a:gd name="connsiteY420" fmla="*/ 1754762 h 4878949"/>
              <a:gd name="connsiteX421" fmla="*/ 3302 w 3418030"/>
              <a:gd name="connsiteY421" fmla="*/ 1723914 h 4878949"/>
              <a:gd name="connsiteX422" fmla="*/ 3302 w 3418030"/>
              <a:gd name="connsiteY422" fmla="*/ 1723304 h 4878949"/>
              <a:gd name="connsiteX423" fmla="*/ 3301 w 3418030"/>
              <a:gd name="connsiteY423" fmla="*/ 1723293 h 4878949"/>
              <a:gd name="connsiteX424" fmla="*/ 3302 w 3418030"/>
              <a:gd name="connsiteY424" fmla="*/ 1723284 h 4878949"/>
              <a:gd name="connsiteX425" fmla="*/ 3302 w 3418030"/>
              <a:gd name="connsiteY425" fmla="*/ 1721537 h 4878949"/>
              <a:gd name="connsiteX426" fmla="*/ 3302 w 3418030"/>
              <a:gd name="connsiteY426" fmla="*/ 1674636 h 4878949"/>
              <a:gd name="connsiteX427" fmla="*/ 3302 w 3418030"/>
              <a:gd name="connsiteY427" fmla="*/ 1119326 h 4878949"/>
              <a:gd name="connsiteX428" fmla="*/ 3302 w 3418030"/>
              <a:gd name="connsiteY428" fmla="*/ 1118715 h 4878949"/>
              <a:gd name="connsiteX429" fmla="*/ 3301 w 3418030"/>
              <a:gd name="connsiteY429" fmla="*/ 1118705 h 4878949"/>
              <a:gd name="connsiteX430" fmla="*/ 3302 w 3418030"/>
              <a:gd name="connsiteY430" fmla="*/ 1118695 h 4878949"/>
              <a:gd name="connsiteX431" fmla="*/ 3302 w 3418030"/>
              <a:gd name="connsiteY431" fmla="*/ 1070048 h 4878949"/>
              <a:gd name="connsiteX432" fmla="*/ 3302 w 3418030"/>
              <a:gd name="connsiteY432" fmla="*/ 1039200 h 4878949"/>
              <a:gd name="connsiteX433" fmla="*/ 3302 w 3418030"/>
              <a:gd name="connsiteY433" fmla="*/ 1038590 h 4878949"/>
              <a:gd name="connsiteX434" fmla="*/ 3301 w 3418030"/>
              <a:gd name="connsiteY434" fmla="*/ 1038579 h 4878949"/>
              <a:gd name="connsiteX435" fmla="*/ 3302 w 3418030"/>
              <a:gd name="connsiteY435" fmla="*/ 1038570 h 4878949"/>
              <a:gd name="connsiteX436" fmla="*/ 3302 w 3418030"/>
              <a:gd name="connsiteY436" fmla="*/ 989923 h 4878949"/>
              <a:gd name="connsiteX437" fmla="*/ 5852 w 3418030"/>
              <a:gd name="connsiteY437" fmla="*/ 989923 h 4878949"/>
              <a:gd name="connsiteX438" fmla="*/ 8449 w 3418030"/>
              <a:gd name="connsiteY438" fmla="*/ 939781 h 4878949"/>
              <a:gd name="connsiteX439" fmla="*/ 8925 w 3418030"/>
              <a:gd name="connsiteY439" fmla="*/ 936738 h 4878949"/>
              <a:gd name="connsiteX440" fmla="*/ 9149 w 3418030"/>
              <a:gd name="connsiteY440" fmla="*/ 932684 h 4878949"/>
              <a:gd name="connsiteX441" fmla="*/ 46506 w 3418030"/>
              <a:gd name="connsiteY441" fmla="*/ 754274 h 4878949"/>
              <a:gd name="connsiteX442" fmla="*/ 48032 w 3418030"/>
              <a:gd name="connsiteY442" fmla="*/ 750077 h 4878949"/>
              <a:gd name="connsiteX443" fmla="*/ 48222 w 3418030"/>
              <a:gd name="connsiteY443" fmla="*/ 749353 h 4878949"/>
              <a:gd name="connsiteX444" fmla="*/ 50914 w 3418030"/>
              <a:gd name="connsiteY444" fmla="*/ 742152 h 4878949"/>
              <a:gd name="connsiteX445" fmla="*/ 77329 w 3418030"/>
              <a:gd name="connsiteY445" fmla="*/ 669497 h 4878949"/>
              <a:gd name="connsiteX446" fmla="*/ 80849 w 3418030"/>
              <a:gd name="connsiteY446" fmla="*/ 662039 h 4878949"/>
              <a:gd name="connsiteX447" fmla="*/ 81908 w 3418030"/>
              <a:gd name="connsiteY447" fmla="*/ 659204 h 4878949"/>
              <a:gd name="connsiteX448" fmla="*/ 89422 w 3418030"/>
              <a:gd name="connsiteY448" fmla="*/ 643883 h 4878949"/>
              <a:gd name="connsiteX449" fmla="*/ 115734 w 3418030"/>
              <a:gd name="connsiteY449" fmla="*/ 588143 h 4878949"/>
              <a:gd name="connsiteX450" fmla="*/ 121848 w 3418030"/>
              <a:gd name="connsiteY450" fmla="*/ 577740 h 4878949"/>
              <a:gd name="connsiteX451" fmla="*/ 124169 w 3418030"/>
              <a:gd name="connsiteY451" fmla="*/ 573005 h 4878949"/>
              <a:gd name="connsiteX452" fmla="*/ 134403 w 3418030"/>
              <a:gd name="connsiteY452" fmla="*/ 556381 h 4878949"/>
              <a:gd name="connsiteX453" fmla="*/ 161333 w 3418030"/>
              <a:gd name="connsiteY453" fmla="*/ 510566 h 4878949"/>
              <a:gd name="connsiteX454" fmla="*/ 170598 w 3418030"/>
              <a:gd name="connsiteY454" fmla="*/ 497582 h 4878949"/>
              <a:gd name="connsiteX455" fmla="*/ 174534 w 3418030"/>
              <a:gd name="connsiteY455" fmla="*/ 491185 h 4878949"/>
              <a:gd name="connsiteX456" fmla="*/ 186458 w 3418030"/>
              <a:gd name="connsiteY456" fmla="*/ 475354 h 4878949"/>
              <a:gd name="connsiteX457" fmla="*/ 213741 w 3418030"/>
              <a:gd name="connsiteY457" fmla="*/ 437120 h 4878949"/>
              <a:gd name="connsiteX458" fmla="*/ 226666 w 3418030"/>
              <a:gd name="connsiteY458" fmla="*/ 421970 h 4878949"/>
              <a:gd name="connsiteX459" fmla="*/ 232537 w 3418030"/>
              <a:gd name="connsiteY459" fmla="*/ 414172 h 4878949"/>
              <a:gd name="connsiteX460" fmla="*/ 245428 w 3418030"/>
              <a:gd name="connsiteY460" fmla="*/ 399975 h 4878949"/>
              <a:gd name="connsiteX461" fmla="*/ 272569 w 3418030"/>
              <a:gd name="connsiteY461" fmla="*/ 368155 h 4878949"/>
              <a:gd name="connsiteX462" fmla="*/ 289619 w 3418030"/>
              <a:gd name="connsiteY462" fmla="*/ 351302 h 4878949"/>
              <a:gd name="connsiteX463" fmla="*/ 297703 w 3418030"/>
              <a:gd name="connsiteY463" fmla="*/ 342396 h 4878949"/>
              <a:gd name="connsiteX464" fmla="*/ 310983 w 3418030"/>
              <a:gd name="connsiteY464" fmla="*/ 330181 h 4878949"/>
              <a:gd name="connsiteX465" fmla="*/ 337434 w 3418030"/>
              <a:gd name="connsiteY465" fmla="*/ 304029 h 4878949"/>
              <a:gd name="connsiteX466" fmla="*/ 359031 w 3418030"/>
              <a:gd name="connsiteY466" fmla="*/ 285980 h 4878949"/>
              <a:gd name="connsiteX467" fmla="*/ 369567 w 3418030"/>
              <a:gd name="connsiteY467" fmla="*/ 276286 h 4878949"/>
              <a:gd name="connsiteX468" fmla="*/ 382740 w 3418030"/>
              <a:gd name="connsiteY468" fmla="*/ 266163 h 4878949"/>
              <a:gd name="connsiteX469" fmla="*/ 407948 w 3418030"/>
              <a:gd name="connsiteY469" fmla="*/ 245095 h 4878949"/>
              <a:gd name="connsiteX470" fmla="*/ 434483 w 3418030"/>
              <a:gd name="connsiteY470" fmla="*/ 226398 h 4878949"/>
              <a:gd name="connsiteX471" fmla="*/ 447659 w 3418030"/>
              <a:gd name="connsiteY471" fmla="*/ 216272 h 4878949"/>
              <a:gd name="connsiteX472" fmla="*/ 460291 w 3418030"/>
              <a:gd name="connsiteY472" fmla="*/ 208214 h 4878949"/>
              <a:gd name="connsiteX473" fmla="*/ 483722 w 3418030"/>
              <a:gd name="connsiteY473" fmla="*/ 191703 h 4878949"/>
              <a:gd name="connsiteX474" fmla="*/ 515572 w 3418030"/>
              <a:gd name="connsiteY474" fmla="*/ 172948 h 4878949"/>
              <a:gd name="connsiteX475" fmla="*/ 531508 w 3418030"/>
              <a:gd name="connsiteY475" fmla="*/ 162782 h 4878949"/>
              <a:gd name="connsiteX476" fmla="*/ 543209 w 3418030"/>
              <a:gd name="connsiteY476" fmla="*/ 156673 h 4878949"/>
              <a:gd name="connsiteX477" fmla="*/ 564373 w 3418030"/>
              <a:gd name="connsiteY477" fmla="*/ 144210 h 4878949"/>
              <a:gd name="connsiteX478" fmla="*/ 601919 w 3418030"/>
              <a:gd name="connsiteY478" fmla="*/ 126023 h 4878949"/>
              <a:gd name="connsiteX479" fmla="*/ 620646 w 3418030"/>
              <a:gd name="connsiteY479" fmla="*/ 116246 h 4878949"/>
              <a:gd name="connsiteX480" fmla="*/ 631065 w 3418030"/>
              <a:gd name="connsiteY480" fmla="*/ 111905 h 4878949"/>
              <a:gd name="connsiteX481" fmla="*/ 649513 w 3418030"/>
              <a:gd name="connsiteY481" fmla="*/ 102967 h 4878949"/>
              <a:gd name="connsiteX482" fmla="*/ 693215 w 3418030"/>
              <a:gd name="connsiteY482" fmla="*/ 86005 h 4878949"/>
              <a:gd name="connsiteX483" fmla="*/ 714604 w 3418030"/>
              <a:gd name="connsiteY483" fmla="*/ 77091 h 4878949"/>
              <a:gd name="connsiteX484" fmla="*/ 723421 w 3418030"/>
              <a:gd name="connsiteY484" fmla="*/ 74281 h 4878949"/>
              <a:gd name="connsiteX485" fmla="*/ 738755 w 3418030"/>
              <a:gd name="connsiteY485" fmla="*/ 68329 h 4878949"/>
              <a:gd name="connsiteX486" fmla="*/ 789290 w 3418030"/>
              <a:gd name="connsiteY486" fmla="*/ 53281 h 4878949"/>
              <a:gd name="connsiteX487" fmla="*/ 812911 w 3418030"/>
              <a:gd name="connsiteY487" fmla="*/ 45751 h 4878949"/>
              <a:gd name="connsiteX488" fmla="*/ 819840 w 3418030"/>
              <a:gd name="connsiteY488" fmla="*/ 44184 h 4878949"/>
              <a:gd name="connsiteX489" fmla="*/ 831714 w 3418030"/>
              <a:gd name="connsiteY489" fmla="*/ 40649 h 4878949"/>
              <a:gd name="connsiteX490" fmla="*/ 890408 w 3418030"/>
              <a:gd name="connsiteY490" fmla="*/ 28233 h 4878949"/>
              <a:gd name="connsiteX491" fmla="*/ 891488 w 3418030"/>
              <a:gd name="connsiteY491" fmla="*/ 27989 h 4878949"/>
              <a:gd name="connsiteX492" fmla="*/ 891488 w 3418030"/>
              <a:gd name="connsiteY492" fmla="*/ 26353 h 4878949"/>
              <a:gd name="connsiteX493" fmla="*/ 920414 w 3418030"/>
              <a:gd name="connsiteY493" fmla="*/ 21016 h 4878949"/>
              <a:gd name="connsiteX494" fmla="*/ 926275 w 3418030"/>
              <a:gd name="connsiteY494" fmla="*/ 20363 h 4878949"/>
              <a:gd name="connsiteX495" fmla="*/ 936223 w 3418030"/>
              <a:gd name="connsiteY495" fmla="*/ 18645 h 4878949"/>
              <a:gd name="connsiteX496" fmla="*/ 1022729 w 3418030"/>
              <a:gd name="connsiteY496" fmla="*/ 9605 h 4878949"/>
              <a:gd name="connsiteX497" fmla="*/ 1049789 w 3418030"/>
              <a:gd name="connsiteY497" fmla="*/ 6588 h 4878949"/>
              <a:gd name="connsiteX498" fmla="*/ 1052637 w 3418030"/>
              <a:gd name="connsiteY498" fmla="*/ 6482 h 4878949"/>
              <a:gd name="connsiteX499" fmla="*/ 1057795 w 3418030"/>
              <a:gd name="connsiteY499" fmla="*/ 5941 h 4878949"/>
              <a:gd name="connsiteX500" fmla="*/ 1117794 w 3418030"/>
              <a:gd name="connsiteY500" fmla="*/ 3821 h 4878949"/>
              <a:gd name="connsiteX501" fmla="*/ 1117794 w 3418030"/>
              <a:gd name="connsiteY501" fmla="*/ 1237 h 4878949"/>
              <a:gd name="connsiteX502" fmla="*/ 1173109 w 3418030"/>
              <a:gd name="connsiteY502" fmla="*/ 1237 h 4878949"/>
              <a:gd name="connsiteX503" fmla="*/ 1190915 w 3418030"/>
              <a:gd name="connsiteY503" fmla="*/ 1237 h 4878949"/>
              <a:gd name="connsiteX504" fmla="*/ 1191329 w 3418030"/>
              <a:gd name="connsiteY504" fmla="*/ 1237 h 4878949"/>
              <a:gd name="connsiteX505" fmla="*/ 1191331 w 3418030"/>
              <a:gd name="connsiteY505" fmla="*/ 1237 h 487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</a:cxnLst>
            <a:rect l="l" t="t" r="r" b="b"/>
            <a:pathLst>
              <a:path w="3418030" h="4878949">
                <a:moveTo>
                  <a:pt x="1191331" y="0"/>
                </a:moveTo>
                <a:lnTo>
                  <a:pt x="1294432" y="0"/>
                </a:lnTo>
                <a:lnTo>
                  <a:pt x="1457098" y="0"/>
                </a:lnTo>
                <a:lnTo>
                  <a:pt x="1564784" y="0"/>
                </a:lnTo>
                <a:lnTo>
                  <a:pt x="2013538" y="0"/>
                </a:lnTo>
                <a:lnTo>
                  <a:pt x="2038520" y="0"/>
                </a:lnTo>
                <a:lnTo>
                  <a:pt x="2130825" y="0"/>
                </a:lnTo>
                <a:lnTo>
                  <a:pt x="2156238" y="0"/>
                </a:lnTo>
                <a:lnTo>
                  <a:pt x="2221889" y="0"/>
                </a:lnTo>
                <a:lnTo>
                  <a:pt x="2277890" y="0"/>
                </a:lnTo>
                <a:lnTo>
                  <a:pt x="2342770" y="0"/>
                </a:lnTo>
                <a:lnTo>
                  <a:pt x="2399737" y="0"/>
                </a:lnTo>
                <a:lnTo>
                  <a:pt x="2399737" y="1224"/>
                </a:lnTo>
                <a:lnTo>
                  <a:pt x="3278911" y="1224"/>
                </a:lnTo>
                <a:lnTo>
                  <a:pt x="3418030" y="1224"/>
                </a:lnTo>
                <a:lnTo>
                  <a:pt x="3418030" y="70784"/>
                </a:lnTo>
                <a:lnTo>
                  <a:pt x="3418030" y="685938"/>
                </a:lnTo>
                <a:lnTo>
                  <a:pt x="3418030" y="732837"/>
                </a:lnTo>
                <a:lnTo>
                  <a:pt x="3418030" y="755498"/>
                </a:lnTo>
                <a:lnTo>
                  <a:pt x="3418030" y="802397"/>
                </a:lnTo>
                <a:lnTo>
                  <a:pt x="3418030" y="1036312"/>
                </a:lnTo>
                <a:lnTo>
                  <a:pt x="3418030" y="1036923"/>
                </a:lnTo>
                <a:lnTo>
                  <a:pt x="3418030" y="1036933"/>
                </a:lnTo>
                <a:lnTo>
                  <a:pt x="3418030" y="1036943"/>
                </a:lnTo>
                <a:lnTo>
                  <a:pt x="3418030" y="1085589"/>
                </a:lnTo>
                <a:lnTo>
                  <a:pt x="3418030" y="1105871"/>
                </a:lnTo>
                <a:lnTo>
                  <a:pt x="3418030" y="1106482"/>
                </a:lnTo>
                <a:lnTo>
                  <a:pt x="3418030" y="1106491"/>
                </a:lnTo>
                <a:lnTo>
                  <a:pt x="3418030" y="1106501"/>
                </a:lnTo>
                <a:lnTo>
                  <a:pt x="3418030" y="1155149"/>
                </a:lnTo>
                <a:lnTo>
                  <a:pt x="3418030" y="1417551"/>
                </a:lnTo>
                <a:lnTo>
                  <a:pt x="3418030" y="1487111"/>
                </a:lnTo>
                <a:lnTo>
                  <a:pt x="3418030" y="1721026"/>
                </a:lnTo>
                <a:lnTo>
                  <a:pt x="3418030" y="1721637"/>
                </a:lnTo>
                <a:lnTo>
                  <a:pt x="3418030" y="1721646"/>
                </a:lnTo>
                <a:lnTo>
                  <a:pt x="3418030" y="1721657"/>
                </a:lnTo>
                <a:lnTo>
                  <a:pt x="3418030" y="1767925"/>
                </a:lnTo>
                <a:lnTo>
                  <a:pt x="3418030" y="1768536"/>
                </a:lnTo>
                <a:lnTo>
                  <a:pt x="3418030" y="1768546"/>
                </a:lnTo>
                <a:lnTo>
                  <a:pt x="3418030" y="1768556"/>
                </a:lnTo>
                <a:lnTo>
                  <a:pt x="3418030" y="1770303"/>
                </a:lnTo>
                <a:lnTo>
                  <a:pt x="3418030" y="1790585"/>
                </a:lnTo>
                <a:lnTo>
                  <a:pt x="3418030" y="1791196"/>
                </a:lnTo>
                <a:lnTo>
                  <a:pt x="3418030" y="1791205"/>
                </a:lnTo>
                <a:lnTo>
                  <a:pt x="3418030" y="1791215"/>
                </a:lnTo>
                <a:lnTo>
                  <a:pt x="3418030" y="1817203"/>
                </a:lnTo>
                <a:lnTo>
                  <a:pt x="3418030" y="1837484"/>
                </a:lnTo>
                <a:lnTo>
                  <a:pt x="3418030" y="1838095"/>
                </a:lnTo>
                <a:lnTo>
                  <a:pt x="3418030" y="1838105"/>
                </a:lnTo>
                <a:lnTo>
                  <a:pt x="3418030" y="1838115"/>
                </a:lnTo>
                <a:lnTo>
                  <a:pt x="3418030" y="1839863"/>
                </a:lnTo>
                <a:lnTo>
                  <a:pt x="3418030" y="1886762"/>
                </a:lnTo>
                <a:lnTo>
                  <a:pt x="3418030" y="2452639"/>
                </a:lnTo>
                <a:lnTo>
                  <a:pt x="3418030" y="2453250"/>
                </a:lnTo>
                <a:lnTo>
                  <a:pt x="3418030" y="2453260"/>
                </a:lnTo>
                <a:lnTo>
                  <a:pt x="3418030" y="2453270"/>
                </a:lnTo>
                <a:lnTo>
                  <a:pt x="3418030" y="2501917"/>
                </a:lnTo>
                <a:lnTo>
                  <a:pt x="3418030" y="2522198"/>
                </a:lnTo>
                <a:lnTo>
                  <a:pt x="3418030" y="2522809"/>
                </a:lnTo>
                <a:lnTo>
                  <a:pt x="3418030" y="2522819"/>
                </a:lnTo>
                <a:lnTo>
                  <a:pt x="3418030" y="2522830"/>
                </a:lnTo>
                <a:lnTo>
                  <a:pt x="3418030" y="2571476"/>
                </a:lnTo>
                <a:lnTo>
                  <a:pt x="3415609" y="2571476"/>
                </a:lnTo>
                <a:lnTo>
                  <a:pt x="3413143" y="2621619"/>
                </a:lnTo>
                <a:lnTo>
                  <a:pt x="3412693" y="2624661"/>
                </a:lnTo>
                <a:lnTo>
                  <a:pt x="3412480" y="2628713"/>
                </a:lnTo>
                <a:cubicBezTo>
                  <a:pt x="3406029" y="2689917"/>
                  <a:pt x="3394048" y="2749544"/>
                  <a:pt x="3377025" y="2807125"/>
                </a:cubicBezTo>
                <a:lnTo>
                  <a:pt x="3375576" y="2811322"/>
                </a:lnTo>
                <a:lnTo>
                  <a:pt x="3375395" y="2812045"/>
                </a:lnTo>
                <a:lnTo>
                  <a:pt x="3372842" y="2819247"/>
                </a:lnTo>
                <a:lnTo>
                  <a:pt x="3347771" y="2891903"/>
                </a:lnTo>
                <a:lnTo>
                  <a:pt x="3344429" y="2899360"/>
                </a:lnTo>
                <a:lnTo>
                  <a:pt x="3343424" y="2902194"/>
                </a:lnTo>
                <a:lnTo>
                  <a:pt x="3336294" y="2917516"/>
                </a:lnTo>
                <a:lnTo>
                  <a:pt x="3311321" y="2973257"/>
                </a:lnTo>
                <a:lnTo>
                  <a:pt x="3305517" y="2983659"/>
                </a:lnTo>
                <a:lnTo>
                  <a:pt x="3303314" y="2988394"/>
                </a:lnTo>
                <a:lnTo>
                  <a:pt x="3293601" y="3005019"/>
                </a:lnTo>
                <a:lnTo>
                  <a:pt x="3268042" y="3050833"/>
                </a:lnTo>
                <a:lnTo>
                  <a:pt x="3259248" y="3063817"/>
                </a:lnTo>
                <a:lnTo>
                  <a:pt x="3255513" y="3070215"/>
                </a:lnTo>
                <a:lnTo>
                  <a:pt x="3244196" y="3086045"/>
                </a:lnTo>
                <a:lnTo>
                  <a:pt x="3218302" y="3124280"/>
                </a:lnTo>
                <a:lnTo>
                  <a:pt x="3206037" y="3139430"/>
                </a:lnTo>
                <a:lnTo>
                  <a:pt x="3200464" y="3147227"/>
                </a:lnTo>
                <a:lnTo>
                  <a:pt x="3188229" y="3161424"/>
                </a:lnTo>
                <a:lnTo>
                  <a:pt x="3162468" y="3193243"/>
                </a:lnTo>
                <a:lnTo>
                  <a:pt x="3146287" y="3210097"/>
                </a:lnTo>
                <a:lnTo>
                  <a:pt x="3138613" y="3219003"/>
                </a:lnTo>
                <a:lnTo>
                  <a:pt x="3126010" y="3231219"/>
                </a:lnTo>
                <a:lnTo>
                  <a:pt x="3100905" y="3257369"/>
                </a:lnTo>
                <a:lnTo>
                  <a:pt x="3080407" y="3275420"/>
                </a:lnTo>
                <a:lnTo>
                  <a:pt x="3070407" y="3285113"/>
                </a:lnTo>
                <a:lnTo>
                  <a:pt x="3057904" y="3295236"/>
                </a:lnTo>
                <a:lnTo>
                  <a:pt x="3033981" y="3316304"/>
                </a:lnTo>
                <a:lnTo>
                  <a:pt x="3008795" y="3335002"/>
                </a:lnTo>
                <a:lnTo>
                  <a:pt x="2996290" y="3345128"/>
                </a:lnTo>
                <a:lnTo>
                  <a:pt x="2984301" y="3353185"/>
                </a:lnTo>
                <a:lnTo>
                  <a:pt x="2962062" y="3369695"/>
                </a:lnTo>
                <a:lnTo>
                  <a:pt x="2931835" y="3388450"/>
                </a:lnTo>
                <a:lnTo>
                  <a:pt x="2916709" y="3398618"/>
                </a:lnTo>
                <a:lnTo>
                  <a:pt x="2905603" y="3404726"/>
                </a:lnTo>
                <a:lnTo>
                  <a:pt x="2885517" y="3417189"/>
                </a:lnTo>
                <a:lnTo>
                  <a:pt x="2849882" y="3435375"/>
                </a:lnTo>
                <a:lnTo>
                  <a:pt x="2832108" y="3445153"/>
                </a:lnTo>
                <a:lnTo>
                  <a:pt x="2822219" y="3449494"/>
                </a:lnTo>
                <a:lnTo>
                  <a:pt x="2804710" y="3458432"/>
                </a:lnTo>
                <a:lnTo>
                  <a:pt x="2763233" y="3475393"/>
                </a:lnTo>
                <a:lnTo>
                  <a:pt x="2742933" y="3484308"/>
                </a:lnTo>
                <a:lnTo>
                  <a:pt x="2734565" y="3487117"/>
                </a:lnTo>
                <a:lnTo>
                  <a:pt x="2720010" y="3493070"/>
                </a:lnTo>
                <a:lnTo>
                  <a:pt x="2672049" y="3508117"/>
                </a:lnTo>
                <a:lnTo>
                  <a:pt x="2649630" y="3515648"/>
                </a:lnTo>
                <a:lnTo>
                  <a:pt x="2643052" y="3517214"/>
                </a:lnTo>
                <a:lnTo>
                  <a:pt x="2631783" y="3520749"/>
                </a:lnTo>
                <a:lnTo>
                  <a:pt x="2576079" y="3533167"/>
                </a:lnTo>
                <a:lnTo>
                  <a:pt x="2552643" y="3538747"/>
                </a:lnTo>
                <a:lnTo>
                  <a:pt x="2548104" y="3539401"/>
                </a:lnTo>
                <a:lnTo>
                  <a:pt x="2540397" y="3541118"/>
                </a:lnTo>
                <a:lnTo>
                  <a:pt x="2473383" y="3550158"/>
                </a:lnTo>
                <a:lnTo>
                  <a:pt x="2452420" y="3553176"/>
                </a:lnTo>
                <a:lnTo>
                  <a:pt x="2450212" y="3553284"/>
                </a:lnTo>
                <a:lnTo>
                  <a:pt x="2446216" y="3553824"/>
                </a:lnTo>
                <a:lnTo>
                  <a:pt x="2399737" y="3555943"/>
                </a:lnTo>
                <a:lnTo>
                  <a:pt x="2399737" y="3558529"/>
                </a:lnTo>
                <a:lnTo>
                  <a:pt x="2366297" y="3558529"/>
                </a:lnTo>
                <a:lnTo>
                  <a:pt x="2350286" y="3560726"/>
                </a:lnTo>
                <a:lnTo>
                  <a:pt x="2329679" y="3563743"/>
                </a:lnTo>
                <a:lnTo>
                  <a:pt x="2327509" y="3563851"/>
                </a:lnTo>
                <a:lnTo>
                  <a:pt x="2323580" y="3564391"/>
                </a:lnTo>
                <a:lnTo>
                  <a:pt x="2277890" y="3566510"/>
                </a:lnTo>
                <a:lnTo>
                  <a:pt x="2277890" y="3569096"/>
                </a:lnTo>
                <a:lnTo>
                  <a:pt x="2235765" y="3569096"/>
                </a:lnTo>
                <a:lnTo>
                  <a:pt x="2222205" y="3569096"/>
                </a:lnTo>
                <a:lnTo>
                  <a:pt x="2221889" y="3569096"/>
                </a:lnTo>
                <a:lnTo>
                  <a:pt x="2221889" y="3570333"/>
                </a:lnTo>
                <a:lnTo>
                  <a:pt x="2038520" y="3570333"/>
                </a:lnTo>
                <a:lnTo>
                  <a:pt x="2013539" y="3570333"/>
                </a:lnTo>
                <a:lnTo>
                  <a:pt x="1650818" y="3570333"/>
                </a:lnTo>
                <a:lnTo>
                  <a:pt x="1650818" y="3570744"/>
                </a:lnTo>
                <a:lnTo>
                  <a:pt x="1652012" y="3570744"/>
                </a:lnTo>
                <a:lnTo>
                  <a:pt x="1652012" y="3571721"/>
                </a:lnTo>
                <a:lnTo>
                  <a:pt x="1671221" y="3572716"/>
                </a:lnTo>
                <a:lnTo>
                  <a:pt x="1672387" y="3572898"/>
                </a:lnTo>
                <a:lnTo>
                  <a:pt x="1673940" y="3572984"/>
                </a:lnTo>
                <a:cubicBezTo>
                  <a:pt x="1697387" y="3575588"/>
                  <a:pt x="1720231" y="3580424"/>
                  <a:pt x="1742290" y="3587296"/>
                </a:cubicBezTo>
                <a:lnTo>
                  <a:pt x="1743898" y="3587880"/>
                </a:lnTo>
                <a:lnTo>
                  <a:pt x="1744176" y="3587953"/>
                </a:lnTo>
                <a:lnTo>
                  <a:pt x="1746934" y="3588984"/>
                </a:lnTo>
                <a:lnTo>
                  <a:pt x="1774769" y="3599104"/>
                </a:lnTo>
                <a:lnTo>
                  <a:pt x="1777626" y="3600453"/>
                </a:lnTo>
                <a:lnTo>
                  <a:pt x="1778712" y="3600858"/>
                </a:lnTo>
                <a:lnTo>
                  <a:pt x="1784582" y="3603737"/>
                </a:lnTo>
                <a:lnTo>
                  <a:pt x="1805936" y="3613817"/>
                </a:lnTo>
                <a:lnTo>
                  <a:pt x="1809922" y="3616160"/>
                </a:lnTo>
                <a:lnTo>
                  <a:pt x="1811736" y="3617049"/>
                </a:lnTo>
                <a:lnTo>
                  <a:pt x="1818105" y="3620970"/>
                </a:lnTo>
                <a:lnTo>
                  <a:pt x="1835657" y="3631287"/>
                </a:lnTo>
                <a:lnTo>
                  <a:pt x="1840631" y="3634836"/>
                </a:lnTo>
                <a:lnTo>
                  <a:pt x="1843082" y="3636344"/>
                </a:lnTo>
                <a:lnTo>
                  <a:pt x="1849146" y="3640912"/>
                </a:lnTo>
                <a:lnTo>
                  <a:pt x="1863794" y="3651364"/>
                </a:lnTo>
                <a:lnTo>
                  <a:pt x="1869598" y="3656316"/>
                </a:lnTo>
                <a:lnTo>
                  <a:pt x="1872586" y="3658565"/>
                </a:lnTo>
                <a:lnTo>
                  <a:pt x="1878025" y="3663504"/>
                </a:lnTo>
                <a:lnTo>
                  <a:pt x="1890215" y="3673902"/>
                </a:lnTo>
                <a:lnTo>
                  <a:pt x="1896672" y="3680434"/>
                </a:lnTo>
                <a:lnTo>
                  <a:pt x="1900084" y="3683531"/>
                </a:lnTo>
                <a:lnTo>
                  <a:pt x="1904763" y="3688618"/>
                </a:lnTo>
                <a:lnTo>
                  <a:pt x="1914782" y="3698752"/>
                </a:lnTo>
                <a:lnTo>
                  <a:pt x="1921697" y="3707026"/>
                </a:lnTo>
                <a:lnTo>
                  <a:pt x="1925411" y="3711062"/>
                </a:lnTo>
                <a:lnTo>
                  <a:pt x="1929289" y="3716109"/>
                </a:lnTo>
                <a:lnTo>
                  <a:pt x="1937360" y="3725766"/>
                </a:lnTo>
                <a:lnTo>
                  <a:pt x="1944523" y="3735932"/>
                </a:lnTo>
                <a:lnTo>
                  <a:pt x="1948403" y="3740980"/>
                </a:lnTo>
                <a:lnTo>
                  <a:pt x="1951490" y="3745819"/>
                </a:lnTo>
                <a:lnTo>
                  <a:pt x="1957815" y="3754796"/>
                </a:lnTo>
                <a:lnTo>
                  <a:pt x="1965000" y="3766998"/>
                </a:lnTo>
                <a:lnTo>
                  <a:pt x="1968895" y="3773103"/>
                </a:lnTo>
                <a:lnTo>
                  <a:pt x="1971236" y="3777586"/>
                </a:lnTo>
                <a:lnTo>
                  <a:pt x="1976010" y="3785694"/>
                </a:lnTo>
                <a:lnTo>
                  <a:pt x="1982978" y="3800078"/>
                </a:lnTo>
                <a:lnTo>
                  <a:pt x="1986724" y="3807252"/>
                </a:lnTo>
                <a:lnTo>
                  <a:pt x="1988387" y="3811244"/>
                </a:lnTo>
                <a:lnTo>
                  <a:pt x="1991811" y="3818312"/>
                </a:lnTo>
                <a:lnTo>
                  <a:pt x="1998309" y="3835054"/>
                </a:lnTo>
                <a:lnTo>
                  <a:pt x="2001724" y="3843248"/>
                </a:lnTo>
                <a:lnTo>
                  <a:pt x="2002801" y="3846626"/>
                </a:lnTo>
                <a:lnTo>
                  <a:pt x="2005081" y="3852501"/>
                </a:lnTo>
                <a:lnTo>
                  <a:pt x="2010846" y="3871861"/>
                </a:lnTo>
                <a:lnTo>
                  <a:pt x="2013730" y="3880910"/>
                </a:lnTo>
                <a:lnTo>
                  <a:pt x="2014331" y="3883565"/>
                </a:lnTo>
                <a:lnTo>
                  <a:pt x="2015685" y="3888114"/>
                </a:lnTo>
                <a:lnTo>
                  <a:pt x="2020442" y="3910600"/>
                </a:lnTo>
                <a:lnTo>
                  <a:pt x="2020535" y="3911014"/>
                </a:lnTo>
                <a:lnTo>
                  <a:pt x="2021162" y="3911014"/>
                </a:lnTo>
                <a:lnTo>
                  <a:pt x="2023207" y="3922096"/>
                </a:lnTo>
                <a:lnTo>
                  <a:pt x="2023457" y="3924341"/>
                </a:lnTo>
                <a:lnTo>
                  <a:pt x="2024115" y="3928152"/>
                </a:lnTo>
                <a:lnTo>
                  <a:pt x="2027578" y="3961293"/>
                </a:lnTo>
                <a:lnTo>
                  <a:pt x="2028734" y="3971660"/>
                </a:lnTo>
                <a:lnTo>
                  <a:pt x="2028775" y="3972751"/>
                </a:lnTo>
                <a:lnTo>
                  <a:pt x="2028982" y="3974727"/>
                </a:lnTo>
                <a:lnTo>
                  <a:pt x="2029794" y="3997713"/>
                </a:lnTo>
                <a:lnTo>
                  <a:pt x="2030784" y="3997713"/>
                </a:lnTo>
                <a:lnTo>
                  <a:pt x="2030784" y="4018905"/>
                </a:lnTo>
                <a:lnTo>
                  <a:pt x="2030784" y="4025726"/>
                </a:lnTo>
                <a:lnTo>
                  <a:pt x="2030784" y="4025885"/>
                </a:lnTo>
                <a:lnTo>
                  <a:pt x="2030784" y="4025886"/>
                </a:lnTo>
                <a:lnTo>
                  <a:pt x="2031258" y="4025886"/>
                </a:lnTo>
                <a:lnTo>
                  <a:pt x="2031258" y="4065384"/>
                </a:lnTo>
                <a:lnTo>
                  <a:pt x="2031258" y="4127703"/>
                </a:lnTo>
                <a:lnTo>
                  <a:pt x="2031258" y="4168958"/>
                </a:lnTo>
                <a:lnTo>
                  <a:pt x="2031258" y="4340879"/>
                </a:lnTo>
                <a:lnTo>
                  <a:pt x="2031258" y="4350450"/>
                </a:lnTo>
                <a:lnTo>
                  <a:pt x="2031258" y="4385812"/>
                </a:lnTo>
                <a:lnTo>
                  <a:pt x="2031258" y="4395548"/>
                </a:lnTo>
                <a:lnTo>
                  <a:pt x="2031258" y="4420700"/>
                </a:lnTo>
                <a:lnTo>
                  <a:pt x="2031258" y="4442154"/>
                </a:lnTo>
                <a:lnTo>
                  <a:pt x="2031258" y="4467010"/>
                </a:lnTo>
                <a:lnTo>
                  <a:pt x="2031258" y="4488834"/>
                </a:lnTo>
                <a:lnTo>
                  <a:pt x="2030789" y="4488834"/>
                </a:lnTo>
                <a:lnTo>
                  <a:pt x="2030789" y="4825652"/>
                </a:lnTo>
                <a:lnTo>
                  <a:pt x="2030789" y="4878949"/>
                </a:lnTo>
                <a:lnTo>
                  <a:pt x="2004140" y="4878949"/>
                </a:lnTo>
                <a:lnTo>
                  <a:pt x="1768470" y="4878949"/>
                </a:lnTo>
                <a:lnTo>
                  <a:pt x="1750503" y="4878949"/>
                </a:lnTo>
                <a:lnTo>
                  <a:pt x="1741822" y="4878949"/>
                </a:lnTo>
                <a:lnTo>
                  <a:pt x="1723854" y="4878949"/>
                </a:lnTo>
                <a:lnTo>
                  <a:pt x="1634240" y="4878949"/>
                </a:lnTo>
                <a:lnTo>
                  <a:pt x="1634005" y="4878949"/>
                </a:lnTo>
                <a:lnTo>
                  <a:pt x="1634002" y="4878949"/>
                </a:lnTo>
                <a:lnTo>
                  <a:pt x="1633998" y="4878949"/>
                </a:lnTo>
                <a:lnTo>
                  <a:pt x="1615361" y="4878949"/>
                </a:lnTo>
                <a:lnTo>
                  <a:pt x="1607591" y="4878949"/>
                </a:lnTo>
                <a:lnTo>
                  <a:pt x="1607357" y="4878949"/>
                </a:lnTo>
                <a:lnTo>
                  <a:pt x="1607354" y="4878949"/>
                </a:lnTo>
                <a:lnTo>
                  <a:pt x="1607350" y="4878949"/>
                </a:lnTo>
                <a:lnTo>
                  <a:pt x="1588712" y="4878949"/>
                </a:lnTo>
                <a:lnTo>
                  <a:pt x="1488184" y="4878949"/>
                </a:lnTo>
                <a:lnTo>
                  <a:pt x="1461535" y="4878949"/>
                </a:lnTo>
                <a:lnTo>
                  <a:pt x="1371921" y="4878949"/>
                </a:lnTo>
                <a:lnTo>
                  <a:pt x="1371687" y="4878949"/>
                </a:lnTo>
                <a:lnTo>
                  <a:pt x="1371683" y="4878949"/>
                </a:lnTo>
                <a:lnTo>
                  <a:pt x="1371679" y="4878949"/>
                </a:lnTo>
                <a:lnTo>
                  <a:pt x="1367507" y="4878949"/>
                </a:lnTo>
                <a:lnTo>
                  <a:pt x="1353954" y="4878949"/>
                </a:lnTo>
                <a:lnTo>
                  <a:pt x="1353719" y="4878949"/>
                </a:lnTo>
                <a:lnTo>
                  <a:pt x="1353716" y="4878949"/>
                </a:lnTo>
                <a:lnTo>
                  <a:pt x="1353712" y="4878949"/>
                </a:lnTo>
                <a:lnTo>
                  <a:pt x="1353043" y="4878949"/>
                </a:lnTo>
                <a:lnTo>
                  <a:pt x="1345272" y="4878949"/>
                </a:lnTo>
                <a:lnTo>
                  <a:pt x="1345038" y="4878949"/>
                </a:lnTo>
                <a:lnTo>
                  <a:pt x="1345035" y="4878949"/>
                </a:lnTo>
                <a:lnTo>
                  <a:pt x="1345031" y="4878949"/>
                </a:lnTo>
                <a:lnTo>
                  <a:pt x="1340858" y="4878949"/>
                </a:lnTo>
                <a:lnTo>
                  <a:pt x="1335075" y="4878949"/>
                </a:lnTo>
                <a:lnTo>
                  <a:pt x="1327305" y="4878949"/>
                </a:lnTo>
                <a:lnTo>
                  <a:pt x="1327071" y="4878949"/>
                </a:lnTo>
                <a:lnTo>
                  <a:pt x="1327067" y="4878949"/>
                </a:lnTo>
                <a:lnTo>
                  <a:pt x="1327063" y="4878949"/>
                </a:lnTo>
                <a:lnTo>
                  <a:pt x="1326394" y="4878949"/>
                </a:lnTo>
                <a:lnTo>
                  <a:pt x="1308426" y="4878949"/>
                </a:lnTo>
                <a:lnTo>
                  <a:pt x="1105188" y="4878949"/>
                </a:lnTo>
                <a:lnTo>
                  <a:pt x="1091635" y="4878949"/>
                </a:lnTo>
                <a:lnTo>
                  <a:pt x="1091401" y="4878949"/>
                </a:lnTo>
                <a:lnTo>
                  <a:pt x="1091397" y="4878949"/>
                </a:lnTo>
                <a:lnTo>
                  <a:pt x="1091393" y="4878949"/>
                </a:lnTo>
                <a:lnTo>
                  <a:pt x="1087221" y="4878949"/>
                </a:lnTo>
                <a:lnTo>
                  <a:pt x="1078540" y="4878949"/>
                </a:lnTo>
                <a:lnTo>
                  <a:pt x="1072756" y="4878949"/>
                </a:lnTo>
                <a:lnTo>
                  <a:pt x="1064986" y="4878949"/>
                </a:lnTo>
                <a:lnTo>
                  <a:pt x="1064752" y="4878949"/>
                </a:lnTo>
                <a:lnTo>
                  <a:pt x="1064748" y="4878949"/>
                </a:lnTo>
                <a:lnTo>
                  <a:pt x="1064745" y="4878949"/>
                </a:lnTo>
                <a:lnTo>
                  <a:pt x="1060572" y="4878949"/>
                </a:lnTo>
                <a:lnTo>
                  <a:pt x="1046108" y="4878949"/>
                </a:lnTo>
                <a:lnTo>
                  <a:pt x="970958" y="4878949"/>
                </a:lnTo>
                <a:lnTo>
                  <a:pt x="970723" y="4878949"/>
                </a:lnTo>
                <a:lnTo>
                  <a:pt x="970720" y="4878949"/>
                </a:lnTo>
                <a:lnTo>
                  <a:pt x="970716" y="4878949"/>
                </a:lnTo>
                <a:lnTo>
                  <a:pt x="952079" y="4878949"/>
                </a:lnTo>
                <a:lnTo>
                  <a:pt x="944309" y="4878949"/>
                </a:lnTo>
                <a:lnTo>
                  <a:pt x="944075" y="4878949"/>
                </a:lnTo>
                <a:lnTo>
                  <a:pt x="944072" y="4878949"/>
                </a:lnTo>
                <a:lnTo>
                  <a:pt x="944068" y="4878949"/>
                </a:lnTo>
                <a:lnTo>
                  <a:pt x="925430" y="4878949"/>
                </a:lnTo>
                <a:lnTo>
                  <a:pt x="824902" y="4878949"/>
                </a:lnTo>
                <a:lnTo>
                  <a:pt x="798253" y="4878949"/>
                </a:lnTo>
                <a:lnTo>
                  <a:pt x="708639" y="4878949"/>
                </a:lnTo>
                <a:lnTo>
                  <a:pt x="708405" y="4878949"/>
                </a:lnTo>
                <a:lnTo>
                  <a:pt x="708401" y="4878949"/>
                </a:lnTo>
                <a:lnTo>
                  <a:pt x="708397" y="4878949"/>
                </a:lnTo>
                <a:lnTo>
                  <a:pt x="690672" y="4878949"/>
                </a:lnTo>
                <a:lnTo>
                  <a:pt x="690437" y="4878949"/>
                </a:lnTo>
                <a:lnTo>
                  <a:pt x="690434" y="4878949"/>
                </a:lnTo>
                <a:lnTo>
                  <a:pt x="690430" y="4878949"/>
                </a:lnTo>
                <a:lnTo>
                  <a:pt x="689761" y="4878949"/>
                </a:lnTo>
                <a:lnTo>
                  <a:pt x="681990" y="4878949"/>
                </a:lnTo>
                <a:lnTo>
                  <a:pt x="681756" y="4878949"/>
                </a:lnTo>
                <a:lnTo>
                  <a:pt x="681753" y="4878949"/>
                </a:lnTo>
                <a:lnTo>
                  <a:pt x="681749" y="4878949"/>
                </a:lnTo>
                <a:lnTo>
                  <a:pt x="671793" y="4878949"/>
                </a:lnTo>
                <a:lnTo>
                  <a:pt x="664023" y="4878949"/>
                </a:lnTo>
                <a:lnTo>
                  <a:pt x="663789" y="4878949"/>
                </a:lnTo>
                <a:lnTo>
                  <a:pt x="663785" y="4878949"/>
                </a:lnTo>
                <a:lnTo>
                  <a:pt x="663781" y="4878949"/>
                </a:lnTo>
                <a:lnTo>
                  <a:pt x="663112" y="4878949"/>
                </a:lnTo>
                <a:lnTo>
                  <a:pt x="645144" y="4878949"/>
                </a:lnTo>
                <a:lnTo>
                  <a:pt x="428353" y="4878949"/>
                </a:lnTo>
                <a:lnTo>
                  <a:pt x="428119" y="4878949"/>
                </a:lnTo>
                <a:lnTo>
                  <a:pt x="428115" y="4878949"/>
                </a:lnTo>
                <a:lnTo>
                  <a:pt x="428111" y="4878949"/>
                </a:lnTo>
                <a:lnTo>
                  <a:pt x="409474" y="4878949"/>
                </a:lnTo>
                <a:lnTo>
                  <a:pt x="401704" y="4878949"/>
                </a:lnTo>
                <a:lnTo>
                  <a:pt x="401470" y="4878949"/>
                </a:lnTo>
                <a:lnTo>
                  <a:pt x="401466" y="4878949"/>
                </a:lnTo>
                <a:lnTo>
                  <a:pt x="401462" y="4878949"/>
                </a:lnTo>
                <a:lnTo>
                  <a:pt x="382826" y="4878949"/>
                </a:lnTo>
                <a:lnTo>
                  <a:pt x="382826" y="4878022"/>
                </a:lnTo>
                <a:lnTo>
                  <a:pt x="363616" y="4877077"/>
                </a:lnTo>
                <a:lnTo>
                  <a:pt x="362450" y="4876905"/>
                </a:lnTo>
                <a:lnTo>
                  <a:pt x="360898" y="4876823"/>
                </a:lnTo>
                <a:cubicBezTo>
                  <a:pt x="337450" y="4874352"/>
                  <a:pt x="314607" y="4869762"/>
                  <a:pt x="292547" y="4863240"/>
                </a:cubicBezTo>
                <a:lnTo>
                  <a:pt x="290939" y="4862685"/>
                </a:lnTo>
                <a:lnTo>
                  <a:pt x="290662" y="4862616"/>
                </a:lnTo>
                <a:lnTo>
                  <a:pt x="287903" y="4861637"/>
                </a:lnTo>
                <a:lnTo>
                  <a:pt x="260068" y="4852032"/>
                </a:lnTo>
                <a:lnTo>
                  <a:pt x="257211" y="4850752"/>
                </a:lnTo>
                <a:lnTo>
                  <a:pt x="256125" y="4850367"/>
                </a:lnTo>
                <a:lnTo>
                  <a:pt x="250255" y="4847636"/>
                </a:lnTo>
                <a:lnTo>
                  <a:pt x="228901" y="4838068"/>
                </a:lnTo>
                <a:lnTo>
                  <a:pt x="224915" y="4835845"/>
                </a:lnTo>
                <a:lnTo>
                  <a:pt x="223101" y="4835001"/>
                </a:lnTo>
                <a:lnTo>
                  <a:pt x="216732" y="4831280"/>
                </a:lnTo>
                <a:lnTo>
                  <a:pt x="199181" y="4821488"/>
                </a:lnTo>
                <a:lnTo>
                  <a:pt x="194206" y="4818119"/>
                </a:lnTo>
                <a:lnTo>
                  <a:pt x="191756" y="4816688"/>
                </a:lnTo>
                <a:lnTo>
                  <a:pt x="185691" y="4812352"/>
                </a:lnTo>
                <a:lnTo>
                  <a:pt x="171043" y="4802432"/>
                </a:lnTo>
                <a:lnTo>
                  <a:pt x="165239" y="4797733"/>
                </a:lnTo>
                <a:lnTo>
                  <a:pt x="162251" y="4795598"/>
                </a:lnTo>
                <a:lnTo>
                  <a:pt x="156813" y="4790911"/>
                </a:lnTo>
                <a:lnTo>
                  <a:pt x="144622" y="4781042"/>
                </a:lnTo>
                <a:lnTo>
                  <a:pt x="138166" y="4774843"/>
                </a:lnTo>
                <a:lnTo>
                  <a:pt x="134753" y="4771903"/>
                </a:lnTo>
                <a:lnTo>
                  <a:pt x="130074" y="4767074"/>
                </a:lnTo>
                <a:lnTo>
                  <a:pt x="120055" y="4757456"/>
                </a:lnTo>
                <a:lnTo>
                  <a:pt x="113140" y="4749604"/>
                </a:lnTo>
                <a:lnTo>
                  <a:pt x="109426" y="4745772"/>
                </a:lnTo>
                <a:lnTo>
                  <a:pt x="105548" y="4740983"/>
                </a:lnTo>
                <a:lnTo>
                  <a:pt x="97477" y="4731817"/>
                </a:lnTo>
                <a:lnTo>
                  <a:pt x="90314" y="4722168"/>
                </a:lnTo>
                <a:lnTo>
                  <a:pt x="86434" y="4717378"/>
                </a:lnTo>
                <a:lnTo>
                  <a:pt x="83347" y="4712785"/>
                </a:lnTo>
                <a:lnTo>
                  <a:pt x="77022" y="4704265"/>
                </a:lnTo>
                <a:lnTo>
                  <a:pt x="69837" y="4692685"/>
                </a:lnTo>
                <a:lnTo>
                  <a:pt x="65942" y="4686890"/>
                </a:lnTo>
                <a:lnTo>
                  <a:pt x="63602" y="4682635"/>
                </a:lnTo>
                <a:lnTo>
                  <a:pt x="58827" y="4674940"/>
                </a:lnTo>
                <a:lnTo>
                  <a:pt x="51860" y="4661288"/>
                </a:lnTo>
                <a:lnTo>
                  <a:pt x="48114" y="4654479"/>
                </a:lnTo>
                <a:lnTo>
                  <a:pt x="46451" y="4650690"/>
                </a:lnTo>
                <a:lnTo>
                  <a:pt x="43027" y="4643982"/>
                </a:lnTo>
                <a:lnTo>
                  <a:pt x="36529" y="4628092"/>
                </a:lnTo>
                <a:lnTo>
                  <a:pt x="33114" y="4620315"/>
                </a:lnTo>
                <a:lnTo>
                  <a:pt x="32037" y="4617109"/>
                </a:lnTo>
                <a:lnTo>
                  <a:pt x="29757" y="4611533"/>
                </a:lnTo>
                <a:lnTo>
                  <a:pt x="23992" y="4593159"/>
                </a:lnTo>
                <a:lnTo>
                  <a:pt x="21107" y="4584570"/>
                </a:lnTo>
                <a:lnTo>
                  <a:pt x="20507" y="4582050"/>
                </a:lnTo>
                <a:lnTo>
                  <a:pt x="19153" y="4577733"/>
                </a:lnTo>
                <a:lnTo>
                  <a:pt x="14395" y="4556392"/>
                </a:lnTo>
                <a:lnTo>
                  <a:pt x="12257" y="4547414"/>
                </a:lnTo>
                <a:lnTo>
                  <a:pt x="12007" y="4545675"/>
                </a:lnTo>
                <a:lnTo>
                  <a:pt x="11349" y="4542722"/>
                </a:lnTo>
                <a:lnTo>
                  <a:pt x="7886" y="4517048"/>
                </a:lnTo>
                <a:lnTo>
                  <a:pt x="6730" y="4509017"/>
                </a:lnTo>
                <a:lnTo>
                  <a:pt x="6688" y="4508172"/>
                </a:lnTo>
                <a:lnTo>
                  <a:pt x="6481" y="4506641"/>
                </a:lnTo>
                <a:lnTo>
                  <a:pt x="5670" y="4488834"/>
                </a:lnTo>
                <a:lnTo>
                  <a:pt x="4679" y="4488834"/>
                </a:lnTo>
                <a:lnTo>
                  <a:pt x="4679" y="4476023"/>
                </a:lnTo>
                <a:lnTo>
                  <a:pt x="3837" y="4469889"/>
                </a:lnTo>
                <a:lnTo>
                  <a:pt x="2681" y="4461995"/>
                </a:lnTo>
                <a:lnTo>
                  <a:pt x="2640" y="4461163"/>
                </a:lnTo>
                <a:lnTo>
                  <a:pt x="2433" y="4459658"/>
                </a:lnTo>
                <a:lnTo>
                  <a:pt x="1621" y="4442154"/>
                </a:lnTo>
                <a:lnTo>
                  <a:pt x="631" y="4442154"/>
                </a:lnTo>
                <a:lnTo>
                  <a:pt x="631" y="4426015"/>
                </a:lnTo>
                <a:lnTo>
                  <a:pt x="631" y="4420821"/>
                </a:lnTo>
                <a:lnTo>
                  <a:pt x="631" y="4420700"/>
                </a:lnTo>
                <a:lnTo>
                  <a:pt x="156" y="4420700"/>
                </a:lnTo>
                <a:lnTo>
                  <a:pt x="156" y="4350450"/>
                </a:lnTo>
                <a:lnTo>
                  <a:pt x="156" y="4340879"/>
                </a:lnTo>
                <a:lnTo>
                  <a:pt x="156" y="4127703"/>
                </a:lnTo>
                <a:lnTo>
                  <a:pt x="156" y="4025885"/>
                </a:lnTo>
                <a:lnTo>
                  <a:pt x="156" y="3997713"/>
                </a:lnTo>
                <a:lnTo>
                  <a:pt x="626" y="3997713"/>
                </a:lnTo>
                <a:lnTo>
                  <a:pt x="626" y="3911014"/>
                </a:lnTo>
                <a:lnTo>
                  <a:pt x="0" y="3911014"/>
                </a:lnTo>
                <a:lnTo>
                  <a:pt x="0" y="3908592"/>
                </a:lnTo>
                <a:lnTo>
                  <a:pt x="0" y="3570744"/>
                </a:lnTo>
                <a:lnTo>
                  <a:pt x="0" y="2076617"/>
                </a:lnTo>
                <a:lnTo>
                  <a:pt x="3302" y="2076617"/>
                </a:lnTo>
                <a:lnTo>
                  <a:pt x="3302" y="2074287"/>
                </a:lnTo>
                <a:lnTo>
                  <a:pt x="3302" y="1850939"/>
                </a:lnTo>
                <a:lnTo>
                  <a:pt x="3302" y="1850328"/>
                </a:lnTo>
                <a:lnTo>
                  <a:pt x="3301" y="1850319"/>
                </a:lnTo>
                <a:lnTo>
                  <a:pt x="3302" y="1850309"/>
                </a:lnTo>
                <a:lnTo>
                  <a:pt x="3302" y="1804040"/>
                </a:lnTo>
                <a:lnTo>
                  <a:pt x="3302" y="1803429"/>
                </a:lnTo>
                <a:lnTo>
                  <a:pt x="3301" y="1803419"/>
                </a:lnTo>
                <a:lnTo>
                  <a:pt x="3302" y="1803409"/>
                </a:lnTo>
                <a:lnTo>
                  <a:pt x="3302" y="1801662"/>
                </a:lnTo>
                <a:lnTo>
                  <a:pt x="3302" y="1770814"/>
                </a:lnTo>
                <a:lnTo>
                  <a:pt x="3302" y="1770203"/>
                </a:lnTo>
                <a:lnTo>
                  <a:pt x="3301" y="1770192"/>
                </a:lnTo>
                <a:lnTo>
                  <a:pt x="3302" y="1770183"/>
                </a:lnTo>
                <a:lnTo>
                  <a:pt x="3302" y="1754762"/>
                </a:lnTo>
                <a:lnTo>
                  <a:pt x="3302" y="1723914"/>
                </a:lnTo>
                <a:lnTo>
                  <a:pt x="3302" y="1723304"/>
                </a:lnTo>
                <a:lnTo>
                  <a:pt x="3301" y="1723293"/>
                </a:lnTo>
                <a:lnTo>
                  <a:pt x="3302" y="1723284"/>
                </a:lnTo>
                <a:lnTo>
                  <a:pt x="3302" y="1721537"/>
                </a:lnTo>
                <a:lnTo>
                  <a:pt x="3302" y="1674636"/>
                </a:lnTo>
                <a:lnTo>
                  <a:pt x="3302" y="1119326"/>
                </a:lnTo>
                <a:lnTo>
                  <a:pt x="3302" y="1118715"/>
                </a:lnTo>
                <a:lnTo>
                  <a:pt x="3301" y="1118705"/>
                </a:lnTo>
                <a:lnTo>
                  <a:pt x="3302" y="1118695"/>
                </a:lnTo>
                <a:lnTo>
                  <a:pt x="3302" y="1070048"/>
                </a:lnTo>
                <a:lnTo>
                  <a:pt x="3302" y="1039200"/>
                </a:lnTo>
                <a:lnTo>
                  <a:pt x="3302" y="1038590"/>
                </a:lnTo>
                <a:lnTo>
                  <a:pt x="3301" y="1038579"/>
                </a:lnTo>
                <a:lnTo>
                  <a:pt x="3302" y="1038570"/>
                </a:lnTo>
                <a:lnTo>
                  <a:pt x="3302" y="989923"/>
                </a:lnTo>
                <a:lnTo>
                  <a:pt x="5852" y="989923"/>
                </a:lnTo>
                <a:lnTo>
                  <a:pt x="8449" y="939781"/>
                </a:lnTo>
                <a:lnTo>
                  <a:pt x="8925" y="936738"/>
                </a:lnTo>
                <a:lnTo>
                  <a:pt x="9149" y="932684"/>
                </a:lnTo>
                <a:cubicBezTo>
                  <a:pt x="15946" y="871482"/>
                  <a:pt x="28569" y="811856"/>
                  <a:pt x="46506" y="754274"/>
                </a:cubicBezTo>
                <a:lnTo>
                  <a:pt x="48032" y="750077"/>
                </a:lnTo>
                <a:lnTo>
                  <a:pt x="48222" y="749353"/>
                </a:lnTo>
                <a:lnTo>
                  <a:pt x="50914" y="742152"/>
                </a:lnTo>
                <a:lnTo>
                  <a:pt x="77329" y="669497"/>
                </a:lnTo>
                <a:lnTo>
                  <a:pt x="80849" y="662039"/>
                </a:lnTo>
                <a:lnTo>
                  <a:pt x="81908" y="659204"/>
                </a:lnTo>
                <a:lnTo>
                  <a:pt x="89422" y="643883"/>
                </a:lnTo>
                <a:lnTo>
                  <a:pt x="115734" y="588143"/>
                </a:lnTo>
                <a:lnTo>
                  <a:pt x="121848" y="577740"/>
                </a:lnTo>
                <a:lnTo>
                  <a:pt x="124169" y="573005"/>
                </a:lnTo>
                <a:lnTo>
                  <a:pt x="134403" y="556381"/>
                </a:lnTo>
                <a:lnTo>
                  <a:pt x="161333" y="510566"/>
                </a:lnTo>
                <a:lnTo>
                  <a:pt x="170598" y="497582"/>
                </a:lnTo>
                <a:lnTo>
                  <a:pt x="174534" y="491185"/>
                </a:lnTo>
                <a:lnTo>
                  <a:pt x="186458" y="475354"/>
                </a:lnTo>
                <a:lnTo>
                  <a:pt x="213741" y="437120"/>
                </a:lnTo>
                <a:lnTo>
                  <a:pt x="226666" y="421970"/>
                </a:lnTo>
                <a:lnTo>
                  <a:pt x="232537" y="414172"/>
                </a:lnTo>
                <a:lnTo>
                  <a:pt x="245428" y="399975"/>
                </a:lnTo>
                <a:lnTo>
                  <a:pt x="272569" y="368155"/>
                </a:lnTo>
                <a:lnTo>
                  <a:pt x="289619" y="351302"/>
                </a:lnTo>
                <a:lnTo>
                  <a:pt x="297703" y="342396"/>
                </a:lnTo>
                <a:lnTo>
                  <a:pt x="310983" y="330181"/>
                </a:lnTo>
                <a:lnTo>
                  <a:pt x="337434" y="304029"/>
                </a:lnTo>
                <a:lnTo>
                  <a:pt x="359031" y="285980"/>
                </a:lnTo>
                <a:lnTo>
                  <a:pt x="369567" y="276286"/>
                </a:lnTo>
                <a:lnTo>
                  <a:pt x="382740" y="266163"/>
                </a:lnTo>
                <a:lnTo>
                  <a:pt x="407948" y="245095"/>
                </a:lnTo>
                <a:lnTo>
                  <a:pt x="434483" y="226398"/>
                </a:lnTo>
                <a:lnTo>
                  <a:pt x="447659" y="216272"/>
                </a:lnTo>
                <a:lnTo>
                  <a:pt x="460291" y="208214"/>
                </a:lnTo>
                <a:lnTo>
                  <a:pt x="483722" y="191703"/>
                </a:lnTo>
                <a:lnTo>
                  <a:pt x="515572" y="172948"/>
                </a:lnTo>
                <a:lnTo>
                  <a:pt x="531508" y="162782"/>
                </a:lnTo>
                <a:lnTo>
                  <a:pt x="543209" y="156673"/>
                </a:lnTo>
                <a:lnTo>
                  <a:pt x="564373" y="144210"/>
                </a:lnTo>
                <a:lnTo>
                  <a:pt x="601919" y="126023"/>
                </a:lnTo>
                <a:lnTo>
                  <a:pt x="620646" y="116246"/>
                </a:lnTo>
                <a:lnTo>
                  <a:pt x="631065" y="111905"/>
                </a:lnTo>
                <a:lnTo>
                  <a:pt x="649513" y="102967"/>
                </a:lnTo>
                <a:lnTo>
                  <a:pt x="693215" y="86005"/>
                </a:lnTo>
                <a:lnTo>
                  <a:pt x="714604" y="77091"/>
                </a:lnTo>
                <a:lnTo>
                  <a:pt x="723421" y="74281"/>
                </a:lnTo>
                <a:lnTo>
                  <a:pt x="738755" y="68329"/>
                </a:lnTo>
                <a:lnTo>
                  <a:pt x="789290" y="53281"/>
                </a:lnTo>
                <a:lnTo>
                  <a:pt x="812911" y="45751"/>
                </a:lnTo>
                <a:lnTo>
                  <a:pt x="819840" y="44184"/>
                </a:lnTo>
                <a:lnTo>
                  <a:pt x="831714" y="40649"/>
                </a:lnTo>
                <a:lnTo>
                  <a:pt x="890408" y="28233"/>
                </a:lnTo>
                <a:lnTo>
                  <a:pt x="891488" y="27989"/>
                </a:lnTo>
                <a:lnTo>
                  <a:pt x="891488" y="26353"/>
                </a:lnTo>
                <a:lnTo>
                  <a:pt x="920414" y="21016"/>
                </a:lnTo>
                <a:lnTo>
                  <a:pt x="926275" y="20363"/>
                </a:lnTo>
                <a:lnTo>
                  <a:pt x="936223" y="18645"/>
                </a:lnTo>
                <a:lnTo>
                  <a:pt x="1022729" y="9605"/>
                </a:lnTo>
                <a:lnTo>
                  <a:pt x="1049789" y="6588"/>
                </a:lnTo>
                <a:lnTo>
                  <a:pt x="1052637" y="6482"/>
                </a:lnTo>
                <a:lnTo>
                  <a:pt x="1057795" y="5941"/>
                </a:lnTo>
                <a:lnTo>
                  <a:pt x="1117794" y="3821"/>
                </a:lnTo>
                <a:lnTo>
                  <a:pt x="1117794" y="1237"/>
                </a:lnTo>
                <a:lnTo>
                  <a:pt x="1173109" y="1237"/>
                </a:lnTo>
                <a:lnTo>
                  <a:pt x="1190915" y="1237"/>
                </a:lnTo>
                <a:lnTo>
                  <a:pt x="1191329" y="1237"/>
                </a:lnTo>
                <a:lnTo>
                  <a:pt x="1191331" y="12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58922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B243513-C860-481A-B891-C8D2C3C9E5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658" y="1857854"/>
            <a:ext cx="2857979" cy="4655571"/>
          </a:xfrm>
          <a:custGeom>
            <a:avLst/>
            <a:gdLst>
              <a:gd name="connsiteX0" fmla="*/ 1428980 w 2857979"/>
              <a:gd name="connsiteY0" fmla="*/ 0 h 4655571"/>
              <a:gd name="connsiteX1" fmla="*/ 1428995 w 2857979"/>
              <a:gd name="connsiteY1" fmla="*/ 1 h 4655571"/>
              <a:gd name="connsiteX2" fmla="*/ 1496034 w 2857979"/>
              <a:gd name="connsiteY2" fmla="*/ 1 h 4655571"/>
              <a:gd name="connsiteX3" fmla="*/ 1496034 w 2857979"/>
              <a:gd name="connsiteY3" fmla="*/ 3215 h 4655571"/>
              <a:gd name="connsiteX4" fmla="*/ 1565136 w 2857979"/>
              <a:gd name="connsiteY4" fmla="*/ 6488 h 4655571"/>
              <a:gd name="connsiteX5" fmla="*/ 1569329 w 2857979"/>
              <a:gd name="connsiteY5" fmla="*/ 7088 h 4655571"/>
              <a:gd name="connsiteX6" fmla="*/ 1574913 w 2857979"/>
              <a:gd name="connsiteY6" fmla="*/ 7369 h 4655571"/>
              <a:gd name="connsiteX7" fmla="*/ 1820778 w 2857979"/>
              <a:gd name="connsiteY7" fmla="*/ 54447 h 4655571"/>
              <a:gd name="connsiteX8" fmla="*/ 1826563 w 2857979"/>
              <a:gd name="connsiteY8" fmla="*/ 56369 h 4655571"/>
              <a:gd name="connsiteX9" fmla="*/ 1827559 w 2857979"/>
              <a:gd name="connsiteY9" fmla="*/ 56610 h 4655571"/>
              <a:gd name="connsiteX10" fmla="*/ 1837483 w 2857979"/>
              <a:gd name="connsiteY10" fmla="*/ 60001 h 4655571"/>
              <a:gd name="connsiteX11" fmla="*/ 1937608 w 2857979"/>
              <a:gd name="connsiteY11" fmla="*/ 93290 h 4655571"/>
              <a:gd name="connsiteX12" fmla="*/ 1947886 w 2857979"/>
              <a:gd name="connsiteY12" fmla="*/ 97727 h 4655571"/>
              <a:gd name="connsiteX13" fmla="*/ 1951791 w 2857979"/>
              <a:gd name="connsiteY13" fmla="*/ 99062 h 4655571"/>
              <a:gd name="connsiteX14" fmla="*/ 1972906 w 2857979"/>
              <a:gd name="connsiteY14" fmla="*/ 108529 h 4655571"/>
              <a:gd name="connsiteX15" fmla="*/ 2049720 w 2857979"/>
              <a:gd name="connsiteY15" fmla="*/ 141688 h 4655571"/>
              <a:gd name="connsiteX16" fmla="*/ 2064057 w 2857979"/>
              <a:gd name="connsiteY16" fmla="*/ 149394 h 4655571"/>
              <a:gd name="connsiteX17" fmla="*/ 2070581 w 2857979"/>
              <a:gd name="connsiteY17" fmla="*/ 152319 h 4655571"/>
              <a:gd name="connsiteX18" fmla="*/ 2093493 w 2857979"/>
              <a:gd name="connsiteY18" fmla="*/ 165217 h 4655571"/>
              <a:gd name="connsiteX19" fmla="*/ 2156628 w 2857979"/>
              <a:gd name="connsiteY19" fmla="*/ 199153 h 4655571"/>
              <a:gd name="connsiteX20" fmla="*/ 2174520 w 2857979"/>
              <a:gd name="connsiteY20" fmla="*/ 210829 h 4655571"/>
              <a:gd name="connsiteX21" fmla="*/ 2183337 w 2857979"/>
              <a:gd name="connsiteY21" fmla="*/ 215789 h 4655571"/>
              <a:gd name="connsiteX22" fmla="*/ 2205153 w 2857979"/>
              <a:gd name="connsiteY22" fmla="*/ 230816 h 4655571"/>
              <a:gd name="connsiteX23" fmla="*/ 2257845 w 2857979"/>
              <a:gd name="connsiteY23" fmla="*/ 265197 h 4655571"/>
              <a:gd name="connsiteX24" fmla="*/ 2278722 w 2857979"/>
              <a:gd name="connsiteY24" fmla="*/ 281484 h 4655571"/>
              <a:gd name="connsiteX25" fmla="*/ 2289467 w 2857979"/>
              <a:gd name="connsiteY25" fmla="*/ 288883 h 4655571"/>
              <a:gd name="connsiteX26" fmla="*/ 2309032 w 2857979"/>
              <a:gd name="connsiteY26" fmla="*/ 305128 h 4655571"/>
              <a:gd name="connsiteX27" fmla="*/ 2352881 w 2857979"/>
              <a:gd name="connsiteY27" fmla="*/ 339335 h 4655571"/>
              <a:gd name="connsiteX28" fmla="*/ 2376107 w 2857979"/>
              <a:gd name="connsiteY28" fmla="*/ 360819 h 4655571"/>
              <a:gd name="connsiteX29" fmla="*/ 2388380 w 2857979"/>
              <a:gd name="connsiteY29" fmla="*/ 371008 h 4655571"/>
              <a:gd name="connsiteX30" fmla="*/ 2405214 w 2857979"/>
              <a:gd name="connsiteY30" fmla="*/ 387741 h 4655571"/>
              <a:gd name="connsiteX31" fmla="*/ 2441252 w 2857979"/>
              <a:gd name="connsiteY31" fmla="*/ 421077 h 4655571"/>
              <a:gd name="connsiteX32" fmla="*/ 2466127 w 2857979"/>
              <a:gd name="connsiteY32" fmla="*/ 448293 h 4655571"/>
              <a:gd name="connsiteX33" fmla="*/ 2479485 w 2857979"/>
              <a:gd name="connsiteY33" fmla="*/ 461571 h 4655571"/>
              <a:gd name="connsiteX34" fmla="*/ 2493436 w 2857979"/>
              <a:gd name="connsiteY34" fmla="*/ 478171 h 4655571"/>
              <a:gd name="connsiteX35" fmla="*/ 2522470 w 2857979"/>
              <a:gd name="connsiteY35" fmla="*/ 509938 h 4655571"/>
              <a:gd name="connsiteX36" fmla="*/ 2548236 w 2857979"/>
              <a:gd name="connsiteY36" fmla="*/ 543379 h 4655571"/>
              <a:gd name="connsiteX37" fmla="*/ 2562191 w 2857979"/>
              <a:gd name="connsiteY37" fmla="*/ 559982 h 4655571"/>
              <a:gd name="connsiteX38" fmla="*/ 2573295 w 2857979"/>
              <a:gd name="connsiteY38" fmla="*/ 575901 h 4655571"/>
              <a:gd name="connsiteX39" fmla="*/ 2596047 w 2857979"/>
              <a:gd name="connsiteY39" fmla="*/ 605429 h 4655571"/>
              <a:gd name="connsiteX40" fmla="*/ 2621892 w 2857979"/>
              <a:gd name="connsiteY40" fmla="*/ 645566 h 4655571"/>
              <a:gd name="connsiteX41" fmla="*/ 2635905 w 2857979"/>
              <a:gd name="connsiteY41" fmla="*/ 665649 h 4655571"/>
              <a:gd name="connsiteX42" fmla="*/ 2644323 w 2857979"/>
              <a:gd name="connsiteY42" fmla="*/ 680395 h 4655571"/>
              <a:gd name="connsiteX43" fmla="*/ 2661498 w 2857979"/>
              <a:gd name="connsiteY43" fmla="*/ 707066 h 4655571"/>
              <a:gd name="connsiteX44" fmla="*/ 2686560 w 2857979"/>
              <a:gd name="connsiteY44" fmla="*/ 754381 h 4655571"/>
              <a:gd name="connsiteX45" fmla="*/ 2700035 w 2857979"/>
              <a:gd name="connsiteY45" fmla="*/ 777982 h 4655571"/>
              <a:gd name="connsiteX46" fmla="*/ 2706018 w 2857979"/>
              <a:gd name="connsiteY46" fmla="*/ 791111 h 4655571"/>
              <a:gd name="connsiteX47" fmla="*/ 2718333 w 2857979"/>
              <a:gd name="connsiteY47" fmla="*/ 814360 h 4655571"/>
              <a:gd name="connsiteX48" fmla="*/ 2741708 w 2857979"/>
              <a:gd name="connsiteY48" fmla="*/ 869434 h 4655571"/>
              <a:gd name="connsiteX49" fmla="*/ 2753992 w 2857979"/>
              <a:gd name="connsiteY49" fmla="*/ 896389 h 4655571"/>
              <a:gd name="connsiteX50" fmla="*/ 2757865 w 2857979"/>
              <a:gd name="connsiteY50" fmla="*/ 907498 h 4655571"/>
              <a:gd name="connsiteX51" fmla="*/ 2766068 w 2857979"/>
              <a:gd name="connsiteY51" fmla="*/ 926823 h 4655571"/>
              <a:gd name="connsiteX52" fmla="*/ 2786805 w 2857979"/>
              <a:gd name="connsiteY52" fmla="*/ 990506 h 4655571"/>
              <a:gd name="connsiteX53" fmla="*/ 2797182 w 2857979"/>
              <a:gd name="connsiteY53" fmla="*/ 1020275 h 4655571"/>
              <a:gd name="connsiteX54" fmla="*/ 2799341 w 2857979"/>
              <a:gd name="connsiteY54" fmla="*/ 1029006 h 4655571"/>
              <a:gd name="connsiteX55" fmla="*/ 2804213 w 2857979"/>
              <a:gd name="connsiteY55" fmla="*/ 1043971 h 4655571"/>
              <a:gd name="connsiteX56" fmla="*/ 2821323 w 2857979"/>
              <a:gd name="connsiteY56" fmla="*/ 1117937 h 4655571"/>
              <a:gd name="connsiteX57" fmla="*/ 2829016 w 2857979"/>
              <a:gd name="connsiteY57" fmla="*/ 1149052 h 4655571"/>
              <a:gd name="connsiteX58" fmla="*/ 2829916 w 2857979"/>
              <a:gd name="connsiteY58" fmla="*/ 1155080 h 4655571"/>
              <a:gd name="connsiteX59" fmla="*/ 2832283 w 2857979"/>
              <a:gd name="connsiteY59" fmla="*/ 1165313 h 4655571"/>
              <a:gd name="connsiteX60" fmla="*/ 2844741 w 2857979"/>
              <a:gd name="connsiteY60" fmla="*/ 1254295 h 4655571"/>
              <a:gd name="connsiteX61" fmla="*/ 2848900 w 2857979"/>
              <a:gd name="connsiteY61" fmla="*/ 1282127 h 4655571"/>
              <a:gd name="connsiteX62" fmla="*/ 2849048 w 2857979"/>
              <a:gd name="connsiteY62" fmla="*/ 1285059 h 4655571"/>
              <a:gd name="connsiteX63" fmla="*/ 2849790 w 2857979"/>
              <a:gd name="connsiteY63" fmla="*/ 1290365 h 4655571"/>
              <a:gd name="connsiteX64" fmla="*/ 2852713 w 2857979"/>
              <a:gd name="connsiteY64" fmla="*/ 1352080 h 4655571"/>
              <a:gd name="connsiteX65" fmla="*/ 2856274 w 2857979"/>
              <a:gd name="connsiteY65" fmla="*/ 1352080 h 4655571"/>
              <a:gd name="connsiteX66" fmla="*/ 2856274 w 2857979"/>
              <a:gd name="connsiteY66" fmla="*/ 1408978 h 4655571"/>
              <a:gd name="connsiteX67" fmla="*/ 2856274 w 2857979"/>
              <a:gd name="connsiteY67" fmla="*/ 1427293 h 4655571"/>
              <a:gd name="connsiteX68" fmla="*/ 2856274 w 2857979"/>
              <a:gd name="connsiteY68" fmla="*/ 1427719 h 4655571"/>
              <a:gd name="connsiteX69" fmla="*/ 2856274 w 2857979"/>
              <a:gd name="connsiteY69" fmla="*/ 1427720 h 4655571"/>
              <a:gd name="connsiteX70" fmla="*/ 2857979 w 2857979"/>
              <a:gd name="connsiteY70" fmla="*/ 1427720 h 4655571"/>
              <a:gd name="connsiteX71" fmla="*/ 2857979 w 2857979"/>
              <a:gd name="connsiteY71" fmla="*/ 1613887 h 4655571"/>
              <a:gd name="connsiteX72" fmla="*/ 2857979 w 2857979"/>
              <a:gd name="connsiteY72" fmla="*/ 1701091 h 4655571"/>
              <a:gd name="connsiteX73" fmla="*/ 2857979 w 2857979"/>
              <a:gd name="connsiteY73" fmla="*/ 1856116 h 4655571"/>
              <a:gd name="connsiteX74" fmla="*/ 2857979 w 2857979"/>
              <a:gd name="connsiteY74" fmla="*/ 1877704 h 4655571"/>
              <a:gd name="connsiteX75" fmla="*/ 2857979 w 2857979"/>
              <a:gd name="connsiteY75" fmla="*/ 1953345 h 4655571"/>
              <a:gd name="connsiteX76" fmla="*/ 2856292 w 2857979"/>
              <a:gd name="connsiteY76" fmla="*/ 1953345 h 4655571"/>
              <a:gd name="connsiteX77" fmla="*/ 2856292 w 2857979"/>
              <a:gd name="connsiteY77" fmla="*/ 1982173 h 4655571"/>
              <a:gd name="connsiteX78" fmla="*/ 1592136 w 2857979"/>
              <a:gd name="connsiteY78" fmla="*/ 1982173 h 4655571"/>
              <a:gd name="connsiteX79" fmla="*/ 1820778 w 2857979"/>
              <a:gd name="connsiteY79" fmla="*/ 2025953 h 4655571"/>
              <a:gd name="connsiteX80" fmla="*/ 1826563 w 2857979"/>
              <a:gd name="connsiteY80" fmla="*/ 2027875 h 4655571"/>
              <a:gd name="connsiteX81" fmla="*/ 1827559 w 2857979"/>
              <a:gd name="connsiteY81" fmla="*/ 2028116 h 4655571"/>
              <a:gd name="connsiteX82" fmla="*/ 1837483 w 2857979"/>
              <a:gd name="connsiteY82" fmla="*/ 2031509 h 4655571"/>
              <a:gd name="connsiteX83" fmla="*/ 1937608 w 2857979"/>
              <a:gd name="connsiteY83" fmla="*/ 2064797 h 4655571"/>
              <a:gd name="connsiteX84" fmla="*/ 1947886 w 2857979"/>
              <a:gd name="connsiteY84" fmla="*/ 2069234 h 4655571"/>
              <a:gd name="connsiteX85" fmla="*/ 1951791 w 2857979"/>
              <a:gd name="connsiteY85" fmla="*/ 2070568 h 4655571"/>
              <a:gd name="connsiteX86" fmla="*/ 1972906 w 2857979"/>
              <a:gd name="connsiteY86" fmla="*/ 2080035 h 4655571"/>
              <a:gd name="connsiteX87" fmla="*/ 2049720 w 2857979"/>
              <a:gd name="connsiteY87" fmla="*/ 2113194 h 4655571"/>
              <a:gd name="connsiteX88" fmla="*/ 2064057 w 2857979"/>
              <a:gd name="connsiteY88" fmla="*/ 2120900 h 4655571"/>
              <a:gd name="connsiteX89" fmla="*/ 2070581 w 2857979"/>
              <a:gd name="connsiteY89" fmla="*/ 2123825 h 4655571"/>
              <a:gd name="connsiteX90" fmla="*/ 2093493 w 2857979"/>
              <a:gd name="connsiteY90" fmla="*/ 2136723 h 4655571"/>
              <a:gd name="connsiteX91" fmla="*/ 2156628 w 2857979"/>
              <a:gd name="connsiteY91" fmla="*/ 2170659 h 4655571"/>
              <a:gd name="connsiteX92" fmla="*/ 2174520 w 2857979"/>
              <a:gd name="connsiteY92" fmla="*/ 2182335 h 4655571"/>
              <a:gd name="connsiteX93" fmla="*/ 2183337 w 2857979"/>
              <a:gd name="connsiteY93" fmla="*/ 2187296 h 4655571"/>
              <a:gd name="connsiteX94" fmla="*/ 2205153 w 2857979"/>
              <a:gd name="connsiteY94" fmla="*/ 2202322 h 4655571"/>
              <a:gd name="connsiteX95" fmla="*/ 2257845 w 2857979"/>
              <a:gd name="connsiteY95" fmla="*/ 2236704 h 4655571"/>
              <a:gd name="connsiteX96" fmla="*/ 2278723 w 2857979"/>
              <a:gd name="connsiteY96" fmla="*/ 2252990 h 4655571"/>
              <a:gd name="connsiteX97" fmla="*/ 2289467 w 2857979"/>
              <a:gd name="connsiteY97" fmla="*/ 2260389 h 4655571"/>
              <a:gd name="connsiteX98" fmla="*/ 2309032 w 2857979"/>
              <a:gd name="connsiteY98" fmla="*/ 2276635 h 4655571"/>
              <a:gd name="connsiteX99" fmla="*/ 2352881 w 2857979"/>
              <a:gd name="connsiteY99" fmla="*/ 2310840 h 4655571"/>
              <a:gd name="connsiteX100" fmla="*/ 2376107 w 2857979"/>
              <a:gd name="connsiteY100" fmla="*/ 2332325 h 4655571"/>
              <a:gd name="connsiteX101" fmla="*/ 2388380 w 2857979"/>
              <a:gd name="connsiteY101" fmla="*/ 2342514 h 4655571"/>
              <a:gd name="connsiteX102" fmla="*/ 2405214 w 2857979"/>
              <a:gd name="connsiteY102" fmla="*/ 2359248 h 4655571"/>
              <a:gd name="connsiteX103" fmla="*/ 2441252 w 2857979"/>
              <a:gd name="connsiteY103" fmla="*/ 2392582 h 4655571"/>
              <a:gd name="connsiteX104" fmla="*/ 2466127 w 2857979"/>
              <a:gd name="connsiteY104" fmla="*/ 2419799 h 4655571"/>
              <a:gd name="connsiteX105" fmla="*/ 2479485 w 2857979"/>
              <a:gd name="connsiteY105" fmla="*/ 2433078 h 4655571"/>
              <a:gd name="connsiteX106" fmla="*/ 2493436 w 2857979"/>
              <a:gd name="connsiteY106" fmla="*/ 2449678 h 4655571"/>
              <a:gd name="connsiteX107" fmla="*/ 2522469 w 2857979"/>
              <a:gd name="connsiteY107" fmla="*/ 2481443 h 4655571"/>
              <a:gd name="connsiteX108" fmla="*/ 2548236 w 2857979"/>
              <a:gd name="connsiteY108" fmla="*/ 2514884 h 4655571"/>
              <a:gd name="connsiteX109" fmla="*/ 2562191 w 2857979"/>
              <a:gd name="connsiteY109" fmla="*/ 2531488 h 4655571"/>
              <a:gd name="connsiteX110" fmla="*/ 2573295 w 2857979"/>
              <a:gd name="connsiteY110" fmla="*/ 2547408 h 4655571"/>
              <a:gd name="connsiteX111" fmla="*/ 2596047 w 2857979"/>
              <a:gd name="connsiteY111" fmla="*/ 2576936 h 4655571"/>
              <a:gd name="connsiteX112" fmla="*/ 2621892 w 2857979"/>
              <a:gd name="connsiteY112" fmla="*/ 2617072 h 4655571"/>
              <a:gd name="connsiteX113" fmla="*/ 2635904 w 2857979"/>
              <a:gd name="connsiteY113" fmla="*/ 2637156 h 4655571"/>
              <a:gd name="connsiteX114" fmla="*/ 2644322 w 2857979"/>
              <a:gd name="connsiteY114" fmla="*/ 2651901 h 4655571"/>
              <a:gd name="connsiteX115" fmla="*/ 2661498 w 2857979"/>
              <a:gd name="connsiteY115" fmla="*/ 2678572 h 4655571"/>
              <a:gd name="connsiteX116" fmla="*/ 2686560 w 2857979"/>
              <a:gd name="connsiteY116" fmla="*/ 2725888 h 4655571"/>
              <a:gd name="connsiteX117" fmla="*/ 2700035 w 2857979"/>
              <a:gd name="connsiteY117" fmla="*/ 2749488 h 4655571"/>
              <a:gd name="connsiteX118" fmla="*/ 2706018 w 2857979"/>
              <a:gd name="connsiteY118" fmla="*/ 2762618 h 4655571"/>
              <a:gd name="connsiteX119" fmla="*/ 2718332 w 2857979"/>
              <a:gd name="connsiteY119" fmla="*/ 2785865 h 4655571"/>
              <a:gd name="connsiteX120" fmla="*/ 2741708 w 2857979"/>
              <a:gd name="connsiteY120" fmla="*/ 2840939 h 4655571"/>
              <a:gd name="connsiteX121" fmla="*/ 2753991 w 2857979"/>
              <a:gd name="connsiteY121" fmla="*/ 2867894 h 4655571"/>
              <a:gd name="connsiteX122" fmla="*/ 2757865 w 2857979"/>
              <a:gd name="connsiteY122" fmla="*/ 2879005 h 4655571"/>
              <a:gd name="connsiteX123" fmla="*/ 2766068 w 2857979"/>
              <a:gd name="connsiteY123" fmla="*/ 2898329 h 4655571"/>
              <a:gd name="connsiteX124" fmla="*/ 2786804 w 2857979"/>
              <a:gd name="connsiteY124" fmla="*/ 2962013 h 4655571"/>
              <a:gd name="connsiteX125" fmla="*/ 2797182 w 2857979"/>
              <a:gd name="connsiteY125" fmla="*/ 2991781 h 4655571"/>
              <a:gd name="connsiteX126" fmla="*/ 2799341 w 2857979"/>
              <a:gd name="connsiteY126" fmla="*/ 3000513 h 4655571"/>
              <a:gd name="connsiteX127" fmla="*/ 2804213 w 2857979"/>
              <a:gd name="connsiteY127" fmla="*/ 3015476 h 4655571"/>
              <a:gd name="connsiteX128" fmla="*/ 2821323 w 2857979"/>
              <a:gd name="connsiteY128" fmla="*/ 3089443 h 4655571"/>
              <a:gd name="connsiteX129" fmla="*/ 2829016 w 2857979"/>
              <a:gd name="connsiteY129" fmla="*/ 3120558 h 4655571"/>
              <a:gd name="connsiteX130" fmla="*/ 2829916 w 2857979"/>
              <a:gd name="connsiteY130" fmla="*/ 3126586 h 4655571"/>
              <a:gd name="connsiteX131" fmla="*/ 2832283 w 2857979"/>
              <a:gd name="connsiteY131" fmla="*/ 3136820 h 4655571"/>
              <a:gd name="connsiteX132" fmla="*/ 2844741 w 2857979"/>
              <a:gd name="connsiteY132" fmla="*/ 3225801 h 4655571"/>
              <a:gd name="connsiteX133" fmla="*/ 2848899 w 2857979"/>
              <a:gd name="connsiteY133" fmla="*/ 3253634 h 4655571"/>
              <a:gd name="connsiteX134" fmla="*/ 2849047 w 2857979"/>
              <a:gd name="connsiteY134" fmla="*/ 3256565 h 4655571"/>
              <a:gd name="connsiteX135" fmla="*/ 2849790 w 2857979"/>
              <a:gd name="connsiteY135" fmla="*/ 3261871 h 4655571"/>
              <a:gd name="connsiteX136" fmla="*/ 2852712 w 2857979"/>
              <a:gd name="connsiteY136" fmla="*/ 3323586 h 4655571"/>
              <a:gd name="connsiteX137" fmla="*/ 2856274 w 2857979"/>
              <a:gd name="connsiteY137" fmla="*/ 3323586 h 4655571"/>
              <a:gd name="connsiteX138" fmla="*/ 2856274 w 2857979"/>
              <a:gd name="connsiteY138" fmla="*/ 3325569 h 4655571"/>
              <a:gd name="connsiteX139" fmla="*/ 2856291 w 2857979"/>
              <a:gd name="connsiteY139" fmla="*/ 3325569 h 4655571"/>
              <a:gd name="connsiteX140" fmla="*/ 2856291 w 2857979"/>
              <a:gd name="connsiteY140" fmla="*/ 4287276 h 4655571"/>
              <a:gd name="connsiteX141" fmla="*/ 2856291 w 2857979"/>
              <a:gd name="connsiteY141" fmla="*/ 4655570 h 4655571"/>
              <a:gd name="connsiteX142" fmla="*/ 1429853 w 2857979"/>
              <a:gd name="connsiteY142" fmla="*/ 4655570 h 4655571"/>
              <a:gd name="connsiteX143" fmla="*/ 1429012 w 2857979"/>
              <a:gd name="connsiteY143" fmla="*/ 4655570 h 4655571"/>
              <a:gd name="connsiteX144" fmla="*/ 1428999 w 2857979"/>
              <a:gd name="connsiteY144" fmla="*/ 4655571 h 4655571"/>
              <a:gd name="connsiteX145" fmla="*/ 1428985 w 2857979"/>
              <a:gd name="connsiteY145" fmla="*/ 4655570 h 4655571"/>
              <a:gd name="connsiteX146" fmla="*/ 1361945 w 2857979"/>
              <a:gd name="connsiteY146" fmla="*/ 4655570 h 4655571"/>
              <a:gd name="connsiteX147" fmla="*/ 1361945 w 2857979"/>
              <a:gd name="connsiteY147" fmla="*/ 4652356 h 4655571"/>
              <a:gd name="connsiteX148" fmla="*/ 1292844 w 2857979"/>
              <a:gd name="connsiteY148" fmla="*/ 4649083 h 4655571"/>
              <a:gd name="connsiteX149" fmla="*/ 1288651 w 2857979"/>
              <a:gd name="connsiteY149" fmla="*/ 4648484 h 4655571"/>
              <a:gd name="connsiteX150" fmla="*/ 1283066 w 2857979"/>
              <a:gd name="connsiteY150" fmla="*/ 4648203 h 4655571"/>
              <a:gd name="connsiteX151" fmla="*/ 1037200 w 2857979"/>
              <a:gd name="connsiteY151" fmla="*/ 4601124 h 4655571"/>
              <a:gd name="connsiteX152" fmla="*/ 1031416 w 2857979"/>
              <a:gd name="connsiteY152" fmla="*/ 4599202 h 4655571"/>
              <a:gd name="connsiteX153" fmla="*/ 1030420 w 2857979"/>
              <a:gd name="connsiteY153" fmla="*/ 4598961 h 4655571"/>
              <a:gd name="connsiteX154" fmla="*/ 1020496 w 2857979"/>
              <a:gd name="connsiteY154" fmla="*/ 4595571 h 4655571"/>
              <a:gd name="connsiteX155" fmla="*/ 920371 w 2857979"/>
              <a:gd name="connsiteY155" fmla="*/ 4562281 h 4655571"/>
              <a:gd name="connsiteX156" fmla="*/ 910094 w 2857979"/>
              <a:gd name="connsiteY156" fmla="*/ 4557844 h 4655571"/>
              <a:gd name="connsiteX157" fmla="*/ 906188 w 2857979"/>
              <a:gd name="connsiteY157" fmla="*/ 4556510 h 4655571"/>
              <a:gd name="connsiteX158" fmla="*/ 885073 w 2857979"/>
              <a:gd name="connsiteY158" fmla="*/ 4547042 h 4655571"/>
              <a:gd name="connsiteX159" fmla="*/ 808258 w 2857979"/>
              <a:gd name="connsiteY159" fmla="*/ 4513883 h 4655571"/>
              <a:gd name="connsiteX160" fmla="*/ 793923 w 2857979"/>
              <a:gd name="connsiteY160" fmla="*/ 4506178 h 4655571"/>
              <a:gd name="connsiteX161" fmla="*/ 787398 w 2857979"/>
              <a:gd name="connsiteY161" fmla="*/ 4503253 h 4655571"/>
              <a:gd name="connsiteX162" fmla="*/ 764486 w 2857979"/>
              <a:gd name="connsiteY162" fmla="*/ 4490355 h 4655571"/>
              <a:gd name="connsiteX163" fmla="*/ 701352 w 2857979"/>
              <a:gd name="connsiteY163" fmla="*/ 4456419 h 4655571"/>
              <a:gd name="connsiteX164" fmla="*/ 683458 w 2857979"/>
              <a:gd name="connsiteY164" fmla="*/ 4444743 h 4655571"/>
              <a:gd name="connsiteX165" fmla="*/ 674642 w 2857979"/>
              <a:gd name="connsiteY165" fmla="*/ 4439782 h 4655571"/>
              <a:gd name="connsiteX166" fmla="*/ 652826 w 2857979"/>
              <a:gd name="connsiteY166" fmla="*/ 4424756 h 4655571"/>
              <a:gd name="connsiteX167" fmla="*/ 600135 w 2857979"/>
              <a:gd name="connsiteY167" fmla="*/ 4390374 h 4655571"/>
              <a:gd name="connsiteX168" fmla="*/ 579258 w 2857979"/>
              <a:gd name="connsiteY168" fmla="*/ 4374087 h 4655571"/>
              <a:gd name="connsiteX169" fmla="*/ 568512 w 2857979"/>
              <a:gd name="connsiteY169" fmla="*/ 4366689 h 4655571"/>
              <a:gd name="connsiteX170" fmla="*/ 548947 w 2857979"/>
              <a:gd name="connsiteY170" fmla="*/ 4350444 h 4655571"/>
              <a:gd name="connsiteX171" fmla="*/ 505098 w 2857979"/>
              <a:gd name="connsiteY171" fmla="*/ 4316236 h 4655571"/>
              <a:gd name="connsiteX172" fmla="*/ 481872 w 2857979"/>
              <a:gd name="connsiteY172" fmla="*/ 4294752 h 4655571"/>
              <a:gd name="connsiteX173" fmla="*/ 469600 w 2857979"/>
              <a:gd name="connsiteY173" fmla="*/ 4284563 h 4655571"/>
              <a:gd name="connsiteX174" fmla="*/ 452765 w 2857979"/>
              <a:gd name="connsiteY174" fmla="*/ 4267831 h 4655571"/>
              <a:gd name="connsiteX175" fmla="*/ 416727 w 2857979"/>
              <a:gd name="connsiteY175" fmla="*/ 4234495 h 4655571"/>
              <a:gd name="connsiteX176" fmla="*/ 391852 w 2857979"/>
              <a:gd name="connsiteY176" fmla="*/ 4207279 h 4655571"/>
              <a:gd name="connsiteX177" fmla="*/ 378494 w 2857979"/>
              <a:gd name="connsiteY177" fmla="*/ 4194000 h 4655571"/>
              <a:gd name="connsiteX178" fmla="*/ 364543 w 2857979"/>
              <a:gd name="connsiteY178" fmla="*/ 4177400 h 4655571"/>
              <a:gd name="connsiteX179" fmla="*/ 335510 w 2857979"/>
              <a:gd name="connsiteY179" fmla="*/ 4145634 h 4655571"/>
              <a:gd name="connsiteX180" fmla="*/ 309743 w 2857979"/>
              <a:gd name="connsiteY180" fmla="*/ 4112193 h 4655571"/>
              <a:gd name="connsiteX181" fmla="*/ 295789 w 2857979"/>
              <a:gd name="connsiteY181" fmla="*/ 4095590 h 4655571"/>
              <a:gd name="connsiteX182" fmla="*/ 284685 w 2857979"/>
              <a:gd name="connsiteY182" fmla="*/ 4079671 h 4655571"/>
              <a:gd name="connsiteX183" fmla="*/ 261931 w 2857979"/>
              <a:gd name="connsiteY183" fmla="*/ 4050142 h 4655571"/>
              <a:gd name="connsiteX184" fmla="*/ 236086 w 2857979"/>
              <a:gd name="connsiteY184" fmla="*/ 4010005 h 4655571"/>
              <a:gd name="connsiteX185" fmla="*/ 222075 w 2857979"/>
              <a:gd name="connsiteY185" fmla="*/ 3989922 h 4655571"/>
              <a:gd name="connsiteX186" fmla="*/ 213657 w 2857979"/>
              <a:gd name="connsiteY186" fmla="*/ 3975176 h 4655571"/>
              <a:gd name="connsiteX187" fmla="*/ 196482 w 2857979"/>
              <a:gd name="connsiteY187" fmla="*/ 3948505 h 4655571"/>
              <a:gd name="connsiteX188" fmla="*/ 171419 w 2857979"/>
              <a:gd name="connsiteY188" fmla="*/ 3901190 h 4655571"/>
              <a:gd name="connsiteX189" fmla="*/ 157945 w 2857979"/>
              <a:gd name="connsiteY189" fmla="*/ 3877589 h 4655571"/>
              <a:gd name="connsiteX190" fmla="*/ 151962 w 2857979"/>
              <a:gd name="connsiteY190" fmla="*/ 3864460 h 4655571"/>
              <a:gd name="connsiteX191" fmla="*/ 139646 w 2857979"/>
              <a:gd name="connsiteY191" fmla="*/ 3841212 h 4655571"/>
              <a:gd name="connsiteX192" fmla="*/ 116271 w 2857979"/>
              <a:gd name="connsiteY192" fmla="*/ 3786138 h 4655571"/>
              <a:gd name="connsiteX193" fmla="*/ 103988 w 2857979"/>
              <a:gd name="connsiteY193" fmla="*/ 3759183 h 4655571"/>
              <a:gd name="connsiteX194" fmla="*/ 100114 w 2857979"/>
              <a:gd name="connsiteY194" fmla="*/ 3748073 h 4655571"/>
              <a:gd name="connsiteX195" fmla="*/ 91911 w 2857979"/>
              <a:gd name="connsiteY195" fmla="*/ 3728748 h 4655571"/>
              <a:gd name="connsiteX196" fmla="*/ 71175 w 2857979"/>
              <a:gd name="connsiteY196" fmla="*/ 3665065 h 4655571"/>
              <a:gd name="connsiteX197" fmla="*/ 60797 w 2857979"/>
              <a:gd name="connsiteY197" fmla="*/ 3635297 h 4655571"/>
              <a:gd name="connsiteX198" fmla="*/ 58639 w 2857979"/>
              <a:gd name="connsiteY198" fmla="*/ 3626565 h 4655571"/>
              <a:gd name="connsiteX199" fmla="*/ 53766 w 2857979"/>
              <a:gd name="connsiteY199" fmla="*/ 3611600 h 4655571"/>
              <a:gd name="connsiteX200" fmla="*/ 36656 w 2857979"/>
              <a:gd name="connsiteY200" fmla="*/ 3537635 h 4655571"/>
              <a:gd name="connsiteX201" fmla="*/ 28964 w 2857979"/>
              <a:gd name="connsiteY201" fmla="*/ 3506519 h 4655571"/>
              <a:gd name="connsiteX202" fmla="*/ 28064 w 2857979"/>
              <a:gd name="connsiteY202" fmla="*/ 3500492 h 4655571"/>
              <a:gd name="connsiteX203" fmla="*/ 25696 w 2857979"/>
              <a:gd name="connsiteY203" fmla="*/ 3490258 h 4655571"/>
              <a:gd name="connsiteX204" fmla="*/ 13239 w 2857979"/>
              <a:gd name="connsiteY204" fmla="*/ 3401277 h 4655571"/>
              <a:gd name="connsiteX205" fmla="*/ 9079 w 2857979"/>
              <a:gd name="connsiteY205" fmla="*/ 3373444 h 4655571"/>
              <a:gd name="connsiteX206" fmla="*/ 8931 w 2857979"/>
              <a:gd name="connsiteY206" fmla="*/ 3370513 h 4655571"/>
              <a:gd name="connsiteX207" fmla="*/ 8188 w 2857979"/>
              <a:gd name="connsiteY207" fmla="*/ 3365207 h 4655571"/>
              <a:gd name="connsiteX208" fmla="*/ 6312 w 2857979"/>
              <a:gd name="connsiteY208" fmla="*/ 3325569 h 4655571"/>
              <a:gd name="connsiteX209" fmla="*/ 0 w 2857979"/>
              <a:gd name="connsiteY209" fmla="*/ 3325569 h 4655571"/>
              <a:gd name="connsiteX210" fmla="*/ 0 w 2857979"/>
              <a:gd name="connsiteY210" fmla="*/ 3323586 h 4655571"/>
              <a:gd name="connsiteX211" fmla="*/ 1688 w 2857979"/>
              <a:gd name="connsiteY211" fmla="*/ 3323586 h 4655571"/>
              <a:gd name="connsiteX212" fmla="*/ 1688 w 2857979"/>
              <a:gd name="connsiteY212" fmla="*/ 2339801 h 4655571"/>
              <a:gd name="connsiteX213" fmla="*/ 1688 w 2857979"/>
              <a:gd name="connsiteY213" fmla="*/ 1971507 h 4655571"/>
              <a:gd name="connsiteX214" fmla="*/ 6127 w 2857979"/>
              <a:gd name="connsiteY214" fmla="*/ 1971507 h 4655571"/>
              <a:gd name="connsiteX215" fmla="*/ 5267 w 2857979"/>
              <a:gd name="connsiteY215" fmla="*/ 1953345 h 4655571"/>
              <a:gd name="connsiteX216" fmla="*/ 1705 w 2857979"/>
              <a:gd name="connsiteY216" fmla="*/ 1953345 h 4655571"/>
              <a:gd name="connsiteX217" fmla="*/ 1705 w 2857979"/>
              <a:gd name="connsiteY217" fmla="*/ 1896448 h 4655571"/>
              <a:gd name="connsiteX218" fmla="*/ 1705 w 2857979"/>
              <a:gd name="connsiteY218" fmla="*/ 1878132 h 4655571"/>
              <a:gd name="connsiteX219" fmla="*/ 1705 w 2857979"/>
              <a:gd name="connsiteY219" fmla="*/ 1877704 h 4655571"/>
              <a:gd name="connsiteX220" fmla="*/ 0 w 2857979"/>
              <a:gd name="connsiteY220" fmla="*/ 1877704 h 4655571"/>
              <a:gd name="connsiteX221" fmla="*/ 0 w 2857979"/>
              <a:gd name="connsiteY221" fmla="*/ 1856116 h 4655571"/>
              <a:gd name="connsiteX222" fmla="*/ 0 w 2857979"/>
              <a:gd name="connsiteY222" fmla="*/ 1701091 h 4655571"/>
              <a:gd name="connsiteX223" fmla="*/ 0 w 2857979"/>
              <a:gd name="connsiteY223" fmla="*/ 1613887 h 4655571"/>
              <a:gd name="connsiteX224" fmla="*/ 0 w 2857979"/>
              <a:gd name="connsiteY224" fmla="*/ 1427719 h 4655571"/>
              <a:gd name="connsiteX225" fmla="*/ 0 w 2857979"/>
              <a:gd name="connsiteY225" fmla="*/ 1352080 h 4655571"/>
              <a:gd name="connsiteX226" fmla="*/ 1689 w 2857979"/>
              <a:gd name="connsiteY226" fmla="*/ 1352080 h 4655571"/>
              <a:gd name="connsiteX227" fmla="*/ 1689 w 2857979"/>
              <a:gd name="connsiteY227" fmla="*/ 1 h 4655571"/>
              <a:gd name="connsiteX228" fmla="*/ 1428126 w 2857979"/>
              <a:gd name="connsiteY228" fmla="*/ 1 h 4655571"/>
              <a:gd name="connsiteX229" fmla="*/ 1428967 w 2857979"/>
              <a:gd name="connsiteY229" fmla="*/ 1 h 465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2857979" h="4655571">
                <a:moveTo>
                  <a:pt x="1428980" y="0"/>
                </a:moveTo>
                <a:lnTo>
                  <a:pt x="1428995" y="1"/>
                </a:lnTo>
                <a:lnTo>
                  <a:pt x="1496034" y="1"/>
                </a:lnTo>
                <a:lnTo>
                  <a:pt x="1496034" y="3215"/>
                </a:lnTo>
                <a:lnTo>
                  <a:pt x="1565136" y="6488"/>
                </a:lnTo>
                <a:lnTo>
                  <a:pt x="1569329" y="7088"/>
                </a:lnTo>
                <a:lnTo>
                  <a:pt x="1574913" y="7369"/>
                </a:lnTo>
                <a:cubicBezTo>
                  <a:pt x="1659256" y="15935"/>
                  <a:pt x="1741426" y="31844"/>
                  <a:pt x="1820778" y="54447"/>
                </a:cubicBezTo>
                <a:lnTo>
                  <a:pt x="1826563" y="56369"/>
                </a:lnTo>
                <a:lnTo>
                  <a:pt x="1827559" y="56610"/>
                </a:lnTo>
                <a:lnTo>
                  <a:pt x="1837483" y="60001"/>
                </a:lnTo>
                <a:lnTo>
                  <a:pt x="1937608" y="93290"/>
                </a:lnTo>
                <a:lnTo>
                  <a:pt x="1947886" y="97727"/>
                </a:lnTo>
                <a:lnTo>
                  <a:pt x="1951791" y="99062"/>
                </a:lnTo>
                <a:lnTo>
                  <a:pt x="1972906" y="108529"/>
                </a:lnTo>
                <a:lnTo>
                  <a:pt x="2049720" y="141688"/>
                </a:lnTo>
                <a:lnTo>
                  <a:pt x="2064057" y="149394"/>
                </a:lnTo>
                <a:lnTo>
                  <a:pt x="2070581" y="152319"/>
                </a:lnTo>
                <a:lnTo>
                  <a:pt x="2093493" y="165217"/>
                </a:lnTo>
                <a:lnTo>
                  <a:pt x="2156628" y="199153"/>
                </a:lnTo>
                <a:lnTo>
                  <a:pt x="2174520" y="210829"/>
                </a:lnTo>
                <a:lnTo>
                  <a:pt x="2183337" y="215789"/>
                </a:lnTo>
                <a:lnTo>
                  <a:pt x="2205153" y="230816"/>
                </a:lnTo>
                <a:lnTo>
                  <a:pt x="2257845" y="265197"/>
                </a:lnTo>
                <a:lnTo>
                  <a:pt x="2278722" y="281484"/>
                </a:lnTo>
                <a:lnTo>
                  <a:pt x="2289467" y="288883"/>
                </a:lnTo>
                <a:lnTo>
                  <a:pt x="2309032" y="305128"/>
                </a:lnTo>
                <a:lnTo>
                  <a:pt x="2352881" y="339335"/>
                </a:lnTo>
                <a:lnTo>
                  <a:pt x="2376107" y="360819"/>
                </a:lnTo>
                <a:lnTo>
                  <a:pt x="2388380" y="371008"/>
                </a:lnTo>
                <a:lnTo>
                  <a:pt x="2405214" y="387741"/>
                </a:lnTo>
                <a:lnTo>
                  <a:pt x="2441252" y="421077"/>
                </a:lnTo>
                <a:lnTo>
                  <a:pt x="2466127" y="448293"/>
                </a:lnTo>
                <a:lnTo>
                  <a:pt x="2479485" y="461571"/>
                </a:lnTo>
                <a:lnTo>
                  <a:pt x="2493436" y="478171"/>
                </a:lnTo>
                <a:lnTo>
                  <a:pt x="2522470" y="509938"/>
                </a:lnTo>
                <a:lnTo>
                  <a:pt x="2548236" y="543379"/>
                </a:lnTo>
                <a:lnTo>
                  <a:pt x="2562191" y="559982"/>
                </a:lnTo>
                <a:lnTo>
                  <a:pt x="2573295" y="575901"/>
                </a:lnTo>
                <a:lnTo>
                  <a:pt x="2596047" y="605429"/>
                </a:lnTo>
                <a:lnTo>
                  <a:pt x="2621892" y="645566"/>
                </a:lnTo>
                <a:lnTo>
                  <a:pt x="2635905" y="665649"/>
                </a:lnTo>
                <a:lnTo>
                  <a:pt x="2644323" y="680395"/>
                </a:lnTo>
                <a:lnTo>
                  <a:pt x="2661498" y="707066"/>
                </a:lnTo>
                <a:lnTo>
                  <a:pt x="2686560" y="754381"/>
                </a:lnTo>
                <a:lnTo>
                  <a:pt x="2700035" y="777982"/>
                </a:lnTo>
                <a:lnTo>
                  <a:pt x="2706018" y="791111"/>
                </a:lnTo>
                <a:lnTo>
                  <a:pt x="2718333" y="814360"/>
                </a:lnTo>
                <a:lnTo>
                  <a:pt x="2741708" y="869434"/>
                </a:lnTo>
                <a:lnTo>
                  <a:pt x="2753992" y="896389"/>
                </a:lnTo>
                <a:lnTo>
                  <a:pt x="2757865" y="907498"/>
                </a:lnTo>
                <a:lnTo>
                  <a:pt x="2766068" y="926823"/>
                </a:lnTo>
                <a:lnTo>
                  <a:pt x="2786805" y="990506"/>
                </a:lnTo>
                <a:lnTo>
                  <a:pt x="2797182" y="1020275"/>
                </a:lnTo>
                <a:lnTo>
                  <a:pt x="2799341" y="1029006"/>
                </a:lnTo>
                <a:lnTo>
                  <a:pt x="2804213" y="1043971"/>
                </a:lnTo>
                <a:lnTo>
                  <a:pt x="2821323" y="1117937"/>
                </a:lnTo>
                <a:lnTo>
                  <a:pt x="2829016" y="1149052"/>
                </a:lnTo>
                <a:lnTo>
                  <a:pt x="2829916" y="1155080"/>
                </a:lnTo>
                <a:lnTo>
                  <a:pt x="2832283" y="1165313"/>
                </a:lnTo>
                <a:lnTo>
                  <a:pt x="2844741" y="1254295"/>
                </a:lnTo>
                <a:lnTo>
                  <a:pt x="2848900" y="1282127"/>
                </a:lnTo>
                <a:lnTo>
                  <a:pt x="2849048" y="1285059"/>
                </a:lnTo>
                <a:lnTo>
                  <a:pt x="2849790" y="1290365"/>
                </a:lnTo>
                <a:lnTo>
                  <a:pt x="2852713" y="1352080"/>
                </a:lnTo>
                <a:lnTo>
                  <a:pt x="2856274" y="1352080"/>
                </a:lnTo>
                <a:lnTo>
                  <a:pt x="2856274" y="1408978"/>
                </a:lnTo>
                <a:lnTo>
                  <a:pt x="2856274" y="1427293"/>
                </a:lnTo>
                <a:lnTo>
                  <a:pt x="2856274" y="1427719"/>
                </a:lnTo>
                <a:lnTo>
                  <a:pt x="2856274" y="1427720"/>
                </a:lnTo>
                <a:lnTo>
                  <a:pt x="2857979" y="1427720"/>
                </a:lnTo>
                <a:lnTo>
                  <a:pt x="2857979" y="1613887"/>
                </a:lnTo>
                <a:lnTo>
                  <a:pt x="2857979" y="1701091"/>
                </a:lnTo>
                <a:lnTo>
                  <a:pt x="2857979" y="1856116"/>
                </a:lnTo>
                <a:lnTo>
                  <a:pt x="2857979" y="1877704"/>
                </a:lnTo>
                <a:lnTo>
                  <a:pt x="2857979" y="1953345"/>
                </a:lnTo>
                <a:lnTo>
                  <a:pt x="2856292" y="1953345"/>
                </a:lnTo>
                <a:lnTo>
                  <a:pt x="2856292" y="1982173"/>
                </a:lnTo>
                <a:lnTo>
                  <a:pt x="1592136" y="1982173"/>
                </a:lnTo>
                <a:lnTo>
                  <a:pt x="1820778" y="2025953"/>
                </a:lnTo>
                <a:lnTo>
                  <a:pt x="1826563" y="2027875"/>
                </a:lnTo>
                <a:lnTo>
                  <a:pt x="1827559" y="2028116"/>
                </a:lnTo>
                <a:lnTo>
                  <a:pt x="1837483" y="2031509"/>
                </a:lnTo>
                <a:lnTo>
                  <a:pt x="1937608" y="2064797"/>
                </a:lnTo>
                <a:lnTo>
                  <a:pt x="1947886" y="2069234"/>
                </a:lnTo>
                <a:lnTo>
                  <a:pt x="1951791" y="2070568"/>
                </a:lnTo>
                <a:lnTo>
                  <a:pt x="1972906" y="2080035"/>
                </a:lnTo>
                <a:lnTo>
                  <a:pt x="2049720" y="2113194"/>
                </a:lnTo>
                <a:lnTo>
                  <a:pt x="2064057" y="2120900"/>
                </a:lnTo>
                <a:lnTo>
                  <a:pt x="2070581" y="2123825"/>
                </a:lnTo>
                <a:lnTo>
                  <a:pt x="2093493" y="2136723"/>
                </a:lnTo>
                <a:lnTo>
                  <a:pt x="2156628" y="2170659"/>
                </a:lnTo>
                <a:lnTo>
                  <a:pt x="2174520" y="2182335"/>
                </a:lnTo>
                <a:lnTo>
                  <a:pt x="2183337" y="2187296"/>
                </a:lnTo>
                <a:lnTo>
                  <a:pt x="2205153" y="2202322"/>
                </a:lnTo>
                <a:lnTo>
                  <a:pt x="2257845" y="2236704"/>
                </a:lnTo>
                <a:lnTo>
                  <a:pt x="2278723" y="2252990"/>
                </a:lnTo>
                <a:lnTo>
                  <a:pt x="2289467" y="2260389"/>
                </a:lnTo>
                <a:lnTo>
                  <a:pt x="2309032" y="2276635"/>
                </a:lnTo>
                <a:lnTo>
                  <a:pt x="2352881" y="2310840"/>
                </a:lnTo>
                <a:lnTo>
                  <a:pt x="2376107" y="2332325"/>
                </a:lnTo>
                <a:lnTo>
                  <a:pt x="2388380" y="2342514"/>
                </a:lnTo>
                <a:lnTo>
                  <a:pt x="2405214" y="2359248"/>
                </a:lnTo>
                <a:lnTo>
                  <a:pt x="2441252" y="2392582"/>
                </a:lnTo>
                <a:lnTo>
                  <a:pt x="2466127" y="2419799"/>
                </a:lnTo>
                <a:lnTo>
                  <a:pt x="2479485" y="2433078"/>
                </a:lnTo>
                <a:lnTo>
                  <a:pt x="2493436" y="2449678"/>
                </a:lnTo>
                <a:lnTo>
                  <a:pt x="2522469" y="2481443"/>
                </a:lnTo>
                <a:lnTo>
                  <a:pt x="2548236" y="2514884"/>
                </a:lnTo>
                <a:lnTo>
                  <a:pt x="2562191" y="2531488"/>
                </a:lnTo>
                <a:lnTo>
                  <a:pt x="2573295" y="2547408"/>
                </a:lnTo>
                <a:lnTo>
                  <a:pt x="2596047" y="2576936"/>
                </a:lnTo>
                <a:lnTo>
                  <a:pt x="2621892" y="2617072"/>
                </a:lnTo>
                <a:lnTo>
                  <a:pt x="2635904" y="2637156"/>
                </a:lnTo>
                <a:lnTo>
                  <a:pt x="2644322" y="2651901"/>
                </a:lnTo>
                <a:lnTo>
                  <a:pt x="2661498" y="2678572"/>
                </a:lnTo>
                <a:lnTo>
                  <a:pt x="2686560" y="2725888"/>
                </a:lnTo>
                <a:lnTo>
                  <a:pt x="2700035" y="2749488"/>
                </a:lnTo>
                <a:lnTo>
                  <a:pt x="2706018" y="2762618"/>
                </a:lnTo>
                <a:lnTo>
                  <a:pt x="2718332" y="2785865"/>
                </a:lnTo>
                <a:lnTo>
                  <a:pt x="2741708" y="2840939"/>
                </a:lnTo>
                <a:lnTo>
                  <a:pt x="2753991" y="2867894"/>
                </a:lnTo>
                <a:lnTo>
                  <a:pt x="2757865" y="2879005"/>
                </a:lnTo>
                <a:lnTo>
                  <a:pt x="2766068" y="2898329"/>
                </a:lnTo>
                <a:lnTo>
                  <a:pt x="2786804" y="2962013"/>
                </a:lnTo>
                <a:lnTo>
                  <a:pt x="2797182" y="2991781"/>
                </a:lnTo>
                <a:lnTo>
                  <a:pt x="2799341" y="3000513"/>
                </a:lnTo>
                <a:lnTo>
                  <a:pt x="2804213" y="3015476"/>
                </a:lnTo>
                <a:lnTo>
                  <a:pt x="2821323" y="3089443"/>
                </a:lnTo>
                <a:lnTo>
                  <a:pt x="2829016" y="3120558"/>
                </a:lnTo>
                <a:lnTo>
                  <a:pt x="2829916" y="3126586"/>
                </a:lnTo>
                <a:lnTo>
                  <a:pt x="2832283" y="3136820"/>
                </a:lnTo>
                <a:lnTo>
                  <a:pt x="2844741" y="3225801"/>
                </a:lnTo>
                <a:lnTo>
                  <a:pt x="2848899" y="3253634"/>
                </a:lnTo>
                <a:lnTo>
                  <a:pt x="2849047" y="3256565"/>
                </a:lnTo>
                <a:lnTo>
                  <a:pt x="2849790" y="3261871"/>
                </a:lnTo>
                <a:lnTo>
                  <a:pt x="2852712" y="3323586"/>
                </a:lnTo>
                <a:lnTo>
                  <a:pt x="2856274" y="3323586"/>
                </a:lnTo>
                <a:lnTo>
                  <a:pt x="2856274" y="3325569"/>
                </a:lnTo>
                <a:lnTo>
                  <a:pt x="2856291" y="3325569"/>
                </a:lnTo>
                <a:lnTo>
                  <a:pt x="2856291" y="4287276"/>
                </a:lnTo>
                <a:lnTo>
                  <a:pt x="2856291" y="4655570"/>
                </a:lnTo>
                <a:lnTo>
                  <a:pt x="1429853" y="4655570"/>
                </a:lnTo>
                <a:lnTo>
                  <a:pt x="1429012" y="4655570"/>
                </a:lnTo>
                <a:lnTo>
                  <a:pt x="1428999" y="4655571"/>
                </a:lnTo>
                <a:lnTo>
                  <a:pt x="1428985" y="4655570"/>
                </a:lnTo>
                <a:lnTo>
                  <a:pt x="1361945" y="4655570"/>
                </a:lnTo>
                <a:lnTo>
                  <a:pt x="1361945" y="4652356"/>
                </a:lnTo>
                <a:lnTo>
                  <a:pt x="1292844" y="4649083"/>
                </a:lnTo>
                <a:lnTo>
                  <a:pt x="1288651" y="4648484"/>
                </a:lnTo>
                <a:lnTo>
                  <a:pt x="1283066" y="4648203"/>
                </a:lnTo>
                <a:cubicBezTo>
                  <a:pt x="1198724" y="4639637"/>
                  <a:pt x="1116553" y="4623728"/>
                  <a:pt x="1037200" y="4601124"/>
                </a:cubicBezTo>
                <a:lnTo>
                  <a:pt x="1031416" y="4599202"/>
                </a:lnTo>
                <a:lnTo>
                  <a:pt x="1030420" y="4598961"/>
                </a:lnTo>
                <a:lnTo>
                  <a:pt x="1020496" y="4595571"/>
                </a:lnTo>
                <a:lnTo>
                  <a:pt x="920371" y="4562281"/>
                </a:lnTo>
                <a:lnTo>
                  <a:pt x="910094" y="4557844"/>
                </a:lnTo>
                <a:lnTo>
                  <a:pt x="906188" y="4556510"/>
                </a:lnTo>
                <a:lnTo>
                  <a:pt x="885073" y="4547042"/>
                </a:lnTo>
                <a:lnTo>
                  <a:pt x="808258" y="4513883"/>
                </a:lnTo>
                <a:lnTo>
                  <a:pt x="793923" y="4506178"/>
                </a:lnTo>
                <a:lnTo>
                  <a:pt x="787398" y="4503253"/>
                </a:lnTo>
                <a:lnTo>
                  <a:pt x="764486" y="4490355"/>
                </a:lnTo>
                <a:lnTo>
                  <a:pt x="701352" y="4456419"/>
                </a:lnTo>
                <a:lnTo>
                  <a:pt x="683458" y="4444743"/>
                </a:lnTo>
                <a:lnTo>
                  <a:pt x="674642" y="4439782"/>
                </a:lnTo>
                <a:lnTo>
                  <a:pt x="652826" y="4424756"/>
                </a:lnTo>
                <a:lnTo>
                  <a:pt x="600135" y="4390374"/>
                </a:lnTo>
                <a:lnTo>
                  <a:pt x="579258" y="4374087"/>
                </a:lnTo>
                <a:lnTo>
                  <a:pt x="568512" y="4366689"/>
                </a:lnTo>
                <a:lnTo>
                  <a:pt x="548947" y="4350444"/>
                </a:lnTo>
                <a:lnTo>
                  <a:pt x="505098" y="4316236"/>
                </a:lnTo>
                <a:lnTo>
                  <a:pt x="481872" y="4294752"/>
                </a:lnTo>
                <a:lnTo>
                  <a:pt x="469600" y="4284563"/>
                </a:lnTo>
                <a:lnTo>
                  <a:pt x="452765" y="4267831"/>
                </a:lnTo>
                <a:lnTo>
                  <a:pt x="416727" y="4234495"/>
                </a:lnTo>
                <a:lnTo>
                  <a:pt x="391852" y="4207279"/>
                </a:lnTo>
                <a:lnTo>
                  <a:pt x="378494" y="4194000"/>
                </a:lnTo>
                <a:lnTo>
                  <a:pt x="364543" y="4177400"/>
                </a:lnTo>
                <a:lnTo>
                  <a:pt x="335510" y="4145634"/>
                </a:lnTo>
                <a:lnTo>
                  <a:pt x="309743" y="4112193"/>
                </a:lnTo>
                <a:lnTo>
                  <a:pt x="295789" y="4095590"/>
                </a:lnTo>
                <a:lnTo>
                  <a:pt x="284685" y="4079671"/>
                </a:lnTo>
                <a:lnTo>
                  <a:pt x="261931" y="4050142"/>
                </a:lnTo>
                <a:lnTo>
                  <a:pt x="236086" y="4010005"/>
                </a:lnTo>
                <a:lnTo>
                  <a:pt x="222075" y="3989922"/>
                </a:lnTo>
                <a:lnTo>
                  <a:pt x="213657" y="3975176"/>
                </a:lnTo>
                <a:lnTo>
                  <a:pt x="196482" y="3948505"/>
                </a:lnTo>
                <a:lnTo>
                  <a:pt x="171419" y="3901190"/>
                </a:lnTo>
                <a:lnTo>
                  <a:pt x="157945" y="3877589"/>
                </a:lnTo>
                <a:lnTo>
                  <a:pt x="151962" y="3864460"/>
                </a:lnTo>
                <a:lnTo>
                  <a:pt x="139646" y="3841212"/>
                </a:lnTo>
                <a:lnTo>
                  <a:pt x="116271" y="3786138"/>
                </a:lnTo>
                <a:lnTo>
                  <a:pt x="103988" y="3759183"/>
                </a:lnTo>
                <a:lnTo>
                  <a:pt x="100114" y="3748073"/>
                </a:lnTo>
                <a:lnTo>
                  <a:pt x="91911" y="3728748"/>
                </a:lnTo>
                <a:lnTo>
                  <a:pt x="71175" y="3665065"/>
                </a:lnTo>
                <a:lnTo>
                  <a:pt x="60797" y="3635297"/>
                </a:lnTo>
                <a:lnTo>
                  <a:pt x="58639" y="3626565"/>
                </a:lnTo>
                <a:lnTo>
                  <a:pt x="53766" y="3611600"/>
                </a:lnTo>
                <a:lnTo>
                  <a:pt x="36656" y="3537635"/>
                </a:lnTo>
                <a:lnTo>
                  <a:pt x="28964" y="3506519"/>
                </a:lnTo>
                <a:lnTo>
                  <a:pt x="28064" y="3500492"/>
                </a:lnTo>
                <a:lnTo>
                  <a:pt x="25696" y="3490258"/>
                </a:lnTo>
                <a:lnTo>
                  <a:pt x="13239" y="3401277"/>
                </a:lnTo>
                <a:lnTo>
                  <a:pt x="9079" y="3373444"/>
                </a:lnTo>
                <a:lnTo>
                  <a:pt x="8931" y="3370513"/>
                </a:lnTo>
                <a:lnTo>
                  <a:pt x="8188" y="3365207"/>
                </a:lnTo>
                <a:lnTo>
                  <a:pt x="6312" y="3325569"/>
                </a:lnTo>
                <a:lnTo>
                  <a:pt x="0" y="3325569"/>
                </a:lnTo>
                <a:lnTo>
                  <a:pt x="0" y="3323586"/>
                </a:lnTo>
                <a:lnTo>
                  <a:pt x="1688" y="3323586"/>
                </a:lnTo>
                <a:lnTo>
                  <a:pt x="1688" y="2339801"/>
                </a:lnTo>
                <a:lnTo>
                  <a:pt x="1688" y="1971507"/>
                </a:lnTo>
                <a:lnTo>
                  <a:pt x="6127" y="1971507"/>
                </a:lnTo>
                <a:lnTo>
                  <a:pt x="5267" y="1953345"/>
                </a:lnTo>
                <a:lnTo>
                  <a:pt x="1705" y="1953345"/>
                </a:lnTo>
                <a:lnTo>
                  <a:pt x="1705" y="1896448"/>
                </a:lnTo>
                <a:lnTo>
                  <a:pt x="1705" y="1878132"/>
                </a:lnTo>
                <a:lnTo>
                  <a:pt x="1705" y="1877704"/>
                </a:lnTo>
                <a:lnTo>
                  <a:pt x="0" y="1877704"/>
                </a:lnTo>
                <a:lnTo>
                  <a:pt x="0" y="1856116"/>
                </a:lnTo>
                <a:lnTo>
                  <a:pt x="0" y="1701091"/>
                </a:lnTo>
                <a:lnTo>
                  <a:pt x="0" y="1613887"/>
                </a:lnTo>
                <a:lnTo>
                  <a:pt x="0" y="1427719"/>
                </a:lnTo>
                <a:lnTo>
                  <a:pt x="0" y="1352080"/>
                </a:lnTo>
                <a:lnTo>
                  <a:pt x="1689" y="1352080"/>
                </a:lnTo>
                <a:lnTo>
                  <a:pt x="1689" y="1"/>
                </a:lnTo>
                <a:lnTo>
                  <a:pt x="1428126" y="1"/>
                </a:lnTo>
                <a:lnTo>
                  <a:pt x="1428967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2437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4C7C0-7B0E-4D5B-937E-65760FCF9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D8E08B-C867-464B-B460-8C777A71AC9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E1AD5A-FCAB-4374-AAC8-6CBD67FE2F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F2AEDC-9E86-4C90-AAB4-E76AB572A5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53F756-F107-4DCC-808C-49761084C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AFA7FF-E024-48FC-8A04-ABAEA477C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74657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3FB5265-BE70-4EE7-A3F2-04ACF23BC5E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53420" y="348394"/>
            <a:ext cx="2337656" cy="2337656"/>
          </a:xfrm>
          <a:custGeom>
            <a:avLst/>
            <a:gdLst>
              <a:gd name="connsiteX0" fmla="*/ 1168828 w 2337656"/>
              <a:gd name="connsiteY0" fmla="*/ 0 h 2337656"/>
              <a:gd name="connsiteX1" fmla="*/ 2337656 w 2337656"/>
              <a:gd name="connsiteY1" fmla="*/ 1168828 h 2337656"/>
              <a:gd name="connsiteX2" fmla="*/ 1288334 w 2337656"/>
              <a:gd name="connsiteY2" fmla="*/ 2331621 h 2337656"/>
              <a:gd name="connsiteX3" fmla="*/ 1184517 w 2337656"/>
              <a:gd name="connsiteY3" fmla="*/ 2336864 h 2337656"/>
              <a:gd name="connsiteX4" fmla="*/ 1184517 w 2337656"/>
              <a:gd name="connsiteY4" fmla="*/ 2337656 h 2337656"/>
              <a:gd name="connsiteX5" fmla="*/ 1168828 w 2337656"/>
              <a:gd name="connsiteY5" fmla="*/ 2337656 h 2337656"/>
              <a:gd name="connsiteX6" fmla="*/ 1 w 2337656"/>
              <a:gd name="connsiteY6" fmla="*/ 2337656 h 2337656"/>
              <a:gd name="connsiteX7" fmla="*/ 1 w 2337656"/>
              <a:gd name="connsiteY7" fmla="*/ 1168839 h 2337656"/>
              <a:gd name="connsiteX8" fmla="*/ 0 w 2337656"/>
              <a:gd name="connsiteY8" fmla="*/ 1168828 h 2337656"/>
              <a:gd name="connsiteX9" fmla="*/ 1 w 2337656"/>
              <a:gd name="connsiteY9" fmla="*/ 1168817 h 2337656"/>
              <a:gd name="connsiteX10" fmla="*/ 1 w 2337656"/>
              <a:gd name="connsiteY10" fmla="*/ 1113917 h 2337656"/>
              <a:gd name="connsiteX11" fmla="*/ 2773 w 2337656"/>
              <a:gd name="connsiteY11" fmla="*/ 1113917 h 2337656"/>
              <a:gd name="connsiteX12" fmla="*/ 6034 w 2337656"/>
              <a:gd name="connsiteY12" fmla="*/ 1049322 h 2337656"/>
              <a:gd name="connsiteX13" fmla="*/ 1168828 w 2337656"/>
              <a:gd name="connsiteY13" fmla="*/ 0 h 2337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37656" h="2337656">
                <a:moveTo>
                  <a:pt x="1168828" y="0"/>
                </a:moveTo>
                <a:cubicBezTo>
                  <a:pt x="1814354" y="0"/>
                  <a:pt x="2337656" y="523302"/>
                  <a:pt x="2337656" y="1168828"/>
                </a:cubicBezTo>
                <a:cubicBezTo>
                  <a:pt x="2337656" y="1774009"/>
                  <a:pt x="1877722" y="2271766"/>
                  <a:pt x="1288334" y="2331621"/>
                </a:cubicBezTo>
                <a:lnTo>
                  <a:pt x="1184517" y="2336864"/>
                </a:lnTo>
                <a:lnTo>
                  <a:pt x="1184517" y="2337656"/>
                </a:lnTo>
                <a:lnTo>
                  <a:pt x="1168828" y="2337656"/>
                </a:lnTo>
                <a:lnTo>
                  <a:pt x="1" y="2337656"/>
                </a:lnTo>
                <a:lnTo>
                  <a:pt x="1" y="1168839"/>
                </a:lnTo>
                <a:lnTo>
                  <a:pt x="0" y="1168828"/>
                </a:lnTo>
                <a:lnTo>
                  <a:pt x="1" y="1168817"/>
                </a:lnTo>
                <a:lnTo>
                  <a:pt x="1" y="1113917"/>
                </a:lnTo>
                <a:lnTo>
                  <a:pt x="2773" y="1113917"/>
                </a:lnTo>
                <a:lnTo>
                  <a:pt x="6034" y="1049322"/>
                </a:lnTo>
                <a:cubicBezTo>
                  <a:pt x="65891" y="459934"/>
                  <a:pt x="563647" y="0"/>
                  <a:pt x="116882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430EA44-BCD9-4CC4-B2D8-DF2CF82CB7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3420" y="2937656"/>
            <a:ext cx="3421968" cy="3438490"/>
          </a:xfrm>
          <a:custGeom>
            <a:avLst/>
            <a:gdLst>
              <a:gd name="connsiteX0" fmla="*/ 1029 w 3421968"/>
              <a:gd name="connsiteY0" fmla="*/ 0 h 3438490"/>
              <a:gd name="connsiteX1" fmla="*/ 751547 w 3421968"/>
              <a:gd name="connsiteY1" fmla="*/ 0 h 3438490"/>
              <a:gd name="connsiteX2" fmla="*/ 869868 w 3421968"/>
              <a:gd name="connsiteY2" fmla="*/ 0 h 3438490"/>
              <a:gd name="connsiteX3" fmla="*/ 870380 w 3421968"/>
              <a:gd name="connsiteY3" fmla="*/ 0 h 3438490"/>
              <a:gd name="connsiteX4" fmla="*/ 870388 w 3421968"/>
              <a:gd name="connsiteY4" fmla="*/ 0 h 3438490"/>
              <a:gd name="connsiteX5" fmla="*/ 870397 w 3421968"/>
              <a:gd name="connsiteY5" fmla="*/ 0 h 3438490"/>
              <a:gd name="connsiteX6" fmla="*/ 911231 w 3421968"/>
              <a:gd name="connsiteY6" fmla="*/ 0 h 3438490"/>
              <a:gd name="connsiteX7" fmla="*/ 931692 w 3421968"/>
              <a:gd name="connsiteY7" fmla="*/ 0 h 3438490"/>
              <a:gd name="connsiteX8" fmla="*/ 1620386 w 3421968"/>
              <a:gd name="connsiteY8" fmla="*/ 0 h 3438490"/>
              <a:gd name="connsiteX9" fmla="*/ 1620899 w 3421968"/>
              <a:gd name="connsiteY9" fmla="*/ 0 h 3438490"/>
              <a:gd name="connsiteX10" fmla="*/ 1620906 w 3421968"/>
              <a:gd name="connsiteY10" fmla="*/ 0 h 3438490"/>
              <a:gd name="connsiteX11" fmla="*/ 1620915 w 3421968"/>
              <a:gd name="connsiteY11" fmla="*/ 0 h 3438490"/>
              <a:gd name="connsiteX12" fmla="*/ 1661749 w 3421968"/>
              <a:gd name="connsiteY12" fmla="*/ 0 h 3438490"/>
              <a:gd name="connsiteX13" fmla="*/ 1682210 w 3421968"/>
              <a:gd name="connsiteY13" fmla="*/ 0 h 3438490"/>
              <a:gd name="connsiteX14" fmla="*/ 1800530 w 3421968"/>
              <a:gd name="connsiteY14" fmla="*/ 0 h 3438490"/>
              <a:gd name="connsiteX15" fmla="*/ 1801043 w 3421968"/>
              <a:gd name="connsiteY15" fmla="*/ 0 h 3438490"/>
              <a:gd name="connsiteX16" fmla="*/ 1801050 w 3421968"/>
              <a:gd name="connsiteY16" fmla="*/ 0 h 3438490"/>
              <a:gd name="connsiteX17" fmla="*/ 1801060 w 3421968"/>
              <a:gd name="connsiteY17" fmla="*/ 0 h 3438490"/>
              <a:gd name="connsiteX18" fmla="*/ 1841893 w 3421968"/>
              <a:gd name="connsiteY18" fmla="*/ 0 h 3438490"/>
              <a:gd name="connsiteX19" fmla="*/ 2551050 w 3421968"/>
              <a:gd name="connsiteY19" fmla="*/ 0 h 3438490"/>
              <a:gd name="connsiteX20" fmla="*/ 2551562 w 3421968"/>
              <a:gd name="connsiteY20" fmla="*/ 0 h 3438490"/>
              <a:gd name="connsiteX21" fmla="*/ 2551569 w 3421968"/>
              <a:gd name="connsiteY21" fmla="*/ 0 h 3438490"/>
              <a:gd name="connsiteX22" fmla="*/ 2551578 w 3421968"/>
              <a:gd name="connsiteY22" fmla="*/ 0 h 3438490"/>
              <a:gd name="connsiteX23" fmla="*/ 2592411 w 3421968"/>
              <a:gd name="connsiteY23" fmla="*/ 0 h 3438490"/>
              <a:gd name="connsiteX24" fmla="*/ 2592411 w 3421968"/>
              <a:gd name="connsiteY24" fmla="*/ 1958 h 3438490"/>
              <a:gd name="connsiteX25" fmla="*/ 2634501 w 3421968"/>
              <a:gd name="connsiteY25" fmla="*/ 3952 h 3438490"/>
              <a:gd name="connsiteX26" fmla="*/ 2637054 w 3421968"/>
              <a:gd name="connsiteY26" fmla="*/ 4316 h 3438490"/>
              <a:gd name="connsiteX27" fmla="*/ 2640456 w 3421968"/>
              <a:gd name="connsiteY27" fmla="*/ 4488 h 3438490"/>
              <a:gd name="connsiteX28" fmla="*/ 2790212 w 3421968"/>
              <a:gd name="connsiteY28" fmla="*/ 33163 h 3438490"/>
              <a:gd name="connsiteX29" fmla="*/ 2793735 w 3421968"/>
              <a:gd name="connsiteY29" fmla="*/ 34335 h 3438490"/>
              <a:gd name="connsiteX30" fmla="*/ 2794341 w 3421968"/>
              <a:gd name="connsiteY30" fmla="*/ 34481 h 3438490"/>
              <a:gd name="connsiteX31" fmla="*/ 2800387 w 3421968"/>
              <a:gd name="connsiteY31" fmla="*/ 36546 h 3438490"/>
              <a:gd name="connsiteX32" fmla="*/ 2861373 w 3421968"/>
              <a:gd name="connsiteY32" fmla="*/ 56823 h 3438490"/>
              <a:gd name="connsiteX33" fmla="*/ 2867633 w 3421968"/>
              <a:gd name="connsiteY33" fmla="*/ 59526 h 3438490"/>
              <a:gd name="connsiteX34" fmla="*/ 2870011 w 3421968"/>
              <a:gd name="connsiteY34" fmla="*/ 60338 h 3438490"/>
              <a:gd name="connsiteX35" fmla="*/ 2882873 w 3421968"/>
              <a:gd name="connsiteY35" fmla="*/ 66104 h 3438490"/>
              <a:gd name="connsiteX36" fmla="*/ 2929660 w 3421968"/>
              <a:gd name="connsiteY36" fmla="*/ 86302 h 3438490"/>
              <a:gd name="connsiteX37" fmla="*/ 2938392 w 3421968"/>
              <a:gd name="connsiteY37" fmla="*/ 90995 h 3438490"/>
              <a:gd name="connsiteX38" fmla="*/ 2942366 w 3421968"/>
              <a:gd name="connsiteY38" fmla="*/ 92777 h 3438490"/>
              <a:gd name="connsiteX39" fmla="*/ 2956322 w 3421968"/>
              <a:gd name="connsiteY39" fmla="*/ 100633 h 3438490"/>
              <a:gd name="connsiteX40" fmla="*/ 2994777 w 3421968"/>
              <a:gd name="connsiteY40" fmla="*/ 121304 h 3438490"/>
              <a:gd name="connsiteX41" fmla="*/ 3005676 w 3421968"/>
              <a:gd name="connsiteY41" fmla="*/ 128415 h 3438490"/>
              <a:gd name="connsiteX42" fmla="*/ 3011046 w 3421968"/>
              <a:gd name="connsiteY42" fmla="*/ 131437 h 3438490"/>
              <a:gd name="connsiteX43" fmla="*/ 3024334 w 3421968"/>
              <a:gd name="connsiteY43" fmla="*/ 140589 h 3438490"/>
              <a:gd name="connsiteX44" fmla="*/ 3056428 w 3421968"/>
              <a:gd name="connsiteY44" fmla="*/ 161531 h 3438490"/>
              <a:gd name="connsiteX45" fmla="*/ 3069144 w 3421968"/>
              <a:gd name="connsiteY45" fmla="*/ 171451 h 3438490"/>
              <a:gd name="connsiteX46" fmla="*/ 3075690 w 3421968"/>
              <a:gd name="connsiteY46" fmla="*/ 175957 h 3438490"/>
              <a:gd name="connsiteX47" fmla="*/ 3087606 w 3421968"/>
              <a:gd name="connsiteY47" fmla="*/ 185852 h 3438490"/>
              <a:gd name="connsiteX48" fmla="*/ 3114314 w 3421968"/>
              <a:gd name="connsiteY48" fmla="*/ 206688 h 3438490"/>
              <a:gd name="connsiteX49" fmla="*/ 3128462 w 3421968"/>
              <a:gd name="connsiteY49" fmla="*/ 219774 h 3438490"/>
              <a:gd name="connsiteX50" fmla="*/ 3135937 w 3421968"/>
              <a:gd name="connsiteY50" fmla="*/ 225980 h 3438490"/>
              <a:gd name="connsiteX51" fmla="*/ 3146191 w 3421968"/>
              <a:gd name="connsiteY51" fmla="*/ 236171 h 3438490"/>
              <a:gd name="connsiteX52" fmla="*/ 3168141 w 3421968"/>
              <a:gd name="connsiteY52" fmla="*/ 256476 h 3438490"/>
              <a:gd name="connsiteX53" fmla="*/ 3183293 w 3421968"/>
              <a:gd name="connsiteY53" fmla="*/ 273055 h 3438490"/>
              <a:gd name="connsiteX54" fmla="*/ 3191429 w 3421968"/>
              <a:gd name="connsiteY54" fmla="*/ 281142 h 3438490"/>
              <a:gd name="connsiteX55" fmla="*/ 3199926 w 3421968"/>
              <a:gd name="connsiteY55" fmla="*/ 291252 h 3438490"/>
              <a:gd name="connsiteX56" fmla="*/ 3217610 w 3421968"/>
              <a:gd name="connsiteY56" fmla="*/ 310602 h 3438490"/>
              <a:gd name="connsiteX57" fmla="*/ 3233304 w 3421968"/>
              <a:gd name="connsiteY57" fmla="*/ 330971 h 3438490"/>
              <a:gd name="connsiteX58" fmla="*/ 3241804 w 3421968"/>
              <a:gd name="connsiteY58" fmla="*/ 341083 h 3438490"/>
              <a:gd name="connsiteX59" fmla="*/ 3248568 w 3421968"/>
              <a:gd name="connsiteY59" fmla="*/ 350779 h 3438490"/>
              <a:gd name="connsiteX60" fmla="*/ 3262426 w 3421968"/>
              <a:gd name="connsiteY60" fmla="*/ 368765 h 3438490"/>
              <a:gd name="connsiteX61" fmla="*/ 3278169 w 3421968"/>
              <a:gd name="connsiteY61" fmla="*/ 393212 h 3438490"/>
              <a:gd name="connsiteX62" fmla="*/ 3286703 w 3421968"/>
              <a:gd name="connsiteY62" fmla="*/ 405445 h 3438490"/>
              <a:gd name="connsiteX63" fmla="*/ 3291831 w 3421968"/>
              <a:gd name="connsiteY63" fmla="*/ 414427 h 3438490"/>
              <a:gd name="connsiteX64" fmla="*/ 3302291 w 3421968"/>
              <a:gd name="connsiteY64" fmla="*/ 430672 h 3438490"/>
              <a:gd name="connsiteX65" fmla="*/ 3317558 w 3421968"/>
              <a:gd name="connsiteY65" fmla="*/ 459491 h 3438490"/>
              <a:gd name="connsiteX66" fmla="*/ 3325764 w 3421968"/>
              <a:gd name="connsiteY66" fmla="*/ 473866 h 3438490"/>
              <a:gd name="connsiteX67" fmla="*/ 3329409 w 3421968"/>
              <a:gd name="connsiteY67" fmla="*/ 481864 h 3438490"/>
              <a:gd name="connsiteX68" fmla="*/ 3336910 w 3421968"/>
              <a:gd name="connsiteY68" fmla="*/ 496024 h 3438490"/>
              <a:gd name="connsiteX69" fmla="*/ 3351148 w 3421968"/>
              <a:gd name="connsiteY69" fmla="*/ 529569 h 3438490"/>
              <a:gd name="connsiteX70" fmla="*/ 3358630 w 3421968"/>
              <a:gd name="connsiteY70" fmla="*/ 545987 h 3438490"/>
              <a:gd name="connsiteX71" fmla="*/ 3360989 w 3421968"/>
              <a:gd name="connsiteY71" fmla="*/ 552754 h 3438490"/>
              <a:gd name="connsiteX72" fmla="*/ 3365986 w 3421968"/>
              <a:gd name="connsiteY72" fmla="*/ 564525 h 3438490"/>
              <a:gd name="connsiteX73" fmla="*/ 3378616 w 3421968"/>
              <a:gd name="connsiteY73" fmla="*/ 603315 h 3438490"/>
              <a:gd name="connsiteX74" fmla="*/ 3384937 w 3421968"/>
              <a:gd name="connsiteY74" fmla="*/ 621447 h 3438490"/>
              <a:gd name="connsiteX75" fmla="*/ 3386251 w 3421968"/>
              <a:gd name="connsiteY75" fmla="*/ 626765 h 3438490"/>
              <a:gd name="connsiteX76" fmla="*/ 3389219 w 3421968"/>
              <a:gd name="connsiteY76" fmla="*/ 635880 h 3438490"/>
              <a:gd name="connsiteX77" fmla="*/ 3399642 w 3421968"/>
              <a:gd name="connsiteY77" fmla="*/ 680932 h 3438490"/>
              <a:gd name="connsiteX78" fmla="*/ 3404327 w 3421968"/>
              <a:gd name="connsiteY78" fmla="*/ 699885 h 3438490"/>
              <a:gd name="connsiteX79" fmla="*/ 3404875 w 3421968"/>
              <a:gd name="connsiteY79" fmla="*/ 703555 h 3438490"/>
              <a:gd name="connsiteX80" fmla="*/ 3406317 w 3421968"/>
              <a:gd name="connsiteY80" fmla="*/ 709789 h 3438490"/>
              <a:gd name="connsiteX81" fmla="*/ 3413905 w 3421968"/>
              <a:gd name="connsiteY81" fmla="*/ 763987 h 3438490"/>
              <a:gd name="connsiteX82" fmla="*/ 3416438 w 3421968"/>
              <a:gd name="connsiteY82" fmla="*/ 780941 h 3438490"/>
              <a:gd name="connsiteX83" fmla="*/ 3416529 w 3421968"/>
              <a:gd name="connsiteY83" fmla="*/ 782725 h 3438490"/>
              <a:gd name="connsiteX84" fmla="*/ 3416981 w 3421968"/>
              <a:gd name="connsiteY84" fmla="*/ 785957 h 3438490"/>
              <a:gd name="connsiteX85" fmla="*/ 3418760 w 3421968"/>
              <a:gd name="connsiteY85" fmla="*/ 823548 h 3438490"/>
              <a:gd name="connsiteX86" fmla="*/ 3420930 w 3421968"/>
              <a:gd name="connsiteY86" fmla="*/ 823548 h 3438490"/>
              <a:gd name="connsiteX87" fmla="*/ 3420930 w 3421968"/>
              <a:gd name="connsiteY87" fmla="*/ 858205 h 3438490"/>
              <a:gd name="connsiteX88" fmla="*/ 3420930 w 3421968"/>
              <a:gd name="connsiteY88" fmla="*/ 869361 h 3438490"/>
              <a:gd name="connsiteX89" fmla="*/ 3420930 w 3421968"/>
              <a:gd name="connsiteY89" fmla="*/ 869619 h 3438490"/>
              <a:gd name="connsiteX90" fmla="*/ 3420930 w 3421968"/>
              <a:gd name="connsiteY90" fmla="*/ 869620 h 3438490"/>
              <a:gd name="connsiteX91" fmla="*/ 3421968 w 3421968"/>
              <a:gd name="connsiteY91" fmla="*/ 869620 h 3438490"/>
              <a:gd name="connsiteX92" fmla="*/ 3421968 w 3421968"/>
              <a:gd name="connsiteY92" fmla="*/ 983014 h 3438490"/>
              <a:gd name="connsiteX93" fmla="*/ 3421968 w 3421968"/>
              <a:gd name="connsiteY93" fmla="*/ 1036130 h 3438490"/>
              <a:gd name="connsiteX94" fmla="*/ 3421968 w 3421968"/>
              <a:gd name="connsiteY94" fmla="*/ 1093947 h 3438490"/>
              <a:gd name="connsiteX95" fmla="*/ 3421968 w 3421968"/>
              <a:gd name="connsiteY95" fmla="*/ 1130555 h 3438490"/>
              <a:gd name="connsiteX96" fmla="*/ 3421968 w 3421968"/>
              <a:gd name="connsiteY96" fmla="*/ 1143704 h 3438490"/>
              <a:gd name="connsiteX97" fmla="*/ 3421968 w 3421968"/>
              <a:gd name="connsiteY97" fmla="*/ 1189777 h 3438490"/>
              <a:gd name="connsiteX98" fmla="*/ 3421968 w 3421968"/>
              <a:gd name="connsiteY98" fmla="*/ 1207341 h 3438490"/>
              <a:gd name="connsiteX99" fmla="*/ 3421968 w 3421968"/>
              <a:gd name="connsiteY99" fmla="*/ 1260457 h 3438490"/>
              <a:gd name="connsiteX100" fmla="*/ 3421968 w 3421968"/>
              <a:gd name="connsiteY100" fmla="*/ 1354882 h 3438490"/>
              <a:gd name="connsiteX101" fmla="*/ 3421968 w 3421968"/>
              <a:gd name="connsiteY101" fmla="*/ 1368031 h 3438490"/>
              <a:gd name="connsiteX102" fmla="*/ 3421968 w 3421968"/>
              <a:gd name="connsiteY102" fmla="*/ 1414104 h 3438490"/>
              <a:gd name="connsiteX103" fmla="*/ 3420940 w 3421968"/>
              <a:gd name="connsiteY103" fmla="*/ 1414104 h 3438490"/>
              <a:gd name="connsiteX104" fmla="*/ 3420940 w 3421968"/>
              <a:gd name="connsiteY104" fmla="*/ 2013324 h 3438490"/>
              <a:gd name="connsiteX105" fmla="*/ 3420940 w 3421968"/>
              <a:gd name="connsiteY105" fmla="*/ 2237651 h 3438490"/>
              <a:gd name="connsiteX106" fmla="*/ 3418236 w 3421968"/>
              <a:gd name="connsiteY106" fmla="*/ 2237651 h 3438490"/>
              <a:gd name="connsiteX107" fmla="*/ 3418760 w 3421968"/>
              <a:gd name="connsiteY107" fmla="*/ 2248714 h 3438490"/>
              <a:gd name="connsiteX108" fmla="*/ 3420930 w 3421968"/>
              <a:gd name="connsiteY108" fmla="*/ 2248714 h 3438490"/>
              <a:gd name="connsiteX109" fmla="*/ 3420930 w 3421968"/>
              <a:gd name="connsiteY109" fmla="*/ 2283369 h 3438490"/>
              <a:gd name="connsiteX110" fmla="*/ 3420930 w 3421968"/>
              <a:gd name="connsiteY110" fmla="*/ 2294524 h 3438490"/>
              <a:gd name="connsiteX111" fmla="*/ 3420930 w 3421968"/>
              <a:gd name="connsiteY111" fmla="*/ 2294786 h 3438490"/>
              <a:gd name="connsiteX112" fmla="*/ 3421968 w 3421968"/>
              <a:gd name="connsiteY112" fmla="*/ 2294786 h 3438490"/>
              <a:gd name="connsiteX113" fmla="*/ 3421968 w 3421968"/>
              <a:gd name="connsiteY113" fmla="*/ 2307936 h 3438490"/>
              <a:gd name="connsiteX114" fmla="*/ 3421968 w 3421968"/>
              <a:gd name="connsiteY114" fmla="*/ 2402360 h 3438490"/>
              <a:gd name="connsiteX115" fmla="*/ 3421968 w 3421968"/>
              <a:gd name="connsiteY115" fmla="*/ 2455476 h 3438490"/>
              <a:gd name="connsiteX116" fmla="*/ 3421968 w 3421968"/>
              <a:gd name="connsiteY116" fmla="*/ 2568870 h 3438490"/>
              <a:gd name="connsiteX117" fmla="*/ 3421968 w 3421968"/>
              <a:gd name="connsiteY117" fmla="*/ 2614942 h 3438490"/>
              <a:gd name="connsiteX118" fmla="*/ 3420939 w 3421968"/>
              <a:gd name="connsiteY118" fmla="*/ 2614942 h 3438490"/>
              <a:gd name="connsiteX119" fmla="*/ 3420939 w 3421968"/>
              <a:gd name="connsiteY119" fmla="*/ 3438489 h 3438490"/>
              <a:gd name="connsiteX120" fmla="*/ 2670421 w 3421968"/>
              <a:gd name="connsiteY120" fmla="*/ 3438489 h 3438490"/>
              <a:gd name="connsiteX121" fmla="*/ 2552100 w 3421968"/>
              <a:gd name="connsiteY121" fmla="*/ 3438489 h 3438490"/>
              <a:gd name="connsiteX122" fmla="*/ 2551589 w 3421968"/>
              <a:gd name="connsiteY122" fmla="*/ 3438489 h 3438490"/>
              <a:gd name="connsiteX123" fmla="*/ 2551580 w 3421968"/>
              <a:gd name="connsiteY123" fmla="*/ 3438490 h 3438490"/>
              <a:gd name="connsiteX124" fmla="*/ 2551571 w 3421968"/>
              <a:gd name="connsiteY124" fmla="*/ 3438489 h 3438490"/>
              <a:gd name="connsiteX125" fmla="*/ 2510738 w 3421968"/>
              <a:gd name="connsiteY125" fmla="*/ 3438489 h 3438490"/>
              <a:gd name="connsiteX126" fmla="*/ 2490276 w 3421968"/>
              <a:gd name="connsiteY126" fmla="*/ 3438489 h 3438490"/>
              <a:gd name="connsiteX127" fmla="*/ 1801582 w 3421968"/>
              <a:gd name="connsiteY127" fmla="*/ 3438489 h 3438490"/>
              <a:gd name="connsiteX128" fmla="*/ 1801070 w 3421968"/>
              <a:gd name="connsiteY128" fmla="*/ 3438489 h 3438490"/>
              <a:gd name="connsiteX129" fmla="*/ 1801062 w 3421968"/>
              <a:gd name="connsiteY129" fmla="*/ 3438490 h 3438490"/>
              <a:gd name="connsiteX130" fmla="*/ 1801053 w 3421968"/>
              <a:gd name="connsiteY130" fmla="*/ 3438489 h 3438490"/>
              <a:gd name="connsiteX131" fmla="*/ 1760220 w 3421968"/>
              <a:gd name="connsiteY131" fmla="*/ 3438489 h 3438490"/>
              <a:gd name="connsiteX132" fmla="*/ 1739758 w 3421968"/>
              <a:gd name="connsiteY132" fmla="*/ 3438489 h 3438490"/>
              <a:gd name="connsiteX133" fmla="*/ 1621438 w 3421968"/>
              <a:gd name="connsiteY133" fmla="*/ 3438489 h 3438490"/>
              <a:gd name="connsiteX134" fmla="*/ 1620926 w 3421968"/>
              <a:gd name="connsiteY134" fmla="*/ 3438489 h 3438490"/>
              <a:gd name="connsiteX135" fmla="*/ 1620917 w 3421968"/>
              <a:gd name="connsiteY135" fmla="*/ 3438490 h 3438490"/>
              <a:gd name="connsiteX136" fmla="*/ 1620908 w 3421968"/>
              <a:gd name="connsiteY136" fmla="*/ 3438489 h 3438490"/>
              <a:gd name="connsiteX137" fmla="*/ 1580075 w 3421968"/>
              <a:gd name="connsiteY137" fmla="*/ 3438489 h 3438490"/>
              <a:gd name="connsiteX138" fmla="*/ 870919 w 3421968"/>
              <a:gd name="connsiteY138" fmla="*/ 3438489 h 3438490"/>
              <a:gd name="connsiteX139" fmla="*/ 870408 w 3421968"/>
              <a:gd name="connsiteY139" fmla="*/ 3438489 h 3438490"/>
              <a:gd name="connsiteX140" fmla="*/ 870400 w 3421968"/>
              <a:gd name="connsiteY140" fmla="*/ 3438490 h 3438490"/>
              <a:gd name="connsiteX141" fmla="*/ 870390 w 3421968"/>
              <a:gd name="connsiteY141" fmla="*/ 3438489 h 3438490"/>
              <a:gd name="connsiteX142" fmla="*/ 829557 w 3421968"/>
              <a:gd name="connsiteY142" fmla="*/ 3438489 h 3438490"/>
              <a:gd name="connsiteX143" fmla="*/ 829557 w 3421968"/>
              <a:gd name="connsiteY143" fmla="*/ 3436532 h 3438490"/>
              <a:gd name="connsiteX144" fmla="*/ 787467 w 3421968"/>
              <a:gd name="connsiteY144" fmla="*/ 3434538 h 3438490"/>
              <a:gd name="connsiteX145" fmla="*/ 784914 w 3421968"/>
              <a:gd name="connsiteY145" fmla="*/ 3434173 h 3438490"/>
              <a:gd name="connsiteX146" fmla="*/ 781512 w 3421968"/>
              <a:gd name="connsiteY146" fmla="*/ 3434001 h 3438490"/>
              <a:gd name="connsiteX147" fmla="*/ 631756 w 3421968"/>
              <a:gd name="connsiteY147" fmla="*/ 3405326 h 3438490"/>
              <a:gd name="connsiteX148" fmla="*/ 628233 w 3421968"/>
              <a:gd name="connsiteY148" fmla="*/ 3404156 h 3438490"/>
              <a:gd name="connsiteX149" fmla="*/ 627626 w 3421968"/>
              <a:gd name="connsiteY149" fmla="*/ 3404009 h 3438490"/>
              <a:gd name="connsiteX150" fmla="*/ 621581 w 3421968"/>
              <a:gd name="connsiteY150" fmla="*/ 3401944 h 3438490"/>
              <a:gd name="connsiteX151" fmla="*/ 560595 w 3421968"/>
              <a:gd name="connsiteY151" fmla="*/ 3381667 h 3438490"/>
              <a:gd name="connsiteX152" fmla="*/ 554335 w 3421968"/>
              <a:gd name="connsiteY152" fmla="*/ 3378965 h 3438490"/>
              <a:gd name="connsiteX153" fmla="*/ 551956 w 3421968"/>
              <a:gd name="connsiteY153" fmla="*/ 3378152 h 3438490"/>
              <a:gd name="connsiteX154" fmla="*/ 539096 w 3421968"/>
              <a:gd name="connsiteY154" fmla="*/ 3372385 h 3438490"/>
              <a:gd name="connsiteX155" fmla="*/ 492308 w 3421968"/>
              <a:gd name="connsiteY155" fmla="*/ 3352188 h 3438490"/>
              <a:gd name="connsiteX156" fmla="*/ 483576 w 3421968"/>
              <a:gd name="connsiteY156" fmla="*/ 3347496 h 3438490"/>
              <a:gd name="connsiteX157" fmla="*/ 479602 w 3421968"/>
              <a:gd name="connsiteY157" fmla="*/ 3345713 h 3438490"/>
              <a:gd name="connsiteX158" fmla="*/ 465646 w 3421968"/>
              <a:gd name="connsiteY158" fmla="*/ 3337856 h 3438490"/>
              <a:gd name="connsiteX159" fmla="*/ 427191 w 3421968"/>
              <a:gd name="connsiteY159" fmla="*/ 3317186 h 3438490"/>
              <a:gd name="connsiteX160" fmla="*/ 416293 w 3421968"/>
              <a:gd name="connsiteY160" fmla="*/ 3310074 h 3438490"/>
              <a:gd name="connsiteX161" fmla="*/ 410923 w 3421968"/>
              <a:gd name="connsiteY161" fmla="*/ 3307054 h 3438490"/>
              <a:gd name="connsiteX162" fmla="*/ 397634 w 3421968"/>
              <a:gd name="connsiteY162" fmla="*/ 3297901 h 3438490"/>
              <a:gd name="connsiteX163" fmla="*/ 365540 w 3421968"/>
              <a:gd name="connsiteY163" fmla="*/ 3276960 h 3438490"/>
              <a:gd name="connsiteX164" fmla="*/ 352824 w 3421968"/>
              <a:gd name="connsiteY164" fmla="*/ 3267038 h 3438490"/>
              <a:gd name="connsiteX165" fmla="*/ 346279 w 3421968"/>
              <a:gd name="connsiteY165" fmla="*/ 3262532 h 3438490"/>
              <a:gd name="connsiteX166" fmla="*/ 334363 w 3421968"/>
              <a:gd name="connsiteY166" fmla="*/ 3252638 h 3438490"/>
              <a:gd name="connsiteX167" fmla="*/ 307654 w 3421968"/>
              <a:gd name="connsiteY167" fmla="*/ 3231802 h 3438490"/>
              <a:gd name="connsiteX168" fmla="*/ 293506 w 3421968"/>
              <a:gd name="connsiteY168" fmla="*/ 3218717 h 3438490"/>
              <a:gd name="connsiteX169" fmla="*/ 286031 w 3421968"/>
              <a:gd name="connsiteY169" fmla="*/ 3212510 h 3438490"/>
              <a:gd name="connsiteX170" fmla="*/ 275778 w 3421968"/>
              <a:gd name="connsiteY170" fmla="*/ 3202318 h 3438490"/>
              <a:gd name="connsiteX171" fmla="*/ 253827 w 3421968"/>
              <a:gd name="connsiteY171" fmla="*/ 3182013 h 3438490"/>
              <a:gd name="connsiteX172" fmla="*/ 238676 w 3421968"/>
              <a:gd name="connsiteY172" fmla="*/ 3165436 h 3438490"/>
              <a:gd name="connsiteX173" fmla="*/ 230539 w 3421968"/>
              <a:gd name="connsiteY173" fmla="*/ 3157349 h 3438490"/>
              <a:gd name="connsiteX174" fmla="*/ 222041 w 3421968"/>
              <a:gd name="connsiteY174" fmla="*/ 3147238 h 3438490"/>
              <a:gd name="connsiteX175" fmla="*/ 204358 w 3421968"/>
              <a:gd name="connsiteY175" fmla="*/ 3127888 h 3438490"/>
              <a:gd name="connsiteX176" fmla="*/ 188664 w 3421968"/>
              <a:gd name="connsiteY176" fmla="*/ 3107519 h 3438490"/>
              <a:gd name="connsiteX177" fmla="*/ 180164 w 3421968"/>
              <a:gd name="connsiteY177" fmla="*/ 3097407 h 3438490"/>
              <a:gd name="connsiteX178" fmla="*/ 173400 w 3421968"/>
              <a:gd name="connsiteY178" fmla="*/ 3087711 h 3438490"/>
              <a:gd name="connsiteX179" fmla="*/ 159541 w 3421968"/>
              <a:gd name="connsiteY179" fmla="*/ 3069725 h 3438490"/>
              <a:gd name="connsiteX180" fmla="*/ 143800 w 3421968"/>
              <a:gd name="connsiteY180" fmla="*/ 3045278 h 3438490"/>
              <a:gd name="connsiteX181" fmla="*/ 135264 w 3421968"/>
              <a:gd name="connsiteY181" fmla="*/ 3033045 h 3438490"/>
              <a:gd name="connsiteX182" fmla="*/ 130137 w 3421968"/>
              <a:gd name="connsiteY182" fmla="*/ 3024063 h 3438490"/>
              <a:gd name="connsiteX183" fmla="*/ 119676 w 3421968"/>
              <a:gd name="connsiteY183" fmla="*/ 3007818 h 3438490"/>
              <a:gd name="connsiteX184" fmla="*/ 104410 w 3421968"/>
              <a:gd name="connsiteY184" fmla="*/ 2978998 h 3438490"/>
              <a:gd name="connsiteX185" fmla="*/ 96204 w 3421968"/>
              <a:gd name="connsiteY185" fmla="*/ 2964623 h 3438490"/>
              <a:gd name="connsiteX186" fmla="*/ 92559 w 3421968"/>
              <a:gd name="connsiteY186" fmla="*/ 2956626 h 3438490"/>
              <a:gd name="connsiteX187" fmla="*/ 85058 w 3421968"/>
              <a:gd name="connsiteY187" fmla="*/ 2942467 h 3438490"/>
              <a:gd name="connsiteX188" fmla="*/ 70820 w 3421968"/>
              <a:gd name="connsiteY188" fmla="*/ 2908920 h 3438490"/>
              <a:gd name="connsiteX189" fmla="*/ 63338 w 3421968"/>
              <a:gd name="connsiteY189" fmla="*/ 2892502 h 3438490"/>
              <a:gd name="connsiteX190" fmla="*/ 60979 w 3421968"/>
              <a:gd name="connsiteY190" fmla="*/ 2885735 h 3438490"/>
              <a:gd name="connsiteX191" fmla="*/ 55983 w 3421968"/>
              <a:gd name="connsiteY191" fmla="*/ 2873964 h 3438490"/>
              <a:gd name="connsiteX192" fmla="*/ 43352 w 3421968"/>
              <a:gd name="connsiteY192" fmla="*/ 2835175 h 3438490"/>
              <a:gd name="connsiteX193" fmla="*/ 37031 w 3421968"/>
              <a:gd name="connsiteY193" fmla="*/ 2817044 h 3438490"/>
              <a:gd name="connsiteX194" fmla="*/ 35716 w 3421968"/>
              <a:gd name="connsiteY194" fmla="*/ 2811725 h 3438490"/>
              <a:gd name="connsiteX195" fmla="*/ 32748 w 3421968"/>
              <a:gd name="connsiteY195" fmla="*/ 2802610 h 3438490"/>
              <a:gd name="connsiteX196" fmla="*/ 22327 w 3421968"/>
              <a:gd name="connsiteY196" fmla="*/ 2757558 h 3438490"/>
              <a:gd name="connsiteX197" fmla="*/ 17642 w 3421968"/>
              <a:gd name="connsiteY197" fmla="*/ 2738606 h 3438490"/>
              <a:gd name="connsiteX198" fmla="*/ 17093 w 3421968"/>
              <a:gd name="connsiteY198" fmla="*/ 2734935 h 3438490"/>
              <a:gd name="connsiteX199" fmla="*/ 15651 w 3421968"/>
              <a:gd name="connsiteY199" fmla="*/ 2728701 h 3438490"/>
              <a:gd name="connsiteX200" fmla="*/ 8064 w 3421968"/>
              <a:gd name="connsiteY200" fmla="*/ 2674503 h 3438490"/>
              <a:gd name="connsiteX201" fmla="*/ 5530 w 3421968"/>
              <a:gd name="connsiteY201" fmla="*/ 2657550 h 3438490"/>
              <a:gd name="connsiteX202" fmla="*/ 5440 w 3421968"/>
              <a:gd name="connsiteY202" fmla="*/ 2655765 h 3438490"/>
              <a:gd name="connsiteX203" fmla="*/ 4988 w 3421968"/>
              <a:gd name="connsiteY203" fmla="*/ 2652533 h 3438490"/>
              <a:gd name="connsiteX204" fmla="*/ 3208 w 3421968"/>
              <a:gd name="connsiteY204" fmla="*/ 2614942 h 3438490"/>
              <a:gd name="connsiteX205" fmla="*/ 1039 w 3421968"/>
              <a:gd name="connsiteY205" fmla="*/ 2614942 h 3438490"/>
              <a:gd name="connsiteX206" fmla="*/ 1039 w 3421968"/>
              <a:gd name="connsiteY206" fmla="*/ 2580285 h 3438490"/>
              <a:gd name="connsiteX207" fmla="*/ 1039 w 3421968"/>
              <a:gd name="connsiteY207" fmla="*/ 2569130 h 3438490"/>
              <a:gd name="connsiteX208" fmla="*/ 1039 w 3421968"/>
              <a:gd name="connsiteY208" fmla="*/ 2568870 h 3438490"/>
              <a:gd name="connsiteX209" fmla="*/ 0 w 3421968"/>
              <a:gd name="connsiteY209" fmla="*/ 2568870 h 3438490"/>
              <a:gd name="connsiteX210" fmla="*/ 0 w 3421968"/>
              <a:gd name="connsiteY210" fmla="*/ 2455476 h 3438490"/>
              <a:gd name="connsiteX211" fmla="*/ 0 w 3421968"/>
              <a:gd name="connsiteY211" fmla="*/ 2402360 h 3438490"/>
              <a:gd name="connsiteX212" fmla="*/ 0 w 3421968"/>
              <a:gd name="connsiteY212" fmla="*/ 2307936 h 3438490"/>
              <a:gd name="connsiteX213" fmla="*/ 0 w 3421968"/>
              <a:gd name="connsiteY213" fmla="*/ 2294786 h 3438490"/>
              <a:gd name="connsiteX214" fmla="*/ 0 w 3421968"/>
              <a:gd name="connsiteY214" fmla="*/ 2248714 h 3438490"/>
              <a:gd name="connsiteX215" fmla="*/ 1028 w 3421968"/>
              <a:gd name="connsiteY215" fmla="*/ 2248714 h 3438490"/>
              <a:gd name="connsiteX216" fmla="*/ 1028 w 3421968"/>
              <a:gd name="connsiteY216" fmla="*/ 2231154 h 3438490"/>
              <a:gd name="connsiteX217" fmla="*/ 751546 w 3421968"/>
              <a:gd name="connsiteY217" fmla="*/ 2231154 h 3438490"/>
              <a:gd name="connsiteX218" fmla="*/ 771021 w 3421968"/>
              <a:gd name="connsiteY218" fmla="*/ 2231154 h 3438490"/>
              <a:gd name="connsiteX219" fmla="*/ 631756 w 3421968"/>
              <a:gd name="connsiteY219" fmla="*/ 2204488 h 3438490"/>
              <a:gd name="connsiteX220" fmla="*/ 628233 w 3421968"/>
              <a:gd name="connsiteY220" fmla="*/ 2203317 h 3438490"/>
              <a:gd name="connsiteX221" fmla="*/ 627626 w 3421968"/>
              <a:gd name="connsiteY221" fmla="*/ 2203170 h 3438490"/>
              <a:gd name="connsiteX222" fmla="*/ 621582 w 3421968"/>
              <a:gd name="connsiteY222" fmla="*/ 2201104 h 3438490"/>
              <a:gd name="connsiteX223" fmla="*/ 560595 w 3421968"/>
              <a:gd name="connsiteY223" fmla="*/ 2180828 h 3438490"/>
              <a:gd name="connsiteX224" fmla="*/ 554335 w 3421968"/>
              <a:gd name="connsiteY224" fmla="*/ 2178125 h 3438490"/>
              <a:gd name="connsiteX225" fmla="*/ 551956 w 3421968"/>
              <a:gd name="connsiteY225" fmla="*/ 2177313 h 3438490"/>
              <a:gd name="connsiteX226" fmla="*/ 539096 w 3421968"/>
              <a:gd name="connsiteY226" fmla="*/ 2171547 h 3438490"/>
              <a:gd name="connsiteX227" fmla="*/ 492308 w 3421968"/>
              <a:gd name="connsiteY227" fmla="*/ 2151350 h 3438490"/>
              <a:gd name="connsiteX228" fmla="*/ 483576 w 3421968"/>
              <a:gd name="connsiteY228" fmla="*/ 2146656 h 3438490"/>
              <a:gd name="connsiteX229" fmla="*/ 479602 w 3421968"/>
              <a:gd name="connsiteY229" fmla="*/ 2144873 h 3438490"/>
              <a:gd name="connsiteX230" fmla="*/ 465646 w 3421968"/>
              <a:gd name="connsiteY230" fmla="*/ 2137018 h 3438490"/>
              <a:gd name="connsiteX231" fmla="*/ 427191 w 3421968"/>
              <a:gd name="connsiteY231" fmla="*/ 2116347 h 3438490"/>
              <a:gd name="connsiteX232" fmla="*/ 416293 w 3421968"/>
              <a:gd name="connsiteY232" fmla="*/ 2109236 h 3438490"/>
              <a:gd name="connsiteX233" fmla="*/ 410923 w 3421968"/>
              <a:gd name="connsiteY233" fmla="*/ 2106214 h 3438490"/>
              <a:gd name="connsiteX234" fmla="*/ 397634 w 3421968"/>
              <a:gd name="connsiteY234" fmla="*/ 2097063 h 3438490"/>
              <a:gd name="connsiteX235" fmla="*/ 365540 w 3421968"/>
              <a:gd name="connsiteY235" fmla="*/ 2076120 h 3438490"/>
              <a:gd name="connsiteX236" fmla="*/ 352824 w 3421968"/>
              <a:gd name="connsiteY236" fmla="*/ 2066200 h 3438490"/>
              <a:gd name="connsiteX237" fmla="*/ 346279 w 3421968"/>
              <a:gd name="connsiteY237" fmla="*/ 2061693 h 3438490"/>
              <a:gd name="connsiteX238" fmla="*/ 334363 w 3421968"/>
              <a:gd name="connsiteY238" fmla="*/ 2051798 h 3438490"/>
              <a:gd name="connsiteX239" fmla="*/ 307654 w 3421968"/>
              <a:gd name="connsiteY239" fmla="*/ 2030964 h 3438490"/>
              <a:gd name="connsiteX240" fmla="*/ 293506 w 3421968"/>
              <a:gd name="connsiteY240" fmla="*/ 2017878 h 3438490"/>
              <a:gd name="connsiteX241" fmla="*/ 286031 w 3421968"/>
              <a:gd name="connsiteY241" fmla="*/ 2011671 h 3438490"/>
              <a:gd name="connsiteX242" fmla="*/ 275778 w 3421968"/>
              <a:gd name="connsiteY242" fmla="*/ 2001479 h 3438490"/>
              <a:gd name="connsiteX243" fmla="*/ 253827 w 3421968"/>
              <a:gd name="connsiteY243" fmla="*/ 1981175 h 3438490"/>
              <a:gd name="connsiteX244" fmla="*/ 238676 w 3421968"/>
              <a:gd name="connsiteY244" fmla="*/ 1964597 h 3438490"/>
              <a:gd name="connsiteX245" fmla="*/ 230539 w 3421968"/>
              <a:gd name="connsiteY245" fmla="*/ 1956509 h 3438490"/>
              <a:gd name="connsiteX246" fmla="*/ 222041 w 3421968"/>
              <a:gd name="connsiteY246" fmla="*/ 1946399 h 3438490"/>
              <a:gd name="connsiteX247" fmla="*/ 204358 w 3421968"/>
              <a:gd name="connsiteY247" fmla="*/ 1927050 h 3438490"/>
              <a:gd name="connsiteX248" fmla="*/ 188664 w 3421968"/>
              <a:gd name="connsiteY248" fmla="*/ 1906681 h 3438490"/>
              <a:gd name="connsiteX249" fmla="*/ 180164 w 3421968"/>
              <a:gd name="connsiteY249" fmla="*/ 1896567 h 3438490"/>
              <a:gd name="connsiteX250" fmla="*/ 173400 w 3421968"/>
              <a:gd name="connsiteY250" fmla="*/ 1886871 h 3438490"/>
              <a:gd name="connsiteX251" fmla="*/ 159541 w 3421968"/>
              <a:gd name="connsiteY251" fmla="*/ 1868886 h 3438490"/>
              <a:gd name="connsiteX252" fmla="*/ 143800 w 3421968"/>
              <a:gd name="connsiteY252" fmla="*/ 1844439 h 3438490"/>
              <a:gd name="connsiteX253" fmla="*/ 135265 w 3421968"/>
              <a:gd name="connsiteY253" fmla="*/ 1832206 h 3438490"/>
              <a:gd name="connsiteX254" fmla="*/ 130138 w 3421968"/>
              <a:gd name="connsiteY254" fmla="*/ 1823225 h 3438490"/>
              <a:gd name="connsiteX255" fmla="*/ 119676 w 3421968"/>
              <a:gd name="connsiteY255" fmla="*/ 1806980 h 3438490"/>
              <a:gd name="connsiteX256" fmla="*/ 104411 w 3421968"/>
              <a:gd name="connsiteY256" fmla="*/ 1778160 h 3438490"/>
              <a:gd name="connsiteX257" fmla="*/ 96204 w 3421968"/>
              <a:gd name="connsiteY257" fmla="*/ 1763784 h 3438490"/>
              <a:gd name="connsiteX258" fmla="*/ 92559 w 3421968"/>
              <a:gd name="connsiteY258" fmla="*/ 1755787 h 3438490"/>
              <a:gd name="connsiteX259" fmla="*/ 85058 w 3421968"/>
              <a:gd name="connsiteY259" fmla="*/ 1741627 h 3438490"/>
              <a:gd name="connsiteX260" fmla="*/ 70820 w 3421968"/>
              <a:gd name="connsiteY260" fmla="*/ 1708082 h 3438490"/>
              <a:gd name="connsiteX261" fmla="*/ 63338 w 3421968"/>
              <a:gd name="connsiteY261" fmla="*/ 1691664 h 3438490"/>
              <a:gd name="connsiteX262" fmla="*/ 60979 w 3421968"/>
              <a:gd name="connsiteY262" fmla="*/ 1684897 h 3438490"/>
              <a:gd name="connsiteX263" fmla="*/ 55983 w 3421968"/>
              <a:gd name="connsiteY263" fmla="*/ 1673126 h 3438490"/>
              <a:gd name="connsiteX264" fmla="*/ 43353 w 3421968"/>
              <a:gd name="connsiteY264" fmla="*/ 1634336 h 3438490"/>
              <a:gd name="connsiteX265" fmla="*/ 37031 w 3421968"/>
              <a:gd name="connsiteY265" fmla="*/ 1616205 h 3438490"/>
              <a:gd name="connsiteX266" fmla="*/ 35716 w 3421968"/>
              <a:gd name="connsiteY266" fmla="*/ 1610886 h 3438490"/>
              <a:gd name="connsiteX267" fmla="*/ 32748 w 3421968"/>
              <a:gd name="connsiteY267" fmla="*/ 1601772 h 3438490"/>
              <a:gd name="connsiteX268" fmla="*/ 22327 w 3421968"/>
              <a:gd name="connsiteY268" fmla="*/ 1556719 h 3438490"/>
              <a:gd name="connsiteX269" fmla="*/ 17642 w 3421968"/>
              <a:gd name="connsiteY269" fmla="*/ 1537767 h 3438490"/>
              <a:gd name="connsiteX270" fmla="*/ 17093 w 3421968"/>
              <a:gd name="connsiteY270" fmla="*/ 1534095 h 3438490"/>
              <a:gd name="connsiteX271" fmla="*/ 15651 w 3421968"/>
              <a:gd name="connsiteY271" fmla="*/ 1527861 h 3438490"/>
              <a:gd name="connsiteX272" fmla="*/ 8064 w 3421968"/>
              <a:gd name="connsiteY272" fmla="*/ 1473664 h 3438490"/>
              <a:gd name="connsiteX273" fmla="*/ 5531 w 3421968"/>
              <a:gd name="connsiteY273" fmla="*/ 1456711 h 3438490"/>
              <a:gd name="connsiteX274" fmla="*/ 5440 w 3421968"/>
              <a:gd name="connsiteY274" fmla="*/ 1454926 h 3438490"/>
              <a:gd name="connsiteX275" fmla="*/ 4988 w 3421968"/>
              <a:gd name="connsiteY275" fmla="*/ 1451693 h 3438490"/>
              <a:gd name="connsiteX276" fmla="*/ 3208 w 3421968"/>
              <a:gd name="connsiteY276" fmla="*/ 1414104 h 3438490"/>
              <a:gd name="connsiteX277" fmla="*/ 1039 w 3421968"/>
              <a:gd name="connsiteY277" fmla="*/ 1414104 h 3438490"/>
              <a:gd name="connsiteX278" fmla="*/ 1039 w 3421968"/>
              <a:gd name="connsiteY278" fmla="*/ 1379448 h 3438490"/>
              <a:gd name="connsiteX279" fmla="*/ 1039 w 3421968"/>
              <a:gd name="connsiteY279" fmla="*/ 1368291 h 3438490"/>
              <a:gd name="connsiteX280" fmla="*/ 1039 w 3421968"/>
              <a:gd name="connsiteY280" fmla="*/ 1368031 h 3438490"/>
              <a:gd name="connsiteX281" fmla="*/ 0 w 3421968"/>
              <a:gd name="connsiteY281" fmla="*/ 1368031 h 3438490"/>
              <a:gd name="connsiteX282" fmla="*/ 0 w 3421968"/>
              <a:gd name="connsiteY282" fmla="*/ 1354882 h 3438490"/>
              <a:gd name="connsiteX283" fmla="*/ 0 w 3421968"/>
              <a:gd name="connsiteY283" fmla="*/ 1260457 h 3438490"/>
              <a:gd name="connsiteX284" fmla="*/ 0 w 3421968"/>
              <a:gd name="connsiteY284" fmla="*/ 1207341 h 3438490"/>
              <a:gd name="connsiteX285" fmla="*/ 0 w 3421968"/>
              <a:gd name="connsiteY285" fmla="*/ 1143704 h 3438490"/>
              <a:gd name="connsiteX286" fmla="*/ 0 w 3421968"/>
              <a:gd name="connsiteY286" fmla="*/ 1130555 h 3438490"/>
              <a:gd name="connsiteX287" fmla="*/ 0 w 3421968"/>
              <a:gd name="connsiteY287" fmla="*/ 1093946 h 3438490"/>
              <a:gd name="connsiteX288" fmla="*/ 0 w 3421968"/>
              <a:gd name="connsiteY288" fmla="*/ 1047875 h 3438490"/>
              <a:gd name="connsiteX289" fmla="*/ 0 w 3421968"/>
              <a:gd name="connsiteY289" fmla="*/ 1036130 h 3438490"/>
              <a:gd name="connsiteX290" fmla="*/ 0 w 3421968"/>
              <a:gd name="connsiteY290" fmla="*/ 983014 h 3438490"/>
              <a:gd name="connsiteX291" fmla="*/ 0 w 3421968"/>
              <a:gd name="connsiteY291" fmla="*/ 869619 h 3438490"/>
              <a:gd name="connsiteX292" fmla="*/ 0 w 3421968"/>
              <a:gd name="connsiteY292" fmla="*/ 823548 h 3438490"/>
              <a:gd name="connsiteX293" fmla="*/ 1029 w 3421968"/>
              <a:gd name="connsiteY293" fmla="*/ 823548 h 3438490"/>
              <a:gd name="connsiteX294" fmla="*/ 1029 w 3421968"/>
              <a:gd name="connsiteY294" fmla="*/ 224327 h 343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</a:cxnLst>
            <a:rect l="l" t="t" r="r" b="b"/>
            <a:pathLst>
              <a:path w="3421968" h="3438490">
                <a:moveTo>
                  <a:pt x="1029" y="0"/>
                </a:moveTo>
                <a:lnTo>
                  <a:pt x="751547" y="0"/>
                </a:lnTo>
                <a:lnTo>
                  <a:pt x="869868" y="0"/>
                </a:lnTo>
                <a:lnTo>
                  <a:pt x="870380" y="0"/>
                </a:lnTo>
                <a:lnTo>
                  <a:pt x="870388" y="0"/>
                </a:lnTo>
                <a:lnTo>
                  <a:pt x="870397" y="0"/>
                </a:lnTo>
                <a:lnTo>
                  <a:pt x="911231" y="0"/>
                </a:lnTo>
                <a:lnTo>
                  <a:pt x="931692" y="0"/>
                </a:lnTo>
                <a:lnTo>
                  <a:pt x="1620386" y="0"/>
                </a:lnTo>
                <a:lnTo>
                  <a:pt x="1620899" y="0"/>
                </a:lnTo>
                <a:lnTo>
                  <a:pt x="1620906" y="0"/>
                </a:lnTo>
                <a:lnTo>
                  <a:pt x="1620915" y="0"/>
                </a:lnTo>
                <a:lnTo>
                  <a:pt x="1661749" y="0"/>
                </a:lnTo>
                <a:lnTo>
                  <a:pt x="1682210" y="0"/>
                </a:lnTo>
                <a:lnTo>
                  <a:pt x="1800530" y="0"/>
                </a:lnTo>
                <a:lnTo>
                  <a:pt x="1801043" y="0"/>
                </a:lnTo>
                <a:lnTo>
                  <a:pt x="1801050" y="0"/>
                </a:lnTo>
                <a:lnTo>
                  <a:pt x="1801060" y="0"/>
                </a:lnTo>
                <a:lnTo>
                  <a:pt x="1841893" y="0"/>
                </a:lnTo>
                <a:lnTo>
                  <a:pt x="2551050" y="0"/>
                </a:lnTo>
                <a:lnTo>
                  <a:pt x="2551562" y="0"/>
                </a:lnTo>
                <a:lnTo>
                  <a:pt x="2551569" y="0"/>
                </a:lnTo>
                <a:lnTo>
                  <a:pt x="2551578" y="0"/>
                </a:lnTo>
                <a:lnTo>
                  <a:pt x="2592411" y="0"/>
                </a:lnTo>
                <a:lnTo>
                  <a:pt x="2592411" y="1958"/>
                </a:lnTo>
                <a:lnTo>
                  <a:pt x="2634501" y="3952"/>
                </a:lnTo>
                <a:lnTo>
                  <a:pt x="2637054" y="4316"/>
                </a:lnTo>
                <a:lnTo>
                  <a:pt x="2640456" y="4488"/>
                </a:lnTo>
                <a:cubicBezTo>
                  <a:pt x="2691829" y="9705"/>
                  <a:pt x="2741879" y="19395"/>
                  <a:pt x="2790212" y="33163"/>
                </a:cubicBezTo>
                <a:lnTo>
                  <a:pt x="2793735" y="34335"/>
                </a:lnTo>
                <a:lnTo>
                  <a:pt x="2794341" y="34481"/>
                </a:lnTo>
                <a:lnTo>
                  <a:pt x="2800387" y="36546"/>
                </a:lnTo>
                <a:lnTo>
                  <a:pt x="2861373" y="56823"/>
                </a:lnTo>
                <a:lnTo>
                  <a:pt x="2867633" y="59526"/>
                </a:lnTo>
                <a:lnTo>
                  <a:pt x="2870011" y="60338"/>
                </a:lnTo>
                <a:lnTo>
                  <a:pt x="2882873" y="66104"/>
                </a:lnTo>
                <a:lnTo>
                  <a:pt x="2929660" y="86302"/>
                </a:lnTo>
                <a:lnTo>
                  <a:pt x="2938392" y="90995"/>
                </a:lnTo>
                <a:lnTo>
                  <a:pt x="2942366" y="92777"/>
                </a:lnTo>
                <a:lnTo>
                  <a:pt x="2956322" y="100633"/>
                </a:lnTo>
                <a:lnTo>
                  <a:pt x="2994777" y="121304"/>
                </a:lnTo>
                <a:lnTo>
                  <a:pt x="3005676" y="128415"/>
                </a:lnTo>
                <a:lnTo>
                  <a:pt x="3011046" y="131437"/>
                </a:lnTo>
                <a:lnTo>
                  <a:pt x="3024334" y="140589"/>
                </a:lnTo>
                <a:lnTo>
                  <a:pt x="3056428" y="161531"/>
                </a:lnTo>
                <a:lnTo>
                  <a:pt x="3069144" y="171451"/>
                </a:lnTo>
                <a:lnTo>
                  <a:pt x="3075690" y="175957"/>
                </a:lnTo>
                <a:lnTo>
                  <a:pt x="3087606" y="185852"/>
                </a:lnTo>
                <a:lnTo>
                  <a:pt x="3114314" y="206688"/>
                </a:lnTo>
                <a:lnTo>
                  <a:pt x="3128462" y="219774"/>
                </a:lnTo>
                <a:lnTo>
                  <a:pt x="3135937" y="225980"/>
                </a:lnTo>
                <a:lnTo>
                  <a:pt x="3146191" y="236171"/>
                </a:lnTo>
                <a:lnTo>
                  <a:pt x="3168141" y="256476"/>
                </a:lnTo>
                <a:lnTo>
                  <a:pt x="3183293" y="273055"/>
                </a:lnTo>
                <a:lnTo>
                  <a:pt x="3191429" y="281142"/>
                </a:lnTo>
                <a:lnTo>
                  <a:pt x="3199926" y="291252"/>
                </a:lnTo>
                <a:lnTo>
                  <a:pt x="3217610" y="310602"/>
                </a:lnTo>
                <a:lnTo>
                  <a:pt x="3233304" y="330971"/>
                </a:lnTo>
                <a:lnTo>
                  <a:pt x="3241804" y="341083"/>
                </a:lnTo>
                <a:lnTo>
                  <a:pt x="3248568" y="350779"/>
                </a:lnTo>
                <a:lnTo>
                  <a:pt x="3262426" y="368765"/>
                </a:lnTo>
                <a:lnTo>
                  <a:pt x="3278169" y="393212"/>
                </a:lnTo>
                <a:lnTo>
                  <a:pt x="3286703" y="405445"/>
                </a:lnTo>
                <a:lnTo>
                  <a:pt x="3291831" y="414427"/>
                </a:lnTo>
                <a:lnTo>
                  <a:pt x="3302291" y="430672"/>
                </a:lnTo>
                <a:lnTo>
                  <a:pt x="3317558" y="459491"/>
                </a:lnTo>
                <a:lnTo>
                  <a:pt x="3325764" y="473866"/>
                </a:lnTo>
                <a:lnTo>
                  <a:pt x="3329409" y="481864"/>
                </a:lnTo>
                <a:lnTo>
                  <a:pt x="3336910" y="496024"/>
                </a:lnTo>
                <a:lnTo>
                  <a:pt x="3351148" y="529569"/>
                </a:lnTo>
                <a:lnTo>
                  <a:pt x="3358630" y="545987"/>
                </a:lnTo>
                <a:lnTo>
                  <a:pt x="3360989" y="552754"/>
                </a:lnTo>
                <a:lnTo>
                  <a:pt x="3365986" y="564525"/>
                </a:lnTo>
                <a:lnTo>
                  <a:pt x="3378616" y="603315"/>
                </a:lnTo>
                <a:lnTo>
                  <a:pt x="3384937" y="621447"/>
                </a:lnTo>
                <a:lnTo>
                  <a:pt x="3386251" y="626765"/>
                </a:lnTo>
                <a:lnTo>
                  <a:pt x="3389219" y="635880"/>
                </a:lnTo>
                <a:lnTo>
                  <a:pt x="3399642" y="680932"/>
                </a:lnTo>
                <a:lnTo>
                  <a:pt x="3404327" y="699885"/>
                </a:lnTo>
                <a:lnTo>
                  <a:pt x="3404875" y="703555"/>
                </a:lnTo>
                <a:lnTo>
                  <a:pt x="3406317" y="709789"/>
                </a:lnTo>
                <a:lnTo>
                  <a:pt x="3413905" y="763987"/>
                </a:lnTo>
                <a:lnTo>
                  <a:pt x="3416438" y="780941"/>
                </a:lnTo>
                <a:lnTo>
                  <a:pt x="3416529" y="782725"/>
                </a:lnTo>
                <a:lnTo>
                  <a:pt x="3416981" y="785957"/>
                </a:lnTo>
                <a:lnTo>
                  <a:pt x="3418760" y="823548"/>
                </a:lnTo>
                <a:lnTo>
                  <a:pt x="3420930" y="823548"/>
                </a:lnTo>
                <a:lnTo>
                  <a:pt x="3420930" y="858205"/>
                </a:lnTo>
                <a:lnTo>
                  <a:pt x="3420930" y="869361"/>
                </a:lnTo>
                <a:lnTo>
                  <a:pt x="3420930" y="869619"/>
                </a:lnTo>
                <a:lnTo>
                  <a:pt x="3420930" y="869620"/>
                </a:lnTo>
                <a:lnTo>
                  <a:pt x="3421968" y="869620"/>
                </a:lnTo>
                <a:lnTo>
                  <a:pt x="3421968" y="983014"/>
                </a:lnTo>
                <a:lnTo>
                  <a:pt x="3421968" y="1036130"/>
                </a:lnTo>
                <a:lnTo>
                  <a:pt x="3421968" y="1093947"/>
                </a:lnTo>
                <a:lnTo>
                  <a:pt x="3421968" y="1130555"/>
                </a:lnTo>
                <a:lnTo>
                  <a:pt x="3421968" y="1143704"/>
                </a:lnTo>
                <a:lnTo>
                  <a:pt x="3421968" y="1189777"/>
                </a:lnTo>
                <a:lnTo>
                  <a:pt x="3421968" y="1207341"/>
                </a:lnTo>
                <a:lnTo>
                  <a:pt x="3421968" y="1260457"/>
                </a:lnTo>
                <a:lnTo>
                  <a:pt x="3421968" y="1354882"/>
                </a:lnTo>
                <a:lnTo>
                  <a:pt x="3421968" y="1368031"/>
                </a:lnTo>
                <a:lnTo>
                  <a:pt x="3421968" y="1414104"/>
                </a:lnTo>
                <a:lnTo>
                  <a:pt x="3420940" y="1414104"/>
                </a:lnTo>
                <a:lnTo>
                  <a:pt x="3420940" y="2013324"/>
                </a:lnTo>
                <a:lnTo>
                  <a:pt x="3420940" y="2237651"/>
                </a:lnTo>
                <a:lnTo>
                  <a:pt x="3418236" y="2237651"/>
                </a:lnTo>
                <a:lnTo>
                  <a:pt x="3418760" y="2248714"/>
                </a:lnTo>
                <a:lnTo>
                  <a:pt x="3420930" y="2248714"/>
                </a:lnTo>
                <a:lnTo>
                  <a:pt x="3420930" y="2283369"/>
                </a:lnTo>
                <a:lnTo>
                  <a:pt x="3420930" y="2294524"/>
                </a:lnTo>
                <a:lnTo>
                  <a:pt x="3420930" y="2294786"/>
                </a:lnTo>
                <a:lnTo>
                  <a:pt x="3421968" y="2294786"/>
                </a:lnTo>
                <a:lnTo>
                  <a:pt x="3421968" y="2307936"/>
                </a:lnTo>
                <a:lnTo>
                  <a:pt x="3421968" y="2402360"/>
                </a:lnTo>
                <a:lnTo>
                  <a:pt x="3421968" y="2455476"/>
                </a:lnTo>
                <a:lnTo>
                  <a:pt x="3421968" y="2568870"/>
                </a:lnTo>
                <a:lnTo>
                  <a:pt x="3421968" y="2614942"/>
                </a:lnTo>
                <a:lnTo>
                  <a:pt x="3420939" y="2614942"/>
                </a:lnTo>
                <a:lnTo>
                  <a:pt x="3420939" y="3438489"/>
                </a:lnTo>
                <a:lnTo>
                  <a:pt x="2670421" y="3438489"/>
                </a:lnTo>
                <a:lnTo>
                  <a:pt x="2552100" y="3438489"/>
                </a:lnTo>
                <a:lnTo>
                  <a:pt x="2551589" y="3438489"/>
                </a:lnTo>
                <a:lnTo>
                  <a:pt x="2551580" y="3438490"/>
                </a:lnTo>
                <a:lnTo>
                  <a:pt x="2551571" y="3438489"/>
                </a:lnTo>
                <a:lnTo>
                  <a:pt x="2510738" y="3438489"/>
                </a:lnTo>
                <a:lnTo>
                  <a:pt x="2490276" y="3438489"/>
                </a:lnTo>
                <a:lnTo>
                  <a:pt x="1801582" y="3438489"/>
                </a:lnTo>
                <a:lnTo>
                  <a:pt x="1801070" y="3438489"/>
                </a:lnTo>
                <a:lnTo>
                  <a:pt x="1801062" y="3438490"/>
                </a:lnTo>
                <a:lnTo>
                  <a:pt x="1801053" y="3438489"/>
                </a:lnTo>
                <a:lnTo>
                  <a:pt x="1760220" y="3438489"/>
                </a:lnTo>
                <a:lnTo>
                  <a:pt x="1739758" y="3438489"/>
                </a:lnTo>
                <a:lnTo>
                  <a:pt x="1621438" y="3438489"/>
                </a:lnTo>
                <a:lnTo>
                  <a:pt x="1620926" y="3438489"/>
                </a:lnTo>
                <a:lnTo>
                  <a:pt x="1620917" y="3438490"/>
                </a:lnTo>
                <a:lnTo>
                  <a:pt x="1620908" y="3438489"/>
                </a:lnTo>
                <a:lnTo>
                  <a:pt x="1580075" y="3438489"/>
                </a:lnTo>
                <a:lnTo>
                  <a:pt x="870919" y="3438489"/>
                </a:lnTo>
                <a:lnTo>
                  <a:pt x="870408" y="3438489"/>
                </a:lnTo>
                <a:lnTo>
                  <a:pt x="870400" y="3438490"/>
                </a:lnTo>
                <a:lnTo>
                  <a:pt x="870390" y="3438489"/>
                </a:lnTo>
                <a:lnTo>
                  <a:pt x="829557" y="3438489"/>
                </a:lnTo>
                <a:lnTo>
                  <a:pt x="829557" y="3436532"/>
                </a:lnTo>
                <a:lnTo>
                  <a:pt x="787467" y="3434538"/>
                </a:lnTo>
                <a:lnTo>
                  <a:pt x="784914" y="3434173"/>
                </a:lnTo>
                <a:lnTo>
                  <a:pt x="781512" y="3434001"/>
                </a:lnTo>
                <a:cubicBezTo>
                  <a:pt x="730139" y="3428784"/>
                  <a:pt x="680090" y="3419094"/>
                  <a:pt x="631756" y="3405326"/>
                </a:cubicBezTo>
                <a:lnTo>
                  <a:pt x="628233" y="3404156"/>
                </a:lnTo>
                <a:lnTo>
                  <a:pt x="627626" y="3404009"/>
                </a:lnTo>
                <a:lnTo>
                  <a:pt x="621581" y="3401944"/>
                </a:lnTo>
                <a:lnTo>
                  <a:pt x="560595" y="3381667"/>
                </a:lnTo>
                <a:lnTo>
                  <a:pt x="554335" y="3378965"/>
                </a:lnTo>
                <a:lnTo>
                  <a:pt x="551956" y="3378152"/>
                </a:lnTo>
                <a:lnTo>
                  <a:pt x="539096" y="3372385"/>
                </a:lnTo>
                <a:lnTo>
                  <a:pt x="492308" y="3352188"/>
                </a:lnTo>
                <a:lnTo>
                  <a:pt x="483576" y="3347496"/>
                </a:lnTo>
                <a:lnTo>
                  <a:pt x="479602" y="3345713"/>
                </a:lnTo>
                <a:lnTo>
                  <a:pt x="465646" y="3337856"/>
                </a:lnTo>
                <a:lnTo>
                  <a:pt x="427191" y="3317186"/>
                </a:lnTo>
                <a:lnTo>
                  <a:pt x="416293" y="3310074"/>
                </a:lnTo>
                <a:lnTo>
                  <a:pt x="410923" y="3307054"/>
                </a:lnTo>
                <a:lnTo>
                  <a:pt x="397634" y="3297901"/>
                </a:lnTo>
                <a:lnTo>
                  <a:pt x="365540" y="3276960"/>
                </a:lnTo>
                <a:lnTo>
                  <a:pt x="352824" y="3267038"/>
                </a:lnTo>
                <a:lnTo>
                  <a:pt x="346279" y="3262532"/>
                </a:lnTo>
                <a:lnTo>
                  <a:pt x="334363" y="3252638"/>
                </a:lnTo>
                <a:lnTo>
                  <a:pt x="307654" y="3231802"/>
                </a:lnTo>
                <a:lnTo>
                  <a:pt x="293506" y="3218717"/>
                </a:lnTo>
                <a:lnTo>
                  <a:pt x="286031" y="3212510"/>
                </a:lnTo>
                <a:lnTo>
                  <a:pt x="275778" y="3202318"/>
                </a:lnTo>
                <a:lnTo>
                  <a:pt x="253827" y="3182013"/>
                </a:lnTo>
                <a:lnTo>
                  <a:pt x="238676" y="3165436"/>
                </a:lnTo>
                <a:lnTo>
                  <a:pt x="230539" y="3157349"/>
                </a:lnTo>
                <a:lnTo>
                  <a:pt x="222041" y="3147238"/>
                </a:lnTo>
                <a:lnTo>
                  <a:pt x="204358" y="3127888"/>
                </a:lnTo>
                <a:lnTo>
                  <a:pt x="188664" y="3107519"/>
                </a:lnTo>
                <a:lnTo>
                  <a:pt x="180164" y="3097407"/>
                </a:lnTo>
                <a:lnTo>
                  <a:pt x="173400" y="3087711"/>
                </a:lnTo>
                <a:lnTo>
                  <a:pt x="159541" y="3069725"/>
                </a:lnTo>
                <a:lnTo>
                  <a:pt x="143800" y="3045278"/>
                </a:lnTo>
                <a:lnTo>
                  <a:pt x="135264" y="3033045"/>
                </a:lnTo>
                <a:lnTo>
                  <a:pt x="130137" y="3024063"/>
                </a:lnTo>
                <a:lnTo>
                  <a:pt x="119676" y="3007818"/>
                </a:lnTo>
                <a:lnTo>
                  <a:pt x="104410" y="2978998"/>
                </a:lnTo>
                <a:lnTo>
                  <a:pt x="96204" y="2964623"/>
                </a:lnTo>
                <a:lnTo>
                  <a:pt x="92559" y="2956626"/>
                </a:lnTo>
                <a:lnTo>
                  <a:pt x="85058" y="2942467"/>
                </a:lnTo>
                <a:lnTo>
                  <a:pt x="70820" y="2908920"/>
                </a:lnTo>
                <a:lnTo>
                  <a:pt x="63338" y="2892502"/>
                </a:lnTo>
                <a:lnTo>
                  <a:pt x="60979" y="2885735"/>
                </a:lnTo>
                <a:lnTo>
                  <a:pt x="55983" y="2873964"/>
                </a:lnTo>
                <a:lnTo>
                  <a:pt x="43352" y="2835175"/>
                </a:lnTo>
                <a:lnTo>
                  <a:pt x="37031" y="2817044"/>
                </a:lnTo>
                <a:lnTo>
                  <a:pt x="35716" y="2811725"/>
                </a:lnTo>
                <a:lnTo>
                  <a:pt x="32748" y="2802610"/>
                </a:lnTo>
                <a:lnTo>
                  <a:pt x="22327" y="2757558"/>
                </a:lnTo>
                <a:lnTo>
                  <a:pt x="17642" y="2738606"/>
                </a:lnTo>
                <a:lnTo>
                  <a:pt x="17093" y="2734935"/>
                </a:lnTo>
                <a:lnTo>
                  <a:pt x="15651" y="2728701"/>
                </a:lnTo>
                <a:lnTo>
                  <a:pt x="8064" y="2674503"/>
                </a:lnTo>
                <a:lnTo>
                  <a:pt x="5530" y="2657550"/>
                </a:lnTo>
                <a:lnTo>
                  <a:pt x="5440" y="2655765"/>
                </a:lnTo>
                <a:lnTo>
                  <a:pt x="4988" y="2652533"/>
                </a:lnTo>
                <a:lnTo>
                  <a:pt x="3208" y="2614942"/>
                </a:lnTo>
                <a:lnTo>
                  <a:pt x="1039" y="2614942"/>
                </a:lnTo>
                <a:lnTo>
                  <a:pt x="1039" y="2580285"/>
                </a:lnTo>
                <a:lnTo>
                  <a:pt x="1039" y="2569130"/>
                </a:lnTo>
                <a:lnTo>
                  <a:pt x="1039" y="2568870"/>
                </a:lnTo>
                <a:lnTo>
                  <a:pt x="0" y="2568870"/>
                </a:lnTo>
                <a:lnTo>
                  <a:pt x="0" y="2455476"/>
                </a:lnTo>
                <a:lnTo>
                  <a:pt x="0" y="2402360"/>
                </a:lnTo>
                <a:lnTo>
                  <a:pt x="0" y="2307936"/>
                </a:lnTo>
                <a:lnTo>
                  <a:pt x="0" y="2294786"/>
                </a:lnTo>
                <a:lnTo>
                  <a:pt x="0" y="2248714"/>
                </a:lnTo>
                <a:lnTo>
                  <a:pt x="1028" y="2248714"/>
                </a:lnTo>
                <a:lnTo>
                  <a:pt x="1028" y="2231154"/>
                </a:lnTo>
                <a:lnTo>
                  <a:pt x="751546" y="2231154"/>
                </a:lnTo>
                <a:lnTo>
                  <a:pt x="771021" y="2231154"/>
                </a:lnTo>
                <a:lnTo>
                  <a:pt x="631756" y="2204488"/>
                </a:lnTo>
                <a:lnTo>
                  <a:pt x="628233" y="2203317"/>
                </a:lnTo>
                <a:lnTo>
                  <a:pt x="627626" y="2203170"/>
                </a:lnTo>
                <a:lnTo>
                  <a:pt x="621582" y="2201104"/>
                </a:lnTo>
                <a:lnTo>
                  <a:pt x="560595" y="2180828"/>
                </a:lnTo>
                <a:lnTo>
                  <a:pt x="554335" y="2178125"/>
                </a:lnTo>
                <a:lnTo>
                  <a:pt x="551956" y="2177313"/>
                </a:lnTo>
                <a:lnTo>
                  <a:pt x="539096" y="2171547"/>
                </a:lnTo>
                <a:lnTo>
                  <a:pt x="492308" y="2151350"/>
                </a:lnTo>
                <a:lnTo>
                  <a:pt x="483576" y="2146656"/>
                </a:lnTo>
                <a:lnTo>
                  <a:pt x="479602" y="2144873"/>
                </a:lnTo>
                <a:lnTo>
                  <a:pt x="465646" y="2137018"/>
                </a:lnTo>
                <a:lnTo>
                  <a:pt x="427191" y="2116347"/>
                </a:lnTo>
                <a:lnTo>
                  <a:pt x="416293" y="2109236"/>
                </a:lnTo>
                <a:lnTo>
                  <a:pt x="410923" y="2106214"/>
                </a:lnTo>
                <a:lnTo>
                  <a:pt x="397634" y="2097063"/>
                </a:lnTo>
                <a:lnTo>
                  <a:pt x="365540" y="2076120"/>
                </a:lnTo>
                <a:lnTo>
                  <a:pt x="352824" y="2066200"/>
                </a:lnTo>
                <a:lnTo>
                  <a:pt x="346279" y="2061693"/>
                </a:lnTo>
                <a:lnTo>
                  <a:pt x="334363" y="2051798"/>
                </a:lnTo>
                <a:lnTo>
                  <a:pt x="307654" y="2030964"/>
                </a:lnTo>
                <a:lnTo>
                  <a:pt x="293506" y="2017878"/>
                </a:lnTo>
                <a:lnTo>
                  <a:pt x="286031" y="2011671"/>
                </a:lnTo>
                <a:lnTo>
                  <a:pt x="275778" y="2001479"/>
                </a:lnTo>
                <a:lnTo>
                  <a:pt x="253827" y="1981175"/>
                </a:lnTo>
                <a:lnTo>
                  <a:pt x="238676" y="1964597"/>
                </a:lnTo>
                <a:lnTo>
                  <a:pt x="230539" y="1956509"/>
                </a:lnTo>
                <a:lnTo>
                  <a:pt x="222041" y="1946399"/>
                </a:lnTo>
                <a:lnTo>
                  <a:pt x="204358" y="1927050"/>
                </a:lnTo>
                <a:lnTo>
                  <a:pt x="188664" y="1906681"/>
                </a:lnTo>
                <a:lnTo>
                  <a:pt x="180164" y="1896567"/>
                </a:lnTo>
                <a:lnTo>
                  <a:pt x="173400" y="1886871"/>
                </a:lnTo>
                <a:lnTo>
                  <a:pt x="159541" y="1868886"/>
                </a:lnTo>
                <a:lnTo>
                  <a:pt x="143800" y="1844439"/>
                </a:lnTo>
                <a:lnTo>
                  <a:pt x="135265" y="1832206"/>
                </a:lnTo>
                <a:lnTo>
                  <a:pt x="130138" y="1823225"/>
                </a:lnTo>
                <a:lnTo>
                  <a:pt x="119676" y="1806980"/>
                </a:lnTo>
                <a:lnTo>
                  <a:pt x="104411" y="1778160"/>
                </a:lnTo>
                <a:lnTo>
                  <a:pt x="96204" y="1763784"/>
                </a:lnTo>
                <a:lnTo>
                  <a:pt x="92559" y="1755787"/>
                </a:lnTo>
                <a:lnTo>
                  <a:pt x="85058" y="1741627"/>
                </a:lnTo>
                <a:lnTo>
                  <a:pt x="70820" y="1708082"/>
                </a:lnTo>
                <a:lnTo>
                  <a:pt x="63338" y="1691664"/>
                </a:lnTo>
                <a:lnTo>
                  <a:pt x="60979" y="1684897"/>
                </a:lnTo>
                <a:lnTo>
                  <a:pt x="55983" y="1673126"/>
                </a:lnTo>
                <a:lnTo>
                  <a:pt x="43353" y="1634336"/>
                </a:lnTo>
                <a:lnTo>
                  <a:pt x="37031" y="1616205"/>
                </a:lnTo>
                <a:lnTo>
                  <a:pt x="35716" y="1610886"/>
                </a:lnTo>
                <a:lnTo>
                  <a:pt x="32748" y="1601772"/>
                </a:lnTo>
                <a:lnTo>
                  <a:pt x="22327" y="1556719"/>
                </a:lnTo>
                <a:lnTo>
                  <a:pt x="17642" y="1537767"/>
                </a:lnTo>
                <a:lnTo>
                  <a:pt x="17093" y="1534095"/>
                </a:lnTo>
                <a:lnTo>
                  <a:pt x="15651" y="1527861"/>
                </a:lnTo>
                <a:lnTo>
                  <a:pt x="8064" y="1473664"/>
                </a:lnTo>
                <a:lnTo>
                  <a:pt x="5531" y="1456711"/>
                </a:lnTo>
                <a:lnTo>
                  <a:pt x="5440" y="1454926"/>
                </a:lnTo>
                <a:lnTo>
                  <a:pt x="4988" y="1451693"/>
                </a:lnTo>
                <a:lnTo>
                  <a:pt x="3208" y="1414104"/>
                </a:lnTo>
                <a:lnTo>
                  <a:pt x="1039" y="1414104"/>
                </a:lnTo>
                <a:lnTo>
                  <a:pt x="1039" y="1379448"/>
                </a:lnTo>
                <a:lnTo>
                  <a:pt x="1039" y="1368291"/>
                </a:lnTo>
                <a:lnTo>
                  <a:pt x="1039" y="1368031"/>
                </a:lnTo>
                <a:lnTo>
                  <a:pt x="0" y="1368031"/>
                </a:lnTo>
                <a:lnTo>
                  <a:pt x="0" y="1354882"/>
                </a:lnTo>
                <a:lnTo>
                  <a:pt x="0" y="1260457"/>
                </a:lnTo>
                <a:lnTo>
                  <a:pt x="0" y="1207341"/>
                </a:lnTo>
                <a:lnTo>
                  <a:pt x="0" y="1143704"/>
                </a:lnTo>
                <a:lnTo>
                  <a:pt x="0" y="1130555"/>
                </a:lnTo>
                <a:lnTo>
                  <a:pt x="0" y="1093946"/>
                </a:lnTo>
                <a:lnTo>
                  <a:pt x="0" y="1047875"/>
                </a:lnTo>
                <a:lnTo>
                  <a:pt x="0" y="1036130"/>
                </a:lnTo>
                <a:lnTo>
                  <a:pt x="0" y="983014"/>
                </a:lnTo>
                <a:lnTo>
                  <a:pt x="0" y="869619"/>
                </a:lnTo>
                <a:lnTo>
                  <a:pt x="0" y="823548"/>
                </a:lnTo>
                <a:lnTo>
                  <a:pt x="1029" y="823548"/>
                </a:lnTo>
                <a:lnTo>
                  <a:pt x="1029" y="22432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01581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C9F0DB2-0512-401D-8243-4C10160F486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09642" y="0"/>
            <a:ext cx="4694471" cy="6855583"/>
          </a:xfrm>
          <a:custGeom>
            <a:avLst/>
            <a:gdLst>
              <a:gd name="connsiteX0" fmla="*/ 2738 w 4694471"/>
              <a:gd name="connsiteY0" fmla="*/ 0 h 6855583"/>
              <a:gd name="connsiteX1" fmla="*/ 961282 w 4694471"/>
              <a:gd name="connsiteY1" fmla="*/ 0 h 6855583"/>
              <a:gd name="connsiteX2" fmla="*/ 1974639 w 4694471"/>
              <a:gd name="connsiteY2" fmla="*/ 0 h 6855583"/>
              <a:gd name="connsiteX3" fmla="*/ 2050909 w 4694471"/>
              <a:gd name="connsiteY3" fmla="*/ 0 h 6855583"/>
              <a:gd name="connsiteX4" fmla="*/ 2600795 w 4694471"/>
              <a:gd name="connsiteY4" fmla="*/ 0 h 6855583"/>
              <a:gd name="connsiteX5" fmla="*/ 2671049 w 4694471"/>
              <a:gd name="connsiteY5" fmla="*/ 0 h 6855583"/>
              <a:gd name="connsiteX6" fmla="*/ 2747320 w 4694471"/>
              <a:gd name="connsiteY6" fmla="*/ 0 h 6855583"/>
              <a:gd name="connsiteX7" fmla="*/ 2933183 w 4694471"/>
              <a:gd name="connsiteY7" fmla="*/ 0 h 6855583"/>
              <a:gd name="connsiteX8" fmla="*/ 3009453 w 4694471"/>
              <a:gd name="connsiteY8" fmla="*/ 0 h 6855583"/>
              <a:gd name="connsiteX9" fmla="*/ 3559339 w 4694471"/>
              <a:gd name="connsiteY9" fmla="*/ 0 h 6855583"/>
              <a:gd name="connsiteX10" fmla="*/ 3559339 w 4694471"/>
              <a:gd name="connsiteY10" fmla="*/ 1 h 6855583"/>
              <a:gd name="connsiteX11" fmla="*/ 3629003 w 4694471"/>
              <a:gd name="connsiteY11" fmla="*/ 1 h 6855583"/>
              <a:gd name="connsiteX12" fmla="*/ 3629584 w 4694471"/>
              <a:gd name="connsiteY12" fmla="*/ 1 h 6855583"/>
              <a:gd name="connsiteX13" fmla="*/ 3629593 w 4694471"/>
              <a:gd name="connsiteY13" fmla="*/ 0 h 6855583"/>
              <a:gd name="connsiteX14" fmla="*/ 3629603 w 4694471"/>
              <a:gd name="connsiteY14" fmla="*/ 1 h 6855583"/>
              <a:gd name="connsiteX15" fmla="*/ 3675909 w 4694471"/>
              <a:gd name="connsiteY15" fmla="*/ 1 h 6855583"/>
              <a:gd name="connsiteX16" fmla="*/ 3705273 w 4694471"/>
              <a:gd name="connsiteY16" fmla="*/ 1 h 6855583"/>
              <a:gd name="connsiteX17" fmla="*/ 3705854 w 4694471"/>
              <a:gd name="connsiteY17" fmla="*/ 1 h 6855583"/>
              <a:gd name="connsiteX18" fmla="*/ 3705864 w 4694471"/>
              <a:gd name="connsiteY18" fmla="*/ 0 h 6855583"/>
              <a:gd name="connsiteX19" fmla="*/ 3705872 w 4694471"/>
              <a:gd name="connsiteY19" fmla="*/ 1 h 6855583"/>
              <a:gd name="connsiteX20" fmla="*/ 3752180 w 4694471"/>
              <a:gd name="connsiteY20" fmla="*/ 1 h 6855583"/>
              <a:gd name="connsiteX21" fmla="*/ 3752180 w 4694471"/>
              <a:gd name="connsiteY21" fmla="*/ 2441 h 6855583"/>
              <a:gd name="connsiteX22" fmla="*/ 3799909 w 4694471"/>
              <a:gd name="connsiteY22" fmla="*/ 4925 h 6855583"/>
              <a:gd name="connsiteX23" fmla="*/ 3802804 w 4694471"/>
              <a:gd name="connsiteY23" fmla="*/ 5380 h 6855583"/>
              <a:gd name="connsiteX24" fmla="*/ 3806663 w 4694471"/>
              <a:gd name="connsiteY24" fmla="*/ 5593 h 6855583"/>
              <a:gd name="connsiteX25" fmla="*/ 3976490 w 4694471"/>
              <a:gd name="connsiteY25" fmla="*/ 41323 h 6855583"/>
              <a:gd name="connsiteX26" fmla="*/ 3980485 w 4694471"/>
              <a:gd name="connsiteY26" fmla="*/ 42781 h 6855583"/>
              <a:gd name="connsiteX27" fmla="*/ 3981173 w 4694471"/>
              <a:gd name="connsiteY27" fmla="*/ 42964 h 6855583"/>
              <a:gd name="connsiteX28" fmla="*/ 3988028 w 4694471"/>
              <a:gd name="connsiteY28" fmla="*/ 45538 h 6855583"/>
              <a:gd name="connsiteX29" fmla="*/ 4057188 w 4694471"/>
              <a:gd name="connsiteY29" fmla="*/ 70802 h 6855583"/>
              <a:gd name="connsiteX30" fmla="*/ 4064286 w 4694471"/>
              <a:gd name="connsiteY30" fmla="*/ 74169 h 6855583"/>
              <a:gd name="connsiteX31" fmla="*/ 4066984 w 4694471"/>
              <a:gd name="connsiteY31" fmla="*/ 75182 h 6855583"/>
              <a:gd name="connsiteX32" fmla="*/ 4081569 w 4694471"/>
              <a:gd name="connsiteY32" fmla="*/ 82367 h 6855583"/>
              <a:gd name="connsiteX33" fmla="*/ 4134626 w 4694471"/>
              <a:gd name="connsiteY33" fmla="*/ 107533 h 6855583"/>
              <a:gd name="connsiteX34" fmla="*/ 4144529 w 4694471"/>
              <a:gd name="connsiteY34" fmla="*/ 113381 h 6855583"/>
              <a:gd name="connsiteX35" fmla="*/ 4149036 w 4694471"/>
              <a:gd name="connsiteY35" fmla="*/ 115600 h 6855583"/>
              <a:gd name="connsiteX36" fmla="*/ 4164861 w 4694471"/>
              <a:gd name="connsiteY36" fmla="*/ 125388 h 6855583"/>
              <a:gd name="connsiteX37" fmla="*/ 4208472 w 4694471"/>
              <a:gd name="connsiteY37" fmla="*/ 151145 h 6855583"/>
              <a:gd name="connsiteX38" fmla="*/ 4220829 w 4694471"/>
              <a:gd name="connsiteY38" fmla="*/ 160005 h 6855583"/>
              <a:gd name="connsiteX39" fmla="*/ 4226920 w 4694471"/>
              <a:gd name="connsiteY39" fmla="*/ 163770 h 6855583"/>
              <a:gd name="connsiteX40" fmla="*/ 4241989 w 4694471"/>
              <a:gd name="connsiteY40" fmla="*/ 175174 h 6855583"/>
              <a:gd name="connsiteX41" fmla="*/ 4278383 w 4694471"/>
              <a:gd name="connsiteY41" fmla="*/ 201267 h 6855583"/>
              <a:gd name="connsiteX42" fmla="*/ 4292804 w 4694471"/>
              <a:gd name="connsiteY42" fmla="*/ 213629 h 6855583"/>
              <a:gd name="connsiteX43" fmla="*/ 4300227 w 4694471"/>
              <a:gd name="connsiteY43" fmla="*/ 219244 h 6855583"/>
              <a:gd name="connsiteX44" fmla="*/ 4313741 w 4694471"/>
              <a:gd name="connsiteY44" fmla="*/ 231573 h 6855583"/>
              <a:gd name="connsiteX45" fmla="*/ 4344028 w 4694471"/>
              <a:gd name="connsiteY45" fmla="*/ 257532 h 6855583"/>
              <a:gd name="connsiteX46" fmla="*/ 4360072 w 4694471"/>
              <a:gd name="connsiteY46" fmla="*/ 273838 h 6855583"/>
              <a:gd name="connsiteX47" fmla="*/ 4368549 w 4694471"/>
              <a:gd name="connsiteY47" fmla="*/ 281570 h 6855583"/>
              <a:gd name="connsiteX48" fmla="*/ 4380176 w 4694471"/>
              <a:gd name="connsiteY48" fmla="*/ 294271 h 6855583"/>
              <a:gd name="connsiteX49" fmla="*/ 4405069 w 4694471"/>
              <a:gd name="connsiteY49" fmla="*/ 319569 h 6855583"/>
              <a:gd name="connsiteX50" fmla="*/ 4422252 w 4694471"/>
              <a:gd name="connsiteY50" fmla="*/ 340225 h 6855583"/>
              <a:gd name="connsiteX51" fmla="*/ 4431478 w 4694471"/>
              <a:gd name="connsiteY51" fmla="*/ 350303 h 6855583"/>
              <a:gd name="connsiteX52" fmla="*/ 4441115 w 4694471"/>
              <a:gd name="connsiteY52" fmla="*/ 362902 h 6855583"/>
              <a:gd name="connsiteX53" fmla="*/ 4461169 w 4694471"/>
              <a:gd name="connsiteY53" fmla="*/ 387010 h 6855583"/>
              <a:gd name="connsiteX54" fmla="*/ 4478966 w 4694471"/>
              <a:gd name="connsiteY54" fmla="*/ 412388 h 6855583"/>
              <a:gd name="connsiteX55" fmla="*/ 4488605 w 4694471"/>
              <a:gd name="connsiteY55" fmla="*/ 424989 h 6855583"/>
              <a:gd name="connsiteX56" fmla="*/ 4496275 w 4694471"/>
              <a:gd name="connsiteY56" fmla="*/ 437070 h 6855583"/>
              <a:gd name="connsiteX57" fmla="*/ 4511991 w 4694471"/>
              <a:gd name="connsiteY57" fmla="*/ 459481 h 6855583"/>
              <a:gd name="connsiteX58" fmla="*/ 4529843 w 4694471"/>
              <a:gd name="connsiteY58" fmla="*/ 489942 h 6855583"/>
              <a:gd name="connsiteX59" fmla="*/ 4539521 w 4694471"/>
              <a:gd name="connsiteY59" fmla="*/ 505184 h 6855583"/>
              <a:gd name="connsiteX60" fmla="*/ 4545336 w 4694471"/>
              <a:gd name="connsiteY60" fmla="*/ 516375 h 6855583"/>
              <a:gd name="connsiteX61" fmla="*/ 4557199 w 4694471"/>
              <a:gd name="connsiteY61" fmla="*/ 536617 h 6855583"/>
              <a:gd name="connsiteX62" fmla="*/ 4574510 w 4694471"/>
              <a:gd name="connsiteY62" fmla="*/ 572526 h 6855583"/>
              <a:gd name="connsiteX63" fmla="*/ 4583819 w 4694471"/>
              <a:gd name="connsiteY63" fmla="*/ 590437 h 6855583"/>
              <a:gd name="connsiteX64" fmla="*/ 4587950 w 4694471"/>
              <a:gd name="connsiteY64" fmla="*/ 600402 h 6855583"/>
              <a:gd name="connsiteX65" fmla="*/ 4596457 w 4694471"/>
              <a:gd name="connsiteY65" fmla="*/ 618045 h 6855583"/>
              <a:gd name="connsiteX66" fmla="*/ 4612602 w 4694471"/>
              <a:gd name="connsiteY66" fmla="*/ 659843 h 6855583"/>
              <a:gd name="connsiteX67" fmla="*/ 4621089 w 4694471"/>
              <a:gd name="connsiteY67" fmla="*/ 680300 h 6855583"/>
              <a:gd name="connsiteX68" fmla="*/ 4623764 w 4694471"/>
              <a:gd name="connsiteY68" fmla="*/ 688731 h 6855583"/>
              <a:gd name="connsiteX69" fmla="*/ 4629429 w 4694471"/>
              <a:gd name="connsiteY69" fmla="*/ 703398 h 6855583"/>
              <a:gd name="connsiteX70" fmla="*/ 4643753 w 4694471"/>
              <a:gd name="connsiteY70" fmla="*/ 751729 h 6855583"/>
              <a:gd name="connsiteX71" fmla="*/ 4650921 w 4694471"/>
              <a:gd name="connsiteY71" fmla="*/ 774321 h 6855583"/>
              <a:gd name="connsiteX72" fmla="*/ 4652412 w 4694471"/>
              <a:gd name="connsiteY72" fmla="*/ 780948 h 6855583"/>
              <a:gd name="connsiteX73" fmla="*/ 4655777 w 4694471"/>
              <a:gd name="connsiteY73" fmla="*/ 792304 h 6855583"/>
              <a:gd name="connsiteX74" fmla="*/ 4667595 w 4694471"/>
              <a:gd name="connsiteY74" fmla="*/ 848440 h 6855583"/>
              <a:gd name="connsiteX75" fmla="*/ 4667828 w 4694471"/>
              <a:gd name="connsiteY75" fmla="*/ 849474 h 6855583"/>
              <a:gd name="connsiteX76" fmla="*/ 4669385 w 4694471"/>
              <a:gd name="connsiteY76" fmla="*/ 849474 h 6855583"/>
              <a:gd name="connsiteX77" fmla="*/ 4674465 w 4694471"/>
              <a:gd name="connsiteY77" fmla="*/ 877139 h 6855583"/>
              <a:gd name="connsiteX78" fmla="*/ 4675087 w 4694471"/>
              <a:gd name="connsiteY78" fmla="*/ 882743 h 6855583"/>
              <a:gd name="connsiteX79" fmla="*/ 4676722 w 4694471"/>
              <a:gd name="connsiteY79" fmla="*/ 892259 h 6855583"/>
              <a:gd name="connsiteX80" fmla="*/ 4685327 w 4694471"/>
              <a:gd name="connsiteY80" fmla="*/ 974994 h 6855583"/>
              <a:gd name="connsiteX81" fmla="*/ 4688200 w 4694471"/>
              <a:gd name="connsiteY81" fmla="*/ 1000874 h 6855583"/>
              <a:gd name="connsiteX82" fmla="*/ 4688301 w 4694471"/>
              <a:gd name="connsiteY82" fmla="*/ 1003598 h 6855583"/>
              <a:gd name="connsiteX83" fmla="*/ 4688815 w 4694471"/>
              <a:gd name="connsiteY83" fmla="*/ 1008533 h 6855583"/>
              <a:gd name="connsiteX84" fmla="*/ 4690833 w 4694471"/>
              <a:gd name="connsiteY84" fmla="*/ 1065916 h 6855583"/>
              <a:gd name="connsiteX85" fmla="*/ 4693293 w 4694471"/>
              <a:gd name="connsiteY85" fmla="*/ 1065916 h 6855583"/>
              <a:gd name="connsiteX86" fmla="*/ 4693293 w 4694471"/>
              <a:gd name="connsiteY86" fmla="*/ 1118819 h 6855583"/>
              <a:gd name="connsiteX87" fmla="*/ 4693293 w 4694471"/>
              <a:gd name="connsiteY87" fmla="*/ 1135849 h 6855583"/>
              <a:gd name="connsiteX88" fmla="*/ 4693293 w 4694471"/>
              <a:gd name="connsiteY88" fmla="*/ 1136246 h 6855583"/>
              <a:gd name="connsiteX89" fmla="*/ 4693293 w 4694471"/>
              <a:gd name="connsiteY89" fmla="*/ 1136247 h 6855583"/>
              <a:gd name="connsiteX90" fmla="*/ 4694471 w 4694471"/>
              <a:gd name="connsiteY90" fmla="*/ 1136247 h 6855583"/>
              <a:gd name="connsiteX91" fmla="*/ 4694471 w 4694471"/>
              <a:gd name="connsiteY91" fmla="*/ 1234853 h 6855583"/>
              <a:gd name="connsiteX92" fmla="*/ 4694471 w 4694471"/>
              <a:gd name="connsiteY92" fmla="*/ 1390429 h 6855583"/>
              <a:gd name="connsiteX93" fmla="*/ 4694471 w 4694471"/>
              <a:gd name="connsiteY93" fmla="*/ 1493422 h 6855583"/>
              <a:gd name="connsiteX94" fmla="*/ 4694471 w 4694471"/>
              <a:gd name="connsiteY94" fmla="*/ 1922616 h 6855583"/>
              <a:gd name="connsiteX95" fmla="*/ 4694471 w 4694471"/>
              <a:gd name="connsiteY95" fmla="*/ 1946509 h 6855583"/>
              <a:gd name="connsiteX96" fmla="*/ 4694471 w 4694471"/>
              <a:gd name="connsiteY96" fmla="*/ 2034790 h 6855583"/>
              <a:gd name="connsiteX97" fmla="*/ 4694471 w 4694471"/>
              <a:gd name="connsiteY97" fmla="*/ 2059094 h 6855583"/>
              <a:gd name="connsiteX98" fmla="*/ 4694471 w 4694471"/>
              <a:gd name="connsiteY98" fmla="*/ 2121885 h 6855583"/>
              <a:gd name="connsiteX99" fmla="*/ 4694471 w 4694471"/>
              <a:gd name="connsiteY99" fmla="*/ 2175446 h 6855583"/>
              <a:gd name="connsiteX100" fmla="*/ 4694471 w 4694471"/>
              <a:gd name="connsiteY100" fmla="*/ 2237497 h 6855583"/>
              <a:gd name="connsiteX101" fmla="*/ 4694471 w 4694471"/>
              <a:gd name="connsiteY101" fmla="*/ 2291981 h 6855583"/>
              <a:gd name="connsiteX102" fmla="*/ 4693305 w 4694471"/>
              <a:gd name="connsiteY102" fmla="*/ 2291981 h 6855583"/>
              <a:gd name="connsiteX103" fmla="*/ 4693305 w 4694471"/>
              <a:gd name="connsiteY103" fmla="*/ 3132833 h 6855583"/>
              <a:gd name="connsiteX104" fmla="*/ 4693305 w 4694471"/>
              <a:gd name="connsiteY104" fmla="*/ 3265888 h 6855583"/>
              <a:gd name="connsiteX105" fmla="*/ 4627092 w 4694471"/>
              <a:gd name="connsiteY105" fmla="*/ 3265888 h 6855583"/>
              <a:gd name="connsiteX106" fmla="*/ 3996894 w 4694471"/>
              <a:gd name="connsiteY106" fmla="*/ 3265888 h 6855583"/>
              <a:gd name="connsiteX107" fmla="*/ 3930683 w 4694471"/>
              <a:gd name="connsiteY107" fmla="*/ 3265888 h 6855583"/>
              <a:gd name="connsiteX108" fmla="*/ 3734761 w 4694471"/>
              <a:gd name="connsiteY108" fmla="*/ 3265888 h 6855583"/>
              <a:gd name="connsiteX109" fmla="*/ 3708022 w 4694471"/>
              <a:gd name="connsiteY109" fmla="*/ 3265888 h 6855583"/>
              <a:gd name="connsiteX110" fmla="*/ 3707441 w 4694471"/>
              <a:gd name="connsiteY110" fmla="*/ 3265888 h 6855583"/>
              <a:gd name="connsiteX111" fmla="*/ 3707431 w 4694471"/>
              <a:gd name="connsiteY111" fmla="*/ 3265888 h 6855583"/>
              <a:gd name="connsiteX112" fmla="*/ 3707422 w 4694471"/>
              <a:gd name="connsiteY112" fmla="*/ 3265888 h 6855583"/>
              <a:gd name="connsiteX113" fmla="*/ 3668548 w 4694471"/>
              <a:gd name="connsiteY113" fmla="*/ 3265888 h 6855583"/>
              <a:gd name="connsiteX114" fmla="*/ 3661115 w 4694471"/>
              <a:gd name="connsiteY114" fmla="*/ 3265888 h 6855583"/>
              <a:gd name="connsiteX115" fmla="*/ 3641811 w 4694471"/>
              <a:gd name="connsiteY115" fmla="*/ 3265888 h 6855583"/>
              <a:gd name="connsiteX116" fmla="*/ 3641229 w 4694471"/>
              <a:gd name="connsiteY116" fmla="*/ 3265888 h 6855583"/>
              <a:gd name="connsiteX117" fmla="*/ 3641220 w 4694471"/>
              <a:gd name="connsiteY117" fmla="*/ 3265888 h 6855583"/>
              <a:gd name="connsiteX118" fmla="*/ 3641210 w 4694471"/>
              <a:gd name="connsiteY118" fmla="*/ 3265888 h 6855583"/>
              <a:gd name="connsiteX119" fmla="*/ 3594904 w 4694471"/>
              <a:gd name="connsiteY119" fmla="*/ 3265888 h 6855583"/>
              <a:gd name="connsiteX120" fmla="*/ 3559339 w 4694471"/>
              <a:gd name="connsiteY120" fmla="*/ 3265888 h 6855583"/>
              <a:gd name="connsiteX121" fmla="*/ 3559339 w 4694471"/>
              <a:gd name="connsiteY121" fmla="*/ 3265890 h 6855583"/>
              <a:gd name="connsiteX122" fmla="*/ 3574921 w 4694471"/>
              <a:gd name="connsiteY122" fmla="*/ 3265890 h 6855583"/>
              <a:gd name="connsiteX123" fmla="*/ 3607197 w 4694471"/>
              <a:gd name="connsiteY123" fmla="*/ 3265890 h 6855583"/>
              <a:gd name="connsiteX124" fmla="*/ 3607836 w 4694471"/>
              <a:gd name="connsiteY124" fmla="*/ 3265890 h 6855583"/>
              <a:gd name="connsiteX125" fmla="*/ 3607845 w 4694471"/>
              <a:gd name="connsiteY125" fmla="*/ 3265889 h 6855583"/>
              <a:gd name="connsiteX126" fmla="*/ 3607855 w 4694471"/>
              <a:gd name="connsiteY126" fmla="*/ 3265890 h 6855583"/>
              <a:gd name="connsiteX127" fmla="*/ 3658753 w 4694471"/>
              <a:gd name="connsiteY127" fmla="*/ 3265890 h 6855583"/>
              <a:gd name="connsiteX128" fmla="*/ 3658753 w 4694471"/>
              <a:gd name="connsiteY128" fmla="*/ 3268571 h 6855583"/>
              <a:gd name="connsiteX129" fmla="*/ 3711215 w 4694471"/>
              <a:gd name="connsiteY129" fmla="*/ 3271301 h 6855583"/>
              <a:gd name="connsiteX130" fmla="*/ 3714398 w 4694471"/>
              <a:gd name="connsiteY130" fmla="*/ 3271802 h 6855583"/>
              <a:gd name="connsiteX131" fmla="*/ 3718640 w 4694471"/>
              <a:gd name="connsiteY131" fmla="*/ 3272037 h 6855583"/>
              <a:gd name="connsiteX132" fmla="*/ 3905304 w 4694471"/>
              <a:gd name="connsiteY132" fmla="*/ 3311308 h 6855583"/>
              <a:gd name="connsiteX133" fmla="*/ 3909694 w 4694471"/>
              <a:gd name="connsiteY133" fmla="*/ 3312912 h 6855583"/>
              <a:gd name="connsiteX134" fmla="*/ 3910452 w 4694471"/>
              <a:gd name="connsiteY134" fmla="*/ 3313112 h 6855583"/>
              <a:gd name="connsiteX135" fmla="*/ 3917986 w 4694471"/>
              <a:gd name="connsiteY135" fmla="*/ 3315942 h 6855583"/>
              <a:gd name="connsiteX136" fmla="*/ 3994003 w 4694471"/>
              <a:gd name="connsiteY136" fmla="*/ 3343710 h 6855583"/>
              <a:gd name="connsiteX137" fmla="*/ 4001805 w 4694471"/>
              <a:gd name="connsiteY137" fmla="*/ 3347410 h 6855583"/>
              <a:gd name="connsiteX138" fmla="*/ 4004771 w 4694471"/>
              <a:gd name="connsiteY138" fmla="*/ 3348524 h 6855583"/>
              <a:gd name="connsiteX139" fmla="*/ 4020801 w 4694471"/>
              <a:gd name="connsiteY139" fmla="*/ 3356422 h 6855583"/>
              <a:gd name="connsiteX140" fmla="*/ 4079119 w 4694471"/>
              <a:gd name="connsiteY140" fmla="*/ 3384083 h 6855583"/>
              <a:gd name="connsiteX141" fmla="*/ 4090003 w 4694471"/>
              <a:gd name="connsiteY141" fmla="*/ 3390510 h 6855583"/>
              <a:gd name="connsiteX142" fmla="*/ 4094957 w 4694471"/>
              <a:gd name="connsiteY142" fmla="*/ 3392950 h 6855583"/>
              <a:gd name="connsiteX143" fmla="*/ 4112351 w 4694471"/>
              <a:gd name="connsiteY143" fmla="*/ 3403709 h 6855583"/>
              <a:gd name="connsiteX144" fmla="*/ 4160286 w 4694471"/>
              <a:gd name="connsiteY144" fmla="*/ 3432019 h 6855583"/>
              <a:gd name="connsiteX145" fmla="*/ 4173870 w 4694471"/>
              <a:gd name="connsiteY145" fmla="*/ 3441758 h 6855583"/>
              <a:gd name="connsiteX146" fmla="*/ 4180562 w 4694471"/>
              <a:gd name="connsiteY146" fmla="*/ 3445896 h 6855583"/>
              <a:gd name="connsiteX147" fmla="*/ 4197126 w 4694471"/>
              <a:gd name="connsiteY147" fmla="*/ 3458431 h 6855583"/>
              <a:gd name="connsiteX148" fmla="*/ 4237129 w 4694471"/>
              <a:gd name="connsiteY148" fmla="*/ 3487112 h 6855583"/>
              <a:gd name="connsiteX149" fmla="*/ 4252979 w 4694471"/>
              <a:gd name="connsiteY149" fmla="*/ 3500699 h 6855583"/>
              <a:gd name="connsiteX150" fmla="*/ 4261138 w 4694471"/>
              <a:gd name="connsiteY150" fmla="*/ 3506870 h 6855583"/>
              <a:gd name="connsiteX151" fmla="*/ 4275993 w 4694471"/>
              <a:gd name="connsiteY151" fmla="*/ 3520422 h 6855583"/>
              <a:gd name="connsiteX152" fmla="*/ 4309284 w 4694471"/>
              <a:gd name="connsiteY152" fmla="*/ 3548954 h 6855583"/>
              <a:gd name="connsiteX153" fmla="*/ 4326916 w 4694471"/>
              <a:gd name="connsiteY153" fmla="*/ 3566877 h 6855583"/>
              <a:gd name="connsiteX154" fmla="*/ 4336234 w 4694471"/>
              <a:gd name="connsiteY154" fmla="*/ 3575376 h 6855583"/>
              <a:gd name="connsiteX155" fmla="*/ 4349015 w 4694471"/>
              <a:gd name="connsiteY155" fmla="*/ 3589336 h 6855583"/>
              <a:gd name="connsiteX156" fmla="*/ 4376377 w 4694471"/>
              <a:gd name="connsiteY156" fmla="*/ 3617142 h 6855583"/>
              <a:gd name="connsiteX157" fmla="*/ 4395261 w 4694471"/>
              <a:gd name="connsiteY157" fmla="*/ 3639845 h 6855583"/>
              <a:gd name="connsiteX158" fmla="*/ 4405403 w 4694471"/>
              <a:gd name="connsiteY158" fmla="*/ 3650923 h 6855583"/>
              <a:gd name="connsiteX159" fmla="*/ 4415995 w 4694471"/>
              <a:gd name="connsiteY159" fmla="*/ 3664770 h 6855583"/>
              <a:gd name="connsiteX160" fmla="*/ 4438037 w 4694471"/>
              <a:gd name="connsiteY160" fmla="*/ 3691269 h 6855583"/>
              <a:gd name="connsiteX161" fmla="*/ 4457599 w 4694471"/>
              <a:gd name="connsiteY161" fmla="*/ 3719164 h 6855583"/>
              <a:gd name="connsiteX162" fmla="*/ 4468193 w 4694471"/>
              <a:gd name="connsiteY162" fmla="*/ 3733015 h 6855583"/>
              <a:gd name="connsiteX163" fmla="*/ 4476623 w 4694471"/>
              <a:gd name="connsiteY163" fmla="*/ 3746294 h 6855583"/>
              <a:gd name="connsiteX164" fmla="*/ 4493900 w 4694471"/>
              <a:gd name="connsiteY164" fmla="*/ 3770927 h 6855583"/>
              <a:gd name="connsiteX165" fmla="*/ 4513522 w 4694471"/>
              <a:gd name="connsiteY165" fmla="*/ 3804408 h 6855583"/>
              <a:gd name="connsiteX166" fmla="*/ 4524158 w 4694471"/>
              <a:gd name="connsiteY166" fmla="*/ 3821161 h 6855583"/>
              <a:gd name="connsiteX167" fmla="*/ 4530550 w 4694471"/>
              <a:gd name="connsiteY167" fmla="*/ 3833462 h 6855583"/>
              <a:gd name="connsiteX168" fmla="*/ 4543589 w 4694471"/>
              <a:gd name="connsiteY168" fmla="*/ 3855710 h 6855583"/>
              <a:gd name="connsiteX169" fmla="*/ 4562617 w 4694471"/>
              <a:gd name="connsiteY169" fmla="*/ 3895180 h 6855583"/>
              <a:gd name="connsiteX170" fmla="*/ 4572847 w 4694471"/>
              <a:gd name="connsiteY170" fmla="*/ 3914866 h 6855583"/>
              <a:gd name="connsiteX171" fmla="*/ 4577389 w 4694471"/>
              <a:gd name="connsiteY171" fmla="*/ 3925819 h 6855583"/>
              <a:gd name="connsiteX172" fmla="*/ 4586740 w 4694471"/>
              <a:gd name="connsiteY172" fmla="*/ 3945212 h 6855583"/>
              <a:gd name="connsiteX173" fmla="*/ 4604487 w 4694471"/>
              <a:gd name="connsiteY173" fmla="*/ 3991153 h 6855583"/>
              <a:gd name="connsiteX174" fmla="*/ 4613813 w 4694471"/>
              <a:gd name="connsiteY174" fmla="*/ 4013638 h 6855583"/>
              <a:gd name="connsiteX175" fmla="*/ 4616753 w 4694471"/>
              <a:gd name="connsiteY175" fmla="*/ 4022906 h 6855583"/>
              <a:gd name="connsiteX176" fmla="*/ 4622981 w 4694471"/>
              <a:gd name="connsiteY176" fmla="*/ 4039027 h 6855583"/>
              <a:gd name="connsiteX177" fmla="*/ 4638724 w 4694471"/>
              <a:gd name="connsiteY177" fmla="*/ 4092151 h 6855583"/>
              <a:gd name="connsiteX178" fmla="*/ 4646603 w 4694471"/>
              <a:gd name="connsiteY178" fmla="*/ 4116982 h 6855583"/>
              <a:gd name="connsiteX179" fmla="*/ 4648243 w 4694471"/>
              <a:gd name="connsiteY179" fmla="*/ 4124267 h 6855583"/>
              <a:gd name="connsiteX180" fmla="*/ 4651941 w 4694471"/>
              <a:gd name="connsiteY180" fmla="*/ 4136749 h 6855583"/>
              <a:gd name="connsiteX181" fmla="*/ 4664931 w 4694471"/>
              <a:gd name="connsiteY181" fmla="*/ 4198450 h 6855583"/>
              <a:gd name="connsiteX182" fmla="*/ 4665187 w 4694471"/>
              <a:gd name="connsiteY182" fmla="*/ 4199586 h 6855583"/>
              <a:gd name="connsiteX183" fmla="*/ 4666897 w 4694471"/>
              <a:gd name="connsiteY183" fmla="*/ 4199586 h 6855583"/>
              <a:gd name="connsiteX184" fmla="*/ 4672481 w 4694471"/>
              <a:gd name="connsiteY184" fmla="*/ 4229994 h 6855583"/>
              <a:gd name="connsiteX185" fmla="*/ 4673165 w 4694471"/>
              <a:gd name="connsiteY185" fmla="*/ 4236155 h 6855583"/>
              <a:gd name="connsiteX186" fmla="*/ 4674963 w 4694471"/>
              <a:gd name="connsiteY186" fmla="*/ 4246612 h 6855583"/>
              <a:gd name="connsiteX187" fmla="*/ 4684421 w 4694471"/>
              <a:gd name="connsiteY187" fmla="*/ 4337551 h 6855583"/>
              <a:gd name="connsiteX188" fmla="*/ 4687579 w 4694471"/>
              <a:gd name="connsiteY188" fmla="*/ 4365998 h 6855583"/>
              <a:gd name="connsiteX189" fmla="*/ 4687689 w 4694471"/>
              <a:gd name="connsiteY189" fmla="*/ 4368991 h 6855583"/>
              <a:gd name="connsiteX190" fmla="*/ 4688255 w 4694471"/>
              <a:gd name="connsiteY190" fmla="*/ 4374414 h 6855583"/>
              <a:gd name="connsiteX191" fmla="*/ 4690473 w 4694471"/>
              <a:gd name="connsiteY191" fmla="*/ 4437487 h 6855583"/>
              <a:gd name="connsiteX192" fmla="*/ 4693177 w 4694471"/>
              <a:gd name="connsiteY192" fmla="*/ 4437487 h 6855583"/>
              <a:gd name="connsiteX193" fmla="*/ 4693177 w 4694471"/>
              <a:gd name="connsiteY193" fmla="*/ 4495636 h 6855583"/>
              <a:gd name="connsiteX194" fmla="*/ 4693177 w 4694471"/>
              <a:gd name="connsiteY194" fmla="*/ 4514355 h 6855583"/>
              <a:gd name="connsiteX195" fmla="*/ 4693177 w 4694471"/>
              <a:gd name="connsiteY195" fmla="*/ 4514790 h 6855583"/>
              <a:gd name="connsiteX196" fmla="*/ 4693177 w 4694471"/>
              <a:gd name="connsiteY196" fmla="*/ 4514792 h 6855583"/>
              <a:gd name="connsiteX197" fmla="*/ 4694471 w 4694471"/>
              <a:gd name="connsiteY197" fmla="*/ 4514792 h 6855583"/>
              <a:gd name="connsiteX198" fmla="*/ 4694471 w 4694471"/>
              <a:gd name="connsiteY198" fmla="*/ 4623176 h 6855583"/>
              <a:gd name="connsiteX199" fmla="*/ 4694471 w 4694471"/>
              <a:gd name="connsiteY199" fmla="*/ 4794177 h 6855583"/>
              <a:gd name="connsiteX200" fmla="*/ 4694471 w 4694471"/>
              <a:gd name="connsiteY200" fmla="*/ 4907381 h 6855583"/>
              <a:gd name="connsiteX201" fmla="*/ 4694471 w 4694471"/>
              <a:gd name="connsiteY201" fmla="*/ 5379129 h 6855583"/>
              <a:gd name="connsiteX202" fmla="*/ 4694471 w 4694471"/>
              <a:gd name="connsiteY202" fmla="*/ 5405390 h 6855583"/>
              <a:gd name="connsiteX203" fmla="*/ 4694471 w 4694471"/>
              <a:gd name="connsiteY203" fmla="*/ 5502425 h 6855583"/>
              <a:gd name="connsiteX204" fmla="*/ 4694471 w 4694471"/>
              <a:gd name="connsiteY204" fmla="*/ 5529139 h 6855583"/>
              <a:gd name="connsiteX205" fmla="*/ 4694471 w 4694471"/>
              <a:gd name="connsiteY205" fmla="*/ 5598155 h 6855583"/>
              <a:gd name="connsiteX206" fmla="*/ 4694471 w 4694471"/>
              <a:gd name="connsiteY206" fmla="*/ 5657026 h 6855583"/>
              <a:gd name="connsiteX207" fmla="*/ 4694471 w 4694471"/>
              <a:gd name="connsiteY207" fmla="*/ 5725229 h 6855583"/>
              <a:gd name="connsiteX208" fmla="*/ 4694471 w 4694471"/>
              <a:gd name="connsiteY208" fmla="*/ 5785115 h 6855583"/>
              <a:gd name="connsiteX209" fmla="*/ 4693189 w 4694471"/>
              <a:gd name="connsiteY209" fmla="*/ 5785115 h 6855583"/>
              <a:gd name="connsiteX210" fmla="*/ 4693189 w 4694471"/>
              <a:gd name="connsiteY210" fmla="*/ 6709336 h 6855583"/>
              <a:gd name="connsiteX211" fmla="*/ 4693189 w 4694471"/>
              <a:gd name="connsiteY211" fmla="*/ 6855583 h 6855583"/>
              <a:gd name="connsiteX212" fmla="*/ 4620412 w 4694471"/>
              <a:gd name="connsiteY212" fmla="*/ 6855583 h 6855583"/>
              <a:gd name="connsiteX213" fmla="*/ 3976799 w 4694471"/>
              <a:gd name="connsiteY213" fmla="*/ 6855583 h 6855583"/>
              <a:gd name="connsiteX214" fmla="*/ 3927731 w 4694471"/>
              <a:gd name="connsiteY214" fmla="*/ 6855583 h 6855583"/>
              <a:gd name="connsiteX215" fmla="*/ 3904023 w 4694471"/>
              <a:gd name="connsiteY215" fmla="*/ 6855583 h 6855583"/>
              <a:gd name="connsiteX216" fmla="*/ 3854954 w 4694471"/>
              <a:gd name="connsiteY216" fmla="*/ 6855583 h 6855583"/>
              <a:gd name="connsiteX217" fmla="*/ 3734645 w 4694471"/>
              <a:gd name="connsiteY217" fmla="*/ 6855583 h 6855583"/>
              <a:gd name="connsiteX218" fmla="*/ 3661868 w 4694471"/>
              <a:gd name="connsiteY218" fmla="*/ 6855583 h 6855583"/>
              <a:gd name="connsiteX219" fmla="*/ 3610218 w 4694471"/>
              <a:gd name="connsiteY219" fmla="*/ 6855583 h 6855583"/>
              <a:gd name="connsiteX220" fmla="*/ 3609578 w 4694471"/>
              <a:gd name="connsiteY220" fmla="*/ 6855583 h 6855583"/>
              <a:gd name="connsiteX221" fmla="*/ 3609569 w 4694471"/>
              <a:gd name="connsiteY221" fmla="*/ 6855583 h 6855583"/>
              <a:gd name="connsiteX222" fmla="*/ 3609558 w 4694471"/>
              <a:gd name="connsiteY222" fmla="*/ 6855583 h 6855583"/>
              <a:gd name="connsiteX223" fmla="*/ 3559339 w 4694471"/>
              <a:gd name="connsiteY223" fmla="*/ 6855583 h 6855583"/>
              <a:gd name="connsiteX224" fmla="*/ 3558661 w 4694471"/>
              <a:gd name="connsiteY224" fmla="*/ 6855583 h 6855583"/>
              <a:gd name="connsiteX225" fmla="*/ 3537440 w 4694471"/>
              <a:gd name="connsiteY225" fmla="*/ 6855583 h 6855583"/>
              <a:gd name="connsiteX226" fmla="*/ 3536802 w 4694471"/>
              <a:gd name="connsiteY226" fmla="*/ 6855583 h 6855583"/>
              <a:gd name="connsiteX227" fmla="*/ 3536793 w 4694471"/>
              <a:gd name="connsiteY227" fmla="*/ 6855583 h 6855583"/>
              <a:gd name="connsiteX228" fmla="*/ 3536782 w 4694471"/>
              <a:gd name="connsiteY228" fmla="*/ 6855583 h 6855583"/>
              <a:gd name="connsiteX229" fmla="*/ 3485884 w 4694471"/>
              <a:gd name="connsiteY229" fmla="*/ 6855583 h 6855583"/>
              <a:gd name="connsiteX230" fmla="*/ 3211343 w 4694471"/>
              <a:gd name="connsiteY230" fmla="*/ 6855583 h 6855583"/>
              <a:gd name="connsiteX231" fmla="*/ 3138565 w 4694471"/>
              <a:gd name="connsiteY231" fmla="*/ 6855583 h 6855583"/>
              <a:gd name="connsiteX232" fmla="*/ 3018255 w 4694471"/>
              <a:gd name="connsiteY232" fmla="*/ 6855583 h 6855583"/>
              <a:gd name="connsiteX233" fmla="*/ 2969187 w 4694471"/>
              <a:gd name="connsiteY233" fmla="*/ 6855583 h 6855583"/>
              <a:gd name="connsiteX234" fmla="*/ 2945479 w 4694471"/>
              <a:gd name="connsiteY234" fmla="*/ 6855583 h 6855583"/>
              <a:gd name="connsiteX235" fmla="*/ 2896410 w 4694471"/>
              <a:gd name="connsiteY235" fmla="*/ 6855583 h 6855583"/>
              <a:gd name="connsiteX236" fmla="*/ 2893829 w 4694471"/>
              <a:gd name="connsiteY236" fmla="*/ 6855583 h 6855583"/>
              <a:gd name="connsiteX237" fmla="*/ 2893189 w 4694471"/>
              <a:gd name="connsiteY237" fmla="*/ 6855583 h 6855583"/>
              <a:gd name="connsiteX238" fmla="*/ 2893179 w 4694471"/>
              <a:gd name="connsiteY238" fmla="*/ 6855583 h 6855583"/>
              <a:gd name="connsiteX239" fmla="*/ 2893168 w 4694471"/>
              <a:gd name="connsiteY239" fmla="*/ 6855583 h 6855583"/>
              <a:gd name="connsiteX240" fmla="*/ 2844760 w 4694471"/>
              <a:gd name="connsiteY240" fmla="*/ 6855583 h 6855583"/>
              <a:gd name="connsiteX241" fmla="*/ 2844120 w 4694471"/>
              <a:gd name="connsiteY241" fmla="*/ 6855583 h 6855583"/>
              <a:gd name="connsiteX242" fmla="*/ 2844111 w 4694471"/>
              <a:gd name="connsiteY242" fmla="*/ 6855583 h 6855583"/>
              <a:gd name="connsiteX243" fmla="*/ 2844100 w 4694471"/>
              <a:gd name="connsiteY243" fmla="*/ 6855583 h 6855583"/>
              <a:gd name="connsiteX244" fmla="*/ 2842271 w 4694471"/>
              <a:gd name="connsiteY244" fmla="*/ 6855583 h 6855583"/>
              <a:gd name="connsiteX245" fmla="*/ 2821051 w 4694471"/>
              <a:gd name="connsiteY245" fmla="*/ 6855583 h 6855583"/>
              <a:gd name="connsiteX246" fmla="*/ 2820413 w 4694471"/>
              <a:gd name="connsiteY246" fmla="*/ 6855583 h 6855583"/>
              <a:gd name="connsiteX247" fmla="*/ 2820403 w 4694471"/>
              <a:gd name="connsiteY247" fmla="*/ 6855583 h 6855583"/>
              <a:gd name="connsiteX248" fmla="*/ 2820392 w 4694471"/>
              <a:gd name="connsiteY248" fmla="*/ 6855583 h 6855583"/>
              <a:gd name="connsiteX249" fmla="*/ 2793202 w 4694471"/>
              <a:gd name="connsiteY249" fmla="*/ 6855583 h 6855583"/>
              <a:gd name="connsiteX250" fmla="*/ 2771983 w 4694471"/>
              <a:gd name="connsiteY250" fmla="*/ 6855583 h 6855583"/>
              <a:gd name="connsiteX251" fmla="*/ 2771344 w 4694471"/>
              <a:gd name="connsiteY251" fmla="*/ 6855583 h 6855583"/>
              <a:gd name="connsiteX252" fmla="*/ 2771334 w 4694471"/>
              <a:gd name="connsiteY252" fmla="*/ 6855583 h 6855583"/>
              <a:gd name="connsiteX253" fmla="*/ 2771323 w 4694471"/>
              <a:gd name="connsiteY253" fmla="*/ 6855583 h 6855583"/>
              <a:gd name="connsiteX254" fmla="*/ 2769494 w 4694471"/>
              <a:gd name="connsiteY254" fmla="*/ 6855583 h 6855583"/>
              <a:gd name="connsiteX255" fmla="*/ 2720426 w 4694471"/>
              <a:gd name="connsiteY255" fmla="*/ 6855583 h 6855583"/>
              <a:gd name="connsiteX256" fmla="*/ 2651674 w 4694471"/>
              <a:gd name="connsiteY256" fmla="*/ 6855583 h 6855583"/>
              <a:gd name="connsiteX257" fmla="*/ 2651034 w 4694471"/>
              <a:gd name="connsiteY257" fmla="*/ 6855583 h 6855583"/>
              <a:gd name="connsiteX258" fmla="*/ 2651025 w 4694471"/>
              <a:gd name="connsiteY258" fmla="*/ 6855583 h 6855583"/>
              <a:gd name="connsiteX259" fmla="*/ 2651014 w 4694471"/>
              <a:gd name="connsiteY259" fmla="*/ 6855583 h 6855583"/>
              <a:gd name="connsiteX260" fmla="*/ 2600795 w 4694471"/>
              <a:gd name="connsiteY260" fmla="*/ 6855583 h 6855583"/>
              <a:gd name="connsiteX261" fmla="*/ 2600117 w 4694471"/>
              <a:gd name="connsiteY261" fmla="*/ 6855583 h 6855583"/>
              <a:gd name="connsiteX262" fmla="*/ 2578896 w 4694471"/>
              <a:gd name="connsiteY262" fmla="*/ 6855583 h 6855583"/>
              <a:gd name="connsiteX263" fmla="*/ 2578258 w 4694471"/>
              <a:gd name="connsiteY263" fmla="*/ 6855583 h 6855583"/>
              <a:gd name="connsiteX264" fmla="*/ 2578249 w 4694471"/>
              <a:gd name="connsiteY264" fmla="*/ 6855583 h 6855583"/>
              <a:gd name="connsiteX265" fmla="*/ 2578238 w 4694471"/>
              <a:gd name="connsiteY265" fmla="*/ 6855583 h 6855583"/>
              <a:gd name="connsiteX266" fmla="*/ 2527340 w 4694471"/>
              <a:gd name="connsiteY266" fmla="*/ 6855583 h 6855583"/>
              <a:gd name="connsiteX267" fmla="*/ 2252799 w 4694471"/>
              <a:gd name="connsiteY267" fmla="*/ 6855583 h 6855583"/>
              <a:gd name="connsiteX268" fmla="*/ 2180021 w 4694471"/>
              <a:gd name="connsiteY268" fmla="*/ 6855583 h 6855583"/>
              <a:gd name="connsiteX269" fmla="*/ 2128371 w 4694471"/>
              <a:gd name="connsiteY269" fmla="*/ 6855583 h 6855583"/>
              <a:gd name="connsiteX270" fmla="*/ 2127731 w 4694471"/>
              <a:gd name="connsiteY270" fmla="*/ 6855583 h 6855583"/>
              <a:gd name="connsiteX271" fmla="*/ 2127721 w 4694471"/>
              <a:gd name="connsiteY271" fmla="*/ 6855583 h 6855583"/>
              <a:gd name="connsiteX272" fmla="*/ 2127710 w 4694471"/>
              <a:gd name="connsiteY272" fmla="*/ 6855583 h 6855583"/>
              <a:gd name="connsiteX273" fmla="*/ 2076812 w 4694471"/>
              <a:gd name="connsiteY273" fmla="*/ 6855583 h 6855583"/>
              <a:gd name="connsiteX274" fmla="*/ 2055593 w 4694471"/>
              <a:gd name="connsiteY274" fmla="*/ 6855583 h 6855583"/>
              <a:gd name="connsiteX275" fmla="*/ 2054955 w 4694471"/>
              <a:gd name="connsiteY275" fmla="*/ 6855583 h 6855583"/>
              <a:gd name="connsiteX276" fmla="*/ 2054944 w 4694471"/>
              <a:gd name="connsiteY276" fmla="*/ 6855583 h 6855583"/>
              <a:gd name="connsiteX277" fmla="*/ 2054933 w 4694471"/>
              <a:gd name="connsiteY277" fmla="*/ 6855583 h 6855583"/>
              <a:gd name="connsiteX278" fmla="*/ 2004036 w 4694471"/>
              <a:gd name="connsiteY278" fmla="*/ 6855583 h 6855583"/>
              <a:gd name="connsiteX279" fmla="*/ 1935285 w 4694471"/>
              <a:gd name="connsiteY279" fmla="*/ 6855583 h 6855583"/>
              <a:gd name="connsiteX280" fmla="*/ 1934645 w 4694471"/>
              <a:gd name="connsiteY280" fmla="*/ 6855583 h 6855583"/>
              <a:gd name="connsiteX281" fmla="*/ 1934635 w 4694471"/>
              <a:gd name="connsiteY281" fmla="*/ 6855583 h 6855583"/>
              <a:gd name="connsiteX282" fmla="*/ 1934624 w 4694471"/>
              <a:gd name="connsiteY282" fmla="*/ 6855583 h 6855583"/>
              <a:gd name="connsiteX283" fmla="*/ 1886216 w 4694471"/>
              <a:gd name="connsiteY283" fmla="*/ 6855583 h 6855583"/>
              <a:gd name="connsiteX284" fmla="*/ 1885576 w 4694471"/>
              <a:gd name="connsiteY284" fmla="*/ 6855583 h 6855583"/>
              <a:gd name="connsiteX285" fmla="*/ 1885567 w 4694471"/>
              <a:gd name="connsiteY285" fmla="*/ 6855583 h 6855583"/>
              <a:gd name="connsiteX286" fmla="*/ 1885556 w 4694471"/>
              <a:gd name="connsiteY286" fmla="*/ 6855583 h 6855583"/>
              <a:gd name="connsiteX287" fmla="*/ 1883727 w 4694471"/>
              <a:gd name="connsiteY287" fmla="*/ 6855583 h 6855583"/>
              <a:gd name="connsiteX288" fmla="*/ 1862507 w 4694471"/>
              <a:gd name="connsiteY288" fmla="*/ 6855583 h 6855583"/>
              <a:gd name="connsiteX289" fmla="*/ 1861869 w 4694471"/>
              <a:gd name="connsiteY289" fmla="*/ 6855583 h 6855583"/>
              <a:gd name="connsiteX290" fmla="*/ 1861859 w 4694471"/>
              <a:gd name="connsiteY290" fmla="*/ 6855583 h 6855583"/>
              <a:gd name="connsiteX291" fmla="*/ 1861848 w 4694471"/>
              <a:gd name="connsiteY291" fmla="*/ 6855583 h 6855583"/>
              <a:gd name="connsiteX292" fmla="*/ 1834658 w 4694471"/>
              <a:gd name="connsiteY292" fmla="*/ 6855583 h 6855583"/>
              <a:gd name="connsiteX293" fmla="*/ 1813439 w 4694471"/>
              <a:gd name="connsiteY293" fmla="*/ 6855583 h 6855583"/>
              <a:gd name="connsiteX294" fmla="*/ 1812800 w 4694471"/>
              <a:gd name="connsiteY294" fmla="*/ 6855583 h 6855583"/>
              <a:gd name="connsiteX295" fmla="*/ 1812790 w 4694471"/>
              <a:gd name="connsiteY295" fmla="*/ 6855583 h 6855583"/>
              <a:gd name="connsiteX296" fmla="*/ 1812779 w 4694471"/>
              <a:gd name="connsiteY296" fmla="*/ 6855583 h 6855583"/>
              <a:gd name="connsiteX297" fmla="*/ 1810950 w 4694471"/>
              <a:gd name="connsiteY297" fmla="*/ 6855583 h 6855583"/>
              <a:gd name="connsiteX298" fmla="*/ 1761882 w 4694471"/>
              <a:gd name="connsiteY298" fmla="*/ 6855583 h 6855583"/>
              <a:gd name="connsiteX299" fmla="*/ 1169827 w 4694471"/>
              <a:gd name="connsiteY299" fmla="*/ 6855583 h 6855583"/>
              <a:gd name="connsiteX300" fmla="*/ 1169187 w 4694471"/>
              <a:gd name="connsiteY300" fmla="*/ 6855583 h 6855583"/>
              <a:gd name="connsiteX301" fmla="*/ 1169177 w 4694471"/>
              <a:gd name="connsiteY301" fmla="*/ 6855583 h 6855583"/>
              <a:gd name="connsiteX302" fmla="*/ 1169166 w 4694471"/>
              <a:gd name="connsiteY302" fmla="*/ 6855583 h 6855583"/>
              <a:gd name="connsiteX303" fmla="*/ 1118268 w 4694471"/>
              <a:gd name="connsiteY303" fmla="*/ 6855583 h 6855583"/>
              <a:gd name="connsiteX304" fmla="*/ 1097049 w 4694471"/>
              <a:gd name="connsiteY304" fmla="*/ 6855583 h 6855583"/>
              <a:gd name="connsiteX305" fmla="*/ 1096411 w 4694471"/>
              <a:gd name="connsiteY305" fmla="*/ 6855583 h 6855583"/>
              <a:gd name="connsiteX306" fmla="*/ 1096400 w 4694471"/>
              <a:gd name="connsiteY306" fmla="*/ 6855583 h 6855583"/>
              <a:gd name="connsiteX307" fmla="*/ 1096389 w 4694471"/>
              <a:gd name="connsiteY307" fmla="*/ 6855583 h 6855583"/>
              <a:gd name="connsiteX308" fmla="*/ 1045492 w 4694471"/>
              <a:gd name="connsiteY308" fmla="*/ 6855583 h 6855583"/>
              <a:gd name="connsiteX309" fmla="*/ 961282 w 4694471"/>
              <a:gd name="connsiteY309" fmla="*/ 6855583 h 6855583"/>
              <a:gd name="connsiteX310" fmla="*/ 2738 w 4694471"/>
              <a:gd name="connsiteY310" fmla="*/ 6855583 h 6855583"/>
              <a:gd name="connsiteX311" fmla="*/ 2738 w 4694471"/>
              <a:gd name="connsiteY311" fmla="*/ 5657026 h 6855583"/>
              <a:gd name="connsiteX312" fmla="*/ 1722 w 4694471"/>
              <a:gd name="connsiteY312" fmla="*/ 5657026 h 6855583"/>
              <a:gd name="connsiteX313" fmla="*/ 1722 w 4694471"/>
              <a:gd name="connsiteY313" fmla="*/ 5612741 h 6855583"/>
              <a:gd name="connsiteX314" fmla="*/ 1722 w 4694471"/>
              <a:gd name="connsiteY314" fmla="*/ 5598486 h 6855583"/>
              <a:gd name="connsiteX315" fmla="*/ 1722 w 4694471"/>
              <a:gd name="connsiteY315" fmla="*/ 5598155 h 6855583"/>
              <a:gd name="connsiteX316" fmla="*/ 426 w 4694471"/>
              <a:gd name="connsiteY316" fmla="*/ 5598155 h 6855583"/>
              <a:gd name="connsiteX317" fmla="*/ 426 w 4694471"/>
              <a:gd name="connsiteY317" fmla="*/ 5405390 h 6855583"/>
              <a:gd name="connsiteX318" fmla="*/ 426 w 4694471"/>
              <a:gd name="connsiteY318" fmla="*/ 5379129 h 6855583"/>
              <a:gd name="connsiteX319" fmla="*/ 428 w 4694471"/>
              <a:gd name="connsiteY319" fmla="*/ 4794177 h 6855583"/>
              <a:gd name="connsiteX320" fmla="*/ 428 w 4694471"/>
              <a:gd name="connsiteY320" fmla="*/ 4514790 h 6855583"/>
              <a:gd name="connsiteX321" fmla="*/ 428 w 4694471"/>
              <a:gd name="connsiteY321" fmla="*/ 4437487 h 6855583"/>
              <a:gd name="connsiteX322" fmla="*/ 1710 w 4694471"/>
              <a:gd name="connsiteY322" fmla="*/ 4437487 h 6855583"/>
              <a:gd name="connsiteX323" fmla="*/ 1710 w 4694471"/>
              <a:gd name="connsiteY323" fmla="*/ 4199586 h 6855583"/>
              <a:gd name="connsiteX324" fmla="*/ 0 w 4694471"/>
              <a:gd name="connsiteY324" fmla="*/ 4199586 h 6855583"/>
              <a:gd name="connsiteX325" fmla="*/ 0 w 4694471"/>
              <a:gd name="connsiteY325" fmla="*/ 3265890 h 6855583"/>
              <a:gd name="connsiteX326" fmla="*/ 2738 w 4694471"/>
              <a:gd name="connsiteY326" fmla="*/ 3265890 h 6855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</a:cxnLst>
            <a:rect l="l" t="t" r="r" b="b"/>
            <a:pathLst>
              <a:path w="4694471" h="6855583">
                <a:moveTo>
                  <a:pt x="2738" y="0"/>
                </a:moveTo>
                <a:lnTo>
                  <a:pt x="961282" y="0"/>
                </a:lnTo>
                <a:lnTo>
                  <a:pt x="1974639" y="0"/>
                </a:lnTo>
                <a:lnTo>
                  <a:pt x="2050909" y="0"/>
                </a:lnTo>
                <a:lnTo>
                  <a:pt x="2600795" y="0"/>
                </a:lnTo>
                <a:lnTo>
                  <a:pt x="2671049" y="0"/>
                </a:lnTo>
                <a:lnTo>
                  <a:pt x="2747320" y="0"/>
                </a:lnTo>
                <a:lnTo>
                  <a:pt x="2933183" y="0"/>
                </a:lnTo>
                <a:lnTo>
                  <a:pt x="3009453" y="0"/>
                </a:lnTo>
                <a:lnTo>
                  <a:pt x="3559339" y="0"/>
                </a:lnTo>
                <a:lnTo>
                  <a:pt x="3559339" y="1"/>
                </a:lnTo>
                <a:lnTo>
                  <a:pt x="3629003" y="1"/>
                </a:lnTo>
                <a:lnTo>
                  <a:pt x="3629584" y="1"/>
                </a:lnTo>
                <a:lnTo>
                  <a:pt x="3629593" y="0"/>
                </a:lnTo>
                <a:lnTo>
                  <a:pt x="3629603" y="1"/>
                </a:lnTo>
                <a:lnTo>
                  <a:pt x="3675909" y="1"/>
                </a:lnTo>
                <a:lnTo>
                  <a:pt x="3705273" y="1"/>
                </a:lnTo>
                <a:lnTo>
                  <a:pt x="3705854" y="1"/>
                </a:lnTo>
                <a:lnTo>
                  <a:pt x="3705864" y="0"/>
                </a:lnTo>
                <a:lnTo>
                  <a:pt x="3705872" y="1"/>
                </a:lnTo>
                <a:lnTo>
                  <a:pt x="3752180" y="1"/>
                </a:lnTo>
                <a:lnTo>
                  <a:pt x="3752180" y="2441"/>
                </a:lnTo>
                <a:lnTo>
                  <a:pt x="3799909" y="4925"/>
                </a:lnTo>
                <a:lnTo>
                  <a:pt x="3802804" y="5380"/>
                </a:lnTo>
                <a:lnTo>
                  <a:pt x="3806663" y="5593"/>
                </a:lnTo>
                <a:cubicBezTo>
                  <a:pt x="3864922" y="12094"/>
                  <a:pt x="3921679" y="24167"/>
                  <a:pt x="3976490" y="41323"/>
                </a:cubicBezTo>
                <a:lnTo>
                  <a:pt x="3980485" y="42781"/>
                </a:lnTo>
                <a:lnTo>
                  <a:pt x="3981173" y="42964"/>
                </a:lnTo>
                <a:lnTo>
                  <a:pt x="3988028" y="45538"/>
                </a:lnTo>
                <a:lnTo>
                  <a:pt x="4057188" y="70802"/>
                </a:lnTo>
                <a:lnTo>
                  <a:pt x="4064286" y="74169"/>
                </a:lnTo>
                <a:lnTo>
                  <a:pt x="4066984" y="75182"/>
                </a:lnTo>
                <a:lnTo>
                  <a:pt x="4081569" y="82367"/>
                </a:lnTo>
                <a:lnTo>
                  <a:pt x="4134626" y="107533"/>
                </a:lnTo>
                <a:lnTo>
                  <a:pt x="4144529" y="113381"/>
                </a:lnTo>
                <a:lnTo>
                  <a:pt x="4149036" y="115600"/>
                </a:lnTo>
                <a:lnTo>
                  <a:pt x="4164861" y="125388"/>
                </a:lnTo>
                <a:lnTo>
                  <a:pt x="4208472" y="151145"/>
                </a:lnTo>
                <a:lnTo>
                  <a:pt x="4220829" y="160005"/>
                </a:lnTo>
                <a:lnTo>
                  <a:pt x="4226920" y="163770"/>
                </a:lnTo>
                <a:lnTo>
                  <a:pt x="4241989" y="175174"/>
                </a:lnTo>
                <a:lnTo>
                  <a:pt x="4278383" y="201267"/>
                </a:lnTo>
                <a:lnTo>
                  <a:pt x="4292804" y="213629"/>
                </a:lnTo>
                <a:lnTo>
                  <a:pt x="4300227" y="219244"/>
                </a:lnTo>
                <a:lnTo>
                  <a:pt x="4313741" y="231573"/>
                </a:lnTo>
                <a:lnTo>
                  <a:pt x="4344028" y="257532"/>
                </a:lnTo>
                <a:lnTo>
                  <a:pt x="4360072" y="273838"/>
                </a:lnTo>
                <a:lnTo>
                  <a:pt x="4368549" y="281570"/>
                </a:lnTo>
                <a:lnTo>
                  <a:pt x="4380176" y="294271"/>
                </a:lnTo>
                <a:lnTo>
                  <a:pt x="4405069" y="319569"/>
                </a:lnTo>
                <a:lnTo>
                  <a:pt x="4422252" y="340225"/>
                </a:lnTo>
                <a:lnTo>
                  <a:pt x="4431478" y="350303"/>
                </a:lnTo>
                <a:lnTo>
                  <a:pt x="4441115" y="362902"/>
                </a:lnTo>
                <a:lnTo>
                  <a:pt x="4461169" y="387010"/>
                </a:lnTo>
                <a:lnTo>
                  <a:pt x="4478966" y="412388"/>
                </a:lnTo>
                <a:lnTo>
                  <a:pt x="4488605" y="424989"/>
                </a:lnTo>
                <a:lnTo>
                  <a:pt x="4496275" y="437070"/>
                </a:lnTo>
                <a:lnTo>
                  <a:pt x="4511991" y="459481"/>
                </a:lnTo>
                <a:lnTo>
                  <a:pt x="4529843" y="489942"/>
                </a:lnTo>
                <a:lnTo>
                  <a:pt x="4539521" y="505184"/>
                </a:lnTo>
                <a:lnTo>
                  <a:pt x="4545336" y="516375"/>
                </a:lnTo>
                <a:lnTo>
                  <a:pt x="4557199" y="536617"/>
                </a:lnTo>
                <a:lnTo>
                  <a:pt x="4574510" y="572526"/>
                </a:lnTo>
                <a:lnTo>
                  <a:pt x="4583819" y="590437"/>
                </a:lnTo>
                <a:lnTo>
                  <a:pt x="4587950" y="600402"/>
                </a:lnTo>
                <a:lnTo>
                  <a:pt x="4596457" y="618045"/>
                </a:lnTo>
                <a:lnTo>
                  <a:pt x="4612602" y="659843"/>
                </a:lnTo>
                <a:lnTo>
                  <a:pt x="4621089" y="680300"/>
                </a:lnTo>
                <a:lnTo>
                  <a:pt x="4623764" y="688731"/>
                </a:lnTo>
                <a:lnTo>
                  <a:pt x="4629429" y="703398"/>
                </a:lnTo>
                <a:lnTo>
                  <a:pt x="4643753" y="751729"/>
                </a:lnTo>
                <a:lnTo>
                  <a:pt x="4650921" y="774321"/>
                </a:lnTo>
                <a:lnTo>
                  <a:pt x="4652412" y="780948"/>
                </a:lnTo>
                <a:lnTo>
                  <a:pt x="4655777" y="792304"/>
                </a:lnTo>
                <a:lnTo>
                  <a:pt x="4667595" y="848440"/>
                </a:lnTo>
                <a:lnTo>
                  <a:pt x="4667828" y="849474"/>
                </a:lnTo>
                <a:lnTo>
                  <a:pt x="4669385" y="849474"/>
                </a:lnTo>
                <a:lnTo>
                  <a:pt x="4674465" y="877139"/>
                </a:lnTo>
                <a:lnTo>
                  <a:pt x="4675087" y="882743"/>
                </a:lnTo>
                <a:lnTo>
                  <a:pt x="4676722" y="892259"/>
                </a:lnTo>
                <a:lnTo>
                  <a:pt x="4685327" y="974994"/>
                </a:lnTo>
                <a:lnTo>
                  <a:pt x="4688200" y="1000874"/>
                </a:lnTo>
                <a:lnTo>
                  <a:pt x="4688301" y="1003598"/>
                </a:lnTo>
                <a:lnTo>
                  <a:pt x="4688815" y="1008533"/>
                </a:lnTo>
                <a:lnTo>
                  <a:pt x="4690833" y="1065916"/>
                </a:lnTo>
                <a:lnTo>
                  <a:pt x="4693293" y="1065916"/>
                </a:lnTo>
                <a:lnTo>
                  <a:pt x="4693293" y="1118819"/>
                </a:lnTo>
                <a:lnTo>
                  <a:pt x="4693293" y="1135849"/>
                </a:lnTo>
                <a:lnTo>
                  <a:pt x="4693293" y="1136246"/>
                </a:lnTo>
                <a:lnTo>
                  <a:pt x="4693293" y="1136247"/>
                </a:lnTo>
                <a:lnTo>
                  <a:pt x="4694471" y="1136247"/>
                </a:lnTo>
                <a:lnTo>
                  <a:pt x="4694471" y="1234853"/>
                </a:lnTo>
                <a:lnTo>
                  <a:pt x="4694471" y="1390429"/>
                </a:lnTo>
                <a:lnTo>
                  <a:pt x="4694471" y="1493422"/>
                </a:lnTo>
                <a:lnTo>
                  <a:pt x="4694471" y="1922616"/>
                </a:lnTo>
                <a:lnTo>
                  <a:pt x="4694471" y="1946509"/>
                </a:lnTo>
                <a:lnTo>
                  <a:pt x="4694471" y="2034790"/>
                </a:lnTo>
                <a:lnTo>
                  <a:pt x="4694471" y="2059094"/>
                </a:lnTo>
                <a:lnTo>
                  <a:pt x="4694471" y="2121885"/>
                </a:lnTo>
                <a:lnTo>
                  <a:pt x="4694471" y="2175446"/>
                </a:lnTo>
                <a:lnTo>
                  <a:pt x="4694471" y="2237497"/>
                </a:lnTo>
                <a:lnTo>
                  <a:pt x="4694471" y="2291981"/>
                </a:lnTo>
                <a:lnTo>
                  <a:pt x="4693305" y="2291981"/>
                </a:lnTo>
                <a:lnTo>
                  <a:pt x="4693305" y="3132833"/>
                </a:lnTo>
                <a:lnTo>
                  <a:pt x="4693305" y="3265888"/>
                </a:lnTo>
                <a:lnTo>
                  <a:pt x="4627092" y="3265888"/>
                </a:lnTo>
                <a:lnTo>
                  <a:pt x="3996894" y="3265888"/>
                </a:lnTo>
                <a:lnTo>
                  <a:pt x="3930683" y="3265888"/>
                </a:lnTo>
                <a:lnTo>
                  <a:pt x="3734761" y="3265888"/>
                </a:lnTo>
                <a:lnTo>
                  <a:pt x="3708022" y="3265888"/>
                </a:lnTo>
                <a:lnTo>
                  <a:pt x="3707441" y="3265888"/>
                </a:lnTo>
                <a:lnTo>
                  <a:pt x="3707431" y="3265888"/>
                </a:lnTo>
                <a:lnTo>
                  <a:pt x="3707422" y="3265888"/>
                </a:lnTo>
                <a:lnTo>
                  <a:pt x="3668548" y="3265888"/>
                </a:lnTo>
                <a:lnTo>
                  <a:pt x="3661115" y="3265888"/>
                </a:lnTo>
                <a:lnTo>
                  <a:pt x="3641811" y="3265888"/>
                </a:lnTo>
                <a:lnTo>
                  <a:pt x="3641229" y="3265888"/>
                </a:lnTo>
                <a:lnTo>
                  <a:pt x="3641220" y="3265888"/>
                </a:lnTo>
                <a:lnTo>
                  <a:pt x="3641210" y="3265888"/>
                </a:lnTo>
                <a:lnTo>
                  <a:pt x="3594904" y="3265888"/>
                </a:lnTo>
                <a:lnTo>
                  <a:pt x="3559339" y="3265888"/>
                </a:lnTo>
                <a:lnTo>
                  <a:pt x="3559339" y="3265890"/>
                </a:lnTo>
                <a:lnTo>
                  <a:pt x="3574921" y="3265890"/>
                </a:lnTo>
                <a:lnTo>
                  <a:pt x="3607197" y="3265890"/>
                </a:lnTo>
                <a:lnTo>
                  <a:pt x="3607836" y="3265890"/>
                </a:lnTo>
                <a:lnTo>
                  <a:pt x="3607845" y="3265889"/>
                </a:lnTo>
                <a:lnTo>
                  <a:pt x="3607855" y="3265890"/>
                </a:lnTo>
                <a:lnTo>
                  <a:pt x="3658753" y="3265890"/>
                </a:lnTo>
                <a:lnTo>
                  <a:pt x="3658753" y="3268571"/>
                </a:lnTo>
                <a:lnTo>
                  <a:pt x="3711215" y="3271301"/>
                </a:lnTo>
                <a:lnTo>
                  <a:pt x="3714398" y="3271802"/>
                </a:lnTo>
                <a:lnTo>
                  <a:pt x="3718640" y="3272037"/>
                </a:lnTo>
                <a:cubicBezTo>
                  <a:pt x="3782673" y="3279182"/>
                  <a:pt x="3845058" y="3292453"/>
                  <a:pt x="3905304" y="3311308"/>
                </a:cubicBezTo>
                <a:lnTo>
                  <a:pt x="3909694" y="3312912"/>
                </a:lnTo>
                <a:lnTo>
                  <a:pt x="3910452" y="3313112"/>
                </a:lnTo>
                <a:lnTo>
                  <a:pt x="3917986" y="3315942"/>
                </a:lnTo>
                <a:lnTo>
                  <a:pt x="3994003" y="3343710"/>
                </a:lnTo>
                <a:lnTo>
                  <a:pt x="4001805" y="3347410"/>
                </a:lnTo>
                <a:lnTo>
                  <a:pt x="4004771" y="3348524"/>
                </a:lnTo>
                <a:lnTo>
                  <a:pt x="4020801" y="3356422"/>
                </a:lnTo>
                <a:lnTo>
                  <a:pt x="4079119" y="3384083"/>
                </a:lnTo>
                <a:lnTo>
                  <a:pt x="4090003" y="3390510"/>
                </a:lnTo>
                <a:lnTo>
                  <a:pt x="4094957" y="3392950"/>
                </a:lnTo>
                <a:lnTo>
                  <a:pt x="4112351" y="3403709"/>
                </a:lnTo>
                <a:lnTo>
                  <a:pt x="4160286" y="3432019"/>
                </a:lnTo>
                <a:lnTo>
                  <a:pt x="4173870" y="3441758"/>
                </a:lnTo>
                <a:lnTo>
                  <a:pt x="4180562" y="3445896"/>
                </a:lnTo>
                <a:lnTo>
                  <a:pt x="4197126" y="3458431"/>
                </a:lnTo>
                <a:lnTo>
                  <a:pt x="4237129" y="3487112"/>
                </a:lnTo>
                <a:lnTo>
                  <a:pt x="4252979" y="3500699"/>
                </a:lnTo>
                <a:lnTo>
                  <a:pt x="4261138" y="3506870"/>
                </a:lnTo>
                <a:lnTo>
                  <a:pt x="4275993" y="3520422"/>
                </a:lnTo>
                <a:lnTo>
                  <a:pt x="4309284" y="3548954"/>
                </a:lnTo>
                <a:lnTo>
                  <a:pt x="4326916" y="3566877"/>
                </a:lnTo>
                <a:lnTo>
                  <a:pt x="4336234" y="3575376"/>
                </a:lnTo>
                <a:lnTo>
                  <a:pt x="4349015" y="3589336"/>
                </a:lnTo>
                <a:lnTo>
                  <a:pt x="4376377" y="3617142"/>
                </a:lnTo>
                <a:lnTo>
                  <a:pt x="4395261" y="3639845"/>
                </a:lnTo>
                <a:lnTo>
                  <a:pt x="4405403" y="3650923"/>
                </a:lnTo>
                <a:lnTo>
                  <a:pt x="4415995" y="3664770"/>
                </a:lnTo>
                <a:lnTo>
                  <a:pt x="4438037" y="3691269"/>
                </a:lnTo>
                <a:lnTo>
                  <a:pt x="4457599" y="3719164"/>
                </a:lnTo>
                <a:lnTo>
                  <a:pt x="4468193" y="3733015"/>
                </a:lnTo>
                <a:lnTo>
                  <a:pt x="4476623" y="3746294"/>
                </a:lnTo>
                <a:lnTo>
                  <a:pt x="4493900" y="3770927"/>
                </a:lnTo>
                <a:lnTo>
                  <a:pt x="4513522" y="3804408"/>
                </a:lnTo>
                <a:lnTo>
                  <a:pt x="4524158" y="3821161"/>
                </a:lnTo>
                <a:lnTo>
                  <a:pt x="4530550" y="3833462"/>
                </a:lnTo>
                <a:lnTo>
                  <a:pt x="4543589" y="3855710"/>
                </a:lnTo>
                <a:lnTo>
                  <a:pt x="4562617" y="3895180"/>
                </a:lnTo>
                <a:lnTo>
                  <a:pt x="4572847" y="3914866"/>
                </a:lnTo>
                <a:lnTo>
                  <a:pt x="4577389" y="3925819"/>
                </a:lnTo>
                <a:lnTo>
                  <a:pt x="4586740" y="3945212"/>
                </a:lnTo>
                <a:lnTo>
                  <a:pt x="4604487" y="3991153"/>
                </a:lnTo>
                <a:lnTo>
                  <a:pt x="4613813" y="4013638"/>
                </a:lnTo>
                <a:lnTo>
                  <a:pt x="4616753" y="4022906"/>
                </a:lnTo>
                <a:lnTo>
                  <a:pt x="4622981" y="4039027"/>
                </a:lnTo>
                <a:lnTo>
                  <a:pt x="4638724" y="4092151"/>
                </a:lnTo>
                <a:lnTo>
                  <a:pt x="4646603" y="4116982"/>
                </a:lnTo>
                <a:lnTo>
                  <a:pt x="4648243" y="4124267"/>
                </a:lnTo>
                <a:lnTo>
                  <a:pt x="4651941" y="4136749"/>
                </a:lnTo>
                <a:lnTo>
                  <a:pt x="4664931" y="4198450"/>
                </a:lnTo>
                <a:lnTo>
                  <a:pt x="4665187" y="4199586"/>
                </a:lnTo>
                <a:lnTo>
                  <a:pt x="4666897" y="4199586"/>
                </a:lnTo>
                <a:lnTo>
                  <a:pt x="4672481" y="4229994"/>
                </a:lnTo>
                <a:lnTo>
                  <a:pt x="4673165" y="4236155"/>
                </a:lnTo>
                <a:lnTo>
                  <a:pt x="4674963" y="4246612"/>
                </a:lnTo>
                <a:lnTo>
                  <a:pt x="4684421" y="4337551"/>
                </a:lnTo>
                <a:lnTo>
                  <a:pt x="4687579" y="4365998"/>
                </a:lnTo>
                <a:lnTo>
                  <a:pt x="4687689" y="4368991"/>
                </a:lnTo>
                <a:lnTo>
                  <a:pt x="4688255" y="4374414"/>
                </a:lnTo>
                <a:lnTo>
                  <a:pt x="4690473" y="4437487"/>
                </a:lnTo>
                <a:lnTo>
                  <a:pt x="4693177" y="4437487"/>
                </a:lnTo>
                <a:lnTo>
                  <a:pt x="4693177" y="4495636"/>
                </a:lnTo>
                <a:lnTo>
                  <a:pt x="4693177" y="4514355"/>
                </a:lnTo>
                <a:lnTo>
                  <a:pt x="4693177" y="4514790"/>
                </a:lnTo>
                <a:lnTo>
                  <a:pt x="4693177" y="4514792"/>
                </a:lnTo>
                <a:lnTo>
                  <a:pt x="4694471" y="4514792"/>
                </a:lnTo>
                <a:lnTo>
                  <a:pt x="4694471" y="4623176"/>
                </a:lnTo>
                <a:lnTo>
                  <a:pt x="4694471" y="4794177"/>
                </a:lnTo>
                <a:lnTo>
                  <a:pt x="4694471" y="4907381"/>
                </a:lnTo>
                <a:lnTo>
                  <a:pt x="4694471" y="5379129"/>
                </a:lnTo>
                <a:lnTo>
                  <a:pt x="4694471" y="5405390"/>
                </a:lnTo>
                <a:lnTo>
                  <a:pt x="4694471" y="5502425"/>
                </a:lnTo>
                <a:lnTo>
                  <a:pt x="4694471" y="5529139"/>
                </a:lnTo>
                <a:lnTo>
                  <a:pt x="4694471" y="5598155"/>
                </a:lnTo>
                <a:lnTo>
                  <a:pt x="4694471" y="5657026"/>
                </a:lnTo>
                <a:lnTo>
                  <a:pt x="4694471" y="5725229"/>
                </a:lnTo>
                <a:lnTo>
                  <a:pt x="4694471" y="5785115"/>
                </a:lnTo>
                <a:lnTo>
                  <a:pt x="4693189" y="5785115"/>
                </a:lnTo>
                <a:lnTo>
                  <a:pt x="4693189" y="6709336"/>
                </a:lnTo>
                <a:lnTo>
                  <a:pt x="4693189" y="6855583"/>
                </a:lnTo>
                <a:lnTo>
                  <a:pt x="4620412" y="6855583"/>
                </a:lnTo>
                <a:lnTo>
                  <a:pt x="3976799" y="6855583"/>
                </a:lnTo>
                <a:lnTo>
                  <a:pt x="3927731" y="6855583"/>
                </a:lnTo>
                <a:lnTo>
                  <a:pt x="3904023" y="6855583"/>
                </a:lnTo>
                <a:lnTo>
                  <a:pt x="3854954" y="6855583"/>
                </a:lnTo>
                <a:lnTo>
                  <a:pt x="3734645" y="6855583"/>
                </a:lnTo>
                <a:lnTo>
                  <a:pt x="3661868" y="6855583"/>
                </a:lnTo>
                <a:lnTo>
                  <a:pt x="3610218" y="6855583"/>
                </a:lnTo>
                <a:lnTo>
                  <a:pt x="3609578" y="6855583"/>
                </a:lnTo>
                <a:lnTo>
                  <a:pt x="3609569" y="6855583"/>
                </a:lnTo>
                <a:lnTo>
                  <a:pt x="3609558" y="6855583"/>
                </a:lnTo>
                <a:lnTo>
                  <a:pt x="3559339" y="6855583"/>
                </a:lnTo>
                <a:lnTo>
                  <a:pt x="3558661" y="6855583"/>
                </a:lnTo>
                <a:lnTo>
                  <a:pt x="3537440" y="6855583"/>
                </a:lnTo>
                <a:lnTo>
                  <a:pt x="3536802" y="6855583"/>
                </a:lnTo>
                <a:lnTo>
                  <a:pt x="3536793" y="6855583"/>
                </a:lnTo>
                <a:lnTo>
                  <a:pt x="3536782" y="6855583"/>
                </a:lnTo>
                <a:lnTo>
                  <a:pt x="3485884" y="6855583"/>
                </a:lnTo>
                <a:lnTo>
                  <a:pt x="3211343" y="6855583"/>
                </a:lnTo>
                <a:lnTo>
                  <a:pt x="3138565" y="6855583"/>
                </a:lnTo>
                <a:lnTo>
                  <a:pt x="3018255" y="6855583"/>
                </a:lnTo>
                <a:lnTo>
                  <a:pt x="2969187" y="6855583"/>
                </a:lnTo>
                <a:lnTo>
                  <a:pt x="2945479" y="6855583"/>
                </a:lnTo>
                <a:lnTo>
                  <a:pt x="2896410" y="6855583"/>
                </a:lnTo>
                <a:lnTo>
                  <a:pt x="2893829" y="6855583"/>
                </a:lnTo>
                <a:lnTo>
                  <a:pt x="2893189" y="6855583"/>
                </a:lnTo>
                <a:lnTo>
                  <a:pt x="2893179" y="6855583"/>
                </a:lnTo>
                <a:lnTo>
                  <a:pt x="2893168" y="6855583"/>
                </a:lnTo>
                <a:lnTo>
                  <a:pt x="2844760" y="6855583"/>
                </a:lnTo>
                <a:lnTo>
                  <a:pt x="2844120" y="6855583"/>
                </a:lnTo>
                <a:lnTo>
                  <a:pt x="2844111" y="6855583"/>
                </a:lnTo>
                <a:lnTo>
                  <a:pt x="2844100" y="6855583"/>
                </a:lnTo>
                <a:lnTo>
                  <a:pt x="2842271" y="6855583"/>
                </a:lnTo>
                <a:lnTo>
                  <a:pt x="2821051" y="6855583"/>
                </a:lnTo>
                <a:lnTo>
                  <a:pt x="2820413" y="6855583"/>
                </a:lnTo>
                <a:lnTo>
                  <a:pt x="2820403" y="6855583"/>
                </a:lnTo>
                <a:lnTo>
                  <a:pt x="2820392" y="6855583"/>
                </a:lnTo>
                <a:lnTo>
                  <a:pt x="2793202" y="6855583"/>
                </a:lnTo>
                <a:lnTo>
                  <a:pt x="2771983" y="6855583"/>
                </a:lnTo>
                <a:lnTo>
                  <a:pt x="2771344" y="6855583"/>
                </a:lnTo>
                <a:lnTo>
                  <a:pt x="2771334" y="6855583"/>
                </a:lnTo>
                <a:lnTo>
                  <a:pt x="2771323" y="6855583"/>
                </a:lnTo>
                <a:lnTo>
                  <a:pt x="2769494" y="6855583"/>
                </a:lnTo>
                <a:lnTo>
                  <a:pt x="2720426" y="6855583"/>
                </a:lnTo>
                <a:lnTo>
                  <a:pt x="2651674" y="6855583"/>
                </a:lnTo>
                <a:lnTo>
                  <a:pt x="2651034" y="6855583"/>
                </a:lnTo>
                <a:lnTo>
                  <a:pt x="2651025" y="6855583"/>
                </a:lnTo>
                <a:lnTo>
                  <a:pt x="2651014" y="6855583"/>
                </a:lnTo>
                <a:lnTo>
                  <a:pt x="2600795" y="6855583"/>
                </a:lnTo>
                <a:lnTo>
                  <a:pt x="2600117" y="6855583"/>
                </a:lnTo>
                <a:lnTo>
                  <a:pt x="2578896" y="6855583"/>
                </a:lnTo>
                <a:lnTo>
                  <a:pt x="2578258" y="6855583"/>
                </a:lnTo>
                <a:lnTo>
                  <a:pt x="2578249" y="6855583"/>
                </a:lnTo>
                <a:lnTo>
                  <a:pt x="2578238" y="6855583"/>
                </a:lnTo>
                <a:lnTo>
                  <a:pt x="2527340" y="6855583"/>
                </a:lnTo>
                <a:lnTo>
                  <a:pt x="2252799" y="6855583"/>
                </a:lnTo>
                <a:lnTo>
                  <a:pt x="2180021" y="6855583"/>
                </a:lnTo>
                <a:lnTo>
                  <a:pt x="2128371" y="6855583"/>
                </a:lnTo>
                <a:lnTo>
                  <a:pt x="2127731" y="6855583"/>
                </a:lnTo>
                <a:lnTo>
                  <a:pt x="2127721" y="6855583"/>
                </a:lnTo>
                <a:lnTo>
                  <a:pt x="2127710" y="6855583"/>
                </a:lnTo>
                <a:lnTo>
                  <a:pt x="2076812" y="6855583"/>
                </a:lnTo>
                <a:lnTo>
                  <a:pt x="2055593" y="6855583"/>
                </a:lnTo>
                <a:lnTo>
                  <a:pt x="2054955" y="6855583"/>
                </a:lnTo>
                <a:lnTo>
                  <a:pt x="2054944" y="6855583"/>
                </a:lnTo>
                <a:lnTo>
                  <a:pt x="2054933" y="6855583"/>
                </a:lnTo>
                <a:lnTo>
                  <a:pt x="2004036" y="6855583"/>
                </a:lnTo>
                <a:lnTo>
                  <a:pt x="1935285" y="6855583"/>
                </a:lnTo>
                <a:lnTo>
                  <a:pt x="1934645" y="6855583"/>
                </a:lnTo>
                <a:lnTo>
                  <a:pt x="1934635" y="6855583"/>
                </a:lnTo>
                <a:lnTo>
                  <a:pt x="1934624" y="6855583"/>
                </a:lnTo>
                <a:lnTo>
                  <a:pt x="1886216" y="6855583"/>
                </a:lnTo>
                <a:lnTo>
                  <a:pt x="1885576" y="6855583"/>
                </a:lnTo>
                <a:lnTo>
                  <a:pt x="1885567" y="6855583"/>
                </a:lnTo>
                <a:lnTo>
                  <a:pt x="1885556" y="6855583"/>
                </a:lnTo>
                <a:lnTo>
                  <a:pt x="1883727" y="6855583"/>
                </a:lnTo>
                <a:lnTo>
                  <a:pt x="1862507" y="6855583"/>
                </a:lnTo>
                <a:lnTo>
                  <a:pt x="1861869" y="6855583"/>
                </a:lnTo>
                <a:lnTo>
                  <a:pt x="1861859" y="6855583"/>
                </a:lnTo>
                <a:lnTo>
                  <a:pt x="1861848" y="6855583"/>
                </a:lnTo>
                <a:lnTo>
                  <a:pt x="1834658" y="6855583"/>
                </a:lnTo>
                <a:lnTo>
                  <a:pt x="1813439" y="6855583"/>
                </a:lnTo>
                <a:lnTo>
                  <a:pt x="1812800" y="6855583"/>
                </a:lnTo>
                <a:lnTo>
                  <a:pt x="1812790" y="6855583"/>
                </a:lnTo>
                <a:lnTo>
                  <a:pt x="1812779" y="6855583"/>
                </a:lnTo>
                <a:lnTo>
                  <a:pt x="1810950" y="6855583"/>
                </a:lnTo>
                <a:lnTo>
                  <a:pt x="1761882" y="6855583"/>
                </a:lnTo>
                <a:lnTo>
                  <a:pt x="1169827" y="6855583"/>
                </a:lnTo>
                <a:lnTo>
                  <a:pt x="1169187" y="6855583"/>
                </a:lnTo>
                <a:lnTo>
                  <a:pt x="1169177" y="6855583"/>
                </a:lnTo>
                <a:lnTo>
                  <a:pt x="1169166" y="6855583"/>
                </a:lnTo>
                <a:lnTo>
                  <a:pt x="1118268" y="6855583"/>
                </a:lnTo>
                <a:lnTo>
                  <a:pt x="1097049" y="6855583"/>
                </a:lnTo>
                <a:lnTo>
                  <a:pt x="1096411" y="6855583"/>
                </a:lnTo>
                <a:lnTo>
                  <a:pt x="1096400" y="6855583"/>
                </a:lnTo>
                <a:lnTo>
                  <a:pt x="1096389" y="6855583"/>
                </a:lnTo>
                <a:lnTo>
                  <a:pt x="1045492" y="6855583"/>
                </a:lnTo>
                <a:lnTo>
                  <a:pt x="961282" y="6855583"/>
                </a:lnTo>
                <a:lnTo>
                  <a:pt x="2738" y="6855583"/>
                </a:lnTo>
                <a:lnTo>
                  <a:pt x="2738" y="5657026"/>
                </a:lnTo>
                <a:lnTo>
                  <a:pt x="1722" y="5657026"/>
                </a:lnTo>
                <a:lnTo>
                  <a:pt x="1722" y="5612741"/>
                </a:lnTo>
                <a:lnTo>
                  <a:pt x="1722" y="5598486"/>
                </a:lnTo>
                <a:lnTo>
                  <a:pt x="1722" y="5598155"/>
                </a:lnTo>
                <a:lnTo>
                  <a:pt x="426" y="5598155"/>
                </a:lnTo>
                <a:lnTo>
                  <a:pt x="426" y="5405390"/>
                </a:lnTo>
                <a:lnTo>
                  <a:pt x="426" y="5379129"/>
                </a:lnTo>
                <a:lnTo>
                  <a:pt x="428" y="4794177"/>
                </a:lnTo>
                <a:lnTo>
                  <a:pt x="428" y="4514790"/>
                </a:lnTo>
                <a:lnTo>
                  <a:pt x="428" y="4437487"/>
                </a:lnTo>
                <a:lnTo>
                  <a:pt x="1710" y="4437487"/>
                </a:lnTo>
                <a:lnTo>
                  <a:pt x="1710" y="4199586"/>
                </a:lnTo>
                <a:lnTo>
                  <a:pt x="0" y="4199586"/>
                </a:lnTo>
                <a:lnTo>
                  <a:pt x="0" y="3265890"/>
                </a:lnTo>
                <a:lnTo>
                  <a:pt x="2738" y="326589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62154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E570EC-073C-4640-BFF5-772A5C70DB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2051049"/>
            <a:ext cx="12191999" cy="2570073"/>
          </a:xfrm>
          <a:custGeom>
            <a:avLst/>
            <a:gdLst>
              <a:gd name="connsiteX0" fmla="*/ 1126324 w 12191999"/>
              <a:gd name="connsiteY0" fmla="*/ 0 h 2570073"/>
              <a:gd name="connsiteX1" fmla="*/ 2454730 w 12191999"/>
              <a:gd name="connsiteY1" fmla="*/ 0 h 2570073"/>
              <a:gd name="connsiteX2" fmla="*/ 3481005 w 12191999"/>
              <a:gd name="connsiteY2" fmla="*/ 0 h 2570073"/>
              <a:gd name="connsiteX3" fmla="*/ 3540677 w 12191999"/>
              <a:gd name="connsiteY3" fmla="*/ 0 h 2570073"/>
              <a:gd name="connsiteX4" fmla="*/ 4809411 w 12191999"/>
              <a:gd name="connsiteY4" fmla="*/ 0 h 2570073"/>
              <a:gd name="connsiteX5" fmla="*/ 4869084 w 12191999"/>
              <a:gd name="connsiteY5" fmla="*/ 0 h 2570073"/>
              <a:gd name="connsiteX6" fmla="*/ 4869084 w 12191999"/>
              <a:gd name="connsiteY6" fmla="*/ 1332 h 2570073"/>
              <a:gd name="connsiteX7" fmla="*/ 5935733 w 12191999"/>
              <a:gd name="connsiteY7" fmla="*/ 1332 h 2570073"/>
              <a:gd name="connsiteX8" fmla="*/ 5935733 w 12191999"/>
              <a:gd name="connsiteY8" fmla="*/ 316755 h 2570073"/>
              <a:gd name="connsiteX9" fmla="*/ 5935733 w 12191999"/>
              <a:gd name="connsiteY9" fmla="*/ 1082676 h 2570073"/>
              <a:gd name="connsiteX10" fmla="*/ 5935736 w 12191999"/>
              <a:gd name="connsiteY10" fmla="*/ 1082676 h 2570073"/>
              <a:gd name="connsiteX11" fmla="*/ 5935736 w 12191999"/>
              <a:gd name="connsiteY11" fmla="*/ 1074434 h 2570073"/>
              <a:gd name="connsiteX12" fmla="*/ 5938272 w 12191999"/>
              <a:gd name="connsiteY12" fmla="*/ 1074434 h 2570073"/>
              <a:gd name="connsiteX13" fmla="*/ 5940853 w 12191999"/>
              <a:gd name="connsiteY13" fmla="*/ 1019920 h 2570073"/>
              <a:gd name="connsiteX14" fmla="*/ 5941325 w 12191999"/>
              <a:gd name="connsiteY14" fmla="*/ 1016613 h 2570073"/>
              <a:gd name="connsiteX15" fmla="*/ 5941548 w 12191999"/>
              <a:gd name="connsiteY15" fmla="*/ 1012207 h 2570073"/>
              <a:gd name="connsiteX16" fmla="*/ 5978687 w 12191999"/>
              <a:gd name="connsiteY16" fmla="*/ 818244 h 2570073"/>
              <a:gd name="connsiteX17" fmla="*/ 5980204 w 12191999"/>
              <a:gd name="connsiteY17" fmla="*/ 813682 h 2570073"/>
              <a:gd name="connsiteX18" fmla="*/ 5980394 w 12191999"/>
              <a:gd name="connsiteY18" fmla="*/ 812894 h 2570073"/>
              <a:gd name="connsiteX19" fmla="*/ 5983069 w 12191999"/>
              <a:gd name="connsiteY19" fmla="*/ 805066 h 2570073"/>
              <a:gd name="connsiteX20" fmla="*/ 6009331 w 12191999"/>
              <a:gd name="connsiteY20" fmla="*/ 726078 h 2570073"/>
              <a:gd name="connsiteX21" fmla="*/ 6012831 w 12191999"/>
              <a:gd name="connsiteY21" fmla="*/ 717971 h 2570073"/>
              <a:gd name="connsiteX22" fmla="*/ 6013884 w 12191999"/>
              <a:gd name="connsiteY22" fmla="*/ 714889 h 2570073"/>
              <a:gd name="connsiteX23" fmla="*/ 6021353 w 12191999"/>
              <a:gd name="connsiteY23" fmla="*/ 698231 h 2570073"/>
              <a:gd name="connsiteX24" fmla="*/ 6047512 w 12191999"/>
              <a:gd name="connsiteY24" fmla="*/ 637633 h 2570073"/>
              <a:gd name="connsiteX25" fmla="*/ 6053591 w 12191999"/>
              <a:gd name="connsiteY25" fmla="*/ 626323 h 2570073"/>
              <a:gd name="connsiteX26" fmla="*/ 6055898 w 12191999"/>
              <a:gd name="connsiteY26" fmla="*/ 621176 h 2570073"/>
              <a:gd name="connsiteX27" fmla="*/ 6066073 w 12191999"/>
              <a:gd name="connsiteY27" fmla="*/ 603101 h 2570073"/>
              <a:gd name="connsiteX28" fmla="*/ 6092845 w 12191999"/>
              <a:gd name="connsiteY28" fmla="*/ 553294 h 2570073"/>
              <a:gd name="connsiteX29" fmla="*/ 6102056 w 12191999"/>
              <a:gd name="connsiteY29" fmla="*/ 539178 h 2570073"/>
              <a:gd name="connsiteX30" fmla="*/ 6105971 w 12191999"/>
              <a:gd name="connsiteY30" fmla="*/ 532224 h 2570073"/>
              <a:gd name="connsiteX31" fmla="*/ 6117824 w 12191999"/>
              <a:gd name="connsiteY31" fmla="*/ 515013 h 2570073"/>
              <a:gd name="connsiteX32" fmla="*/ 6144948 w 12191999"/>
              <a:gd name="connsiteY32" fmla="*/ 473445 h 2570073"/>
              <a:gd name="connsiteX33" fmla="*/ 6157796 w 12191999"/>
              <a:gd name="connsiteY33" fmla="*/ 456974 h 2570073"/>
              <a:gd name="connsiteX34" fmla="*/ 6163633 w 12191999"/>
              <a:gd name="connsiteY34" fmla="*/ 448498 h 2570073"/>
              <a:gd name="connsiteX35" fmla="*/ 6176449 w 12191999"/>
              <a:gd name="connsiteY35" fmla="*/ 433062 h 2570073"/>
              <a:gd name="connsiteX36" fmla="*/ 6203434 w 12191999"/>
              <a:gd name="connsiteY36" fmla="*/ 398470 h 2570073"/>
              <a:gd name="connsiteX37" fmla="*/ 6220382 w 12191999"/>
              <a:gd name="connsiteY37" fmla="*/ 380147 h 2570073"/>
              <a:gd name="connsiteX38" fmla="*/ 6228421 w 12191999"/>
              <a:gd name="connsiteY38" fmla="*/ 370466 h 2570073"/>
              <a:gd name="connsiteX39" fmla="*/ 6241622 w 12191999"/>
              <a:gd name="connsiteY39" fmla="*/ 357186 h 2570073"/>
              <a:gd name="connsiteX40" fmla="*/ 6267920 w 12191999"/>
              <a:gd name="connsiteY40" fmla="*/ 328755 h 2570073"/>
              <a:gd name="connsiteX41" fmla="*/ 6289391 w 12191999"/>
              <a:gd name="connsiteY41" fmla="*/ 309131 h 2570073"/>
              <a:gd name="connsiteX42" fmla="*/ 6299866 w 12191999"/>
              <a:gd name="connsiteY42" fmla="*/ 298593 h 2570073"/>
              <a:gd name="connsiteX43" fmla="*/ 6312962 w 12191999"/>
              <a:gd name="connsiteY43" fmla="*/ 287587 h 2570073"/>
              <a:gd name="connsiteX44" fmla="*/ 6338022 w 12191999"/>
              <a:gd name="connsiteY44" fmla="*/ 264683 h 2570073"/>
              <a:gd name="connsiteX45" fmla="*/ 6364404 w 12191999"/>
              <a:gd name="connsiteY45" fmla="*/ 244356 h 2570073"/>
              <a:gd name="connsiteX46" fmla="*/ 6377502 w 12191999"/>
              <a:gd name="connsiteY46" fmla="*/ 233348 h 2570073"/>
              <a:gd name="connsiteX47" fmla="*/ 6390060 w 12191999"/>
              <a:gd name="connsiteY47" fmla="*/ 224587 h 2570073"/>
              <a:gd name="connsiteX48" fmla="*/ 6413355 w 12191999"/>
              <a:gd name="connsiteY48" fmla="*/ 206638 h 2570073"/>
              <a:gd name="connsiteX49" fmla="*/ 6445019 w 12191999"/>
              <a:gd name="connsiteY49" fmla="*/ 186248 h 2570073"/>
              <a:gd name="connsiteX50" fmla="*/ 6460863 w 12191999"/>
              <a:gd name="connsiteY50" fmla="*/ 175195 h 2570073"/>
              <a:gd name="connsiteX51" fmla="*/ 6472496 w 12191999"/>
              <a:gd name="connsiteY51" fmla="*/ 168554 h 2570073"/>
              <a:gd name="connsiteX52" fmla="*/ 6493536 w 12191999"/>
              <a:gd name="connsiteY52" fmla="*/ 155005 h 2570073"/>
              <a:gd name="connsiteX53" fmla="*/ 6530863 w 12191999"/>
              <a:gd name="connsiteY53" fmla="*/ 135232 h 2570073"/>
              <a:gd name="connsiteX54" fmla="*/ 6549482 w 12191999"/>
              <a:gd name="connsiteY54" fmla="*/ 124603 h 2570073"/>
              <a:gd name="connsiteX55" fmla="*/ 6559839 w 12191999"/>
              <a:gd name="connsiteY55" fmla="*/ 119882 h 2570073"/>
              <a:gd name="connsiteX56" fmla="*/ 6578180 w 12191999"/>
              <a:gd name="connsiteY56" fmla="*/ 110167 h 2570073"/>
              <a:gd name="connsiteX57" fmla="*/ 6621627 w 12191999"/>
              <a:gd name="connsiteY57" fmla="*/ 91726 h 2570073"/>
              <a:gd name="connsiteX58" fmla="*/ 6642891 w 12191999"/>
              <a:gd name="connsiteY58" fmla="*/ 82036 h 2570073"/>
              <a:gd name="connsiteX59" fmla="*/ 6651657 w 12191999"/>
              <a:gd name="connsiteY59" fmla="*/ 78980 h 2570073"/>
              <a:gd name="connsiteX60" fmla="*/ 6666902 w 12191999"/>
              <a:gd name="connsiteY60" fmla="*/ 72509 h 2570073"/>
              <a:gd name="connsiteX61" fmla="*/ 6717142 w 12191999"/>
              <a:gd name="connsiteY61" fmla="*/ 56150 h 2570073"/>
              <a:gd name="connsiteX62" fmla="*/ 6740626 w 12191999"/>
              <a:gd name="connsiteY62" fmla="*/ 47963 h 2570073"/>
              <a:gd name="connsiteX63" fmla="*/ 6747514 w 12191999"/>
              <a:gd name="connsiteY63" fmla="*/ 46260 h 2570073"/>
              <a:gd name="connsiteX64" fmla="*/ 6759319 w 12191999"/>
              <a:gd name="connsiteY64" fmla="*/ 42416 h 2570073"/>
              <a:gd name="connsiteX65" fmla="*/ 6817670 w 12191999"/>
              <a:gd name="connsiteY65" fmla="*/ 28918 h 2570073"/>
              <a:gd name="connsiteX66" fmla="*/ 6842218 w 12191999"/>
              <a:gd name="connsiteY66" fmla="*/ 22850 h 2570073"/>
              <a:gd name="connsiteX67" fmla="*/ 6846973 w 12191999"/>
              <a:gd name="connsiteY67" fmla="*/ 22139 h 2570073"/>
              <a:gd name="connsiteX68" fmla="*/ 6855046 w 12191999"/>
              <a:gd name="connsiteY68" fmla="*/ 20272 h 2570073"/>
              <a:gd name="connsiteX69" fmla="*/ 6925243 w 12191999"/>
              <a:gd name="connsiteY69" fmla="*/ 10445 h 2570073"/>
              <a:gd name="connsiteX70" fmla="*/ 6947201 w 12191999"/>
              <a:gd name="connsiteY70" fmla="*/ 7163 h 2570073"/>
              <a:gd name="connsiteX71" fmla="*/ 6949512 w 12191999"/>
              <a:gd name="connsiteY71" fmla="*/ 7047 h 2570073"/>
              <a:gd name="connsiteX72" fmla="*/ 6953699 w 12191999"/>
              <a:gd name="connsiteY72" fmla="*/ 6460 h 2570073"/>
              <a:gd name="connsiteX73" fmla="*/ 7002386 w 12191999"/>
              <a:gd name="connsiteY73" fmla="*/ 4155 h 2570073"/>
              <a:gd name="connsiteX74" fmla="*/ 7002386 w 12191999"/>
              <a:gd name="connsiteY74" fmla="*/ 1346 h 2570073"/>
              <a:gd name="connsiteX75" fmla="*/ 7047272 w 12191999"/>
              <a:gd name="connsiteY75" fmla="*/ 1346 h 2570073"/>
              <a:gd name="connsiteX76" fmla="*/ 7061721 w 12191999"/>
              <a:gd name="connsiteY76" fmla="*/ 1346 h 2570073"/>
              <a:gd name="connsiteX77" fmla="*/ 7062058 w 12191999"/>
              <a:gd name="connsiteY77" fmla="*/ 1346 h 2570073"/>
              <a:gd name="connsiteX78" fmla="*/ 7062058 w 12191999"/>
              <a:gd name="connsiteY78" fmla="*/ 0 h 2570073"/>
              <a:gd name="connsiteX79" fmla="*/ 9416738 w 12191999"/>
              <a:gd name="connsiteY79" fmla="*/ 0 h 2570073"/>
              <a:gd name="connsiteX80" fmla="*/ 9476411 w 12191999"/>
              <a:gd name="connsiteY80" fmla="*/ 0 h 2570073"/>
              <a:gd name="connsiteX81" fmla="*/ 9476411 w 12191999"/>
              <a:gd name="connsiteY81" fmla="*/ 1332 h 2570073"/>
              <a:gd name="connsiteX82" fmla="*/ 9621926 w 12191999"/>
              <a:gd name="connsiteY82" fmla="*/ 1332 h 2570073"/>
              <a:gd name="connsiteX83" fmla="*/ 9621926 w 12191999"/>
              <a:gd name="connsiteY83" fmla="*/ 1232695 h 2570073"/>
              <a:gd name="connsiteX84" fmla="*/ 9621927 w 12191999"/>
              <a:gd name="connsiteY84" fmla="*/ 1232695 h 2570073"/>
              <a:gd name="connsiteX85" fmla="*/ 9621927 w 12191999"/>
              <a:gd name="connsiteY85" fmla="*/ 1224666 h 2570073"/>
              <a:gd name="connsiteX86" fmla="*/ 9624974 w 12191999"/>
              <a:gd name="connsiteY86" fmla="*/ 1224666 h 2570073"/>
              <a:gd name="connsiteX87" fmla="*/ 9628560 w 12191999"/>
              <a:gd name="connsiteY87" fmla="*/ 1153649 h 2570073"/>
              <a:gd name="connsiteX88" fmla="*/ 10906963 w 12191999"/>
              <a:gd name="connsiteY88" fmla="*/ 0 h 2570073"/>
              <a:gd name="connsiteX89" fmla="*/ 12191999 w 12191999"/>
              <a:gd name="connsiteY89" fmla="*/ 1285037 h 2570073"/>
              <a:gd name="connsiteX90" fmla="*/ 11038350 w 12191999"/>
              <a:gd name="connsiteY90" fmla="*/ 2563438 h 2570073"/>
              <a:gd name="connsiteX91" fmla="*/ 10924212 w 12191999"/>
              <a:gd name="connsiteY91" fmla="*/ 2569202 h 2570073"/>
              <a:gd name="connsiteX92" fmla="*/ 10924212 w 12191999"/>
              <a:gd name="connsiteY92" fmla="*/ 2570073 h 2570073"/>
              <a:gd name="connsiteX93" fmla="*/ 10906963 w 12191999"/>
              <a:gd name="connsiteY93" fmla="*/ 2570073 h 2570073"/>
              <a:gd name="connsiteX94" fmla="*/ 10572749 w 12191999"/>
              <a:gd name="connsiteY94" fmla="*/ 2570073 h 2570073"/>
              <a:gd name="connsiteX95" fmla="*/ 9621927 w 12191999"/>
              <a:gd name="connsiteY95" fmla="*/ 2570073 h 2570073"/>
              <a:gd name="connsiteX96" fmla="*/ 9416738 w 12191999"/>
              <a:gd name="connsiteY96" fmla="*/ 2570073 h 2570073"/>
              <a:gd name="connsiteX97" fmla="*/ 7062058 w 12191999"/>
              <a:gd name="connsiteY97" fmla="*/ 2570073 h 2570073"/>
              <a:gd name="connsiteX98" fmla="*/ 7002386 w 12191999"/>
              <a:gd name="connsiteY98" fmla="*/ 2570073 h 2570073"/>
              <a:gd name="connsiteX99" fmla="*/ 6572249 w 12191999"/>
              <a:gd name="connsiteY99" fmla="*/ 2570073 h 2570073"/>
              <a:gd name="connsiteX100" fmla="*/ 6572249 w 12191999"/>
              <a:gd name="connsiteY100" fmla="*/ 2568741 h 2570073"/>
              <a:gd name="connsiteX101" fmla="*/ 5935736 w 12191999"/>
              <a:gd name="connsiteY101" fmla="*/ 2568741 h 2570073"/>
              <a:gd name="connsiteX102" fmla="*/ 5935736 w 12191999"/>
              <a:gd name="connsiteY102" fmla="*/ 2253318 h 2570073"/>
              <a:gd name="connsiteX103" fmla="*/ 5935736 w 12191999"/>
              <a:gd name="connsiteY103" fmla="*/ 1487489 h 2570073"/>
              <a:gd name="connsiteX104" fmla="*/ 5935733 w 12191999"/>
              <a:gd name="connsiteY104" fmla="*/ 1487489 h 2570073"/>
              <a:gd name="connsiteX105" fmla="*/ 5935733 w 12191999"/>
              <a:gd name="connsiteY105" fmla="*/ 1495639 h 2570073"/>
              <a:gd name="connsiteX106" fmla="*/ 5933197 w 12191999"/>
              <a:gd name="connsiteY106" fmla="*/ 1495639 h 2570073"/>
              <a:gd name="connsiteX107" fmla="*/ 5930616 w 12191999"/>
              <a:gd name="connsiteY107" fmla="*/ 1550153 h 2570073"/>
              <a:gd name="connsiteX108" fmla="*/ 5930144 w 12191999"/>
              <a:gd name="connsiteY108" fmla="*/ 1553460 h 2570073"/>
              <a:gd name="connsiteX109" fmla="*/ 5929922 w 12191999"/>
              <a:gd name="connsiteY109" fmla="*/ 1557867 h 2570073"/>
              <a:gd name="connsiteX110" fmla="*/ 5892782 w 12191999"/>
              <a:gd name="connsiteY110" fmla="*/ 1751829 h 2570073"/>
              <a:gd name="connsiteX111" fmla="*/ 5891264 w 12191999"/>
              <a:gd name="connsiteY111" fmla="*/ 1756392 h 2570073"/>
              <a:gd name="connsiteX112" fmla="*/ 5891075 w 12191999"/>
              <a:gd name="connsiteY112" fmla="*/ 1757179 h 2570073"/>
              <a:gd name="connsiteX113" fmla="*/ 5888400 w 12191999"/>
              <a:gd name="connsiteY113" fmla="*/ 1765008 h 2570073"/>
              <a:gd name="connsiteX114" fmla="*/ 5862137 w 12191999"/>
              <a:gd name="connsiteY114" fmla="*/ 1843996 h 2570073"/>
              <a:gd name="connsiteX115" fmla="*/ 5858638 w 12191999"/>
              <a:gd name="connsiteY115" fmla="*/ 1852103 h 2570073"/>
              <a:gd name="connsiteX116" fmla="*/ 5857585 w 12191999"/>
              <a:gd name="connsiteY116" fmla="*/ 1855185 h 2570073"/>
              <a:gd name="connsiteX117" fmla="*/ 5850118 w 12191999"/>
              <a:gd name="connsiteY117" fmla="*/ 1871843 h 2570073"/>
              <a:gd name="connsiteX118" fmla="*/ 5823957 w 12191999"/>
              <a:gd name="connsiteY118" fmla="*/ 1932441 h 2570073"/>
              <a:gd name="connsiteX119" fmla="*/ 5817877 w 12191999"/>
              <a:gd name="connsiteY119" fmla="*/ 1943751 h 2570073"/>
              <a:gd name="connsiteX120" fmla="*/ 5815570 w 12191999"/>
              <a:gd name="connsiteY120" fmla="*/ 1948897 h 2570073"/>
              <a:gd name="connsiteX121" fmla="*/ 5805396 w 12191999"/>
              <a:gd name="connsiteY121" fmla="*/ 1966972 h 2570073"/>
              <a:gd name="connsiteX122" fmla="*/ 5778623 w 12191999"/>
              <a:gd name="connsiteY122" fmla="*/ 2016780 h 2570073"/>
              <a:gd name="connsiteX123" fmla="*/ 5769413 w 12191999"/>
              <a:gd name="connsiteY123" fmla="*/ 2030895 h 2570073"/>
              <a:gd name="connsiteX124" fmla="*/ 5765499 w 12191999"/>
              <a:gd name="connsiteY124" fmla="*/ 2037850 h 2570073"/>
              <a:gd name="connsiteX125" fmla="*/ 5753645 w 12191999"/>
              <a:gd name="connsiteY125" fmla="*/ 2055061 h 2570073"/>
              <a:gd name="connsiteX126" fmla="*/ 5726521 w 12191999"/>
              <a:gd name="connsiteY126" fmla="*/ 2096629 h 2570073"/>
              <a:gd name="connsiteX127" fmla="*/ 5713673 w 12191999"/>
              <a:gd name="connsiteY127" fmla="*/ 2113099 h 2570073"/>
              <a:gd name="connsiteX128" fmla="*/ 5707835 w 12191999"/>
              <a:gd name="connsiteY128" fmla="*/ 2121576 h 2570073"/>
              <a:gd name="connsiteX129" fmla="*/ 5695020 w 12191999"/>
              <a:gd name="connsiteY129" fmla="*/ 2137011 h 2570073"/>
              <a:gd name="connsiteX130" fmla="*/ 5668036 w 12191999"/>
              <a:gd name="connsiteY130" fmla="*/ 2171603 h 2570073"/>
              <a:gd name="connsiteX131" fmla="*/ 5651086 w 12191999"/>
              <a:gd name="connsiteY131" fmla="*/ 2189926 h 2570073"/>
              <a:gd name="connsiteX132" fmla="*/ 5643047 w 12191999"/>
              <a:gd name="connsiteY132" fmla="*/ 2199608 h 2570073"/>
              <a:gd name="connsiteX133" fmla="*/ 5629847 w 12191999"/>
              <a:gd name="connsiteY133" fmla="*/ 2212888 h 2570073"/>
              <a:gd name="connsiteX134" fmla="*/ 5603549 w 12191999"/>
              <a:gd name="connsiteY134" fmla="*/ 2241318 h 2570073"/>
              <a:gd name="connsiteX135" fmla="*/ 5582078 w 12191999"/>
              <a:gd name="connsiteY135" fmla="*/ 2260943 h 2570073"/>
              <a:gd name="connsiteX136" fmla="*/ 5571603 w 12191999"/>
              <a:gd name="connsiteY136" fmla="*/ 2271480 h 2570073"/>
              <a:gd name="connsiteX137" fmla="*/ 5558506 w 12191999"/>
              <a:gd name="connsiteY137" fmla="*/ 2282487 h 2570073"/>
              <a:gd name="connsiteX138" fmla="*/ 5533446 w 12191999"/>
              <a:gd name="connsiteY138" fmla="*/ 2305391 h 2570073"/>
              <a:gd name="connsiteX139" fmla="*/ 5507066 w 12191999"/>
              <a:gd name="connsiteY139" fmla="*/ 2325718 h 2570073"/>
              <a:gd name="connsiteX140" fmla="*/ 5493966 w 12191999"/>
              <a:gd name="connsiteY140" fmla="*/ 2336726 h 2570073"/>
              <a:gd name="connsiteX141" fmla="*/ 5481407 w 12191999"/>
              <a:gd name="connsiteY141" fmla="*/ 2345487 h 2570073"/>
              <a:gd name="connsiteX142" fmla="*/ 5458113 w 12191999"/>
              <a:gd name="connsiteY142" fmla="*/ 2363435 h 2570073"/>
              <a:gd name="connsiteX143" fmla="*/ 5426450 w 12191999"/>
              <a:gd name="connsiteY143" fmla="*/ 2383826 h 2570073"/>
              <a:gd name="connsiteX144" fmla="*/ 5410605 w 12191999"/>
              <a:gd name="connsiteY144" fmla="*/ 2394879 h 2570073"/>
              <a:gd name="connsiteX145" fmla="*/ 5398974 w 12191999"/>
              <a:gd name="connsiteY145" fmla="*/ 2401520 h 2570073"/>
              <a:gd name="connsiteX146" fmla="*/ 5377932 w 12191999"/>
              <a:gd name="connsiteY146" fmla="*/ 2415069 h 2570073"/>
              <a:gd name="connsiteX147" fmla="*/ 5340606 w 12191999"/>
              <a:gd name="connsiteY147" fmla="*/ 2434842 h 2570073"/>
              <a:gd name="connsiteX148" fmla="*/ 5321988 w 12191999"/>
              <a:gd name="connsiteY148" fmla="*/ 2445471 h 2570073"/>
              <a:gd name="connsiteX149" fmla="*/ 5311629 w 12191999"/>
              <a:gd name="connsiteY149" fmla="*/ 2450191 h 2570073"/>
              <a:gd name="connsiteX150" fmla="*/ 5293289 w 12191999"/>
              <a:gd name="connsiteY150" fmla="*/ 2459906 h 2570073"/>
              <a:gd name="connsiteX151" fmla="*/ 5249843 w 12191999"/>
              <a:gd name="connsiteY151" fmla="*/ 2478347 h 2570073"/>
              <a:gd name="connsiteX152" fmla="*/ 5228578 w 12191999"/>
              <a:gd name="connsiteY152" fmla="*/ 2488037 h 2570073"/>
              <a:gd name="connsiteX153" fmla="*/ 5219811 w 12191999"/>
              <a:gd name="connsiteY153" fmla="*/ 2491093 h 2570073"/>
              <a:gd name="connsiteX154" fmla="*/ 5204566 w 12191999"/>
              <a:gd name="connsiteY154" fmla="*/ 2497564 h 2570073"/>
              <a:gd name="connsiteX155" fmla="*/ 5154326 w 12191999"/>
              <a:gd name="connsiteY155" fmla="*/ 2513923 h 2570073"/>
              <a:gd name="connsiteX156" fmla="*/ 5130842 w 12191999"/>
              <a:gd name="connsiteY156" fmla="*/ 2522110 h 2570073"/>
              <a:gd name="connsiteX157" fmla="*/ 5123955 w 12191999"/>
              <a:gd name="connsiteY157" fmla="*/ 2523813 h 2570073"/>
              <a:gd name="connsiteX158" fmla="*/ 5112149 w 12191999"/>
              <a:gd name="connsiteY158" fmla="*/ 2527657 h 2570073"/>
              <a:gd name="connsiteX159" fmla="*/ 5053798 w 12191999"/>
              <a:gd name="connsiteY159" fmla="*/ 2541156 h 2570073"/>
              <a:gd name="connsiteX160" fmla="*/ 5029250 w 12191999"/>
              <a:gd name="connsiteY160" fmla="*/ 2547223 h 2570073"/>
              <a:gd name="connsiteX161" fmla="*/ 5024496 w 12191999"/>
              <a:gd name="connsiteY161" fmla="*/ 2547934 h 2570073"/>
              <a:gd name="connsiteX162" fmla="*/ 5016422 w 12191999"/>
              <a:gd name="connsiteY162" fmla="*/ 2549802 h 2570073"/>
              <a:gd name="connsiteX163" fmla="*/ 4946225 w 12191999"/>
              <a:gd name="connsiteY163" fmla="*/ 2559629 h 2570073"/>
              <a:gd name="connsiteX164" fmla="*/ 4924267 w 12191999"/>
              <a:gd name="connsiteY164" fmla="*/ 2562910 h 2570073"/>
              <a:gd name="connsiteX165" fmla="*/ 4921957 w 12191999"/>
              <a:gd name="connsiteY165" fmla="*/ 2563027 h 2570073"/>
              <a:gd name="connsiteX166" fmla="*/ 4917769 w 12191999"/>
              <a:gd name="connsiteY166" fmla="*/ 2563613 h 2570073"/>
              <a:gd name="connsiteX167" fmla="*/ 4869084 w 12191999"/>
              <a:gd name="connsiteY167" fmla="*/ 2565918 h 2570073"/>
              <a:gd name="connsiteX168" fmla="*/ 4869084 w 12191999"/>
              <a:gd name="connsiteY168" fmla="*/ 2568728 h 2570073"/>
              <a:gd name="connsiteX169" fmla="*/ 4824196 w 12191999"/>
              <a:gd name="connsiteY169" fmla="*/ 2568728 h 2570073"/>
              <a:gd name="connsiteX170" fmla="*/ 4809749 w 12191999"/>
              <a:gd name="connsiteY170" fmla="*/ 2568728 h 2570073"/>
              <a:gd name="connsiteX171" fmla="*/ 4809411 w 12191999"/>
              <a:gd name="connsiteY171" fmla="*/ 2568728 h 2570073"/>
              <a:gd name="connsiteX172" fmla="*/ 4809411 w 12191999"/>
              <a:gd name="connsiteY172" fmla="*/ 2570073 h 2570073"/>
              <a:gd name="connsiteX173" fmla="*/ 3481005 w 12191999"/>
              <a:gd name="connsiteY173" fmla="*/ 2570073 h 2570073"/>
              <a:gd name="connsiteX174" fmla="*/ 2454730 w 12191999"/>
              <a:gd name="connsiteY174" fmla="*/ 2570073 h 2570073"/>
              <a:gd name="connsiteX175" fmla="*/ 2395058 w 12191999"/>
              <a:gd name="connsiteY175" fmla="*/ 2570073 h 2570073"/>
              <a:gd name="connsiteX176" fmla="*/ 1126324 w 12191999"/>
              <a:gd name="connsiteY176" fmla="*/ 2570073 h 2570073"/>
              <a:gd name="connsiteX177" fmla="*/ 1066652 w 12191999"/>
              <a:gd name="connsiteY177" fmla="*/ 2570073 h 2570073"/>
              <a:gd name="connsiteX178" fmla="*/ 1066652 w 12191999"/>
              <a:gd name="connsiteY178" fmla="*/ 2568741 h 2570073"/>
              <a:gd name="connsiteX179" fmla="*/ 1 w 12191999"/>
              <a:gd name="connsiteY179" fmla="*/ 2568741 h 2570073"/>
              <a:gd name="connsiteX180" fmla="*/ 1 w 12191999"/>
              <a:gd name="connsiteY180" fmla="*/ 2253318 h 2570073"/>
              <a:gd name="connsiteX181" fmla="*/ 1 w 12191999"/>
              <a:gd name="connsiteY181" fmla="*/ 1443429 h 2570073"/>
              <a:gd name="connsiteX182" fmla="*/ 1 w 12191999"/>
              <a:gd name="connsiteY182" fmla="*/ 1442766 h 2570073"/>
              <a:gd name="connsiteX183" fmla="*/ 0 w 12191999"/>
              <a:gd name="connsiteY183" fmla="*/ 1442755 h 2570073"/>
              <a:gd name="connsiteX184" fmla="*/ 1 w 12191999"/>
              <a:gd name="connsiteY184" fmla="*/ 1442744 h 2570073"/>
              <a:gd name="connsiteX185" fmla="*/ 1 w 12191999"/>
              <a:gd name="connsiteY185" fmla="*/ 1389857 h 2570073"/>
              <a:gd name="connsiteX186" fmla="*/ 1 w 12191999"/>
              <a:gd name="connsiteY186" fmla="*/ 1128007 h 2570073"/>
              <a:gd name="connsiteX187" fmla="*/ 1 w 12191999"/>
              <a:gd name="connsiteY187" fmla="*/ 1127343 h 2570073"/>
              <a:gd name="connsiteX188" fmla="*/ 0 w 12191999"/>
              <a:gd name="connsiteY188" fmla="*/ 1127332 h 2570073"/>
              <a:gd name="connsiteX189" fmla="*/ 1 w 12191999"/>
              <a:gd name="connsiteY189" fmla="*/ 1127322 h 2570073"/>
              <a:gd name="connsiteX190" fmla="*/ 1 w 12191999"/>
              <a:gd name="connsiteY190" fmla="*/ 1074434 h 2570073"/>
              <a:gd name="connsiteX191" fmla="*/ 2538 w 12191999"/>
              <a:gd name="connsiteY191" fmla="*/ 1074434 h 2570073"/>
              <a:gd name="connsiteX192" fmla="*/ 5119 w 12191999"/>
              <a:gd name="connsiteY192" fmla="*/ 1019920 h 2570073"/>
              <a:gd name="connsiteX193" fmla="*/ 5592 w 12191999"/>
              <a:gd name="connsiteY193" fmla="*/ 1016613 h 2570073"/>
              <a:gd name="connsiteX194" fmla="*/ 5814 w 12191999"/>
              <a:gd name="connsiteY194" fmla="*/ 1012207 h 2570073"/>
              <a:gd name="connsiteX195" fmla="*/ 42953 w 12191999"/>
              <a:gd name="connsiteY195" fmla="*/ 818244 h 2570073"/>
              <a:gd name="connsiteX196" fmla="*/ 44470 w 12191999"/>
              <a:gd name="connsiteY196" fmla="*/ 813682 h 2570073"/>
              <a:gd name="connsiteX197" fmla="*/ 44660 w 12191999"/>
              <a:gd name="connsiteY197" fmla="*/ 812894 h 2570073"/>
              <a:gd name="connsiteX198" fmla="*/ 47335 w 12191999"/>
              <a:gd name="connsiteY198" fmla="*/ 805066 h 2570073"/>
              <a:gd name="connsiteX199" fmla="*/ 73597 w 12191999"/>
              <a:gd name="connsiteY199" fmla="*/ 726078 h 2570073"/>
              <a:gd name="connsiteX200" fmla="*/ 77097 w 12191999"/>
              <a:gd name="connsiteY200" fmla="*/ 717971 h 2570073"/>
              <a:gd name="connsiteX201" fmla="*/ 78150 w 12191999"/>
              <a:gd name="connsiteY201" fmla="*/ 714889 h 2570073"/>
              <a:gd name="connsiteX202" fmla="*/ 85619 w 12191999"/>
              <a:gd name="connsiteY202" fmla="*/ 698231 h 2570073"/>
              <a:gd name="connsiteX203" fmla="*/ 111778 w 12191999"/>
              <a:gd name="connsiteY203" fmla="*/ 637633 h 2570073"/>
              <a:gd name="connsiteX204" fmla="*/ 117857 w 12191999"/>
              <a:gd name="connsiteY204" fmla="*/ 626323 h 2570073"/>
              <a:gd name="connsiteX205" fmla="*/ 120165 w 12191999"/>
              <a:gd name="connsiteY205" fmla="*/ 621176 h 2570073"/>
              <a:gd name="connsiteX206" fmla="*/ 130339 w 12191999"/>
              <a:gd name="connsiteY206" fmla="*/ 603101 h 2570073"/>
              <a:gd name="connsiteX207" fmla="*/ 157112 w 12191999"/>
              <a:gd name="connsiteY207" fmla="*/ 553294 h 2570073"/>
              <a:gd name="connsiteX208" fmla="*/ 166322 w 12191999"/>
              <a:gd name="connsiteY208" fmla="*/ 539178 h 2570073"/>
              <a:gd name="connsiteX209" fmla="*/ 170237 w 12191999"/>
              <a:gd name="connsiteY209" fmla="*/ 532224 h 2570073"/>
              <a:gd name="connsiteX210" fmla="*/ 182090 w 12191999"/>
              <a:gd name="connsiteY210" fmla="*/ 515013 h 2570073"/>
              <a:gd name="connsiteX211" fmla="*/ 209214 w 12191999"/>
              <a:gd name="connsiteY211" fmla="*/ 473445 h 2570073"/>
              <a:gd name="connsiteX212" fmla="*/ 222062 w 12191999"/>
              <a:gd name="connsiteY212" fmla="*/ 456974 h 2570073"/>
              <a:gd name="connsiteX213" fmla="*/ 227900 w 12191999"/>
              <a:gd name="connsiteY213" fmla="*/ 448498 h 2570073"/>
              <a:gd name="connsiteX214" fmla="*/ 240715 w 12191999"/>
              <a:gd name="connsiteY214" fmla="*/ 433062 h 2570073"/>
              <a:gd name="connsiteX215" fmla="*/ 267700 w 12191999"/>
              <a:gd name="connsiteY215" fmla="*/ 398470 h 2570073"/>
              <a:gd name="connsiteX216" fmla="*/ 284649 w 12191999"/>
              <a:gd name="connsiteY216" fmla="*/ 380147 h 2570073"/>
              <a:gd name="connsiteX217" fmla="*/ 292687 w 12191999"/>
              <a:gd name="connsiteY217" fmla="*/ 370466 h 2570073"/>
              <a:gd name="connsiteX218" fmla="*/ 305888 w 12191999"/>
              <a:gd name="connsiteY218" fmla="*/ 357186 h 2570073"/>
              <a:gd name="connsiteX219" fmla="*/ 332186 w 12191999"/>
              <a:gd name="connsiteY219" fmla="*/ 328755 h 2570073"/>
              <a:gd name="connsiteX220" fmla="*/ 353657 w 12191999"/>
              <a:gd name="connsiteY220" fmla="*/ 309131 h 2570073"/>
              <a:gd name="connsiteX221" fmla="*/ 364133 w 12191999"/>
              <a:gd name="connsiteY221" fmla="*/ 298593 h 2570073"/>
              <a:gd name="connsiteX222" fmla="*/ 377228 w 12191999"/>
              <a:gd name="connsiteY222" fmla="*/ 287587 h 2570073"/>
              <a:gd name="connsiteX223" fmla="*/ 402288 w 12191999"/>
              <a:gd name="connsiteY223" fmla="*/ 264683 h 2570073"/>
              <a:gd name="connsiteX224" fmla="*/ 428670 w 12191999"/>
              <a:gd name="connsiteY224" fmla="*/ 244356 h 2570073"/>
              <a:gd name="connsiteX225" fmla="*/ 441769 w 12191999"/>
              <a:gd name="connsiteY225" fmla="*/ 233348 h 2570073"/>
              <a:gd name="connsiteX226" fmla="*/ 454327 w 12191999"/>
              <a:gd name="connsiteY226" fmla="*/ 224587 h 2570073"/>
              <a:gd name="connsiteX227" fmla="*/ 477622 w 12191999"/>
              <a:gd name="connsiteY227" fmla="*/ 206638 h 2570073"/>
              <a:gd name="connsiteX228" fmla="*/ 509285 w 12191999"/>
              <a:gd name="connsiteY228" fmla="*/ 186248 h 2570073"/>
              <a:gd name="connsiteX229" fmla="*/ 525129 w 12191999"/>
              <a:gd name="connsiteY229" fmla="*/ 175195 h 2570073"/>
              <a:gd name="connsiteX230" fmla="*/ 536762 w 12191999"/>
              <a:gd name="connsiteY230" fmla="*/ 168554 h 2570073"/>
              <a:gd name="connsiteX231" fmla="*/ 557803 w 12191999"/>
              <a:gd name="connsiteY231" fmla="*/ 155005 h 2570073"/>
              <a:gd name="connsiteX232" fmla="*/ 595129 w 12191999"/>
              <a:gd name="connsiteY232" fmla="*/ 135232 h 2570073"/>
              <a:gd name="connsiteX233" fmla="*/ 613748 w 12191999"/>
              <a:gd name="connsiteY233" fmla="*/ 124603 h 2570073"/>
              <a:gd name="connsiteX234" fmla="*/ 624106 w 12191999"/>
              <a:gd name="connsiteY234" fmla="*/ 119882 h 2570073"/>
              <a:gd name="connsiteX235" fmla="*/ 642446 w 12191999"/>
              <a:gd name="connsiteY235" fmla="*/ 110167 h 2570073"/>
              <a:gd name="connsiteX236" fmla="*/ 685893 w 12191999"/>
              <a:gd name="connsiteY236" fmla="*/ 91726 h 2570073"/>
              <a:gd name="connsiteX237" fmla="*/ 707157 w 12191999"/>
              <a:gd name="connsiteY237" fmla="*/ 82036 h 2570073"/>
              <a:gd name="connsiteX238" fmla="*/ 715923 w 12191999"/>
              <a:gd name="connsiteY238" fmla="*/ 78980 h 2570073"/>
              <a:gd name="connsiteX239" fmla="*/ 731168 w 12191999"/>
              <a:gd name="connsiteY239" fmla="*/ 72509 h 2570073"/>
              <a:gd name="connsiteX240" fmla="*/ 781408 w 12191999"/>
              <a:gd name="connsiteY240" fmla="*/ 56150 h 2570073"/>
              <a:gd name="connsiteX241" fmla="*/ 804892 w 12191999"/>
              <a:gd name="connsiteY241" fmla="*/ 47963 h 2570073"/>
              <a:gd name="connsiteX242" fmla="*/ 811780 w 12191999"/>
              <a:gd name="connsiteY242" fmla="*/ 46260 h 2570073"/>
              <a:gd name="connsiteX243" fmla="*/ 823585 w 12191999"/>
              <a:gd name="connsiteY243" fmla="*/ 42416 h 2570073"/>
              <a:gd name="connsiteX244" fmla="*/ 881937 w 12191999"/>
              <a:gd name="connsiteY244" fmla="*/ 28918 h 2570073"/>
              <a:gd name="connsiteX245" fmla="*/ 906484 w 12191999"/>
              <a:gd name="connsiteY245" fmla="*/ 22850 h 2570073"/>
              <a:gd name="connsiteX246" fmla="*/ 911239 w 12191999"/>
              <a:gd name="connsiteY246" fmla="*/ 22139 h 2570073"/>
              <a:gd name="connsiteX247" fmla="*/ 919312 w 12191999"/>
              <a:gd name="connsiteY247" fmla="*/ 20272 h 2570073"/>
              <a:gd name="connsiteX248" fmla="*/ 989509 w 12191999"/>
              <a:gd name="connsiteY248" fmla="*/ 10445 h 2570073"/>
              <a:gd name="connsiteX249" fmla="*/ 1011467 w 12191999"/>
              <a:gd name="connsiteY249" fmla="*/ 7163 h 2570073"/>
              <a:gd name="connsiteX250" fmla="*/ 1013779 w 12191999"/>
              <a:gd name="connsiteY250" fmla="*/ 7047 h 2570073"/>
              <a:gd name="connsiteX251" fmla="*/ 1017965 w 12191999"/>
              <a:gd name="connsiteY251" fmla="*/ 6460 h 2570073"/>
              <a:gd name="connsiteX252" fmla="*/ 1066652 w 12191999"/>
              <a:gd name="connsiteY252" fmla="*/ 4155 h 2570073"/>
              <a:gd name="connsiteX253" fmla="*/ 1066652 w 12191999"/>
              <a:gd name="connsiteY253" fmla="*/ 1346 h 2570073"/>
              <a:gd name="connsiteX254" fmla="*/ 1111538 w 12191999"/>
              <a:gd name="connsiteY254" fmla="*/ 1346 h 2570073"/>
              <a:gd name="connsiteX255" fmla="*/ 1125987 w 12191999"/>
              <a:gd name="connsiteY255" fmla="*/ 1346 h 2570073"/>
              <a:gd name="connsiteX256" fmla="*/ 1126324 w 12191999"/>
              <a:gd name="connsiteY256" fmla="*/ 1346 h 2570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</a:cxnLst>
            <a:rect l="l" t="t" r="r" b="b"/>
            <a:pathLst>
              <a:path w="12191999" h="2570073">
                <a:moveTo>
                  <a:pt x="1126324" y="0"/>
                </a:moveTo>
                <a:lnTo>
                  <a:pt x="2454730" y="0"/>
                </a:lnTo>
                <a:lnTo>
                  <a:pt x="3481005" y="0"/>
                </a:lnTo>
                <a:lnTo>
                  <a:pt x="3540677" y="0"/>
                </a:lnTo>
                <a:lnTo>
                  <a:pt x="4809411" y="0"/>
                </a:lnTo>
                <a:lnTo>
                  <a:pt x="4869084" y="0"/>
                </a:lnTo>
                <a:lnTo>
                  <a:pt x="4869084" y="1332"/>
                </a:lnTo>
                <a:lnTo>
                  <a:pt x="5935733" y="1332"/>
                </a:lnTo>
                <a:lnTo>
                  <a:pt x="5935733" y="316755"/>
                </a:lnTo>
                <a:lnTo>
                  <a:pt x="5935733" y="1082676"/>
                </a:lnTo>
                <a:lnTo>
                  <a:pt x="5935736" y="1082676"/>
                </a:lnTo>
                <a:lnTo>
                  <a:pt x="5935736" y="1074434"/>
                </a:lnTo>
                <a:lnTo>
                  <a:pt x="5938272" y="1074434"/>
                </a:lnTo>
                <a:lnTo>
                  <a:pt x="5940853" y="1019920"/>
                </a:lnTo>
                <a:lnTo>
                  <a:pt x="5941325" y="1016613"/>
                </a:lnTo>
                <a:lnTo>
                  <a:pt x="5941548" y="1012207"/>
                </a:lnTo>
                <a:cubicBezTo>
                  <a:pt x="5948305" y="945669"/>
                  <a:pt x="5960856" y="880845"/>
                  <a:pt x="5978687" y="818244"/>
                </a:cubicBezTo>
                <a:lnTo>
                  <a:pt x="5980204" y="813682"/>
                </a:lnTo>
                <a:lnTo>
                  <a:pt x="5980394" y="812894"/>
                </a:lnTo>
                <a:lnTo>
                  <a:pt x="5983069" y="805066"/>
                </a:lnTo>
                <a:lnTo>
                  <a:pt x="6009331" y="726078"/>
                </a:lnTo>
                <a:lnTo>
                  <a:pt x="6012831" y="717971"/>
                </a:lnTo>
                <a:lnTo>
                  <a:pt x="6013884" y="714889"/>
                </a:lnTo>
                <a:lnTo>
                  <a:pt x="6021353" y="698231"/>
                </a:lnTo>
                <a:lnTo>
                  <a:pt x="6047512" y="637633"/>
                </a:lnTo>
                <a:lnTo>
                  <a:pt x="6053591" y="626323"/>
                </a:lnTo>
                <a:lnTo>
                  <a:pt x="6055898" y="621176"/>
                </a:lnTo>
                <a:lnTo>
                  <a:pt x="6066073" y="603101"/>
                </a:lnTo>
                <a:lnTo>
                  <a:pt x="6092845" y="553294"/>
                </a:lnTo>
                <a:lnTo>
                  <a:pt x="6102056" y="539178"/>
                </a:lnTo>
                <a:lnTo>
                  <a:pt x="6105971" y="532224"/>
                </a:lnTo>
                <a:lnTo>
                  <a:pt x="6117824" y="515013"/>
                </a:lnTo>
                <a:lnTo>
                  <a:pt x="6144948" y="473445"/>
                </a:lnTo>
                <a:lnTo>
                  <a:pt x="6157796" y="456974"/>
                </a:lnTo>
                <a:lnTo>
                  <a:pt x="6163633" y="448498"/>
                </a:lnTo>
                <a:lnTo>
                  <a:pt x="6176449" y="433062"/>
                </a:lnTo>
                <a:lnTo>
                  <a:pt x="6203434" y="398470"/>
                </a:lnTo>
                <a:lnTo>
                  <a:pt x="6220382" y="380147"/>
                </a:lnTo>
                <a:lnTo>
                  <a:pt x="6228421" y="370466"/>
                </a:lnTo>
                <a:lnTo>
                  <a:pt x="6241622" y="357186"/>
                </a:lnTo>
                <a:lnTo>
                  <a:pt x="6267920" y="328755"/>
                </a:lnTo>
                <a:lnTo>
                  <a:pt x="6289391" y="309131"/>
                </a:lnTo>
                <a:lnTo>
                  <a:pt x="6299866" y="298593"/>
                </a:lnTo>
                <a:lnTo>
                  <a:pt x="6312962" y="287587"/>
                </a:lnTo>
                <a:lnTo>
                  <a:pt x="6338022" y="264683"/>
                </a:lnTo>
                <a:lnTo>
                  <a:pt x="6364404" y="244356"/>
                </a:lnTo>
                <a:lnTo>
                  <a:pt x="6377502" y="233348"/>
                </a:lnTo>
                <a:lnTo>
                  <a:pt x="6390060" y="224587"/>
                </a:lnTo>
                <a:lnTo>
                  <a:pt x="6413355" y="206638"/>
                </a:lnTo>
                <a:lnTo>
                  <a:pt x="6445019" y="186248"/>
                </a:lnTo>
                <a:lnTo>
                  <a:pt x="6460863" y="175195"/>
                </a:lnTo>
                <a:lnTo>
                  <a:pt x="6472496" y="168554"/>
                </a:lnTo>
                <a:lnTo>
                  <a:pt x="6493536" y="155005"/>
                </a:lnTo>
                <a:lnTo>
                  <a:pt x="6530863" y="135232"/>
                </a:lnTo>
                <a:lnTo>
                  <a:pt x="6549482" y="124603"/>
                </a:lnTo>
                <a:lnTo>
                  <a:pt x="6559839" y="119882"/>
                </a:lnTo>
                <a:lnTo>
                  <a:pt x="6578180" y="110167"/>
                </a:lnTo>
                <a:lnTo>
                  <a:pt x="6621627" y="91726"/>
                </a:lnTo>
                <a:lnTo>
                  <a:pt x="6642891" y="82036"/>
                </a:lnTo>
                <a:lnTo>
                  <a:pt x="6651657" y="78980"/>
                </a:lnTo>
                <a:lnTo>
                  <a:pt x="6666902" y="72509"/>
                </a:lnTo>
                <a:lnTo>
                  <a:pt x="6717142" y="56150"/>
                </a:lnTo>
                <a:lnTo>
                  <a:pt x="6740626" y="47963"/>
                </a:lnTo>
                <a:lnTo>
                  <a:pt x="6747514" y="46260"/>
                </a:lnTo>
                <a:lnTo>
                  <a:pt x="6759319" y="42416"/>
                </a:lnTo>
                <a:lnTo>
                  <a:pt x="6817670" y="28918"/>
                </a:lnTo>
                <a:lnTo>
                  <a:pt x="6842218" y="22850"/>
                </a:lnTo>
                <a:lnTo>
                  <a:pt x="6846973" y="22139"/>
                </a:lnTo>
                <a:lnTo>
                  <a:pt x="6855046" y="20272"/>
                </a:lnTo>
                <a:lnTo>
                  <a:pt x="6925243" y="10445"/>
                </a:lnTo>
                <a:lnTo>
                  <a:pt x="6947201" y="7163"/>
                </a:lnTo>
                <a:lnTo>
                  <a:pt x="6949512" y="7047"/>
                </a:lnTo>
                <a:lnTo>
                  <a:pt x="6953699" y="6460"/>
                </a:lnTo>
                <a:lnTo>
                  <a:pt x="7002386" y="4155"/>
                </a:lnTo>
                <a:lnTo>
                  <a:pt x="7002386" y="1346"/>
                </a:lnTo>
                <a:lnTo>
                  <a:pt x="7047272" y="1346"/>
                </a:lnTo>
                <a:lnTo>
                  <a:pt x="7061721" y="1346"/>
                </a:lnTo>
                <a:lnTo>
                  <a:pt x="7062058" y="1346"/>
                </a:lnTo>
                <a:lnTo>
                  <a:pt x="7062058" y="0"/>
                </a:lnTo>
                <a:lnTo>
                  <a:pt x="9416738" y="0"/>
                </a:lnTo>
                <a:lnTo>
                  <a:pt x="9476411" y="0"/>
                </a:lnTo>
                <a:lnTo>
                  <a:pt x="9476411" y="1332"/>
                </a:lnTo>
                <a:lnTo>
                  <a:pt x="9621926" y="1332"/>
                </a:lnTo>
                <a:lnTo>
                  <a:pt x="9621926" y="1232695"/>
                </a:lnTo>
                <a:lnTo>
                  <a:pt x="9621927" y="1232695"/>
                </a:lnTo>
                <a:lnTo>
                  <a:pt x="9621927" y="1224666"/>
                </a:lnTo>
                <a:lnTo>
                  <a:pt x="9624974" y="1224666"/>
                </a:lnTo>
                <a:lnTo>
                  <a:pt x="9628560" y="1153649"/>
                </a:lnTo>
                <a:cubicBezTo>
                  <a:pt x="9694367" y="505662"/>
                  <a:pt x="10241613" y="0"/>
                  <a:pt x="10906963" y="0"/>
                </a:cubicBezTo>
                <a:cubicBezTo>
                  <a:pt x="11616669" y="0"/>
                  <a:pt x="12191999" y="575331"/>
                  <a:pt x="12191999" y="1285037"/>
                </a:cubicBezTo>
                <a:cubicBezTo>
                  <a:pt x="12191999" y="1950386"/>
                  <a:pt x="11686337" y="2497632"/>
                  <a:pt x="11038350" y="2563438"/>
                </a:cubicBezTo>
                <a:lnTo>
                  <a:pt x="10924212" y="2569202"/>
                </a:lnTo>
                <a:lnTo>
                  <a:pt x="10924212" y="2570073"/>
                </a:lnTo>
                <a:lnTo>
                  <a:pt x="10906963" y="2570073"/>
                </a:lnTo>
                <a:lnTo>
                  <a:pt x="10572749" y="2570073"/>
                </a:lnTo>
                <a:lnTo>
                  <a:pt x="9621927" y="2570073"/>
                </a:lnTo>
                <a:lnTo>
                  <a:pt x="9416738" y="2570073"/>
                </a:lnTo>
                <a:lnTo>
                  <a:pt x="7062058" y="2570073"/>
                </a:lnTo>
                <a:lnTo>
                  <a:pt x="7002386" y="2570073"/>
                </a:lnTo>
                <a:lnTo>
                  <a:pt x="6572249" y="2570073"/>
                </a:lnTo>
                <a:lnTo>
                  <a:pt x="6572249" y="2568741"/>
                </a:lnTo>
                <a:lnTo>
                  <a:pt x="5935736" y="2568741"/>
                </a:lnTo>
                <a:lnTo>
                  <a:pt x="5935736" y="2253318"/>
                </a:lnTo>
                <a:lnTo>
                  <a:pt x="5935736" y="1487489"/>
                </a:lnTo>
                <a:lnTo>
                  <a:pt x="5935733" y="1487489"/>
                </a:lnTo>
                <a:lnTo>
                  <a:pt x="5935733" y="1495639"/>
                </a:lnTo>
                <a:lnTo>
                  <a:pt x="5933197" y="1495639"/>
                </a:lnTo>
                <a:lnTo>
                  <a:pt x="5930616" y="1550153"/>
                </a:lnTo>
                <a:lnTo>
                  <a:pt x="5930144" y="1553460"/>
                </a:lnTo>
                <a:lnTo>
                  <a:pt x="5929922" y="1557867"/>
                </a:lnTo>
                <a:cubicBezTo>
                  <a:pt x="5923163" y="1624404"/>
                  <a:pt x="5910612" y="1689229"/>
                  <a:pt x="5892782" y="1751829"/>
                </a:cubicBezTo>
                <a:lnTo>
                  <a:pt x="5891264" y="1756392"/>
                </a:lnTo>
                <a:lnTo>
                  <a:pt x="5891075" y="1757179"/>
                </a:lnTo>
                <a:lnTo>
                  <a:pt x="5888400" y="1765008"/>
                </a:lnTo>
                <a:lnTo>
                  <a:pt x="5862137" y="1843996"/>
                </a:lnTo>
                <a:lnTo>
                  <a:pt x="5858638" y="1852103"/>
                </a:lnTo>
                <a:lnTo>
                  <a:pt x="5857585" y="1855185"/>
                </a:lnTo>
                <a:lnTo>
                  <a:pt x="5850118" y="1871843"/>
                </a:lnTo>
                <a:lnTo>
                  <a:pt x="5823957" y="1932441"/>
                </a:lnTo>
                <a:lnTo>
                  <a:pt x="5817877" y="1943751"/>
                </a:lnTo>
                <a:lnTo>
                  <a:pt x="5815570" y="1948897"/>
                </a:lnTo>
                <a:lnTo>
                  <a:pt x="5805396" y="1966972"/>
                </a:lnTo>
                <a:lnTo>
                  <a:pt x="5778623" y="2016780"/>
                </a:lnTo>
                <a:lnTo>
                  <a:pt x="5769413" y="2030895"/>
                </a:lnTo>
                <a:lnTo>
                  <a:pt x="5765499" y="2037850"/>
                </a:lnTo>
                <a:lnTo>
                  <a:pt x="5753645" y="2055061"/>
                </a:lnTo>
                <a:lnTo>
                  <a:pt x="5726521" y="2096629"/>
                </a:lnTo>
                <a:lnTo>
                  <a:pt x="5713673" y="2113099"/>
                </a:lnTo>
                <a:lnTo>
                  <a:pt x="5707835" y="2121576"/>
                </a:lnTo>
                <a:lnTo>
                  <a:pt x="5695020" y="2137011"/>
                </a:lnTo>
                <a:lnTo>
                  <a:pt x="5668036" y="2171603"/>
                </a:lnTo>
                <a:lnTo>
                  <a:pt x="5651086" y="2189926"/>
                </a:lnTo>
                <a:lnTo>
                  <a:pt x="5643047" y="2199608"/>
                </a:lnTo>
                <a:lnTo>
                  <a:pt x="5629847" y="2212888"/>
                </a:lnTo>
                <a:lnTo>
                  <a:pt x="5603549" y="2241318"/>
                </a:lnTo>
                <a:lnTo>
                  <a:pt x="5582078" y="2260943"/>
                </a:lnTo>
                <a:lnTo>
                  <a:pt x="5571603" y="2271480"/>
                </a:lnTo>
                <a:lnTo>
                  <a:pt x="5558506" y="2282487"/>
                </a:lnTo>
                <a:lnTo>
                  <a:pt x="5533446" y="2305391"/>
                </a:lnTo>
                <a:lnTo>
                  <a:pt x="5507066" y="2325718"/>
                </a:lnTo>
                <a:lnTo>
                  <a:pt x="5493966" y="2336726"/>
                </a:lnTo>
                <a:lnTo>
                  <a:pt x="5481407" y="2345487"/>
                </a:lnTo>
                <a:lnTo>
                  <a:pt x="5458113" y="2363435"/>
                </a:lnTo>
                <a:lnTo>
                  <a:pt x="5426450" y="2383826"/>
                </a:lnTo>
                <a:lnTo>
                  <a:pt x="5410605" y="2394879"/>
                </a:lnTo>
                <a:lnTo>
                  <a:pt x="5398974" y="2401520"/>
                </a:lnTo>
                <a:lnTo>
                  <a:pt x="5377932" y="2415069"/>
                </a:lnTo>
                <a:lnTo>
                  <a:pt x="5340606" y="2434842"/>
                </a:lnTo>
                <a:lnTo>
                  <a:pt x="5321988" y="2445471"/>
                </a:lnTo>
                <a:lnTo>
                  <a:pt x="5311629" y="2450191"/>
                </a:lnTo>
                <a:lnTo>
                  <a:pt x="5293289" y="2459906"/>
                </a:lnTo>
                <a:lnTo>
                  <a:pt x="5249843" y="2478347"/>
                </a:lnTo>
                <a:lnTo>
                  <a:pt x="5228578" y="2488037"/>
                </a:lnTo>
                <a:lnTo>
                  <a:pt x="5219811" y="2491093"/>
                </a:lnTo>
                <a:lnTo>
                  <a:pt x="5204566" y="2497564"/>
                </a:lnTo>
                <a:lnTo>
                  <a:pt x="5154326" y="2513923"/>
                </a:lnTo>
                <a:lnTo>
                  <a:pt x="5130842" y="2522110"/>
                </a:lnTo>
                <a:lnTo>
                  <a:pt x="5123955" y="2523813"/>
                </a:lnTo>
                <a:lnTo>
                  <a:pt x="5112149" y="2527657"/>
                </a:lnTo>
                <a:lnTo>
                  <a:pt x="5053798" y="2541156"/>
                </a:lnTo>
                <a:lnTo>
                  <a:pt x="5029250" y="2547223"/>
                </a:lnTo>
                <a:lnTo>
                  <a:pt x="5024496" y="2547934"/>
                </a:lnTo>
                <a:lnTo>
                  <a:pt x="5016422" y="2549802"/>
                </a:lnTo>
                <a:lnTo>
                  <a:pt x="4946225" y="2559629"/>
                </a:lnTo>
                <a:lnTo>
                  <a:pt x="4924267" y="2562910"/>
                </a:lnTo>
                <a:lnTo>
                  <a:pt x="4921957" y="2563027"/>
                </a:lnTo>
                <a:lnTo>
                  <a:pt x="4917769" y="2563613"/>
                </a:lnTo>
                <a:lnTo>
                  <a:pt x="4869084" y="2565918"/>
                </a:lnTo>
                <a:lnTo>
                  <a:pt x="4869084" y="2568728"/>
                </a:lnTo>
                <a:lnTo>
                  <a:pt x="4824196" y="2568728"/>
                </a:lnTo>
                <a:lnTo>
                  <a:pt x="4809749" y="2568728"/>
                </a:lnTo>
                <a:lnTo>
                  <a:pt x="4809411" y="2568728"/>
                </a:lnTo>
                <a:lnTo>
                  <a:pt x="4809411" y="2570073"/>
                </a:lnTo>
                <a:lnTo>
                  <a:pt x="3481005" y="2570073"/>
                </a:lnTo>
                <a:lnTo>
                  <a:pt x="2454730" y="2570073"/>
                </a:lnTo>
                <a:lnTo>
                  <a:pt x="2395058" y="2570073"/>
                </a:lnTo>
                <a:lnTo>
                  <a:pt x="1126324" y="2570073"/>
                </a:lnTo>
                <a:lnTo>
                  <a:pt x="1066652" y="2570073"/>
                </a:lnTo>
                <a:lnTo>
                  <a:pt x="1066652" y="2568741"/>
                </a:lnTo>
                <a:lnTo>
                  <a:pt x="1" y="2568741"/>
                </a:lnTo>
                <a:lnTo>
                  <a:pt x="1" y="2253318"/>
                </a:lnTo>
                <a:lnTo>
                  <a:pt x="1" y="1443429"/>
                </a:lnTo>
                <a:lnTo>
                  <a:pt x="1" y="1442766"/>
                </a:lnTo>
                <a:lnTo>
                  <a:pt x="0" y="1442755"/>
                </a:lnTo>
                <a:lnTo>
                  <a:pt x="1" y="1442744"/>
                </a:lnTo>
                <a:lnTo>
                  <a:pt x="1" y="1389857"/>
                </a:lnTo>
                <a:lnTo>
                  <a:pt x="1" y="1128007"/>
                </a:lnTo>
                <a:lnTo>
                  <a:pt x="1" y="1127343"/>
                </a:lnTo>
                <a:lnTo>
                  <a:pt x="0" y="1127332"/>
                </a:lnTo>
                <a:lnTo>
                  <a:pt x="1" y="1127322"/>
                </a:lnTo>
                <a:lnTo>
                  <a:pt x="1" y="1074434"/>
                </a:lnTo>
                <a:lnTo>
                  <a:pt x="2538" y="1074434"/>
                </a:lnTo>
                <a:lnTo>
                  <a:pt x="5119" y="1019920"/>
                </a:lnTo>
                <a:lnTo>
                  <a:pt x="5592" y="1016613"/>
                </a:lnTo>
                <a:lnTo>
                  <a:pt x="5814" y="1012207"/>
                </a:lnTo>
                <a:cubicBezTo>
                  <a:pt x="12572" y="945669"/>
                  <a:pt x="25122" y="880845"/>
                  <a:pt x="42953" y="818244"/>
                </a:cubicBezTo>
                <a:lnTo>
                  <a:pt x="44470" y="813682"/>
                </a:lnTo>
                <a:lnTo>
                  <a:pt x="44660" y="812894"/>
                </a:lnTo>
                <a:lnTo>
                  <a:pt x="47335" y="805066"/>
                </a:lnTo>
                <a:lnTo>
                  <a:pt x="73597" y="726078"/>
                </a:lnTo>
                <a:lnTo>
                  <a:pt x="77097" y="717971"/>
                </a:lnTo>
                <a:lnTo>
                  <a:pt x="78150" y="714889"/>
                </a:lnTo>
                <a:lnTo>
                  <a:pt x="85619" y="698231"/>
                </a:lnTo>
                <a:lnTo>
                  <a:pt x="111778" y="637633"/>
                </a:lnTo>
                <a:lnTo>
                  <a:pt x="117857" y="626323"/>
                </a:lnTo>
                <a:lnTo>
                  <a:pt x="120165" y="621176"/>
                </a:lnTo>
                <a:lnTo>
                  <a:pt x="130339" y="603101"/>
                </a:lnTo>
                <a:lnTo>
                  <a:pt x="157112" y="553294"/>
                </a:lnTo>
                <a:lnTo>
                  <a:pt x="166322" y="539178"/>
                </a:lnTo>
                <a:lnTo>
                  <a:pt x="170237" y="532224"/>
                </a:lnTo>
                <a:lnTo>
                  <a:pt x="182090" y="515013"/>
                </a:lnTo>
                <a:lnTo>
                  <a:pt x="209214" y="473445"/>
                </a:lnTo>
                <a:lnTo>
                  <a:pt x="222062" y="456974"/>
                </a:lnTo>
                <a:lnTo>
                  <a:pt x="227900" y="448498"/>
                </a:lnTo>
                <a:lnTo>
                  <a:pt x="240715" y="433062"/>
                </a:lnTo>
                <a:lnTo>
                  <a:pt x="267700" y="398470"/>
                </a:lnTo>
                <a:lnTo>
                  <a:pt x="284649" y="380147"/>
                </a:lnTo>
                <a:lnTo>
                  <a:pt x="292687" y="370466"/>
                </a:lnTo>
                <a:lnTo>
                  <a:pt x="305888" y="357186"/>
                </a:lnTo>
                <a:lnTo>
                  <a:pt x="332186" y="328755"/>
                </a:lnTo>
                <a:lnTo>
                  <a:pt x="353657" y="309131"/>
                </a:lnTo>
                <a:lnTo>
                  <a:pt x="364133" y="298593"/>
                </a:lnTo>
                <a:lnTo>
                  <a:pt x="377228" y="287587"/>
                </a:lnTo>
                <a:lnTo>
                  <a:pt x="402288" y="264683"/>
                </a:lnTo>
                <a:lnTo>
                  <a:pt x="428670" y="244356"/>
                </a:lnTo>
                <a:lnTo>
                  <a:pt x="441769" y="233348"/>
                </a:lnTo>
                <a:lnTo>
                  <a:pt x="454327" y="224587"/>
                </a:lnTo>
                <a:lnTo>
                  <a:pt x="477622" y="206638"/>
                </a:lnTo>
                <a:lnTo>
                  <a:pt x="509285" y="186248"/>
                </a:lnTo>
                <a:lnTo>
                  <a:pt x="525129" y="175195"/>
                </a:lnTo>
                <a:lnTo>
                  <a:pt x="536762" y="168554"/>
                </a:lnTo>
                <a:lnTo>
                  <a:pt x="557803" y="155005"/>
                </a:lnTo>
                <a:lnTo>
                  <a:pt x="595129" y="135232"/>
                </a:lnTo>
                <a:lnTo>
                  <a:pt x="613748" y="124603"/>
                </a:lnTo>
                <a:lnTo>
                  <a:pt x="624106" y="119882"/>
                </a:lnTo>
                <a:lnTo>
                  <a:pt x="642446" y="110167"/>
                </a:lnTo>
                <a:lnTo>
                  <a:pt x="685893" y="91726"/>
                </a:lnTo>
                <a:lnTo>
                  <a:pt x="707157" y="82036"/>
                </a:lnTo>
                <a:lnTo>
                  <a:pt x="715923" y="78980"/>
                </a:lnTo>
                <a:lnTo>
                  <a:pt x="731168" y="72509"/>
                </a:lnTo>
                <a:lnTo>
                  <a:pt x="781408" y="56150"/>
                </a:lnTo>
                <a:lnTo>
                  <a:pt x="804892" y="47963"/>
                </a:lnTo>
                <a:lnTo>
                  <a:pt x="811780" y="46260"/>
                </a:lnTo>
                <a:lnTo>
                  <a:pt x="823585" y="42416"/>
                </a:lnTo>
                <a:lnTo>
                  <a:pt x="881937" y="28918"/>
                </a:lnTo>
                <a:lnTo>
                  <a:pt x="906484" y="22850"/>
                </a:lnTo>
                <a:lnTo>
                  <a:pt x="911239" y="22139"/>
                </a:lnTo>
                <a:lnTo>
                  <a:pt x="919312" y="20272"/>
                </a:lnTo>
                <a:lnTo>
                  <a:pt x="989509" y="10445"/>
                </a:lnTo>
                <a:lnTo>
                  <a:pt x="1011467" y="7163"/>
                </a:lnTo>
                <a:lnTo>
                  <a:pt x="1013779" y="7047"/>
                </a:lnTo>
                <a:lnTo>
                  <a:pt x="1017965" y="6460"/>
                </a:lnTo>
                <a:lnTo>
                  <a:pt x="1066652" y="4155"/>
                </a:lnTo>
                <a:lnTo>
                  <a:pt x="1066652" y="1346"/>
                </a:lnTo>
                <a:lnTo>
                  <a:pt x="1111538" y="1346"/>
                </a:lnTo>
                <a:lnTo>
                  <a:pt x="1125987" y="1346"/>
                </a:lnTo>
                <a:lnTo>
                  <a:pt x="1126324" y="134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1502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7C4926E-FE39-4D92-B15E-E7E84687505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00496" y="3967737"/>
            <a:ext cx="2187798" cy="2187798"/>
          </a:xfrm>
          <a:custGeom>
            <a:avLst/>
            <a:gdLst>
              <a:gd name="connsiteX0" fmla="*/ 1079216 w 2187798"/>
              <a:gd name="connsiteY0" fmla="*/ 0 h 2187798"/>
              <a:gd name="connsiteX1" fmla="*/ 1093899 w 2187798"/>
              <a:gd name="connsiteY1" fmla="*/ 0 h 2187798"/>
              <a:gd name="connsiteX2" fmla="*/ 2187798 w 2187798"/>
              <a:gd name="connsiteY2" fmla="*/ 0 h 2187798"/>
              <a:gd name="connsiteX3" fmla="*/ 2187798 w 2187798"/>
              <a:gd name="connsiteY3" fmla="*/ 1093889 h 2187798"/>
              <a:gd name="connsiteX4" fmla="*/ 2187798 w 2187798"/>
              <a:gd name="connsiteY4" fmla="*/ 1093899 h 2187798"/>
              <a:gd name="connsiteX5" fmla="*/ 2187798 w 2187798"/>
              <a:gd name="connsiteY5" fmla="*/ 1093910 h 2187798"/>
              <a:gd name="connsiteX6" fmla="*/ 2187798 w 2187798"/>
              <a:gd name="connsiteY6" fmla="*/ 1145290 h 2187798"/>
              <a:gd name="connsiteX7" fmla="*/ 2185204 w 2187798"/>
              <a:gd name="connsiteY7" fmla="*/ 1145290 h 2187798"/>
              <a:gd name="connsiteX8" fmla="*/ 2182151 w 2187798"/>
              <a:gd name="connsiteY8" fmla="*/ 1205743 h 2187798"/>
              <a:gd name="connsiteX9" fmla="*/ 1093899 w 2187798"/>
              <a:gd name="connsiteY9" fmla="*/ 2187798 h 2187798"/>
              <a:gd name="connsiteX10" fmla="*/ 0 w 2187798"/>
              <a:gd name="connsiteY10" fmla="*/ 1093899 h 2187798"/>
              <a:gd name="connsiteX11" fmla="*/ 982055 w 2187798"/>
              <a:gd name="connsiteY11" fmla="*/ 5647 h 2187798"/>
              <a:gd name="connsiteX12" fmla="*/ 1079216 w 2187798"/>
              <a:gd name="connsiteY12" fmla="*/ 741 h 218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87798" h="2187798">
                <a:moveTo>
                  <a:pt x="1079216" y="0"/>
                </a:moveTo>
                <a:lnTo>
                  <a:pt x="1093899" y="0"/>
                </a:lnTo>
                <a:lnTo>
                  <a:pt x="2187798" y="0"/>
                </a:lnTo>
                <a:lnTo>
                  <a:pt x="2187798" y="1093889"/>
                </a:lnTo>
                <a:lnTo>
                  <a:pt x="2187798" y="1093899"/>
                </a:lnTo>
                <a:lnTo>
                  <a:pt x="2187798" y="1093910"/>
                </a:lnTo>
                <a:lnTo>
                  <a:pt x="2187798" y="1145290"/>
                </a:lnTo>
                <a:lnTo>
                  <a:pt x="2185204" y="1145290"/>
                </a:lnTo>
                <a:lnTo>
                  <a:pt x="2182151" y="1205743"/>
                </a:lnTo>
                <a:cubicBezTo>
                  <a:pt x="2126132" y="1757349"/>
                  <a:pt x="1660284" y="2187798"/>
                  <a:pt x="1093899" y="2187798"/>
                </a:cubicBezTo>
                <a:cubicBezTo>
                  <a:pt x="489755" y="2187798"/>
                  <a:pt x="0" y="1698043"/>
                  <a:pt x="0" y="1093899"/>
                </a:cubicBezTo>
                <a:cubicBezTo>
                  <a:pt x="0" y="527514"/>
                  <a:pt x="430449" y="61666"/>
                  <a:pt x="982055" y="5647"/>
                </a:cubicBezTo>
                <a:lnTo>
                  <a:pt x="1079216" y="74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267D55D-E2CE-493C-9AC4-CAFC21A6948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817164" y="722543"/>
            <a:ext cx="1892234" cy="3082398"/>
          </a:xfrm>
          <a:custGeom>
            <a:avLst/>
            <a:gdLst>
              <a:gd name="connsiteX0" fmla="*/ 946123 w 1892234"/>
              <a:gd name="connsiteY0" fmla="*/ 0 h 3082398"/>
              <a:gd name="connsiteX1" fmla="*/ 946132 w 1892234"/>
              <a:gd name="connsiteY1" fmla="*/ 1 h 3082398"/>
              <a:gd name="connsiteX2" fmla="*/ 946689 w 1892234"/>
              <a:gd name="connsiteY2" fmla="*/ 1 h 3082398"/>
              <a:gd name="connsiteX3" fmla="*/ 1891116 w 1892234"/>
              <a:gd name="connsiteY3" fmla="*/ 1 h 3082398"/>
              <a:gd name="connsiteX4" fmla="*/ 1891116 w 1892234"/>
              <a:gd name="connsiteY4" fmla="*/ 243844 h 3082398"/>
              <a:gd name="connsiteX5" fmla="*/ 1891116 w 1892234"/>
              <a:gd name="connsiteY5" fmla="*/ 880579 h 3082398"/>
              <a:gd name="connsiteX6" fmla="*/ 1891105 w 1892234"/>
              <a:gd name="connsiteY6" fmla="*/ 880579 h 3082398"/>
              <a:gd name="connsiteX7" fmla="*/ 1891105 w 1892234"/>
              <a:gd name="connsiteY7" fmla="*/ 881891 h 3082398"/>
              <a:gd name="connsiteX8" fmla="*/ 1888747 w 1892234"/>
              <a:gd name="connsiteY8" fmla="*/ 881891 h 3082398"/>
              <a:gd name="connsiteX9" fmla="*/ 1886812 w 1892234"/>
              <a:gd name="connsiteY9" fmla="*/ 922752 h 3082398"/>
              <a:gd name="connsiteX10" fmla="*/ 1886320 w 1892234"/>
              <a:gd name="connsiteY10" fmla="*/ 926265 h 3082398"/>
              <a:gd name="connsiteX11" fmla="*/ 1886222 w 1892234"/>
              <a:gd name="connsiteY11" fmla="*/ 928206 h 3082398"/>
              <a:gd name="connsiteX12" fmla="*/ 1883469 w 1892234"/>
              <a:gd name="connsiteY12" fmla="*/ 946634 h 3082398"/>
              <a:gd name="connsiteX13" fmla="*/ 1875221 w 1892234"/>
              <a:gd name="connsiteY13" fmla="*/ 1005547 h 3082398"/>
              <a:gd name="connsiteX14" fmla="*/ 1873654 w 1892234"/>
              <a:gd name="connsiteY14" fmla="*/ 1012323 h 3082398"/>
              <a:gd name="connsiteX15" fmla="*/ 1873058 w 1892234"/>
              <a:gd name="connsiteY15" fmla="*/ 1016314 h 3082398"/>
              <a:gd name="connsiteX16" fmla="*/ 1867964 w 1892234"/>
              <a:gd name="connsiteY16" fmla="*/ 1036915 h 3082398"/>
              <a:gd name="connsiteX17" fmla="*/ 1856636 w 1892234"/>
              <a:gd name="connsiteY17" fmla="*/ 1085888 h 3082398"/>
              <a:gd name="connsiteX18" fmla="*/ 1853410 w 1892234"/>
              <a:gd name="connsiteY18" fmla="*/ 1095794 h 3082398"/>
              <a:gd name="connsiteX19" fmla="*/ 1851981 w 1892234"/>
              <a:gd name="connsiteY19" fmla="*/ 1101576 h 3082398"/>
              <a:gd name="connsiteX20" fmla="*/ 1845110 w 1892234"/>
              <a:gd name="connsiteY20" fmla="*/ 1121285 h 3082398"/>
              <a:gd name="connsiteX21" fmla="*/ 1831381 w 1892234"/>
              <a:gd name="connsiteY21" fmla="*/ 1163449 h 3082398"/>
              <a:gd name="connsiteX22" fmla="*/ 1825950 w 1892234"/>
              <a:gd name="connsiteY22" fmla="*/ 1176243 h 3082398"/>
              <a:gd name="connsiteX23" fmla="*/ 1823385 w 1892234"/>
              <a:gd name="connsiteY23" fmla="*/ 1183600 h 3082398"/>
              <a:gd name="connsiteX24" fmla="*/ 1815252 w 1892234"/>
              <a:gd name="connsiteY24" fmla="*/ 1201446 h 3082398"/>
              <a:gd name="connsiteX25" fmla="*/ 1799775 w 1892234"/>
              <a:gd name="connsiteY25" fmla="*/ 1237910 h 3082398"/>
              <a:gd name="connsiteX26" fmla="*/ 1791622 w 1892234"/>
              <a:gd name="connsiteY26" fmla="*/ 1253302 h 3082398"/>
              <a:gd name="connsiteX27" fmla="*/ 1787661 w 1892234"/>
              <a:gd name="connsiteY27" fmla="*/ 1261995 h 3082398"/>
              <a:gd name="connsiteX28" fmla="*/ 1778740 w 1892234"/>
              <a:gd name="connsiteY28" fmla="*/ 1277620 h 3082398"/>
              <a:gd name="connsiteX29" fmla="*/ 1762146 w 1892234"/>
              <a:gd name="connsiteY29" fmla="*/ 1308948 h 3082398"/>
              <a:gd name="connsiteX30" fmla="*/ 1750774 w 1892234"/>
              <a:gd name="connsiteY30" fmla="*/ 1326606 h 3082398"/>
              <a:gd name="connsiteX31" fmla="*/ 1745201 w 1892234"/>
              <a:gd name="connsiteY31" fmla="*/ 1336369 h 3082398"/>
              <a:gd name="connsiteX32" fmla="*/ 1735924 w 1892234"/>
              <a:gd name="connsiteY32" fmla="*/ 1349666 h 3082398"/>
              <a:gd name="connsiteX33" fmla="*/ 1718812 w 1892234"/>
              <a:gd name="connsiteY33" fmla="*/ 1376240 h 3082398"/>
              <a:gd name="connsiteX34" fmla="*/ 1703748 w 1892234"/>
              <a:gd name="connsiteY34" fmla="*/ 1395790 h 3082398"/>
              <a:gd name="connsiteX35" fmla="*/ 1696396 w 1892234"/>
              <a:gd name="connsiteY35" fmla="*/ 1406330 h 3082398"/>
              <a:gd name="connsiteX36" fmla="*/ 1687157 w 1892234"/>
              <a:gd name="connsiteY36" fmla="*/ 1417324 h 3082398"/>
              <a:gd name="connsiteX37" fmla="*/ 1670097 w 1892234"/>
              <a:gd name="connsiteY37" fmla="*/ 1439464 h 3082398"/>
              <a:gd name="connsiteX38" fmla="*/ 1650874 w 1892234"/>
              <a:gd name="connsiteY38" fmla="*/ 1460496 h 3082398"/>
              <a:gd name="connsiteX39" fmla="*/ 1641638 w 1892234"/>
              <a:gd name="connsiteY39" fmla="*/ 1471486 h 3082398"/>
              <a:gd name="connsiteX40" fmla="*/ 1632794 w 1892234"/>
              <a:gd name="connsiteY40" fmla="*/ 1480278 h 3082398"/>
              <a:gd name="connsiteX41" fmla="*/ 1616324 w 1892234"/>
              <a:gd name="connsiteY41" fmla="*/ 1498298 h 3082398"/>
              <a:gd name="connsiteX42" fmla="*/ 1592464 w 1892234"/>
              <a:gd name="connsiteY42" fmla="*/ 1520368 h 3082398"/>
              <a:gd name="connsiteX43" fmla="*/ 1581318 w 1892234"/>
              <a:gd name="connsiteY43" fmla="*/ 1531448 h 3082398"/>
              <a:gd name="connsiteX44" fmla="*/ 1573192 w 1892234"/>
              <a:gd name="connsiteY44" fmla="*/ 1538194 h 3082398"/>
              <a:gd name="connsiteX45" fmla="*/ 1557815 w 1892234"/>
              <a:gd name="connsiteY45" fmla="*/ 1552419 h 3082398"/>
              <a:gd name="connsiteX46" fmla="*/ 1528783 w 1892234"/>
              <a:gd name="connsiteY46" fmla="*/ 1575065 h 3082398"/>
              <a:gd name="connsiteX47" fmla="*/ 1515829 w 1892234"/>
              <a:gd name="connsiteY47" fmla="*/ 1585822 h 3082398"/>
              <a:gd name="connsiteX48" fmla="*/ 1508716 w 1892234"/>
              <a:gd name="connsiteY48" fmla="*/ 1590720 h 3082398"/>
              <a:gd name="connsiteX49" fmla="*/ 1494892 w 1892234"/>
              <a:gd name="connsiteY49" fmla="*/ 1601503 h 3082398"/>
              <a:gd name="connsiteX50" fmla="*/ 1460006 w 1892234"/>
              <a:gd name="connsiteY50" fmla="*/ 1624267 h 3082398"/>
              <a:gd name="connsiteX51" fmla="*/ 1445562 w 1892234"/>
              <a:gd name="connsiteY51" fmla="*/ 1634216 h 3082398"/>
              <a:gd name="connsiteX52" fmla="*/ 1439724 w 1892234"/>
              <a:gd name="connsiteY52" fmla="*/ 1637500 h 3082398"/>
              <a:gd name="connsiteX53" fmla="*/ 1427878 w 1892234"/>
              <a:gd name="connsiteY53" fmla="*/ 1645231 h 3082398"/>
              <a:gd name="connsiteX54" fmla="*/ 1386077 w 1892234"/>
              <a:gd name="connsiteY54" fmla="*/ 1667699 h 3082398"/>
              <a:gd name="connsiteX55" fmla="*/ 1370907 w 1892234"/>
              <a:gd name="connsiteY55" fmla="*/ 1676239 h 3082398"/>
              <a:gd name="connsiteX56" fmla="*/ 1366588 w 1892234"/>
              <a:gd name="connsiteY56" fmla="*/ 1678176 h 3082398"/>
              <a:gd name="connsiteX57" fmla="*/ 1357095 w 1892234"/>
              <a:gd name="connsiteY57" fmla="*/ 1683278 h 3082398"/>
              <a:gd name="connsiteX58" fmla="*/ 1306238 w 1892234"/>
              <a:gd name="connsiteY58" fmla="*/ 1705232 h 3082398"/>
              <a:gd name="connsiteX59" fmla="*/ 1292258 w 1892234"/>
              <a:gd name="connsiteY59" fmla="*/ 1711500 h 3082398"/>
              <a:gd name="connsiteX60" fmla="*/ 1289672 w 1892234"/>
              <a:gd name="connsiteY60" fmla="*/ 1712383 h 3082398"/>
              <a:gd name="connsiteX61" fmla="*/ 1282867 w 1892234"/>
              <a:gd name="connsiteY61" fmla="*/ 1715321 h 3082398"/>
              <a:gd name="connsiteX62" fmla="*/ 1216576 w 1892234"/>
              <a:gd name="connsiteY62" fmla="*/ 1737360 h 3082398"/>
              <a:gd name="connsiteX63" fmla="*/ 1210005 w 1892234"/>
              <a:gd name="connsiteY63" fmla="*/ 1739607 h 3082398"/>
              <a:gd name="connsiteX64" fmla="*/ 1209346 w 1892234"/>
              <a:gd name="connsiteY64" fmla="*/ 1739766 h 3082398"/>
              <a:gd name="connsiteX65" fmla="*/ 1205516 w 1892234"/>
              <a:gd name="connsiteY65" fmla="*/ 1741039 h 3082398"/>
              <a:gd name="connsiteX66" fmla="*/ 1054134 w 1892234"/>
              <a:gd name="connsiteY66" fmla="*/ 1770025 h 3082398"/>
              <a:gd name="connsiteX67" fmla="*/ 1891117 w 1892234"/>
              <a:gd name="connsiteY67" fmla="*/ 1770025 h 3082398"/>
              <a:gd name="connsiteX68" fmla="*/ 1891117 w 1892234"/>
              <a:gd name="connsiteY68" fmla="*/ 1789112 h 3082398"/>
              <a:gd name="connsiteX69" fmla="*/ 1892234 w 1892234"/>
              <a:gd name="connsiteY69" fmla="*/ 1789112 h 3082398"/>
              <a:gd name="connsiteX70" fmla="*/ 1892234 w 1892234"/>
              <a:gd name="connsiteY70" fmla="*/ 1839193 h 3082398"/>
              <a:gd name="connsiteX71" fmla="*/ 1892234 w 1892234"/>
              <a:gd name="connsiteY71" fmla="*/ 1853486 h 3082398"/>
              <a:gd name="connsiteX72" fmla="*/ 1892234 w 1892234"/>
              <a:gd name="connsiteY72" fmla="*/ 1956126 h 3082398"/>
              <a:gd name="connsiteX73" fmla="*/ 1892234 w 1892234"/>
              <a:gd name="connsiteY73" fmla="*/ 2013863 h 3082398"/>
              <a:gd name="connsiteX74" fmla="*/ 1892234 w 1892234"/>
              <a:gd name="connsiteY74" fmla="*/ 2137122 h 3082398"/>
              <a:gd name="connsiteX75" fmla="*/ 1891105 w 1892234"/>
              <a:gd name="connsiteY75" fmla="*/ 2137122 h 3082398"/>
              <a:gd name="connsiteX76" fmla="*/ 1891105 w 1892234"/>
              <a:gd name="connsiteY76" fmla="*/ 2137122 h 3082398"/>
              <a:gd name="connsiteX77" fmla="*/ 1891105 w 1892234"/>
              <a:gd name="connsiteY77" fmla="*/ 2137404 h 3082398"/>
              <a:gd name="connsiteX78" fmla="*/ 1891105 w 1892234"/>
              <a:gd name="connsiteY78" fmla="*/ 2149531 h 3082398"/>
              <a:gd name="connsiteX79" fmla="*/ 1891105 w 1892234"/>
              <a:gd name="connsiteY79" fmla="*/ 2187202 h 3082398"/>
              <a:gd name="connsiteX80" fmla="*/ 1888748 w 1892234"/>
              <a:gd name="connsiteY80" fmla="*/ 2187202 h 3082398"/>
              <a:gd name="connsiteX81" fmla="*/ 1886812 w 1892234"/>
              <a:gd name="connsiteY81" fmla="*/ 2228063 h 3082398"/>
              <a:gd name="connsiteX82" fmla="*/ 1886321 w 1892234"/>
              <a:gd name="connsiteY82" fmla="*/ 2231576 h 3082398"/>
              <a:gd name="connsiteX83" fmla="*/ 1886223 w 1892234"/>
              <a:gd name="connsiteY83" fmla="*/ 2233517 h 3082398"/>
              <a:gd name="connsiteX84" fmla="*/ 1883469 w 1892234"/>
              <a:gd name="connsiteY84" fmla="*/ 2251944 h 3082398"/>
              <a:gd name="connsiteX85" fmla="*/ 1875221 w 1892234"/>
              <a:gd name="connsiteY85" fmla="*/ 2310858 h 3082398"/>
              <a:gd name="connsiteX86" fmla="*/ 1873654 w 1892234"/>
              <a:gd name="connsiteY86" fmla="*/ 2317633 h 3082398"/>
              <a:gd name="connsiteX87" fmla="*/ 1873058 w 1892234"/>
              <a:gd name="connsiteY87" fmla="*/ 2321625 h 3082398"/>
              <a:gd name="connsiteX88" fmla="*/ 1867964 w 1892234"/>
              <a:gd name="connsiteY88" fmla="*/ 2342225 h 3082398"/>
              <a:gd name="connsiteX89" fmla="*/ 1856636 w 1892234"/>
              <a:gd name="connsiteY89" fmla="*/ 2391197 h 3082398"/>
              <a:gd name="connsiteX90" fmla="*/ 1853410 w 1892234"/>
              <a:gd name="connsiteY90" fmla="*/ 2401106 h 3082398"/>
              <a:gd name="connsiteX91" fmla="*/ 1851981 w 1892234"/>
              <a:gd name="connsiteY91" fmla="*/ 2406886 h 3082398"/>
              <a:gd name="connsiteX92" fmla="*/ 1845110 w 1892234"/>
              <a:gd name="connsiteY92" fmla="*/ 2426596 h 3082398"/>
              <a:gd name="connsiteX93" fmla="*/ 1831381 w 1892234"/>
              <a:gd name="connsiteY93" fmla="*/ 2468760 h 3082398"/>
              <a:gd name="connsiteX94" fmla="*/ 1825950 w 1892234"/>
              <a:gd name="connsiteY94" fmla="*/ 2481555 h 3082398"/>
              <a:gd name="connsiteX95" fmla="*/ 1823386 w 1892234"/>
              <a:gd name="connsiteY95" fmla="*/ 2488910 h 3082398"/>
              <a:gd name="connsiteX96" fmla="*/ 1815252 w 1892234"/>
              <a:gd name="connsiteY96" fmla="*/ 2506756 h 3082398"/>
              <a:gd name="connsiteX97" fmla="*/ 1799776 w 1892234"/>
              <a:gd name="connsiteY97" fmla="*/ 2543220 h 3082398"/>
              <a:gd name="connsiteX98" fmla="*/ 1791622 w 1892234"/>
              <a:gd name="connsiteY98" fmla="*/ 2558613 h 3082398"/>
              <a:gd name="connsiteX99" fmla="*/ 1787661 w 1892234"/>
              <a:gd name="connsiteY99" fmla="*/ 2567306 h 3082398"/>
              <a:gd name="connsiteX100" fmla="*/ 1778740 w 1892234"/>
              <a:gd name="connsiteY100" fmla="*/ 2582931 h 3082398"/>
              <a:gd name="connsiteX101" fmla="*/ 1762146 w 1892234"/>
              <a:gd name="connsiteY101" fmla="*/ 2614258 h 3082398"/>
              <a:gd name="connsiteX102" fmla="*/ 1750775 w 1892234"/>
              <a:gd name="connsiteY102" fmla="*/ 2631917 h 3082398"/>
              <a:gd name="connsiteX103" fmla="*/ 1745202 w 1892234"/>
              <a:gd name="connsiteY103" fmla="*/ 2641680 h 3082398"/>
              <a:gd name="connsiteX104" fmla="*/ 1735924 w 1892234"/>
              <a:gd name="connsiteY104" fmla="*/ 2654977 h 3082398"/>
              <a:gd name="connsiteX105" fmla="*/ 1718812 w 1892234"/>
              <a:gd name="connsiteY105" fmla="*/ 2681551 h 3082398"/>
              <a:gd name="connsiteX106" fmla="*/ 1703748 w 1892234"/>
              <a:gd name="connsiteY106" fmla="*/ 2701101 h 3082398"/>
              <a:gd name="connsiteX107" fmla="*/ 1696396 w 1892234"/>
              <a:gd name="connsiteY107" fmla="*/ 2711641 h 3082398"/>
              <a:gd name="connsiteX108" fmla="*/ 1687157 w 1892234"/>
              <a:gd name="connsiteY108" fmla="*/ 2722633 h 3082398"/>
              <a:gd name="connsiteX109" fmla="*/ 1670098 w 1892234"/>
              <a:gd name="connsiteY109" fmla="*/ 2744774 h 3082398"/>
              <a:gd name="connsiteX110" fmla="*/ 1650874 w 1892234"/>
              <a:gd name="connsiteY110" fmla="*/ 2765807 h 3082398"/>
              <a:gd name="connsiteX111" fmla="*/ 1641638 w 1892234"/>
              <a:gd name="connsiteY111" fmla="*/ 2776797 h 3082398"/>
              <a:gd name="connsiteX112" fmla="*/ 1632794 w 1892234"/>
              <a:gd name="connsiteY112" fmla="*/ 2785589 h 3082398"/>
              <a:gd name="connsiteX113" fmla="*/ 1616324 w 1892234"/>
              <a:gd name="connsiteY113" fmla="*/ 2803608 h 3082398"/>
              <a:gd name="connsiteX114" fmla="*/ 1592464 w 1892234"/>
              <a:gd name="connsiteY114" fmla="*/ 2825679 h 3082398"/>
              <a:gd name="connsiteX115" fmla="*/ 1581318 w 1892234"/>
              <a:gd name="connsiteY115" fmla="*/ 2836758 h 3082398"/>
              <a:gd name="connsiteX116" fmla="*/ 1573192 w 1892234"/>
              <a:gd name="connsiteY116" fmla="*/ 2843504 h 3082398"/>
              <a:gd name="connsiteX117" fmla="*/ 1557815 w 1892234"/>
              <a:gd name="connsiteY117" fmla="*/ 2857728 h 3082398"/>
              <a:gd name="connsiteX118" fmla="*/ 1528783 w 1892234"/>
              <a:gd name="connsiteY118" fmla="*/ 2880377 h 3082398"/>
              <a:gd name="connsiteX119" fmla="*/ 1515829 w 1892234"/>
              <a:gd name="connsiteY119" fmla="*/ 2891132 h 3082398"/>
              <a:gd name="connsiteX120" fmla="*/ 1508715 w 1892234"/>
              <a:gd name="connsiteY120" fmla="*/ 2896031 h 3082398"/>
              <a:gd name="connsiteX121" fmla="*/ 1494892 w 1892234"/>
              <a:gd name="connsiteY121" fmla="*/ 2906814 h 3082398"/>
              <a:gd name="connsiteX122" fmla="*/ 1460006 w 1892234"/>
              <a:gd name="connsiteY122" fmla="*/ 2929578 h 3082398"/>
              <a:gd name="connsiteX123" fmla="*/ 1445562 w 1892234"/>
              <a:gd name="connsiteY123" fmla="*/ 2939527 h 3082398"/>
              <a:gd name="connsiteX124" fmla="*/ 1439724 w 1892234"/>
              <a:gd name="connsiteY124" fmla="*/ 2942811 h 3082398"/>
              <a:gd name="connsiteX125" fmla="*/ 1427878 w 1892234"/>
              <a:gd name="connsiteY125" fmla="*/ 2950541 h 3082398"/>
              <a:gd name="connsiteX126" fmla="*/ 1386077 w 1892234"/>
              <a:gd name="connsiteY126" fmla="*/ 2973010 h 3082398"/>
              <a:gd name="connsiteX127" fmla="*/ 1370907 w 1892234"/>
              <a:gd name="connsiteY127" fmla="*/ 2981550 h 3082398"/>
              <a:gd name="connsiteX128" fmla="*/ 1366588 w 1892234"/>
              <a:gd name="connsiteY128" fmla="*/ 2983486 h 3082398"/>
              <a:gd name="connsiteX129" fmla="*/ 1357095 w 1892234"/>
              <a:gd name="connsiteY129" fmla="*/ 2988588 h 3082398"/>
              <a:gd name="connsiteX130" fmla="*/ 1306238 w 1892234"/>
              <a:gd name="connsiteY130" fmla="*/ 3010542 h 3082398"/>
              <a:gd name="connsiteX131" fmla="*/ 1292258 w 1892234"/>
              <a:gd name="connsiteY131" fmla="*/ 3016810 h 3082398"/>
              <a:gd name="connsiteX132" fmla="*/ 1289672 w 1892234"/>
              <a:gd name="connsiteY132" fmla="*/ 3017694 h 3082398"/>
              <a:gd name="connsiteX133" fmla="*/ 1282867 w 1892234"/>
              <a:gd name="connsiteY133" fmla="*/ 3020632 h 3082398"/>
              <a:gd name="connsiteX134" fmla="*/ 1216576 w 1892234"/>
              <a:gd name="connsiteY134" fmla="*/ 3042672 h 3082398"/>
              <a:gd name="connsiteX135" fmla="*/ 1210005 w 1892234"/>
              <a:gd name="connsiteY135" fmla="*/ 3044917 h 3082398"/>
              <a:gd name="connsiteX136" fmla="*/ 1209346 w 1892234"/>
              <a:gd name="connsiteY136" fmla="*/ 3045077 h 3082398"/>
              <a:gd name="connsiteX137" fmla="*/ 1205516 w 1892234"/>
              <a:gd name="connsiteY137" fmla="*/ 3046349 h 3082398"/>
              <a:gd name="connsiteX138" fmla="*/ 1042731 w 1892234"/>
              <a:gd name="connsiteY138" fmla="*/ 3077519 h 3082398"/>
              <a:gd name="connsiteX139" fmla="*/ 1039034 w 1892234"/>
              <a:gd name="connsiteY139" fmla="*/ 3077705 h 3082398"/>
              <a:gd name="connsiteX140" fmla="*/ 1036258 w 1892234"/>
              <a:gd name="connsiteY140" fmla="*/ 3078102 h 3082398"/>
              <a:gd name="connsiteX141" fmla="*/ 990506 w 1892234"/>
              <a:gd name="connsiteY141" fmla="*/ 3080270 h 3082398"/>
              <a:gd name="connsiteX142" fmla="*/ 990506 w 1892234"/>
              <a:gd name="connsiteY142" fmla="*/ 3082397 h 3082398"/>
              <a:gd name="connsiteX143" fmla="*/ 946121 w 1892234"/>
              <a:gd name="connsiteY143" fmla="*/ 3082397 h 3082398"/>
              <a:gd name="connsiteX144" fmla="*/ 946111 w 1892234"/>
              <a:gd name="connsiteY144" fmla="*/ 3082398 h 3082398"/>
              <a:gd name="connsiteX145" fmla="*/ 946102 w 1892234"/>
              <a:gd name="connsiteY145" fmla="*/ 3082397 h 3082398"/>
              <a:gd name="connsiteX146" fmla="*/ 945545 w 1892234"/>
              <a:gd name="connsiteY146" fmla="*/ 3082397 h 3082398"/>
              <a:gd name="connsiteX147" fmla="*/ 1118 w 1892234"/>
              <a:gd name="connsiteY147" fmla="*/ 3082397 h 3082398"/>
              <a:gd name="connsiteX148" fmla="*/ 1118 w 1892234"/>
              <a:gd name="connsiteY148" fmla="*/ 2187202 h 3082398"/>
              <a:gd name="connsiteX149" fmla="*/ 0 w 1892234"/>
              <a:gd name="connsiteY149" fmla="*/ 2187202 h 3082398"/>
              <a:gd name="connsiteX150" fmla="*/ 0 w 1892234"/>
              <a:gd name="connsiteY150" fmla="*/ 2137122 h 3082398"/>
              <a:gd name="connsiteX151" fmla="*/ 0 w 1892234"/>
              <a:gd name="connsiteY151" fmla="*/ 2013863 h 3082398"/>
              <a:gd name="connsiteX152" fmla="*/ 0 w 1892234"/>
              <a:gd name="connsiteY152" fmla="*/ 1956126 h 3082398"/>
              <a:gd name="connsiteX153" fmla="*/ 0 w 1892234"/>
              <a:gd name="connsiteY153" fmla="*/ 1853486 h 3082398"/>
              <a:gd name="connsiteX154" fmla="*/ 0 w 1892234"/>
              <a:gd name="connsiteY154" fmla="*/ 1839193 h 3082398"/>
              <a:gd name="connsiteX155" fmla="*/ 1129 w 1892234"/>
              <a:gd name="connsiteY155" fmla="*/ 1839193 h 3082398"/>
              <a:gd name="connsiteX156" fmla="*/ 1129 w 1892234"/>
              <a:gd name="connsiteY156" fmla="*/ 1838909 h 3082398"/>
              <a:gd name="connsiteX157" fmla="*/ 1129 w 1892234"/>
              <a:gd name="connsiteY157" fmla="*/ 1826783 h 3082398"/>
              <a:gd name="connsiteX158" fmla="*/ 1129 w 1892234"/>
              <a:gd name="connsiteY158" fmla="*/ 1789112 h 3082398"/>
              <a:gd name="connsiteX159" fmla="*/ 3487 w 1892234"/>
              <a:gd name="connsiteY159" fmla="*/ 1789112 h 3082398"/>
              <a:gd name="connsiteX160" fmla="*/ 4057 w 1892234"/>
              <a:gd name="connsiteY160" fmla="*/ 1777087 h 3082398"/>
              <a:gd name="connsiteX161" fmla="*/ 1118 w 1892234"/>
              <a:gd name="connsiteY161" fmla="*/ 1777087 h 3082398"/>
              <a:gd name="connsiteX162" fmla="*/ 1118 w 1892234"/>
              <a:gd name="connsiteY162" fmla="*/ 1533244 h 3082398"/>
              <a:gd name="connsiteX163" fmla="*/ 1118 w 1892234"/>
              <a:gd name="connsiteY163" fmla="*/ 881891 h 3082398"/>
              <a:gd name="connsiteX164" fmla="*/ 0 w 1892234"/>
              <a:gd name="connsiteY164" fmla="*/ 881891 h 3082398"/>
              <a:gd name="connsiteX165" fmla="*/ 0 w 1892234"/>
              <a:gd name="connsiteY165" fmla="*/ 880579 h 3082398"/>
              <a:gd name="connsiteX166" fmla="*/ 4179 w 1892234"/>
              <a:gd name="connsiteY166" fmla="*/ 880579 h 3082398"/>
              <a:gd name="connsiteX167" fmla="*/ 5421 w 1892234"/>
              <a:gd name="connsiteY167" fmla="*/ 854335 h 3082398"/>
              <a:gd name="connsiteX168" fmla="*/ 5913 w 1892234"/>
              <a:gd name="connsiteY168" fmla="*/ 850822 h 3082398"/>
              <a:gd name="connsiteX169" fmla="*/ 6011 w 1892234"/>
              <a:gd name="connsiteY169" fmla="*/ 848881 h 3082398"/>
              <a:gd name="connsiteX170" fmla="*/ 8765 w 1892234"/>
              <a:gd name="connsiteY170" fmla="*/ 830453 h 3082398"/>
              <a:gd name="connsiteX171" fmla="*/ 17013 w 1892234"/>
              <a:gd name="connsiteY171" fmla="*/ 771540 h 3082398"/>
              <a:gd name="connsiteX172" fmla="*/ 18581 w 1892234"/>
              <a:gd name="connsiteY172" fmla="*/ 764764 h 3082398"/>
              <a:gd name="connsiteX173" fmla="*/ 19177 w 1892234"/>
              <a:gd name="connsiteY173" fmla="*/ 760774 h 3082398"/>
              <a:gd name="connsiteX174" fmla="*/ 24270 w 1892234"/>
              <a:gd name="connsiteY174" fmla="*/ 740172 h 3082398"/>
              <a:gd name="connsiteX175" fmla="*/ 35598 w 1892234"/>
              <a:gd name="connsiteY175" fmla="*/ 691201 h 3082398"/>
              <a:gd name="connsiteX176" fmla="*/ 38824 w 1892234"/>
              <a:gd name="connsiteY176" fmla="*/ 681293 h 3082398"/>
              <a:gd name="connsiteX177" fmla="*/ 40253 w 1892234"/>
              <a:gd name="connsiteY177" fmla="*/ 675511 h 3082398"/>
              <a:gd name="connsiteX178" fmla="*/ 47124 w 1892234"/>
              <a:gd name="connsiteY178" fmla="*/ 655802 h 3082398"/>
              <a:gd name="connsiteX179" fmla="*/ 60853 w 1892234"/>
              <a:gd name="connsiteY179" fmla="*/ 613639 h 3082398"/>
              <a:gd name="connsiteX180" fmla="*/ 66284 w 1892234"/>
              <a:gd name="connsiteY180" fmla="*/ 600844 h 3082398"/>
              <a:gd name="connsiteX181" fmla="*/ 68849 w 1892234"/>
              <a:gd name="connsiteY181" fmla="*/ 593488 h 3082398"/>
              <a:gd name="connsiteX182" fmla="*/ 76982 w 1892234"/>
              <a:gd name="connsiteY182" fmla="*/ 575641 h 3082398"/>
              <a:gd name="connsiteX183" fmla="*/ 92458 w 1892234"/>
              <a:gd name="connsiteY183" fmla="*/ 539178 h 3082398"/>
              <a:gd name="connsiteX184" fmla="*/ 100612 w 1892234"/>
              <a:gd name="connsiteY184" fmla="*/ 523785 h 3082398"/>
              <a:gd name="connsiteX185" fmla="*/ 104574 w 1892234"/>
              <a:gd name="connsiteY185" fmla="*/ 515093 h 3082398"/>
              <a:gd name="connsiteX186" fmla="*/ 113494 w 1892234"/>
              <a:gd name="connsiteY186" fmla="*/ 499467 h 3082398"/>
              <a:gd name="connsiteX187" fmla="*/ 130088 w 1892234"/>
              <a:gd name="connsiteY187" fmla="*/ 468140 h 3082398"/>
              <a:gd name="connsiteX188" fmla="*/ 141460 w 1892234"/>
              <a:gd name="connsiteY188" fmla="*/ 450482 h 3082398"/>
              <a:gd name="connsiteX189" fmla="*/ 147033 w 1892234"/>
              <a:gd name="connsiteY189" fmla="*/ 440718 h 3082398"/>
              <a:gd name="connsiteX190" fmla="*/ 156310 w 1892234"/>
              <a:gd name="connsiteY190" fmla="*/ 427422 h 3082398"/>
              <a:gd name="connsiteX191" fmla="*/ 173421 w 1892234"/>
              <a:gd name="connsiteY191" fmla="*/ 400847 h 3082398"/>
              <a:gd name="connsiteX192" fmla="*/ 188487 w 1892234"/>
              <a:gd name="connsiteY192" fmla="*/ 381297 h 3082398"/>
              <a:gd name="connsiteX193" fmla="*/ 195838 w 1892234"/>
              <a:gd name="connsiteY193" fmla="*/ 370757 h 3082398"/>
              <a:gd name="connsiteX194" fmla="*/ 205077 w 1892234"/>
              <a:gd name="connsiteY194" fmla="*/ 359764 h 3082398"/>
              <a:gd name="connsiteX195" fmla="*/ 222137 w 1892234"/>
              <a:gd name="connsiteY195" fmla="*/ 337623 h 3082398"/>
              <a:gd name="connsiteX196" fmla="*/ 241360 w 1892234"/>
              <a:gd name="connsiteY196" fmla="*/ 316591 h 3082398"/>
              <a:gd name="connsiteX197" fmla="*/ 250596 w 1892234"/>
              <a:gd name="connsiteY197" fmla="*/ 305601 h 3082398"/>
              <a:gd name="connsiteX198" fmla="*/ 259441 w 1892234"/>
              <a:gd name="connsiteY198" fmla="*/ 296809 h 3082398"/>
              <a:gd name="connsiteX199" fmla="*/ 275910 w 1892234"/>
              <a:gd name="connsiteY199" fmla="*/ 278790 h 3082398"/>
              <a:gd name="connsiteX200" fmla="*/ 299770 w 1892234"/>
              <a:gd name="connsiteY200" fmla="*/ 256718 h 3082398"/>
              <a:gd name="connsiteX201" fmla="*/ 310917 w 1892234"/>
              <a:gd name="connsiteY201" fmla="*/ 245640 h 3082398"/>
              <a:gd name="connsiteX202" fmla="*/ 319042 w 1892234"/>
              <a:gd name="connsiteY202" fmla="*/ 238894 h 3082398"/>
              <a:gd name="connsiteX203" fmla="*/ 334419 w 1892234"/>
              <a:gd name="connsiteY203" fmla="*/ 224670 h 3082398"/>
              <a:gd name="connsiteX204" fmla="*/ 363451 w 1892234"/>
              <a:gd name="connsiteY204" fmla="*/ 202021 h 3082398"/>
              <a:gd name="connsiteX205" fmla="*/ 376405 w 1892234"/>
              <a:gd name="connsiteY205" fmla="*/ 191265 h 3082398"/>
              <a:gd name="connsiteX206" fmla="*/ 383520 w 1892234"/>
              <a:gd name="connsiteY206" fmla="*/ 186367 h 3082398"/>
              <a:gd name="connsiteX207" fmla="*/ 397342 w 1892234"/>
              <a:gd name="connsiteY207" fmla="*/ 175584 h 3082398"/>
              <a:gd name="connsiteX208" fmla="*/ 432228 w 1892234"/>
              <a:gd name="connsiteY208" fmla="*/ 152820 h 3082398"/>
              <a:gd name="connsiteX209" fmla="*/ 446672 w 1892234"/>
              <a:gd name="connsiteY209" fmla="*/ 142871 h 3082398"/>
              <a:gd name="connsiteX210" fmla="*/ 452509 w 1892234"/>
              <a:gd name="connsiteY210" fmla="*/ 139587 h 3082398"/>
              <a:gd name="connsiteX211" fmla="*/ 464357 w 1892234"/>
              <a:gd name="connsiteY211" fmla="*/ 131856 h 3082398"/>
              <a:gd name="connsiteX212" fmla="*/ 506157 w 1892234"/>
              <a:gd name="connsiteY212" fmla="*/ 109388 h 3082398"/>
              <a:gd name="connsiteX213" fmla="*/ 521327 w 1892234"/>
              <a:gd name="connsiteY213" fmla="*/ 100848 h 3082398"/>
              <a:gd name="connsiteX214" fmla="*/ 525647 w 1892234"/>
              <a:gd name="connsiteY214" fmla="*/ 98911 h 3082398"/>
              <a:gd name="connsiteX215" fmla="*/ 535138 w 1892234"/>
              <a:gd name="connsiteY215" fmla="*/ 93810 h 3082398"/>
              <a:gd name="connsiteX216" fmla="*/ 585996 w 1892234"/>
              <a:gd name="connsiteY216" fmla="*/ 71856 h 3082398"/>
              <a:gd name="connsiteX217" fmla="*/ 599976 w 1892234"/>
              <a:gd name="connsiteY217" fmla="*/ 65587 h 3082398"/>
              <a:gd name="connsiteX218" fmla="*/ 602562 w 1892234"/>
              <a:gd name="connsiteY218" fmla="*/ 64704 h 3082398"/>
              <a:gd name="connsiteX219" fmla="*/ 609367 w 1892234"/>
              <a:gd name="connsiteY219" fmla="*/ 61766 h 3082398"/>
              <a:gd name="connsiteX220" fmla="*/ 675658 w 1892234"/>
              <a:gd name="connsiteY220" fmla="*/ 39725 h 3082398"/>
              <a:gd name="connsiteX221" fmla="*/ 682229 w 1892234"/>
              <a:gd name="connsiteY221" fmla="*/ 37481 h 3082398"/>
              <a:gd name="connsiteX222" fmla="*/ 682888 w 1892234"/>
              <a:gd name="connsiteY222" fmla="*/ 37321 h 3082398"/>
              <a:gd name="connsiteX223" fmla="*/ 686718 w 1892234"/>
              <a:gd name="connsiteY223" fmla="*/ 36049 h 3082398"/>
              <a:gd name="connsiteX224" fmla="*/ 849503 w 1892234"/>
              <a:gd name="connsiteY224" fmla="*/ 4878 h 3082398"/>
              <a:gd name="connsiteX225" fmla="*/ 853201 w 1892234"/>
              <a:gd name="connsiteY225" fmla="*/ 4692 h 3082398"/>
              <a:gd name="connsiteX226" fmla="*/ 855977 w 1892234"/>
              <a:gd name="connsiteY226" fmla="*/ 4296 h 3082398"/>
              <a:gd name="connsiteX227" fmla="*/ 901728 w 1892234"/>
              <a:gd name="connsiteY227" fmla="*/ 2129 h 3082398"/>
              <a:gd name="connsiteX228" fmla="*/ 901728 w 1892234"/>
              <a:gd name="connsiteY228" fmla="*/ 1 h 3082398"/>
              <a:gd name="connsiteX229" fmla="*/ 946114 w 1892234"/>
              <a:gd name="connsiteY229" fmla="*/ 1 h 308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2234" h="3082398">
                <a:moveTo>
                  <a:pt x="946123" y="0"/>
                </a:moveTo>
                <a:lnTo>
                  <a:pt x="946132" y="1"/>
                </a:lnTo>
                <a:lnTo>
                  <a:pt x="946689" y="1"/>
                </a:lnTo>
                <a:lnTo>
                  <a:pt x="1891116" y="1"/>
                </a:lnTo>
                <a:lnTo>
                  <a:pt x="1891116" y="243844"/>
                </a:lnTo>
                <a:lnTo>
                  <a:pt x="1891116" y="880579"/>
                </a:lnTo>
                <a:lnTo>
                  <a:pt x="1891105" y="880579"/>
                </a:lnTo>
                <a:lnTo>
                  <a:pt x="1891105" y="881891"/>
                </a:lnTo>
                <a:lnTo>
                  <a:pt x="1888747" y="881891"/>
                </a:lnTo>
                <a:lnTo>
                  <a:pt x="1886812" y="922752"/>
                </a:lnTo>
                <a:lnTo>
                  <a:pt x="1886320" y="926265"/>
                </a:lnTo>
                <a:lnTo>
                  <a:pt x="1886222" y="928206"/>
                </a:lnTo>
                <a:lnTo>
                  <a:pt x="1883469" y="946634"/>
                </a:lnTo>
                <a:lnTo>
                  <a:pt x="1875221" y="1005547"/>
                </a:lnTo>
                <a:lnTo>
                  <a:pt x="1873654" y="1012323"/>
                </a:lnTo>
                <a:lnTo>
                  <a:pt x="1873058" y="1016314"/>
                </a:lnTo>
                <a:lnTo>
                  <a:pt x="1867964" y="1036915"/>
                </a:lnTo>
                <a:lnTo>
                  <a:pt x="1856636" y="1085888"/>
                </a:lnTo>
                <a:lnTo>
                  <a:pt x="1853410" y="1095794"/>
                </a:lnTo>
                <a:lnTo>
                  <a:pt x="1851981" y="1101576"/>
                </a:lnTo>
                <a:lnTo>
                  <a:pt x="1845110" y="1121285"/>
                </a:lnTo>
                <a:lnTo>
                  <a:pt x="1831381" y="1163449"/>
                </a:lnTo>
                <a:lnTo>
                  <a:pt x="1825950" y="1176243"/>
                </a:lnTo>
                <a:lnTo>
                  <a:pt x="1823385" y="1183600"/>
                </a:lnTo>
                <a:lnTo>
                  <a:pt x="1815252" y="1201446"/>
                </a:lnTo>
                <a:lnTo>
                  <a:pt x="1799775" y="1237910"/>
                </a:lnTo>
                <a:lnTo>
                  <a:pt x="1791622" y="1253302"/>
                </a:lnTo>
                <a:lnTo>
                  <a:pt x="1787661" y="1261995"/>
                </a:lnTo>
                <a:lnTo>
                  <a:pt x="1778740" y="1277620"/>
                </a:lnTo>
                <a:lnTo>
                  <a:pt x="1762146" y="1308948"/>
                </a:lnTo>
                <a:lnTo>
                  <a:pt x="1750774" y="1326606"/>
                </a:lnTo>
                <a:lnTo>
                  <a:pt x="1745201" y="1336369"/>
                </a:lnTo>
                <a:lnTo>
                  <a:pt x="1735924" y="1349666"/>
                </a:lnTo>
                <a:lnTo>
                  <a:pt x="1718812" y="1376240"/>
                </a:lnTo>
                <a:lnTo>
                  <a:pt x="1703748" y="1395790"/>
                </a:lnTo>
                <a:lnTo>
                  <a:pt x="1696396" y="1406330"/>
                </a:lnTo>
                <a:lnTo>
                  <a:pt x="1687157" y="1417324"/>
                </a:lnTo>
                <a:lnTo>
                  <a:pt x="1670097" y="1439464"/>
                </a:lnTo>
                <a:lnTo>
                  <a:pt x="1650874" y="1460496"/>
                </a:lnTo>
                <a:lnTo>
                  <a:pt x="1641638" y="1471486"/>
                </a:lnTo>
                <a:lnTo>
                  <a:pt x="1632794" y="1480278"/>
                </a:lnTo>
                <a:lnTo>
                  <a:pt x="1616324" y="1498298"/>
                </a:lnTo>
                <a:lnTo>
                  <a:pt x="1592464" y="1520368"/>
                </a:lnTo>
                <a:lnTo>
                  <a:pt x="1581318" y="1531448"/>
                </a:lnTo>
                <a:lnTo>
                  <a:pt x="1573192" y="1538194"/>
                </a:lnTo>
                <a:lnTo>
                  <a:pt x="1557815" y="1552419"/>
                </a:lnTo>
                <a:lnTo>
                  <a:pt x="1528783" y="1575065"/>
                </a:lnTo>
                <a:lnTo>
                  <a:pt x="1515829" y="1585822"/>
                </a:lnTo>
                <a:lnTo>
                  <a:pt x="1508716" y="1590720"/>
                </a:lnTo>
                <a:lnTo>
                  <a:pt x="1494892" y="1601503"/>
                </a:lnTo>
                <a:lnTo>
                  <a:pt x="1460006" y="1624267"/>
                </a:lnTo>
                <a:lnTo>
                  <a:pt x="1445562" y="1634216"/>
                </a:lnTo>
                <a:lnTo>
                  <a:pt x="1439724" y="1637500"/>
                </a:lnTo>
                <a:lnTo>
                  <a:pt x="1427878" y="1645231"/>
                </a:lnTo>
                <a:lnTo>
                  <a:pt x="1386077" y="1667699"/>
                </a:lnTo>
                <a:lnTo>
                  <a:pt x="1370907" y="1676239"/>
                </a:lnTo>
                <a:lnTo>
                  <a:pt x="1366588" y="1678176"/>
                </a:lnTo>
                <a:lnTo>
                  <a:pt x="1357095" y="1683278"/>
                </a:lnTo>
                <a:lnTo>
                  <a:pt x="1306238" y="1705232"/>
                </a:lnTo>
                <a:lnTo>
                  <a:pt x="1292258" y="1711500"/>
                </a:lnTo>
                <a:lnTo>
                  <a:pt x="1289672" y="1712383"/>
                </a:lnTo>
                <a:lnTo>
                  <a:pt x="1282867" y="1715321"/>
                </a:lnTo>
                <a:lnTo>
                  <a:pt x="1216576" y="1737360"/>
                </a:lnTo>
                <a:lnTo>
                  <a:pt x="1210005" y="1739607"/>
                </a:lnTo>
                <a:lnTo>
                  <a:pt x="1209346" y="1739766"/>
                </a:lnTo>
                <a:lnTo>
                  <a:pt x="1205516" y="1741039"/>
                </a:lnTo>
                <a:lnTo>
                  <a:pt x="1054134" y="1770025"/>
                </a:lnTo>
                <a:lnTo>
                  <a:pt x="1891117" y="1770025"/>
                </a:lnTo>
                <a:lnTo>
                  <a:pt x="1891117" y="1789112"/>
                </a:lnTo>
                <a:lnTo>
                  <a:pt x="1892234" y="1789112"/>
                </a:lnTo>
                <a:lnTo>
                  <a:pt x="1892234" y="1839193"/>
                </a:lnTo>
                <a:lnTo>
                  <a:pt x="1892234" y="1853486"/>
                </a:lnTo>
                <a:lnTo>
                  <a:pt x="1892234" y="1956126"/>
                </a:lnTo>
                <a:lnTo>
                  <a:pt x="1892234" y="2013863"/>
                </a:lnTo>
                <a:lnTo>
                  <a:pt x="1892234" y="2137122"/>
                </a:lnTo>
                <a:lnTo>
                  <a:pt x="1891105" y="2137122"/>
                </a:lnTo>
                <a:lnTo>
                  <a:pt x="1891105" y="2137122"/>
                </a:lnTo>
                <a:lnTo>
                  <a:pt x="1891105" y="2137404"/>
                </a:lnTo>
                <a:lnTo>
                  <a:pt x="1891105" y="2149531"/>
                </a:lnTo>
                <a:lnTo>
                  <a:pt x="1891105" y="2187202"/>
                </a:lnTo>
                <a:lnTo>
                  <a:pt x="1888748" y="2187202"/>
                </a:lnTo>
                <a:lnTo>
                  <a:pt x="1886812" y="2228063"/>
                </a:lnTo>
                <a:lnTo>
                  <a:pt x="1886321" y="2231576"/>
                </a:lnTo>
                <a:lnTo>
                  <a:pt x="1886223" y="2233517"/>
                </a:lnTo>
                <a:lnTo>
                  <a:pt x="1883469" y="2251944"/>
                </a:lnTo>
                <a:lnTo>
                  <a:pt x="1875221" y="2310858"/>
                </a:lnTo>
                <a:lnTo>
                  <a:pt x="1873654" y="2317633"/>
                </a:lnTo>
                <a:lnTo>
                  <a:pt x="1873058" y="2321625"/>
                </a:lnTo>
                <a:lnTo>
                  <a:pt x="1867964" y="2342225"/>
                </a:lnTo>
                <a:lnTo>
                  <a:pt x="1856636" y="2391197"/>
                </a:lnTo>
                <a:lnTo>
                  <a:pt x="1853410" y="2401106"/>
                </a:lnTo>
                <a:lnTo>
                  <a:pt x="1851981" y="2406886"/>
                </a:lnTo>
                <a:lnTo>
                  <a:pt x="1845110" y="2426596"/>
                </a:lnTo>
                <a:lnTo>
                  <a:pt x="1831381" y="2468760"/>
                </a:lnTo>
                <a:lnTo>
                  <a:pt x="1825950" y="2481555"/>
                </a:lnTo>
                <a:lnTo>
                  <a:pt x="1823386" y="2488910"/>
                </a:lnTo>
                <a:lnTo>
                  <a:pt x="1815252" y="2506756"/>
                </a:lnTo>
                <a:lnTo>
                  <a:pt x="1799776" y="2543220"/>
                </a:lnTo>
                <a:lnTo>
                  <a:pt x="1791622" y="2558613"/>
                </a:lnTo>
                <a:lnTo>
                  <a:pt x="1787661" y="2567306"/>
                </a:lnTo>
                <a:lnTo>
                  <a:pt x="1778740" y="2582931"/>
                </a:lnTo>
                <a:lnTo>
                  <a:pt x="1762146" y="2614258"/>
                </a:lnTo>
                <a:lnTo>
                  <a:pt x="1750775" y="2631917"/>
                </a:lnTo>
                <a:lnTo>
                  <a:pt x="1745202" y="2641680"/>
                </a:lnTo>
                <a:lnTo>
                  <a:pt x="1735924" y="2654977"/>
                </a:lnTo>
                <a:lnTo>
                  <a:pt x="1718812" y="2681551"/>
                </a:lnTo>
                <a:lnTo>
                  <a:pt x="1703748" y="2701101"/>
                </a:lnTo>
                <a:lnTo>
                  <a:pt x="1696396" y="2711641"/>
                </a:lnTo>
                <a:lnTo>
                  <a:pt x="1687157" y="2722633"/>
                </a:lnTo>
                <a:lnTo>
                  <a:pt x="1670098" y="2744774"/>
                </a:lnTo>
                <a:lnTo>
                  <a:pt x="1650874" y="2765807"/>
                </a:lnTo>
                <a:lnTo>
                  <a:pt x="1641638" y="2776797"/>
                </a:lnTo>
                <a:lnTo>
                  <a:pt x="1632794" y="2785589"/>
                </a:lnTo>
                <a:lnTo>
                  <a:pt x="1616324" y="2803608"/>
                </a:lnTo>
                <a:lnTo>
                  <a:pt x="1592464" y="2825679"/>
                </a:lnTo>
                <a:lnTo>
                  <a:pt x="1581318" y="2836758"/>
                </a:lnTo>
                <a:lnTo>
                  <a:pt x="1573192" y="2843504"/>
                </a:lnTo>
                <a:lnTo>
                  <a:pt x="1557815" y="2857728"/>
                </a:lnTo>
                <a:lnTo>
                  <a:pt x="1528783" y="2880377"/>
                </a:lnTo>
                <a:lnTo>
                  <a:pt x="1515829" y="2891132"/>
                </a:lnTo>
                <a:lnTo>
                  <a:pt x="1508715" y="2896031"/>
                </a:lnTo>
                <a:lnTo>
                  <a:pt x="1494892" y="2906814"/>
                </a:lnTo>
                <a:lnTo>
                  <a:pt x="1460006" y="2929578"/>
                </a:lnTo>
                <a:lnTo>
                  <a:pt x="1445562" y="2939527"/>
                </a:lnTo>
                <a:lnTo>
                  <a:pt x="1439724" y="2942811"/>
                </a:lnTo>
                <a:lnTo>
                  <a:pt x="1427878" y="2950541"/>
                </a:lnTo>
                <a:lnTo>
                  <a:pt x="1386077" y="2973010"/>
                </a:lnTo>
                <a:lnTo>
                  <a:pt x="1370907" y="2981550"/>
                </a:lnTo>
                <a:lnTo>
                  <a:pt x="1366588" y="2983486"/>
                </a:lnTo>
                <a:lnTo>
                  <a:pt x="1357095" y="2988588"/>
                </a:lnTo>
                <a:lnTo>
                  <a:pt x="1306238" y="3010542"/>
                </a:lnTo>
                <a:lnTo>
                  <a:pt x="1292258" y="3016810"/>
                </a:lnTo>
                <a:lnTo>
                  <a:pt x="1289672" y="3017694"/>
                </a:lnTo>
                <a:lnTo>
                  <a:pt x="1282867" y="3020632"/>
                </a:lnTo>
                <a:lnTo>
                  <a:pt x="1216576" y="3042672"/>
                </a:lnTo>
                <a:lnTo>
                  <a:pt x="1210005" y="3044917"/>
                </a:lnTo>
                <a:lnTo>
                  <a:pt x="1209346" y="3045077"/>
                </a:lnTo>
                <a:lnTo>
                  <a:pt x="1205516" y="3046349"/>
                </a:lnTo>
                <a:cubicBezTo>
                  <a:pt x="1152978" y="3061315"/>
                  <a:pt x="1098574" y="3071848"/>
                  <a:pt x="1042731" y="3077519"/>
                </a:cubicBezTo>
                <a:lnTo>
                  <a:pt x="1039034" y="3077705"/>
                </a:lnTo>
                <a:lnTo>
                  <a:pt x="1036258" y="3078102"/>
                </a:lnTo>
                <a:lnTo>
                  <a:pt x="990506" y="3080270"/>
                </a:lnTo>
                <a:lnTo>
                  <a:pt x="990506" y="3082397"/>
                </a:lnTo>
                <a:lnTo>
                  <a:pt x="946121" y="3082397"/>
                </a:lnTo>
                <a:lnTo>
                  <a:pt x="946111" y="3082398"/>
                </a:lnTo>
                <a:lnTo>
                  <a:pt x="946102" y="3082397"/>
                </a:lnTo>
                <a:lnTo>
                  <a:pt x="945545" y="3082397"/>
                </a:lnTo>
                <a:lnTo>
                  <a:pt x="1118" y="3082397"/>
                </a:lnTo>
                <a:lnTo>
                  <a:pt x="1118" y="2187202"/>
                </a:lnTo>
                <a:lnTo>
                  <a:pt x="0" y="2187202"/>
                </a:lnTo>
                <a:lnTo>
                  <a:pt x="0" y="2137122"/>
                </a:lnTo>
                <a:lnTo>
                  <a:pt x="0" y="2013863"/>
                </a:lnTo>
                <a:lnTo>
                  <a:pt x="0" y="1956126"/>
                </a:lnTo>
                <a:lnTo>
                  <a:pt x="0" y="1853486"/>
                </a:lnTo>
                <a:lnTo>
                  <a:pt x="0" y="1839193"/>
                </a:lnTo>
                <a:lnTo>
                  <a:pt x="1129" y="1839193"/>
                </a:lnTo>
                <a:lnTo>
                  <a:pt x="1129" y="1838909"/>
                </a:lnTo>
                <a:lnTo>
                  <a:pt x="1129" y="1826783"/>
                </a:lnTo>
                <a:lnTo>
                  <a:pt x="1129" y="1789112"/>
                </a:lnTo>
                <a:lnTo>
                  <a:pt x="3487" y="1789112"/>
                </a:lnTo>
                <a:lnTo>
                  <a:pt x="4057" y="1777087"/>
                </a:lnTo>
                <a:lnTo>
                  <a:pt x="1118" y="1777087"/>
                </a:lnTo>
                <a:lnTo>
                  <a:pt x="1118" y="1533244"/>
                </a:lnTo>
                <a:lnTo>
                  <a:pt x="1118" y="881891"/>
                </a:lnTo>
                <a:lnTo>
                  <a:pt x="0" y="881891"/>
                </a:lnTo>
                <a:lnTo>
                  <a:pt x="0" y="880579"/>
                </a:lnTo>
                <a:lnTo>
                  <a:pt x="4179" y="880579"/>
                </a:lnTo>
                <a:lnTo>
                  <a:pt x="5421" y="854335"/>
                </a:lnTo>
                <a:lnTo>
                  <a:pt x="5913" y="850822"/>
                </a:lnTo>
                <a:lnTo>
                  <a:pt x="6011" y="848881"/>
                </a:lnTo>
                <a:lnTo>
                  <a:pt x="8765" y="830453"/>
                </a:lnTo>
                <a:lnTo>
                  <a:pt x="17013" y="771540"/>
                </a:lnTo>
                <a:lnTo>
                  <a:pt x="18581" y="764764"/>
                </a:lnTo>
                <a:lnTo>
                  <a:pt x="19177" y="760774"/>
                </a:lnTo>
                <a:lnTo>
                  <a:pt x="24270" y="740172"/>
                </a:lnTo>
                <a:lnTo>
                  <a:pt x="35598" y="691201"/>
                </a:lnTo>
                <a:lnTo>
                  <a:pt x="38824" y="681293"/>
                </a:lnTo>
                <a:lnTo>
                  <a:pt x="40253" y="675511"/>
                </a:lnTo>
                <a:lnTo>
                  <a:pt x="47124" y="655802"/>
                </a:lnTo>
                <a:lnTo>
                  <a:pt x="60853" y="613639"/>
                </a:lnTo>
                <a:lnTo>
                  <a:pt x="66284" y="600844"/>
                </a:lnTo>
                <a:lnTo>
                  <a:pt x="68849" y="593488"/>
                </a:lnTo>
                <a:lnTo>
                  <a:pt x="76982" y="575641"/>
                </a:lnTo>
                <a:lnTo>
                  <a:pt x="92458" y="539178"/>
                </a:lnTo>
                <a:lnTo>
                  <a:pt x="100612" y="523785"/>
                </a:lnTo>
                <a:lnTo>
                  <a:pt x="104574" y="515093"/>
                </a:lnTo>
                <a:lnTo>
                  <a:pt x="113494" y="499467"/>
                </a:lnTo>
                <a:lnTo>
                  <a:pt x="130088" y="468140"/>
                </a:lnTo>
                <a:lnTo>
                  <a:pt x="141460" y="450482"/>
                </a:lnTo>
                <a:lnTo>
                  <a:pt x="147033" y="440718"/>
                </a:lnTo>
                <a:lnTo>
                  <a:pt x="156310" y="427422"/>
                </a:lnTo>
                <a:lnTo>
                  <a:pt x="173421" y="400847"/>
                </a:lnTo>
                <a:lnTo>
                  <a:pt x="188487" y="381297"/>
                </a:lnTo>
                <a:lnTo>
                  <a:pt x="195838" y="370757"/>
                </a:lnTo>
                <a:lnTo>
                  <a:pt x="205077" y="359764"/>
                </a:lnTo>
                <a:lnTo>
                  <a:pt x="222137" y="337623"/>
                </a:lnTo>
                <a:lnTo>
                  <a:pt x="241360" y="316591"/>
                </a:lnTo>
                <a:lnTo>
                  <a:pt x="250596" y="305601"/>
                </a:lnTo>
                <a:lnTo>
                  <a:pt x="259441" y="296809"/>
                </a:lnTo>
                <a:lnTo>
                  <a:pt x="275910" y="278790"/>
                </a:lnTo>
                <a:lnTo>
                  <a:pt x="299770" y="256718"/>
                </a:lnTo>
                <a:lnTo>
                  <a:pt x="310917" y="245640"/>
                </a:lnTo>
                <a:lnTo>
                  <a:pt x="319042" y="238894"/>
                </a:lnTo>
                <a:lnTo>
                  <a:pt x="334419" y="224670"/>
                </a:lnTo>
                <a:lnTo>
                  <a:pt x="363451" y="202021"/>
                </a:lnTo>
                <a:lnTo>
                  <a:pt x="376405" y="191265"/>
                </a:lnTo>
                <a:lnTo>
                  <a:pt x="383520" y="186367"/>
                </a:lnTo>
                <a:lnTo>
                  <a:pt x="397342" y="175584"/>
                </a:lnTo>
                <a:lnTo>
                  <a:pt x="432228" y="152820"/>
                </a:lnTo>
                <a:lnTo>
                  <a:pt x="446672" y="142871"/>
                </a:lnTo>
                <a:lnTo>
                  <a:pt x="452509" y="139587"/>
                </a:lnTo>
                <a:lnTo>
                  <a:pt x="464357" y="131856"/>
                </a:lnTo>
                <a:lnTo>
                  <a:pt x="506157" y="109388"/>
                </a:lnTo>
                <a:lnTo>
                  <a:pt x="521327" y="100848"/>
                </a:lnTo>
                <a:lnTo>
                  <a:pt x="525647" y="98911"/>
                </a:lnTo>
                <a:lnTo>
                  <a:pt x="535138" y="93810"/>
                </a:lnTo>
                <a:lnTo>
                  <a:pt x="585996" y="71856"/>
                </a:lnTo>
                <a:lnTo>
                  <a:pt x="599976" y="65587"/>
                </a:lnTo>
                <a:lnTo>
                  <a:pt x="602562" y="64704"/>
                </a:lnTo>
                <a:lnTo>
                  <a:pt x="609367" y="61766"/>
                </a:lnTo>
                <a:lnTo>
                  <a:pt x="675658" y="39725"/>
                </a:lnTo>
                <a:lnTo>
                  <a:pt x="682229" y="37481"/>
                </a:lnTo>
                <a:lnTo>
                  <a:pt x="682888" y="37321"/>
                </a:lnTo>
                <a:lnTo>
                  <a:pt x="686718" y="36049"/>
                </a:lnTo>
                <a:cubicBezTo>
                  <a:pt x="739256" y="21083"/>
                  <a:pt x="793661" y="10550"/>
                  <a:pt x="849503" y="4878"/>
                </a:cubicBezTo>
                <a:lnTo>
                  <a:pt x="853201" y="4692"/>
                </a:lnTo>
                <a:lnTo>
                  <a:pt x="855977" y="4296"/>
                </a:lnTo>
                <a:lnTo>
                  <a:pt x="901728" y="2129"/>
                </a:lnTo>
                <a:lnTo>
                  <a:pt x="901728" y="1"/>
                </a:lnTo>
                <a:lnTo>
                  <a:pt x="946114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081BAE9-DA5F-4164-A88D-A73E8A30973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05896" y="740780"/>
            <a:ext cx="3082396" cy="3082397"/>
          </a:xfrm>
          <a:custGeom>
            <a:avLst/>
            <a:gdLst>
              <a:gd name="connsiteX0" fmla="*/ 1541197 w 3082396"/>
              <a:gd name="connsiteY0" fmla="*/ 0 h 3082397"/>
              <a:gd name="connsiteX1" fmla="*/ 3074439 w 3082396"/>
              <a:gd name="connsiteY1" fmla="*/ 1383621 h 3082397"/>
              <a:gd name="connsiteX2" fmla="*/ 3081351 w 3082396"/>
              <a:gd name="connsiteY2" fmla="*/ 1520511 h 3082397"/>
              <a:gd name="connsiteX3" fmla="*/ 3082396 w 3082396"/>
              <a:gd name="connsiteY3" fmla="*/ 1520511 h 3082397"/>
              <a:gd name="connsiteX4" fmla="*/ 3082396 w 3082396"/>
              <a:gd name="connsiteY4" fmla="*/ 1541199 h 3082397"/>
              <a:gd name="connsiteX5" fmla="*/ 3082396 w 3082396"/>
              <a:gd name="connsiteY5" fmla="*/ 3082396 h 3082397"/>
              <a:gd name="connsiteX6" fmla="*/ 1541212 w 3082396"/>
              <a:gd name="connsiteY6" fmla="*/ 3082396 h 3082397"/>
              <a:gd name="connsiteX7" fmla="*/ 1541198 w 3082396"/>
              <a:gd name="connsiteY7" fmla="*/ 3082397 h 3082397"/>
              <a:gd name="connsiteX8" fmla="*/ 1541183 w 3082396"/>
              <a:gd name="connsiteY8" fmla="*/ 3082396 h 3082397"/>
              <a:gd name="connsiteX9" fmla="*/ 1468793 w 3082396"/>
              <a:gd name="connsiteY9" fmla="*/ 3082396 h 3082397"/>
              <a:gd name="connsiteX10" fmla="*/ 1468793 w 3082396"/>
              <a:gd name="connsiteY10" fmla="*/ 3078741 h 3082397"/>
              <a:gd name="connsiteX11" fmla="*/ 1383621 w 3082396"/>
              <a:gd name="connsiteY11" fmla="*/ 3074441 h 3082397"/>
              <a:gd name="connsiteX12" fmla="*/ 0 w 3082396"/>
              <a:gd name="connsiteY12" fmla="*/ 1541198 h 3082397"/>
              <a:gd name="connsiteX13" fmla="*/ 1541197 w 3082396"/>
              <a:gd name="connsiteY13" fmla="*/ 0 h 308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082396" h="3082397">
                <a:moveTo>
                  <a:pt x="1541197" y="0"/>
                </a:moveTo>
                <a:cubicBezTo>
                  <a:pt x="2339179" y="0"/>
                  <a:pt x="2995514" y="606461"/>
                  <a:pt x="3074439" y="1383621"/>
                </a:cubicBezTo>
                <a:lnTo>
                  <a:pt x="3081351" y="1520511"/>
                </a:lnTo>
                <a:lnTo>
                  <a:pt x="3082396" y="1520511"/>
                </a:lnTo>
                <a:lnTo>
                  <a:pt x="3082396" y="1541199"/>
                </a:lnTo>
                <a:lnTo>
                  <a:pt x="3082396" y="3082396"/>
                </a:lnTo>
                <a:lnTo>
                  <a:pt x="1541212" y="3082396"/>
                </a:lnTo>
                <a:lnTo>
                  <a:pt x="1541198" y="3082397"/>
                </a:lnTo>
                <a:lnTo>
                  <a:pt x="1541183" y="3082396"/>
                </a:lnTo>
                <a:lnTo>
                  <a:pt x="1468793" y="3082396"/>
                </a:lnTo>
                <a:lnTo>
                  <a:pt x="1468793" y="3078741"/>
                </a:lnTo>
                <a:lnTo>
                  <a:pt x="1383621" y="3074441"/>
                </a:lnTo>
                <a:cubicBezTo>
                  <a:pt x="606461" y="2995515"/>
                  <a:pt x="0" y="2339180"/>
                  <a:pt x="0" y="1541198"/>
                </a:cubicBezTo>
                <a:cubicBezTo>
                  <a:pt x="0" y="690018"/>
                  <a:pt x="690017" y="0"/>
                  <a:pt x="154119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2836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C656358-89EF-4084-ADF6-0BE45ED82F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5410553" cy="6858000"/>
          </a:xfrm>
          <a:custGeom>
            <a:avLst/>
            <a:gdLst>
              <a:gd name="connsiteX0" fmla="*/ 0 w 5410553"/>
              <a:gd name="connsiteY0" fmla="*/ 0 h 6858000"/>
              <a:gd name="connsiteX1" fmla="*/ 1627873 w 5410553"/>
              <a:gd name="connsiteY1" fmla="*/ 0 h 6858000"/>
              <a:gd name="connsiteX2" fmla="*/ 2168929 w 5410553"/>
              <a:gd name="connsiteY2" fmla="*/ 0 h 6858000"/>
              <a:gd name="connsiteX3" fmla="*/ 3241609 w 5410553"/>
              <a:gd name="connsiteY3" fmla="*/ 0 h 6858000"/>
              <a:gd name="connsiteX4" fmla="*/ 3782664 w 5410553"/>
              <a:gd name="connsiteY4" fmla="*/ 0 h 6858000"/>
              <a:gd name="connsiteX5" fmla="*/ 3825750 w 5410553"/>
              <a:gd name="connsiteY5" fmla="*/ 0 h 6858000"/>
              <a:gd name="connsiteX6" fmla="*/ 3825750 w 5410553"/>
              <a:gd name="connsiteY6" fmla="*/ 1 h 6858000"/>
              <a:gd name="connsiteX7" fmla="*/ 3859050 w 5410553"/>
              <a:gd name="connsiteY7" fmla="*/ 1 h 6858000"/>
              <a:gd name="connsiteX8" fmla="*/ 3859050 w 5410553"/>
              <a:gd name="connsiteY8" fmla="*/ 3976 h 6858000"/>
              <a:gd name="connsiteX9" fmla="*/ 3937767 w 5410553"/>
              <a:gd name="connsiteY9" fmla="*/ 8022 h 6858000"/>
              <a:gd name="connsiteX10" fmla="*/ 3942543 w 5410553"/>
              <a:gd name="connsiteY10" fmla="*/ 8764 h 6858000"/>
              <a:gd name="connsiteX11" fmla="*/ 3948907 w 5410553"/>
              <a:gd name="connsiteY11" fmla="*/ 9111 h 6858000"/>
              <a:gd name="connsiteX12" fmla="*/ 4228992 w 5410553"/>
              <a:gd name="connsiteY12" fmla="*/ 67312 h 6858000"/>
              <a:gd name="connsiteX13" fmla="*/ 4235582 w 5410553"/>
              <a:gd name="connsiteY13" fmla="*/ 69688 h 6858000"/>
              <a:gd name="connsiteX14" fmla="*/ 4236717 w 5410553"/>
              <a:gd name="connsiteY14" fmla="*/ 69985 h 6858000"/>
              <a:gd name="connsiteX15" fmla="*/ 4248022 w 5410553"/>
              <a:gd name="connsiteY15" fmla="*/ 74178 h 6858000"/>
              <a:gd name="connsiteX16" fmla="*/ 4362084 w 5410553"/>
              <a:gd name="connsiteY16" fmla="*/ 115332 h 6858000"/>
              <a:gd name="connsiteX17" fmla="*/ 4373791 w 5410553"/>
              <a:gd name="connsiteY17" fmla="*/ 120816 h 6858000"/>
              <a:gd name="connsiteX18" fmla="*/ 4378240 w 5410553"/>
              <a:gd name="connsiteY18" fmla="*/ 122467 h 6858000"/>
              <a:gd name="connsiteX19" fmla="*/ 4402294 w 5410553"/>
              <a:gd name="connsiteY19" fmla="*/ 134171 h 6858000"/>
              <a:gd name="connsiteX20" fmla="*/ 4489799 w 5410553"/>
              <a:gd name="connsiteY20" fmla="*/ 175163 h 6858000"/>
              <a:gd name="connsiteX21" fmla="*/ 4506131 w 5410553"/>
              <a:gd name="connsiteY21" fmla="*/ 184690 h 6858000"/>
              <a:gd name="connsiteX22" fmla="*/ 4513564 w 5410553"/>
              <a:gd name="connsiteY22" fmla="*/ 188306 h 6858000"/>
              <a:gd name="connsiteX23" fmla="*/ 4539665 w 5410553"/>
              <a:gd name="connsiteY23" fmla="*/ 204251 h 6858000"/>
              <a:gd name="connsiteX24" fmla="*/ 4611586 w 5410553"/>
              <a:gd name="connsiteY24" fmla="*/ 246206 h 6858000"/>
              <a:gd name="connsiteX25" fmla="*/ 4631969 w 5410553"/>
              <a:gd name="connsiteY25" fmla="*/ 260639 h 6858000"/>
              <a:gd name="connsiteX26" fmla="*/ 4642014 w 5410553"/>
              <a:gd name="connsiteY26" fmla="*/ 266773 h 6858000"/>
              <a:gd name="connsiteX27" fmla="*/ 4666865 w 5410553"/>
              <a:gd name="connsiteY27" fmla="*/ 285348 h 6858000"/>
              <a:gd name="connsiteX28" fmla="*/ 4726890 w 5410553"/>
              <a:gd name="connsiteY28" fmla="*/ 327853 h 6858000"/>
              <a:gd name="connsiteX29" fmla="*/ 4750674 w 5410553"/>
              <a:gd name="connsiteY29" fmla="*/ 347987 h 6858000"/>
              <a:gd name="connsiteX30" fmla="*/ 4762915 w 5410553"/>
              <a:gd name="connsiteY30" fmla="*/ 357135 h 6858000"/>
              <a:gd name="connsiteX31" fmla="*/ 4785202 w 5410553"/>
              <a:gd name="connsiteY31" fmla="*/ 377217 h 6858000"/>
              <a:gd name="connsiteX32" fmla="*/ 4835155 w 5410553"/>
              <a:gd name="connsiteY32" fmla="*/ 419505 h 6858000"/>
              <a:gd name="connsiteX33" fmla="*/ 4861614 w 5410553"/>
              <a:gd name="connsiteY33" fmla="*/ 446067 h 6858000"/>
              <a:gd name="connsiteX34" fmla="*/ 4875593 w 5410553"/>
              <a:gd name="connsiteY34" fmla="*/ 458661 h 6858000"/>
              <a:gd name="connsiteX35" fmla="*/ 4894771 w 5410553"/>
              <a:gd name="connsiteY35" fmla="*/ 479349 h 6858000"/>
              <a:gd name="connsiteX36" fmla="*/ 4935827 w 5410553"/>
              <a:gd name="connsiteY36" fmla="*/ 520560 h 6858000"/>
              <a:gd name="connsiteX37" fmla="*/ 4964164 w 5410553"/>
              <a:gd name="connsiteY37" fmla="*/ 554208 h 6858000"/>
              <a:gd name="connsiteX38" fmla="*/ 4979380 w 5410553"/>
              <a:gd name="connsiteY38" fmla="*/ 570622 h 6858000"/>
              <a:gd name="connsiteX39" fmla="*/ 4995273 w 5410553"/>
              <a:gd name="connsiteY39" fmla="*/ 591145 h 6858000"/>
              <a:gd name="connsiteX40" fmla="*/ 5028346 w 5410553"/>
              <a:gd name="connsiteY40" fmla="*/ 630415 h 6858000"/>
              <a:gd name="connsiteX41" fmla="*/ 5057701 w 5410553"/>
              <a:gd name="connsiteY41" fmla="*/ 671758 h 6858000"/>
              <a:gd name="connsiteX42" fmla="*/ 5073596 w 5410553"/>
              <a:gd name="connsiteY42" fmla="*/ 692284 h 6858000"/>
              <a:gd name="connsiteX43" fmla="*/ 5086246 w 5410553"/>
              <a:gd name="connsiteY43" fmla="*/ 711964 h 6858000"/>
              <a:gd name="connsiteX44" fmla="*/ 5112165 w 5410553"/>
              <a:gd name="connsiteY44" fmla="*/ 748469 h 6858000"/>
              <a:gd name="connsiteX45" fmla="*/ 5141608 w 5410553"/>
              <a:gd name="connsiteY45" fmla="*/ 798086 h 6858000"/>
              <a:gd name="connsiteX46" fmla="*/ 5157568 w 5410553"/>
              <a:gd name="connsiteY46" fmla="*/ 822915 h 6858000"/>
              <a:gd name="connsiteX47" fmla="*/ 5167158 w 5410553"/>
              <a:gd name="connsiteY47" fmla="*/ 841145 h 6858000"/>
              <a:gd name="connsiteX48" fmla="*/ 5186726 w 5410553"/>
              <a:gd name="connsiteY48" fmla="*/ 874117 h 6858000"/>
              <a:gd name="connsiteX49" fmla="*/ 5215275 w 5410553"/>
              <a:gd name="connsiteY49" fmla="*/ 932612 h 6858000"/>
              <a:gd name="connsiteX50" fmla="*/ 5230626 w 5410553"/>
              <a:gd name="connsiteY50" fmla="*/ 961788 h 6858000"/>
              <a:gd name="connsiteX51" fmla="*/ 5237440 w 5410553"/>
              <a:gd name="connsiteY51" fmla="*/ 978019 h 6858000"/>
              <a:gd name="connsiteX52" fmla="*/ 5251470 w 5410553"/>
              <a:gd name="connsiteY52" fmla="*/ 1006759 h 6858000"/>
              <a:gd name="connsiteX53" fmla="*/ 5278100 w 5410553"/>
              <a:gd name="connsiteY53" fmla="*/ 1074845 h 6858000"/>
              <a:gd name="connsiteX54" fmla="*/ 5292092 w 5410553"/>
              <a:gd name="connsiteY54" fmla="*/ 1108170 h 6858000"/>
              <a:gd name="connsiteX55" fmla="*/ 5296506 w 5410553"/>
              <a:gd name="connsiteY55" fmla="*/ 1121904 h 6858000"/>
              <a:gd name="connsiteX56" fmla="*/ 5305849 w 5410553"/>
              <a:gd name="connsiteY56" fmla="*/ 1145796 h 6858000"/>
              <a:gd name="connsiteX57" fmla="*/ 5329473 w 5410553"/>
              <a:gd name="connsiteY57" fmla="*/ 1224524 h 6858000"/>
              <a:gd name="connsiteX58" fmla="*/ 5341296 w 5410553"/>
              <a:gd name="connsiteY58" fmla="*/ 1261324 h 6858000"/>
              <a:gd name="connsiteX59" fmla="*/ 5343755 w 5410553"/>
              <a:gd name="connsiteY59" fmla="*/ 1272119 h 6858000"/>
              <a:gd name="connsiteX60" fmla="*/ 5349304 w 5410553"/>
              <a:gd name="connsiteY60" fmla="*/ 1290618 h 6858000"/>
              <a:gd name="connsiteX61" fmla="*/ 5368796 w 5410553"/>
              <a:gd name="connsiteY61" fmla="*/ 1382061 h 6858000"/>
              <a:gd name="connsiteX62" fmla="*/ 5377559 w 5410553"/>
              <a:gd name="connsiteY62" fmla="*/ 1420528 h 6858000"/>
              <a:gd name="connsiteX63" fmla="*/ 5378584 w 5410553"/>
              <a:gd name="connsiteY63" fmla="*/ 1427980 h 6858000"/>
              <a:gd name="connsiteX64" fmla="*/ 5381281 w 5410553"/>
              <a:gd name="connsiteY64" fmla="*/ 1440629 h 6858000"/>
              <a:gd name="connsiteX65" fmla="*/ 5395472 w 5410553"/>
              <a:gd name="connsiteY65" fmla="*/ 1550634 h 6858000"/>
              <a:gd name="connsiteX66" fmla="*/ 5400211 w 5410553"/>
              <a:gd name="connsiteY66" fmla="*/ 1585042 h 6858000"/>
              <a:gd name="connsiteX67" fmla="*/ 5400379 w 5410553"/>
              <a:gd name="connsiteY67" fmla="*/ 1588666 h 6858000"/>
              <a:gd name="connsiteX68" fmla="*/ 5401224 w 5410553"/>
              <a:gd name="connsiteY68" fmla="*/ 1595226 h 6858000"/>
              <a:gd name="connsiteX69" fmla="*/ 5404555 w 5410553"/>
              <a:gd name="connsiteY69" fmla="*/ 1671522 h 6858000"/>
              <a:gd name="connsiteX70" fmla="*/ 5408611 w 5410553"/>
              <a:gd name="connsiteY70" fmla="*/ 1671522 h 6858000"/>
              <a:gd name="connsiteX71" fmla="*/ 5408611 w 5410553"/>
              <a:gd name="connsiteY71" fmla="*/ 1741862 h 6858000"/>
              <a:gd name="connsiteX72" fmla="*/ 5408611 w 5410553"/>
              <a:gd name="connsiteY72" fmla="*/ 1764504 h 6858000"/>
              <a:gd name="connsiteX73" fmla="*/ 5408611 w 5410553"/>
              <a:gd name="connsiteY73" fmla="*/ 1765033 h 6858000"/>
              <a:gd name="connsiteX74" fmla="*/ 5410553 w 5410553"/>
              <a:gd name="connsiteY74" fmla="*/ 1765033 h 6858000"/>
              <a:gd name="connsiteX75" fmla="*/ 5410553 w 5410553"/>
              <a:gd name="connsiteY75" fmla="*/ 1944433 h 6858000"/>
              <a:gd name="connsiteX76" fmla="*/ 3825750 w 5410553"/>
              <a:gd name="connsiteY76" fmla="*/ 1944433 h 6858000"/>
              <a:gd name="connsiteX77" fmla="*/ 3825750 w 5410553"/>
              <a:gd name="connsiteY77" fmla="*/ 1944434 h 6858000"/>
              <a:gd name="connsiteX78" fmla="*/ 3859049 w 5410553"/>
              <a:gd name="connsiteY78" fmla="*/ 1944434 h 6858000"/>
              <a:gd name="connsiteX79" fmla="*/ 3859049 w 5410553"/>
              <a:gd name="connsiteY79" fmla="*/ 1948409 h 6858000"/>
              <a:gd name="connsiteX80" fmla="*/ 3937767 w 5410553"/>
              <a:gd name="connsiteY80" fmla="*/ 1952454 h 6858000"/>
              <a:gd name="connsiteX81" fmla="*/ 3942543 w 5410553"/>
              <a:gd name="connsiteY81" fmla="*/ 1953195 h 6858000"/>
              <a:gd name="connsiteX82" fmla="*/ 3948906 w 5410553"/>
              <a:gd name="connsiteY82" fmla="*/ 1953545 h 6858000"/>
              <a:gd name="connsiteX83" fmla="*/ 4228992 w 5410553"/>
              <a:gd name="connsiteY83" fmla="*/ 2011744 h 6858000"/>
              <a:gd name="connsiteX84" fmla="*/ 4235581 w 5410553"/>
              <a:gd name="connsiteY84" fmla="*/ 2014120 h 6858000"/>
              <a:gd name="connsiteX85" fmla="*/ 4236717 w 5410553"/>
              <a:gd name="connsiteY85" fmla="*/ 2014418 h 6858000"/>
              <a:gd name="connsiteX86" fmla="*/ 4248022 w 5410553"/>
              <a:gd name="connsiteY86" fmla="*/ 2018611 h 6858000"/>
              <a:gd name="connsiteX87" fmla="*/ 4362083 w 5410553"/>
              <a:gd name="connsiteY87" fmla="*/ 2059764 h 6858000"/>
              <a:gd name="connsiteX88" fmla="*/ 4373790 w 5410553"/>
              <a:gd name="connsiteY88" fmla="*/ 2065249 h 6858000"/>
              <a:gd name="connsiteX89" fmla="*/ 4378239 w 5410553"/>
              <a:gd name="connsiteY89" fmla="*/ 2066899 h 6858000"/>
              <a:gd name="connsiteX90" fmla="*/ 4402293 w 5410553"/>
              <a:gd name="connsiteY90" fmla="*/ 2078604 h 6858000"/>
              <a:gd name="connsiteX91" fmla="*/ 4489798 w 5410553"/>
              <a:gd name="connsiteY91" fmla="*/ 2119596 h 6858000"/>
              <a:gd name="connsiteX92" fmla="*/ 4506130 w 5410553"/>
              <a:gd name="connsiteY92" fmla="*/ 2129123 h 6858000"/>
              <a:gd name="connsiteX93" fmla="*/ 4513563 w 5410553"/>
              <a:gd name="connsiteY93" fmla="*/ 2132739 h 6858000"/>
              <a:gd name="connsiteX94" fmla="*/ 4539663 w 5410553"/>
              <a:gd name="connsiteY94" fmla="*/ 2148684 h 6858000"/>
              <a:gd name="connsiteX95" fmla="*/ 4611586 w 5410553"/>
              <a:gd name="connsiteY95" fmla="*/ 2190639 h 6858000"/>
              <a:gd name="connsiteX96" fmla="*/ 4631969 w 5410553"/>
              <a:gd name="connsiteY96" fmla="*/ 2205072 h 6858000"/>
              <a:gd name="connsiteX97" fmla="*/ 4642011 w 5410553"/>
              <a:gd name="connsiteY97" fmla="*/ 2211205 h 6858000"/>
              <a:gd name="connsiteX98" fmla="*/ 4666865 w 5410553"/>
              <a:gd name="connsiteY98" fmla="*/ 2229781 h 6858000"/>
              <a:gd name="connsiteX99" fmla="*/ 4726888 w 5410553"/>
              <a:gd name="connsiteY99" fmla="*/ 2272285 h 6858000"/>
              <a:gd name="connsiteX100" fmla="*/ 4750674 w 5410553"/>
              <a:gd name="connsiteY100" fmla="*/ 2292420 h 6858000"/>
              <a:gd name="connsiteX101" fmla="*/ 4762912 w 5410553"/>
              <a:gd name="connsiteY101" fmla="*/ 2301568 h 6858000"/>
              <a:gd name="connsiteX102" fmla="*/ 4785201 w 5410553"/>
              <a:gd name="connsiteY102" fmla="*/ 2321651 h 6858000"/>
              <a:gd name="connsiteX103" fmla="*/ 4835155 w 5410553"/>
              <a:gd name="connsiteY103" fmla="*/ 2363938 h 6858000"/>
              <a:gd name="connsiteX104" fmla="*/ 4861613 w 5410553"/>
              <a:gd name="connsiteY104" fmla="*/ 2390499 h 6858000"/>
              <a:gd name="connsiteX105" fmla="*/ 4875593 w 5410553"/>
              <a:gd name="connsiteY105" fmla="*/ 2403094 h 6858000"/>
              <a:gd name="connsiteX106" fmla="*/ 4894769 w 5410553"/>
              <a:gd name="connsiteY106" fmla="*/ 2423782 h 6858000"/>
              <a:gd name="connsiteX107" fmla="*/ 4935824 w 5410553"/>
              <a:gd name="connsiteY107" fmla="*/ 2464992 h 6858000"/>
              <a:gd name="connsiteX108" fmla="*/ 4964163 w 5410553"/>
              <a:gd name="connsiteY108" fmla="*/ 2498639 h 6858000"/>
              <a:gd name="connsiteX109" fmla="*/ 4979380 w 5410553"/>
              <a:gd name="connsiteY109" fmla="*/ 2515055 h 6858000"/>
              <a:gd name="connsiteX110" fmla="*/ 4995273 w 5410553"/>
              <a:gd name="connsiteY110" fmla="*/ 2535578 h 6858000"/>
              <a:gd name="connsiteX111" fmla="*/ 5028344 w 5410553"/>
              <a:gd name="connsiteY111" fmla="*/ 2574846 h 6858000"/>
              <a:gd name="connsiteX112" fmla="*/ 5057698 w 5410553"/>
              <a:gd name="connsiteY112" fmla="*/ 2616189 h 6858000"/>
              <a:gd name="connsiteX113" fmla="*/ 5073596 w 5410553"/>
              <a:gd name="connsiteY113" fmla="*/ 2636717 h 6858000"/>
              <a:gd name="connsiteX114" fmla="*/ 5086244 w 5410553"/>
              <a:gd name="connsiteY114" fmla="*/ 2656395 h 6858000"/>
              <a:gd name="connsiteX115" fmla="*/ 5112164 w 5410553"/>
              <a:gd name="connsiteY115" fmla="*/ 2692902 h 6858000"/>
              <a:gd name="connsiteX116" fmla="*/ 5141608 w 5410553"/>
              <a:gd name="connsiteY116" fmla="*/ 2742519 h 6858000"/>
              <a:gd name="connsiteX117" fmla="*/ 5157568 w 5410553"/>
              <a:gd name="connsiteY117" fmla="*/ 2767348 h 6858000"/>
              <a:gd name="connsiteX118" fmla="*/ 5167158 w 5410553"/>
              <a:gd name="connsiteY118" fmla="*/ 2785577 h 6858000"/>
              <a:gd name="connsiteX119" fmla="*/ 5186724 w 5410553"/>
              <a:gd name="connsiteY119" fmla="*/ 2818550 h 6858000"/>
              <a:gd name="connsiteX120" fmla="*/ 5215275 w 5410553"/>
              <a:gd name="connsiteY120" fmla="*/ 2877044 h 6858000"/>
              <a:gd name="connsiteX121" fmla="*/ 5230624 w 5410553"/>
              <a:gd name="connsiteY121" fmla="*/ 2906220 h 6858000"/>
              <a:gd name="connsiteX122" fmla="*/ 5237439 w 5410553"/>
              <a:gd name="connsiteY122" fmla="*/ 2922452 h 6858000"/>
              <a:gd name="connsiteX123" fmla="*/ 5251470 w 5410553"/>
              <a:gd name="connsiteY123" fmla="*/ 2951192 h 6858000"/>
              <a:gd name="connsiteX124" fmla="*/ 5278100 w 5410553"/>
              <a:gd name="connsiteY124" fmla="*/ 3019278 h 6858000"/>
              <a:gd name="connsiteX125" fmla="*/ 5292092 w 5410553"/>
              <a:gd name="connsiteY125" fmla="*/ 3052600 h 6858000"/>
              <a:gd name="connsiteX126" fmla="*/ 5296504 w 5410553"/>
              <a:gd name="connsiteY126" fmla="*/ 3066337 h 6858000"/>
              <a:gd name="connsiteX127" fmla="*/ 5305849 w 5410553"/>
              <a:gd name="connsiteY127" fmla="*/ 3090227 h 6858000"/>
              <a:gd name="connsiteX128" fmla="*/ 5329471 w 5410553"/>
              <a:gd name="connsiteY128" fmla="*/ 3168956 h 6858000"/>
              <a:gd name="connsiteX129" fmla="*/ 5341293 w 5410553"/>
              <a:gd name="connsiteY129" fmla="*/ 3205756 h 6858000"/>
              <a:gd name="connsiteX130" fmla="*/ 5343751 w 5410553"/>
              <a:gd name="connsiteY130" fmla="*/ 3216552 h 6858000"/>
              <a:gd name="connsiteX131" fmla="*/ 5349304 w 5410553"/>
              <a:gd name="connsiteY131" fmla="*/ 3235051 h 6858000"/>
              <a:gd name="connsiteX132" fmla="*/ 5368795 w 5410553"/>
              <a:gd name="connsiteY132" fmla="*/ 3326492 h 6858000"/>
              <a:gd name="connsiteX133" fmla="*/ 5377557 w 5410553"/>
              <a:gd name="connsiteY133" fmla="*/ 3364959 h 6858000"/>
              <a:gd name="connsiteX134" fmla="*/ 5378582 w 5410553"/>
              <a:gd name="connsiteY134" fmla="*/ 3372411 h 6858000"/>
              <a:gd name="connsiteX135" fmla="*/ 5381281 w 5410553"/>
              <a:gd name="connsiteY135" fmla="*/ 3385062 h 6858000"/>
              <a:gd name="connsiteX136" fmla="*/ 5395472 w 5410553"/>
              <a:gd name="connsiteY136" fmla="*/ 3495066 h 6858000"/>
              <a:gd name="connsiteX137" fmla="*/ 5400210 w 5410553"/>
              <a:gd name="connsiteY137" fmla="*/ 3529474 h 6858000"/>
              <a:gd name="connsiteX138" fmla="*/ 5400377 w 5410553"/>
              <a:gd name="connsiteY138" fmla="*/ 3533097 h 6858000"/>
              <a:gd name="connsiteX139" fmla="*/ 5401224 w 5410553"/>
              <a:gd name="connsiteY139" fmla="*/ 3539659 h 6858000"/>
              <a:gd name="connsiteX140" fmla="*/ 5404554 w 5410553"/>
              <a:gd name="connsiteY140" fmla="*/ 3615954 h 6858000"/>
              <a:gd name="connsiteX141" fmla="*/ 5408611 w 5410553"/>
              <a:gd name="connsiteY141" fmla="*/ 3615954 h 6858000"/>
              <a:gd name="connsiteX142" fmla="*/ 5408611 w 5410553"/>
              <a:gd name="connsiteY142" fmla="*/ 3686294 h 6858000"/>
              <a:gd name="connsiteX143" fmla="*/ 5408611 w 5410553"/>
              <a:gd name="connsiteY143" fmla="*/ 3708935 h 6858000"/>
              <a:gd name="connsiteX144" fmla="*/ 5408611 w 5410553"/>
              <a:gd name="connsiteY144" fmla="*/ 3709464 h 6858000"/>
              <a:gd name="connsiteX145" fmla="*/ 5410552 w 5410553"/>
              <a:gd name="connsiteY145" fmla="*/ 3709464 h 6858000"/>
              <a:gd name="connsiteX146" fmla="*/ 5410552 w 5410553"/>
              <a:gd name="connsiteY146" fmla="*/ 4047423 h 6858000"/>
              <a:gd name="connsiteX147" fmla="*/ 5410552 w 5410553"/>
              <a:gd name="connsiteY147" fmla="*/ 4755011 h 6858000"/>
              <a:gd name="connsiteX148" fmla="*/ 5410552 w 5410553"/>
              <a:gd name="connsiteY148" fmla="*/ 5092970 h 6858000"/>
              <a:gd name="connsiteX149" fmla="*/ 5410552 w 5410553"/>
              <a:gd name="connsiteY149" fmla="*/ 5186482 h 6858000"/>
              <a:gd name="connsiteX150" fmla="*/ 5408629 w 5410553"/>
              <a:gd name="connsiteY150" fmla="*/ 5186482 h 6858000"/>
              <a:gd name="connsiteX151" fmla="*/ 5408629 w 5410553"/>
              <a:gd name="connsiteY151" fmla="*/ 6857999 h 6858000"/>
              <a:gd name="connsiteX152" fmla="*/ 4867572 w 5410553"/>
              <a:gd name="connsiteY152" fmla="*/ 6857999 h 6858000"/>
              <a:gd name="connsiteX153" fmla="*/ 3794895 w 5410553"/>
              <a:gd name="connsiteY153" fmla="*/ 6857999 h 6858000"/>
              <a:gd name="connsiteX154" fmla="*/ 3783656 w 5410553"/>
              <a:gd name="connsiteY154" fmla="*/ 6857999 h 6858000"/>
              <a:gd name="connsiteX155" fmla="*/ 3782698 w 5410553"/>
              <a:gd name="connsiteY155" fmla="*/ 6857999 h 6858000"/>
              <a:gd name="connsiteX156" fmla="*/ 3782682 w 5410553"/>
              <a:gd name="connsiteY156" fmla="*/ 6858000 h 6858000"/>
              <a:gd name="connsiteX157" fmla="*/ 3782667 w 5410553"/>
              <a:gd name="connsiteY157" fmla="*/ 6857999 h 6858000"/>
              <a:gd name="connsiteX158" fmla="*/ 3706296 w 5410553"/>
              <a:gd name="connsiteY158" fmla="*/ 6857999 h 6858000"/>
              <a:gd name="connsiteX159" fmla="*/ 3253837 w 5410553"/>
              <a:gd name="connsiteY159" fmla="*/ 6857999 h 6858000"/>
              <a:gd name="connsiteX160" fmla="*/ 3242599 w 5410553"/>
              <a:gd name="connsiteY160" fmla="*/ 6857999 h 6858000"/>
              <a:gd name="connsiteX161" fmla="*/ 3241641 w 5410553"/>
              <a:gd name="connsiteY161" fmla="*/ 6857999 h 6858000"/>
              <a:gd name="connsiteX162" fmla="*/ 3241626 w 5410553"/>
              <a:gd name="connsiteY162" fmla="*/ 6858000 h 6858000"/>
              <a:gd name="connsiteX163" fmla="*/ 3241609 w 5410553"/>
              <a:gd name="connsiteY163" fmla="*/ 6857999 h 6858000"/>
              <a:gd name="connsiteX164" fmla="*/ 3165240 w 5410553"/>
              <a:gd name="connsiteY164" fmla="*/ 6857999 h 6858000"/>
              <a:gd name="connsiteX165" fmla="*/ 2169922 w 5410553"/>
              <a:gd name="connsiteY165" fmla="*/ 6857999 h 6858000"/>
              <a:gd name="connsiteX166" fmla="*/ 2168963 w 5410553"/>
              <a:gd name="connsiteY166" fmla="*/ 6857999 h 6858000"/>
              <a:gd name="connsiteX167" fmla="*/ 2168947 w 5410553"/>
              <a:gd name="connsiteY167" fmla="*/ 6858000 h 6858000"/>
              <a:gd name="connsiteX168" fmla="*/ 2168931 w 5410553"/>
              <a:gd name="connsiteY168" fmla="*/ 6857999 h 6858000"/>
              <a:gd name="connsiteX169" fmla="*/ 2092561 w 5410553"/>
              <a:gd name="connsiteY169" fmla="*/ 6857999 h 6858000"/>
              <a:gd name="connsiteX170" fmla="*/ 1628865 w 5410553"/>
              <a:gd name="connsiteY170" fmla="*/ 6857999 h 6858000"/>
              <a:gd name="connsiteX171" fmla="*/ 1627906 w 5410553"/>
              <a:gd name="connsiteY171" fmla="*/ 6857999 h 6858000"/>
              <a:gd name="connsiteX172" fmla="*/ 1627892 w 5410553"/>
              <a:gd name="connsiteY172" fmla="*/ 6858000 h 6858000"/>
              <a:gd name="connsiteX173" fmla="*/ 1627875 w 5410553"/>
              <a:gd name="connsiteY173" fmla="*/ 6857999 h 6858000"/>
              <a:gd name="connsiteX174" fmla="*/ 1551506 w 5410553"/>
              <a:gd name="connsiteY174" fmla="*/ 6857999 h 6858000"/>
              <a:gd name="connsiteX175" fmla="*/ 1551506 w 5410553"/>
              <a:gd name="connsiteY175" fmla="*/ 6854025 h 6858000"/>
              <a:gd name="connsiteX176" fmla="*/ 1472786 w 5410553"/>
              <a:gd name="connsiteY176" fmla="*/ 6849979 h 6858000"/>
              <a:gd name="connsiteX177" fmla="*/ 1468010 w 5410553"/>
              <a:gd name="connsiteY177" fmla="*/ 6849239 h 6858000"/>
              <a:gd name="connsiteX178" fmla="*/ 1461647 w 5410553"/>
              <a:gd name="connsiteY178" fmla="*/ 6848892 h 6858000"/>
              <a:gd name="connsiteX179" fmla="*/ 1181563 w 5410553"/>
              <a:gd name="connsiteY179" fmla="*/ 6790692 h 6858000"/>
              <a:gd name="connsiteX180" fmla="*/ 1174972 w 5410553"/>
              <a:gd name="connsiteY180" fmla="*/ 6788314 h 6858000"/>
              <a:gd name="connsiteX181" fmla="*/ 1173836 w 5410553"/>
              <a:gd name="connsiteY181" fmla="*/ 6788017 h 6858000"/>
              <a:gd name="connsiteX182" fmla="*/ 1162533 w 5410553"/>
              <a:gd name="connsiteY182" fmla="*/ 6783825 h 6858000"/>
              <a:gd name="connsiteX183" fmla="*/ 1048471 w 5410553"/>
              <a:gd name="connsiteY183" fmla="*/ 6742670 h 6858000"/>
              <a:gd name="connsiteX184" fmla="*/ 1036764 w 5410553"/>
              <a:gd name="connsiteY184" fmla="*/ 6737186 h 6858000"/>
              <a:gd name="connsiteX185" fmla="*/ 1032314 w 5410553"/>
              <a:gd name="connsiteY185" fmla="*/ 6735535 h 6858000"/>
              <a:gd name="connsiteX186" fmla="*/ 1008260 w 5410553"/>
              <a:gd name="connsiteY186" fmla="*/ 6723832 h 6858000"/>
              <a:gd name="connsiteX187" fmla="*/ 920755 w 5410553"/>
              <a:gd name="connsiteY187" fmla="*/ 6682839 h 6858000"/>
              <a:gd name="connsiteX188" fmla="*/ 904423 w 5410553"/>
              <a:gd name="connsiteY188" fmla="*/ 6673313 h 6858000"/>
              <a:gd name="connsiteX189" fmla="*/ 896991 w 5410553"/>
              <a:gd name="connsiteY189" fmla="*/ 6669695 h 6858000"/>
              <a:gd name="connsiteX190" fmla="*/ 870891 w 5410553"/>
              <a:gd name="connsiteY190" fmla="*/ 6653750 h 6858000"/>
              <a:gd name="connsiteX191" fmla="*/ 798968 w 5410553"/>
              <a:gd name="connsiteY191" fmla="*/ 6611797 h 6858000"/>
              <a:gd name="connsiteX192" fmla="*/ 778585 w 5410553"/>
              <a:gd name="connsiteY192" fmla="*/ 6597363 h 6858000"/>
              <a:gd name="connsiteX193" fmla="*/ 768542 w 5410553"/>
              <a:gd name="connsiteY193" fmla="*/ 6591229 h 6858000"/>
              <a:gd name="connsiteX194" fmla="*/ 743688 w 5410553"/>
              <a:gd name="connsiteY194" fmla="*/ 6572653 h 6858000"/>
              <a:gd name="connsiteX195" fmla="*/ 683666 w 5410553"/>
              <a:gd name="connsiteY195" fmla="*/ 6530149 h 6858000"/>
              <a:gd name="connsiteX196" fmla="*/ 659881 w 5410553"/>
              <a:gd name="connsiteY196" fmla="*/ 6510014 h 6858000"/>
              <a:gd name="connsiteX197" fmla="*/ 647641 w 5410553"/>
              <a:gd name="connsiteY197" fmla="*/ 6500867 h 6858000"/>
              <a:gd name="connsiteX198" fmla="*/ 625351 w 5410553"/>
              <a:gd name="connsiteY198" fmla="*/ 6480784 h 6858000"/>
              <a:gd name="connsiteX199" fmla="*/ 575400 w 5410553"/>
              <a:gd name="connsiteY199" fmla="*/ 6438495 h 6858000"/>
              <a:gd name="connsiteX200" fmla="*/ 548941 w 5410553"/>
              <a:gd name="connsiteY200" fmla="*/ 6411937 h 6858000"/>
              <a:gd name="connsiteX201" fmla="*/ 534961 w 5410553"/>
              <a:gd name="connsiteY201" fmla="*/ 6399339 h 6858000"/>
              <a:gd name="connsiteX202" fmla="*/ 515783 w 5410553"/>
              <a:gd name="connsiteY202" fmla="*/ 6378653 h 6858000"/>
              <a:gd name="connsiteX203" fmla="*/ 474729 w 5410553"/>
              <a:gd name="connsiteY203" fmla="*/ 6337442 h 6858000"/>
              <a:gd name="connsiteX204" fmla="*/ 446391 w 5410553"/>
              <a:gd name="connsiteY204" fmla="*/ 6303796 h 6858000"/>
              <a:gd name="connsiteX205" fmla="*/ 431175 w 5410553"/>
              <a:gd name="connsiteY205" fmla="*/ 6287380 h 6858000"/>
              <a:gd name="connsiteX206" fmla="*/ 415281 w 5410553"/>
              <a:gd name="connsiteY206" fmla="*/ 6266857 h 6858000"/>
              <a:gd name="connsiteX207" fmla="*/ 382208 w 5410553"/>
              <a:gd name="connsiteY207" fmla="*/ 6227587 h 6858000"/>
              <a:gd name="connsiteX208" fmla="*/ 352856 w 5410553"/>
              <a:gd name="connsiteY208" fmla="*/ 6186244 h 6858000"/>
              <a:gd name="connsiteX209" fmla="*/ 336959 w 5410553"/>
              <a:gd name="connsiteY209" fmla="*/ 6165720 h 6858000"/>
              <a:gd name="connsiteX210" fmla="*/ 324308 w 5410553"/>
              <a:gd name="connsiteY210" fmla="*/ 6146039 h 6858000"/>
              <a:gd name="connsiteX211" fmla="*/ 298389 w 5410553"/>
              <a:gd name="connsiteY211" fmla="*/ 6109534 h 6858000"/>
              <a:gd name="connsiteX212" fmla="*/ 268946 w 5410553"/>
              <a:gd name="connsiteY212" fmla="*/ 6059914 h 6858000"/>
              <a:gd name="connsiteX213" fmla="*/ 252985 w 5410553"/>
              <a:gd name="connsiteY213" fmla="*/ 6035086 h 6858000"/>
              <a:gd name="connsiteX214" fmla="*/ 243395 w 5410553"/>
              <a:gd name="connsiteY214" fmla="*/ 6016857 h 6858000"/>
              <a:gd name="connsiteX215" fmla="*/ 223831 w 5410553"/>
              <a:gd name="connsiteY215" fmla="*/ 5983884 h 6858000"/>
              <a:gd name="connsiteX216" fmla="*/ 195278 w 5410553"/>
              <a:gd name="connsiteY216" fmla="*/ 5925391 h 6858000"/>
              <a:gd name="connsiteX217" fmla="*/ 179929 w 5410553"/>
              <a:gd name="connsiteY217" fmla="*/ 5896214 h 6858000"/>
              <a:gd name="connsiteX218" fmla="*/ 173113 w 5410553"/>
              <a:gd name="connsiteY218" fmla="*/ 5879983 h 6858000"/>
              <a:gd name="connsiteX219" fmla="*/ 159084 w 5410553"/>
              <a:gd name="connsiteY219" fmla="*/ 5851242 h 6858000"/>
              <a:gd name="connsiteX220" fmla="*/ 132456 w 5410553"/>
              <a:gd name="connsiteY220" fmla="*/ 5783156 h 6858000"/>
              <a:gd name="connsiteX221" fmla="*/ 118462 w 5410553"/>
              <a:gd name="connsiteY221" fmla="*/ 5749834 h 6858000"/>
              <a:gd name="connsiteX222" fmla="*/ 114051 w 5410553"/>
              <a:gd name="connsiteY222" fmla="*/ 5736099 h 6858000"/>
              <a:gd name="connsiteX223" fmla="*/ 104705 w 5410553"/>
              <a:gd name="connsiteY223" fmla="*/ 5712207 h 6858000"/>
              <a:gd name="connsiteX224" fmla="*/ 81084 w 5410553"/>
              <a:gd name="connsiteY224" fmla="*/ 5633479 h 6858000"/>
              <a:gd name="connsiteX225" fmla="*/ 69261 w 5410553"/>
              <a:gd name="connsiteY225" fmla="*/ 5596679 h 6858000"/>
              <a:gd name="connsiteX226" fmla="*/ 66802 w 5410553"/>
              <a:gd name="connsiteY226" fmla="*/ 5585881 h 6858000"/>
              <a:gd name="connsiteX227" fmla="*/ 61250 w 5410553"/>
              <a:gd name="connsiteY227" fmla="*/ 5567382 h 6858000"/>
              <a:gd name="connsiteX228" fmla="*/ 41759 w 5410553"/>
              <a:gd name="connsiteY228" fmla="*/ 5475943 h 6858000"/>
              <a:gd name="connsiteX229" fmla="*/ 32996 w 5410553"/>
              <a:gd name="connsiteY229" fmla="*/ 5437474 h 6858000"/>
              <a:gd name="connsiteX230" fmla="*/ 31970 w 5410553"/>
              <a:gd name="connsiteY230" fmla="*/ 5430024 h 6858000"/>
              <a:gd name="connsiteX231" fmla="*/ 29274 w 5410553"/>
              <a:gd name="connsiteY231" fmla="*/ 5417371 h 6858000"/>
              <a:gd name="connsiteX232" fmla="*/ 15083 w 5410553"/>
              <a:gd name="connsiteY232" fmla="*/ 5307370 h 6858000"/>
              <a:gd name="connsiteX233" fmla="*/ 10345 w 5410553"/>
              <a:gd name="connsiteY233" fmla="*/ 5272959 h 6858000"/>
              <a:gd name="connsiteX234" fmla="*/ 10177 w 5410553"/>
              <a:gd name="connsiteY234" fmla="*/ 5269337 h 6858000"/>
              <a:gd name="connsiteX235" fmla="*/ 9329 w 5410553"/>
              <a:gd name="connsiteY235" fmla="*/ 5262776 h 6858000"/>
              <a:gd name="connsiteX236" fmla="*/ 6002 w 5410553"/>
              <a:gd name="connsiteY236" fmla="*/ 5186482 h 6858000"/>
              <a:gd name="connsiteX237" fmla="*/ 1944 w 5410553"/>
              <a:gd name="connsiteY237" fmla="*/ 5186482 h 6858000"/>
              <a:gd name="connsiteX238" fmla="*/ 1944 w 5410553"/>
              <a:gd name="connsiteY238" fmla="*/ 5116140 h 6858000"/>
              <a:gd name="connsiteX239" fmla="*/ 1944 w 5410553"/>
              <a:gd name="connsiteY239" fmla="*/ 5093498 h 6858000"/>
              <a:gd name="connsiteX240" fmla="*/ 1944 w 5410553"/>
              <a:gd name="connsiteY240" fmla="*/ 5092970 h 6858000"/>
              <a:gd name="connsiteX241" fmla="*/ 0 w 5410553"/>
              <a:gd name="connsiteY241" fmla="*/ 5092970 h 6858000"/>
              <a:gd name="connsiteX242" fmla="*/ 0 w 5410553"/>
              <a:gd name="connsiteY242" fmla="*/ 4755011 h 6858000"/>
              <a:gd name="connsiteX243" fmla="*/ 0 w 5410553"/>
              <a:gd name="connsiteY243" fmla="*/ 4047423 h 6858000"/>
              <a:gd name="connsiteX244" fmla="*/ 0 w 5410553"/>
              <a:gd name="connsiteY244" fmla="*/ 3709464 h 6858000"/>
              <a:gd name="connsiteX245" fmla="*/ 0 w 5410553"/>
              <a:gd name="connsiteY245" fmla="*/ 3615954 h 6858000"/>
              <a:gd name="connsiteX246" fmla="*/ 1925 w 5410553"/>
              <a:gd name="connsiteY246" fmla="*/ 3615954 h 6858000"/>
              <a:gd name="connsiteX247" fmla="*/ 1925 w 5410553"/>
              <a:gd name="connsiteY247" fmla="*/ 3603350 h 6858000"/>
              <a:gd name="connsiteX248" fmla="*/ 0 w 5410553"/>
              <a:gd name="connsiteY248" fmla="*/ 3603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5410553" h="6858000">
                <a:moveTo>
                  <a:pt x="0" y="0"/>
                </a:moveTo>
                <a:lnTo>
                  <a:pt x="1627873" y="0"/>
                </a:lnTo>
                <a:lnTo>
                  <a:pt x="2168929" y="0"/>
                </a:lnTo>
                <a:lnTo>
                  <a:pt x="3241609" y="0"/>
                </a:lnTo>
                <a:lnTo>
                  <a:pt x="3782664" y="0"/>
                </a:lnTo>
                <a:lnTo>
                  <a:pt x="3825750" y="0"/>
                </a:lnTo>
                <a:lnTo>
                  <a:pt x="3825750" y="1"/>
                </a:lnTo>
                <a:lnTo>
                  <a:pt x="3859050" y="1"/>
                </a:lnTo>
                <a:lnTo>
                  <a:pt x="3859050" y="3976"/>
                </a:lnTo>
                <a:lnTo>
                  <a:pt x="3937767" y="8022"/>
                </a:lnTo>
                <a:lnTo>
                  <a:pt x="3942543" y="8764"/>
                </a:lnTo>
                <a:lnTo>
                  <a:pt x="3948907" y="9111"/>
                </a:lnTo>
                <a:cubicBezTo>
                  <a:pt x="4044989" y="19700"/>
                  <a:pt x="4138597" y="39368"/>
                  <a:pt x="4228992" y="67312"/>
                </a:cubicBezTo>
                <a:lnTo>
                  <a:pt x="4235582" y="69688"/>
                </a:lnTo>
                <a:lnTo>
                  <a:pt x="4236717" y="69985"/>
                </a:lnTo>
                <a:lnTo>
                  <a:pt x="4248022" y="74178"/>
                </a:lnTo>
                <a:lnTo>
                  <a:pt x="4362084" y="115332"/>
                </a:lnTo>
                <a:lnTo>
                  <a:pt x="4373791" y="120816"/>
                </a:lnTo>
                <a:lnTo>
                  <a:pt x="4378240" y="122467"/>
                </a:lnTo>
                <a:lnTo>
                  <a:pt x="4402294" y="134171"/>
                </a:lnTo>
                <a:lnTo>
                  <a:pt x="4489799" y="175163"/>
                </a:lnTo>
                <a:lnTo>
                  <a:pt x="4506131" y="184690"/>
                </a:lnTo>
                <a:lnTo>
                  <a:pt x="4513564" y="188306"/>
                </a:lnTo>
                <a:lnTo>
                  <a:pt x="4539665" y="204251"/>
                </a:lnTo>
                <a:lnTo>
                  <a:pt x="4611586" y="246206"/>
                </a:lnTo>
                <a:lnTo>
                  <a:pt x="4631969" y="260639"/>
                </a:lnTo>
                <a:lnTo>
                  <a:pt x="4642014" y="266773"/>
                </a:lnTo>
                <a:lnTo>
                  <a:pt x="4666865" y="285348"/>
                </a:lnTo>
                <a:lnTo>
                  <a:pt x="4726890" y="327853"/>
                </a:lnTo>
                <a:lnTo>
                  <a:pt x="4750674" y="347987"/>
                </a:lnTo>
                <a:lnTo>
                  <a:pt x="4762915" y="357135"/>
                </a:lnTo>
                <a:lnTo>
                  <a:pt x="4785202" y="377217"/>
                </a:lnTo>
                <a:lnTo>
                  <a:pt x="4835155" y="419505"/>
                </a:lnTo>
                <a:lnTo>
                  <a:pt x="4861614" y="446067"/>
                </a:lnTo>
                <a:lnTo>
                  <a:pt x="4875593" y="458661"/>
                </a:lnTo>
                <a:lnTo>
                  <a:pt x="4894771" y="479349"/>
                </a:lnTo>
                <a:lnTo>
                  <a:pt x="4935827" y="520560"/>
                </a:lnTo>
                <a:lnTo>
                  <a:pt x="4964164" y="554208"/>
                </a:lnTo>
                <a:lnTo>
                  <a:pt x="4979380" y="570622"/>
                </a:lnTo>
                <a:lnTo>
                  <a:pt x="4995273" y="591145"/>
                </a:lnTo>
                <a:lnTo>
                  <a:pt x="5028346" y="630415"/>
                </a:lnTo>
                <a:lnTo>
                  <a:pt x="5057701" y="671758"/>
                </a:lnTo>
                <a:lnTo>
                  <a:pt x="5073596" y="692284"/>
                </a:lnTo>
                <a:lnTo>
                  <a:pt x="5086246" y="711964"/>
                </a:lnTo>
                <a:lnTo>
                  <a:pt x="5112165" y="748469"/>
                </a:lnTo>
                <a:lnTo>
                  <a:pt x="5141608" y="798086"/>
                </a:lnTo>
                <a:lnTo>
                  <a:pt x="5157568" y="822915"/>
                </a:lnTo>
                <a:lnTo>
                  <a:pt x="5167158" y="841145"/>
                </a:lnTo>
                <a:lnTo>
                  <a:pt x="5186726" y="874117"/>
                </a:lnTo>
                <a:lnTo>
                  <a:pt x="5215275" y="932612"/>
                </a:lnTo>
                <a:lnTo>
                  <a:pt x="5230626" y="961788"/>
                </a:lnTo>
                <a:lnTo>
                  <a:pt x="5237440" y="978019"/>
                </a:lnTo>
                <a:lnTo>
                  <a:pt x="5251470" y="1006759"/>
                </a:lnTo>
                <a:lnTo>
                  <a:pt x="5278100" y="1074845"/>
                </a:lnTo>
                <a:lnTo>
                  <a:pt x="5292092" y="1108170"/>
                </a:lnTo>
                <a:lnTo>
                  <a:pt x="5296506" y="1121904"/>
                </a:lnTo>
                <a:lnTo>
                  <a:pt x="5305849" y="1145796"/>
                </a:lnTo>
                <a:lnTo>
                  <a:pt x="5329473" y="1224524"/>
                </a:lnTo>
                <a:lnTo>
                  <a:pt x="5341296" y="1261324"/>
                </a:lnTo>
                <a:lnTo>
                  <a:pt x="5343755" y="1272119"/>
                </a:lnTo>
                <a:lnTo>
                  <a:pt x="5349304" y="1290618"/>
                </a:lnTo>
                <a:lnTo>
                  <a:pt x="5368796" y="1382061"/>
                </a:lnTo>
                <a:lnTo>
                  <a:pt x="5377559" y="1420528"/>
                </a:lnTo>
                <a:lnTo>
                  <a:pt x="5378584" y="1427980"/>
                </a:lnTo>
                <a:lnTo>
                  <a:pt x="5381281" y="1440629"/>
                </a:lnTo>
                <a:lnTo>
                  <a:pt x="5395472" y="1550634"/>
                </a:lnTo>
                <a:lnTo>
                  <a:pt x="5400211" y="1585042"/>
                </a:lnTo>
                <a:lnTo>
                  <a:pt x="5400379" y="1588666"/>
                </a:lnTo>
                <a:lnTo>
                  <a:pt x="5401224" y="1595226"/>
                </a:lnTo>
                <a:lnTo>
                  <a:pt x="5404555" y="1671522"/>
                </a:lnTo>
                <a:lnTo>
                  <a:pt x="5408611" y="1671522"/>
                </a:lnTo>
                <a:lnTo>
                  <a:pt x="5408611" y="1741862"/>
                </a:lnTo>
                <a:lnTo>
                  <a:pt x="5408611" y="1764504"/>
                </a:lnTo>
                <a:lnTo>
                  <a:pt x="5408611" y="1765033"/>
                </a:lnTo>
                <a:lnTo>
                  <a:pt x="5410553" y="1765033"/>
                </a:lnTo>
                <a:lnTo>
                  <a:pt x="5410553" y="1944433"/>
                </a:lnTo>
                <a:lnTo>
                  <a:pt x="3825750" y="1944433"/>
                </a:lnTo>
                <a:lnTo>
                  <a:pt x="3825750" y="1944434"/>
                </a:lnTo>
                <a:lnTo>
                  <a:pt x="3859049" y="1944434"/>
                </a:lnTo>
                <a:lnTo>
                  <a:pt x="3859049" y="1948409"/>
                </a:lnTo>
                <a:lnTo>
                  <a:pt x="3937767" y="1952454"/>
                </a:lnTo>
                <a:lnTo>
                  <a:pt x="3942543" y="1953195"/>
                </a:lnTo>
                <a:lnTo>
                  <a:pt x="3948906" y="1953545"/>
                </a:lnTo>
                <a:cubicBezTo>
                  <a:pt x="4044987" y="1964132"/>
                  <a:pt x="4138597" y="1983799"/>
                  <a:pt x="4228992" y="2011744"/>
                </a:cubicBezTo>
                <a:lnTo>
                  <a:pt x="4235581" y="2014120"/>
                </a:lnTo>
                <a:lnTo>
                  <a:pt x="4236717" y="2014418"/>
                </a:lnTo>
                <a:lnTo>
                  <a:pt x="4248022" y="2018611"/>
                </a:lnTo>
                <a:lnTo>
                  <a:pt x="4362083" y="2059764"/>
                </a:lnTo>
                <a:lnTo>
                  <a:pt x="4373790" y="2065249"/>
                </a:lnTo>
                <a:lnTo>
                  <a:pt x="4378239" y="2066899"/>
                </a:lnTo>
                <a:lnTo>
                  <a:pt x="4402293" y="2078604"/>
                </a:lnTo>
                <a:lnTo>
                  <a:pt x="4489798" y="2119596"/>
                </a:lnTo>
                <a:lnTo>
                  <a:pt x="4506130" y="2129123"/>
                </a:lnTo>
                <a:lnTo>
                  <a:pt x="4513563" y="2132739"/>
                </a:lnTo>
                <a:lnTo>
                  <a:pt x="4539663" y="2148684"/>
                </a:lnTo>
                <a:lnTo>
                  <a:pt x="4611586" y="2190639"/>
                </a:lnTo>
                <a:lnTo>
                  <a:pt x="4631969" y="2205072"/>
                </a:lnTo>
                <a:lnTo>
                  <a:pt x="4642011" y="2211205"/>
                </a:lnTo>
                <a:lnTo>
                  <a:pt x="4666865" y="2229781"/>
                </a:lnTo>
                <a:lnTo>
                  <a:pt x="4726888" y="2272285"/>
                </a:lnTo>
                <a:lnTo>
                  <a:pt x="4750674" y="2292420"/>
                </a:lnTo>
                <a:lnTo>
                  <a:pt x="4762912" y="2301568"/>
                </a:lnTo>
                <a:lnTo>
                  <a:pt x="4785201" y="2321651"/>
                </a:lnTo>
                <a:lnTo>
                  <a:pt x="4835155" y="2363938"/>
                </a:lnTo>
                <a:lnTo>
                  <a:pt x="4861613" y="2390499"/>
                </a:lnTo>
                <a:lnTo>
                  <a:pt x="4875593" y="2403094"/>
                </a:lnTo>
                <a:lnTo>
                  <a:pt x="4894769" y="2423782"/>
                </a:lnTo>
                <a:lnTo>
                  <a:pt x="4935824" y="2464992"/>
                </a:lnTo>
                <a:lnTo>
                  <a:pt x="4964163" y="2498639"/>
                </a:lnTo>
                <a:lnTo>
                  <a:pt x="4979380" y="2515055"/>
                </a:lnTo>
                <a:lnTo>
                  <a:pt x="4995273" y="2535578"/>
                </a:lnTo>
                <a:lnTo>
                  <a:pt x="5028344" y="2574846"/>
                </a:lnTo>
                <a:lnTo>
                  <a:pt x="5057698" y="2616189"/>
                </a:lnTo>
                <a:lnTo>
                  <a:pt x="5073596" y="2636717"/>
                </a:lnTo>
                <a:lnTo>
                  <a:pt x="5086244" y="2656395"/>
                </a:lnTo>
                <a:lnTo>
                  <a:pt x="5112164" y="2692902"/>
                </a:lnTo>
                <a:lnTo>
                  <a:pt x="5141608" y="2742519"/>
                </a:lnTo>
                <a:lnTo>
                  <a:pt x="5157568" y="2767348"/>
                </a:lnTo>
                <a:lnTo>
                  <a:pt x="5167158" y="2785577"/>
                </a:lnTo>
                <a:lnTo>
                  <a:pt x="5186724" y="2818550"/>
                </a:lnTo>
                <a:lnTo>
                  <a:pt x="5215275" y="2877044"/>
                </a:lnTo>
                <a:lnTo>
                  <a:pt x="5230624" y="2906220"/>
                </a:lnTo>
                <a:lnTo>
                  <a:pt x="5237439" y="2922452"/>
                </a:lnTo>
                <a:lnTo>
                  <a:pt x="5251470" y="2951192"/>
                </a:lnTo>
                <a:lnTo>
                  <a:pt x="5278100" y="3019278"/>
                </a:lnTo>
                <a:lnTo>
                  <a:pt x="5292092" y="3052600"/>
                </a:lnTo>
                <a:lnTo>
                  <a:pt x="5296504" y="3066337"/>
                </a:lnTo>
                <a:lnTo>
                  <a:pt x="5305849" y="3090227"/>
                </a:lnTo>
                <a:lnTo>
                  <a:pt x="5329471" y="3168956"/>
                </a:lnTo>
                <a:lnTo>
                  <a:pt x="5341293" y="3205756"/>
                </a:lnTo>
                <a:lnTo>
                  <a:pt x="5343751" y="3216552"/>
                </a:lnTo>
                <a:lnTo>
                  <a:pt x="5349304" y="3235051"/>
                </a:lnTo>
                <a:lnTo>
                  <a:pt x="5368795" y="3326492"/>
                </a:lnTo>
                <a:lnTo>
                  <a:pt x="5377557" y="3364959"/>
                </a:lnTo>
                <a:lnTo>
                  <a:pt x="5378582" y="3372411"/>
                </a:lnTo>
                <a:lnTo>
                  <a:pt x="5381281" y="3385062"/>
                </a:lnTo>
                <a:lnTo>
                  <a:pt x="5395472" y="3495066"/>
                </a:lnTo>
                <a:lnTo>
                  <a:pt x="5400210" y="3529474"/>
                </a:lnTo>
                <a:lnTo>
                  <a:pt x="5400377" y="3533097"/>
                </a:lnTo>
                <a:lnTo>
                  <a:pt x="5401224" y="3539659"/>
                </a:lnTo>
                <a:lnTo>
                  <a:pt x="5404554" y="3615954"/>
                </a:lnTo>
                <a:lnTo>
                  <a:pt x="5408611" y="3615954"/>
                </a:lnTo>
                <a:lnTo>
                  <a:pt x="5408611" y="3686294"/>
                </a:lnTo>
                <a:lnTo>
                  <a:pt x="5408611" y="3708935"/>
                </a:lnTo>
                <a:lnTo>
                  <a:pt x="5408611" y="3709464"/>
                </a:lnTo>
                <a:lnTo>
                  <a:pt x="5410552" y="3709464"/>
                </a:lnTo>
                <a:lnTo>
                  <a:pt x="5410552" y="4047423"/>
                </a:lnTo>
                <a:lnTo>
                  <a:pt x="5410552" y="4755011"/>
                </a:lnTo>
                <a:lnTo>
                  <a:pt x="5410552" y="5092970"/>
                </a:lnTo>
                <a:lnTo>
                  <a:pt x="5410552" y="5186482"/>
                </a:lnTo>
                <a:lnTo>
                  <a:pt x="5408629" y="5186482"/>
                </a:lnTo>
                <a:lnTo>
                  <a:pt x="5408629" y="6857999"/>
                </a:lnTo>
                <a:lnTo>
                  <a:pt x="4867572" y="6857999"/>
                </a:lnTo>
                <a:lnTo>
                  <a:pt x="3794895" y="6857999"/>
                </a:lnTo>
                <a:lnTo>
                  <a:pt x="3783656" y="6857999"/>
                </a:lnTo>
                <a:lnTo>
                  <a:pt x="3782698" y="6857999"/>
                </a:lnTo>
                <a:lnTo>
                  <a:pt x="3782682" y="6858000"/>
                </a:lnTo>
                <a:lnTo>
                  <a:pt x="3782667" y="6857999"/>
                </a:lnTo>
                <a:lnTo>
                  <a:pt x="3706296" y="6857999"/>
                </a:lnTo>
                <a:lnTo>
                  <a:pt x="3253837" y="6857999"/>
                </a:lnTo>
                <a:lnTo>
                  <a:pt x="3242599" y="6857999"/>
                </a:lnTo>
                <a:lnTo>
                  <a:pt x="3241641" y="6857999"/>
                </a:lnTo>
                <a:lnTo>
                  <a:pt x="3241626" y="6858000"/>
                </a:lnTo>
                <a:lnTo>
                  <a:pt x="3241609" y="6857999"/>
                </a:lnTo>
                <a:lnTo>
                  <a:pt x="3165240" y="6857999"/>
                </a:lnTo>
                <a:lnTo>
                  <a:pt x="2169922" y="6857999"/>
                </a:lnTo>
                <a:lnTo>
                  <a:pt x="2168963" y="6857999"/>
                </a:lnTo>
                <a:lnTo>
                  <a:pt x="2168947" y="6858000"/>
                </a:lnTo>
                <a:lnTo>
                  <a:pt x="2168931" y="6857999"/>
                </a:lnTo>
                <a:lnTo>
                  <a:pt x="2092561" y="6857999"/>
                </a:lnTo>
                <a:lnTo>
                  <a:pt x="1628865" y="6857999"/>
                </a:lnTo>
                <a:lnTo>
                  <a:pt x="1627906" y="6857999"/>
                </a:lnTo>
                <a:lnTo>
                  <a:pt x="1627892" y="6858000"/>
                </a:lnTo>
                <a:lnTo>
                  <a:pt x="1627875" y="6857999"/>
                </a:lnTo>
                <a:lnTo>
                  <a:pt x="1551506" y="6857999"/>
                </a:lnTo>
                <a:lnTo>
                  <a:pt x="1551506" y="6854025"/>
                </a:lnTo>
                <a:lnTo>
                  <a:pt x="1472786" y="6849979"/>
                </a:lnTo>
                <a:lnTo>
                  <a:pt x="1468010" y="6849239"/>
                </a:lnTo>
                <a:lnTo>
                  <a:pt x="1461647" y="6848892"/>
                </a:lnTo>
                <a:cubicBezTo>
                  <a:pt x="1365566" y="6838301"/>
                  <a:pt x="1271960" y="6818634"/>
                  <a:pt x="1181563" y="6790692"/>
                </a:cubicBezTo>
                <a:lnTo>
                  <a:pt x="1174972" y="6788314"/>
                </a:lnTo>
                <a:lnTo>
                  <a:pt x="1173836" y="6788017"/>
                </a:lnTo>
                <a:lnTo>
                  <a:pt x="1162533" y="6783825"/>
                </a:lnTo>
                <a:lnTo>
                  <a:pt x="1048471" y="6742670"/>
                </a:lnTo>
                <a:lnTo>
                  <a:pt x="1036764" y="6737186"/>
                </a:lnTo>
                <a:lnTo>
                  <a:pt x="1032314" y="6735535"/>
                </a:lnTo>
                <a:lnTo>
                  <a:pt x="1008260" y="6723832"/>
                </a:lnTo>
                <a:lnTo>
                  <a:pt x="920755" y="6682839"/>
                </a:lnTo>
                <a:lnTo>
                  <a:pt x="904423" y="6673313"/>
                </a:lnTo>
                <a:lnTo>
                  <a:pt x="896991" y="6669695"/>
                </a:lnTo>
                <a:lnTo>
                  <a:pt x="870891" y="6653750"/>
                </a:lnTo>
                <a:lnTo>
                  <a:pt x="798968" y="6611797"/>
                </a:lnTo>
                <a:lnTo>
                  <a:pt x="778585" y="6597363"/>
                </a:lnTo>
                <a:lnTo>
                  <a:pt x="768542" y="6591229"/>
                </a:lnTo>
                <a:lnTo>
                  <a:pt x="743688" y="6572653"/>
                </a:lnTo>
                <a:lnTo>
                  <a:pt x="683666" y="6530149"/>
                </a:lnTo>
                <a:lnTo>
                  <a:pt x="659881" y="6510014"/>
                </a:lnTo>
                <a:lnTo>
                  <a:pt x="647641" y="6500867"/>
                </a:lnTo>
                <a:lnTo>
                  <a:pt x="625351" y="6480784"/>
                </a:lnTo>
                <a:lnTo>
                  <a:pt x="575400" y="6438495"/>
                </a:lnTo>
                <a:lnTo>
                  <a:pt x="548941" y="6411937"/>
                </a:lnTo>
                <a:lnTo>
                  <a:pt x="534961" y="6399339"/>
                </a:lnTo>
                <a:lnTo>
                  <a:pt x="515783" y="6378653"/>
                </a:lnTo>
                <a:lnTo>
                  <a:pt x="474729" y="6337442"/>
                </a:lnTo>
                <a:lnTo>
                  <a:pt x="446391" y="6303796"/>
                </a:lnTo>
                <a:lnTo>
                  <a:pt x="431175" y="6287380"/>
                </a:lnTo>
                <a:lnTo>
                  <a:pt x="415281" y="6266857"/>
                </a:lnTo>
                <a:lnTo>
                  <a:pt x="382208" y="6227587"/>
                </a:lnTo>
                <a:lnTo>
                  <a:pt x="352856" y="6186244"/>
                </a:lnTo>
                <a:lnTo>
                  <a:pt x="336959" y="6165720"/>
                </a:lnTo>
                <a:lnTo>
                  <a:pt x="324308" y="6146039"/>
                </a:lnTo>
                <a:lnTo>
                  <a:pt x="298389" y="6109534"/>
                </a:lnTo>
                <a:lnTo>
                  <a:pt x="268946" y="6059914"/>
                </a:lnTo>
                <a:lnTo>
                  <a:pt x="252985" y="6035086"/>
                </a:lnTo>
                <a:lnTo>
                  <a:pt x="243395" y="6016857"/>
                </a:lnTo>
                <a:lnTo>
                  <a:pt x="223831" y="5983884"/>
                </a:lnTo>
                <a:lnTo>
                  <a:pt x="195278" y="5925391"/>
                </a:lnTo>
                <a:lnTo>
                  <a:pt x="179929" y="5896214"/>
                </a:lnTo>
                <a:lnTo>
                  <a:pt x="173113" y="5879983"/>
                </a:lnTo>
                <a:lnTo>
                  <a:pt x="159084" y="5851242"/>
                </a:lnTo>
                <a:lnTo>
                  <a:pt x="132456" y="5783156"/>
                </a:lnTo>
                <a:lnTo>
                  <a:pt x="118462" y="5749834"/>
                </a:lnTo>
                <a:lnTo>
                  <a:pt x="114051" y="5736099"/>
                </a:lnTo>
                <a:lnTo>
                  <a:pt x="104705" y="5712207"/>
                </a:lnTo>
                <a:lnTo>
                  <a:pt x="81084" y="5633479"/>
                </a:lnTo>
                <a:lnTo>
                  <a:pt x="69261" y="5596679"/>
                </a:lnTo>
                <a:lnTo>
                  <a:pt x="66802" y="5585881"/>
                </a:lnTo>
                <a:lnTo>
                  <a:pt x="61250" y="5567382"/>
                </a:lnTo>
                <a:lnTo>
                  <a:pt x="41759" y="5475943"/>
                </a:lnTo>
                <a:lnTo>
                  <a:pt x="32996" y="5437474"/>
                </a:lnTo>
                <a:lnTo>
                  <a:pt x="31970" y="5430024"/>
                </a:lnTo>
                <a:lnTo>
                  <a:pt x="29274" y="5417371"/>
                </a:lnTo>
                <a:lnTo>
                  <a:pt x="15083" y="5307370"/>
                </a:lnTo>
                <a:lnTo>
                  <a:pt x="10345" y="5272959"/>
                </a:lnTo>
                <a:lnTo>
                  <a:pt x="10177" y="5269337"/>
                </a:lnTo>
                <a:lnTo>
                  <a:pt x="9329" y="5262776"/>
                </a:lnTo>
                <a:lnTo>
                  <a:pt x="6002" y="5186482"/>
                </a:lnTo>
                <a:lnTo>
                  <a:pt x="1944" y="5186482"/>
                </a:lnTo>
                <a:lnTo>
                  <a:pt x="1944" y="5116140"/>
                </a:lnTo>
                <a:lnTo>
                  <a:pt x="1944" y="5093498"/>
                </a:lnTo>
                <a:lnTo>
                  <a:pt x="1944" y="5092970"/>
                </a:lnTo>
                <a:lnTo>
                  <a:pt x="0" y="5092970"/>
                </a:lnTo>
                <a:lnTo>
                  <a:pt x="0" y="4755011"/>
                </a:lnTo>
                <a:lnTo>
                  <a:pt x="0" y="4047423"/>
                </a:lnTo>
                <a:lnTo>
                  <a:pt x="0" y="3709464"/>
                </a:lnTo>
                <a:lnTo>
                  <a:pt x="0" y="3615954"/>
                </a:lnTo>
                <a:lnTo>
                  <a:pt x="1925" y="3615954"/>
                </a:lnTo>
                <a:lnTo>
                  <a:pt x="1925" y="3603350"/>
                </a:lnTo>
                <a:lnTo>
                  <a:pt x="0" y="360335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30054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9A901EF-4FE4-4A53-865E-60C6E33C45A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68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4EF0C10-64E7-4AC4-8106-3BEAF12FB06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15086" y="659946"/>
            <a:ext cx="3035892" cy="3573476"/>
          </a:xfrm>
          <a:custGeom>
            <a:avLst/>
            <a:gdLst>
              <a:gd name="connsiteX0" fmla="*/ 1517955 w 3035892"/>
              <a:gd name="connsiteY0" fmla="*/ 0 h 3573476"/>
              <a:gd name="connsiteX1" fmla="*/ 1517970 w 3035892"/>
              <a:gd name="connsiteY1" fmla="*/ 1 h 3573476"/>
              <a:gd name="connsiteX2" fmla="*/ 1518863 w 3035892"/>
              <a:gd name="connsiteY2" fmla="*/ 1 h 3573476"/>
              <a:gd name="connsiteX3" fmla="*/ 3034099 w 3035892"/>
              <a:gd name="connsiteY3" fmla="*/ 1 h 3573476"/>
              <a:gd name="connsiteX4" fmla="*/ 3034099 w 3035892"/>
              <a:gd name="connsiteY4" fmla="*/ 1215642 h 3573476"/>
              <a:gd name="connsiteX5" fmla="*/ 3035892 w 3035892"/>
              <a:gd name="connsiteY5" fmla="*/ 1215642 h 3573476"/>
              <a:gd name="connsiteX6" fmla="*/ 3035892 w 3035892"/>
              <a:gd name="connsiteY6" fmla="*/ 1283649 h 3573476"/>
              <a:gd name="connsiteX7" fmla="*/ 3035892 w 3035892"/>
              <a:gd name="connsiteY7" fmla="*/ 1529436 h 3573476"/>
              <a:gd name="connsiteX8" fmla="*/ 3035892 w 3035892"/>
              <a:gd name="connsiteY8" fmla="*/ 2044041 h 3573476"/>
              <a:gd name="connsiteX9" fmla="*/ 3035892 w 3035892"/>
              <a:gd name="connsiteY9" fmla="*/ 2289827 h 3573476"/>
              <a:gd name="connsiteX10" fmla="*/ 3034081 w 3035892"/>
              <a:gd name="connsiteY10" fmla="*/ 2289827 h 3573476"/>
              <a:gd name="connsiteX11" fmla="*/ 3034081 w 3035892"/>
              <a:gd name="connsiteY11" fmla="*/ 2289827 h 3573476"/>
              <a:gd name="connsiteX12" fmla="*/ 3034081 w 3035892"/>
              <a:gd name="connsiteY12" fmla="*/ 2290211 h 3573476"/>
              <a:gd name="connsiteX13" fmla="*/ 3034081 w 3035892"/>
              <a:gd name="connsiteY13" fmla="*/ 2306678 h 3573476"/>
              <a:gd name="connsiteX14" fmla="*/ 3034081 w 3035892"/>
              <a:gd name="connsiteY14" fmla="*/ 2357834 h 3573476"/>
              <a:gd name="connsiteX15" fmla="*/ 3030297 w 3035892"/>
              <a:gd name="connsiteY15" fmla="*/ 2357834 h 3573476"/>
              <a:gd name="connsiteX16" fmla="*/ 3027194 w 3035892"/>
              <a:gd name="connsiteY16" fmla="*/ 2413321 h 3573476"/>
              <a:gd name="connsiteX17" fmla="*/ 3026404 w 3035892"/>
              <a:gd name="connsiteY17" fmla="*/ 2418092 h 3573476"/>
              <a:gd name="connsiteX18" fmla="*/ 3026247 w 3035892"/>
              <a:gd name="connsiteY18" fmla="*/ 2420727 h 3573476"/>
              <a:gd name="connsiteX19" fmla="*/ 3021829 w 3035892"/>
              <a:gd name="connsiteY19" fmla="*/ 2445752 h 3573476"/>
              <a:gd name="connsiteX20" fmla="*/ 3008596 w 3035892"/>
              <a:gd name="connsiteY20" fmla="*/ 2525754 h 3573476"/>
              <a:gd name="connsiteX21" fmla="*/ 3006082 w 3035892"/>
              <a:gd name="connsiteY21" fmla="*/ 2534955 h 3573476"/>
              <a:gd name="connsiteX22" fmla="*/ 3005125 w 3035892"/>
              <a:gd name="connsiteY22" fmla="*/ 2540374 h 3573476"/>
              <a:gd name="connsiteX23" fmla="*/ 2996954 w 3035892"/>
              <a:gd name="connsiteY23" fmla="*/ 2568350 h 3573476"/>
              <a:gd name="connsiteX24" fmla="*/ 2978779 w 3035892"/>
              <a:gd name="connsiteY24" fmla="*/ 2634852 h 3573476"/>
              <a:gd name="connsiteX25" fmla="*/ 2973603 w 3035892"/>
              <a:gd name="connsiteY25" fmla="*/ 2648306 h 3573476"/>
              <a:gd name="connsiteX26" fmla="*/ 2971310 w 3035892"/>
              <a:gd name="connsiteY26" fmla="*/ 2656157 h 3573476"/>
              <a:gd name="connsiteX27" fmla="*/ 2960286 w 3035892"/>
              <a:gd name="connsiteY27" fmla="*/ 2682921 h 3573476"/>
              <a:gd name="connsiteX28" fmla="*/ 2938258 w 3035892"/>
              <a:gd name="connsiteY28" fmla="*/ 2740178 h 3573476"/>
              <a:gd name="connsiteX29" fmla="*/ 2929546 w 3035892"/>
              <a:gd name="connsiteY29" fmla="*/ 2757553 h 3573476"/>
              <a:gd name="connsiteX30" fmla="*/ 2925431 w 3035892"/>
              <a:gd name="connsiteY30" fmla="*/ 2767542 h 3573476"/>
              <a:gd name="connsiteX31" fmla="*/ 2912383 w 3035892"/>
              <a:gd name="connsiteY31" fmla="*/ 2791777 h 3573476"/>
              <a:gd name="connsiteX32" fmla="*/ 2887552 w 3035892"/>
              <a:gd name="connsiteY32" fmla="*/ 2841293 h 3573476"/>
              <a:gd name="connsiteX33" fmla="*/ 2874470 w 3035892"/>
              <a:gd name="connsiteY33" fmla="*/ 2862196 h 3573476"/>
              <a:gd name="connsiteX34" fmla="*/ 2868115 w 3035892"/>
              <a:gd name="connsiteY34" fmla="*/ 2874000 h 3573476"/>
              <a:gd name="connsiteX35" fmla="*/ 2853802 w 3035892"/>
              <a:gd name="connsiteY35" fmla="*/ 2895219 h 3573476"/>
              <a:gd name="connsiteX36" fmla="*/ 2827179 w 3035892"/>
              <a:gd name="connsiteY36" fmla="*/ 2937760 h 3573476"/>
              <a:gd name="connsiteX37" fmla="*/ 2808935 w 3035892"/>
              <a:gd name="connsiteY37" fmla="*/ 2961740 h 3573476"/>
              <a:gd name="connsiteX38" fmla="*/ 2799992 w 3035892"/>
              <a:gd name="connsiteY38" fmla="*/ 2974997 h 3573476"/>
              <a:gd name="connsiteX39" fmla="*/ 2785109 w 3035892"/>
              <a:gd name="connsiteY39" fmla="*/ 2993054 h 3573476"/>
              <a:gd name="connsiteX40" fmla="*/ 2757655 w 3035892"/>
              <a:gd name="connsiteY40" fmla="*/ 3029140 h 3573476"/>
              <a:gd name="connsiteX41" fmla="*/ 2733486 w 3035892"/>
              <a:gd name="connsiteY41" fmla="*/ 3055689 h 3573476"/>
              <a:gd name="connsiteX42" fmla="*/ 2721690 w 3035892"/>
              <a:gd name="connsiteY42" fmla="*/ 3070002 h 3573476"/>
              <a:gd name="connsiteX43" fmla="*/ 2706867 w 3035892"/>
              <a:gd name="connsiteY43" fmla="*/ 3084930 h 3573476"/>
              <a:gd name="connsiteX44" fmla="*/ 2679496 w 3035892"/>
              <a:gd name="connsiteY44" fmla="*/ 3114997 h 3573476"/>
              <a:gd name="connsiteX45" fmla="*/ 2648656 w 3035892"/>
              <a:gd name="connsiteY45" fmla="*/ 3143557 h 3573476"/>
              <a:gd name="connsiteX46" fmla="*/ 2633836 w 3035892"/>
              <a:gd name="connsiteY46" fmla="*/ 3158482 h 3573476"/>
              <a:gd name="connsiteX47" fmla="*/ 2619647 w 3035892"/>
              <a:gd name="connsiteY47" fmla="*/ 3170420 h 3573476"/>
              <a:gd name="connsiteX48" fmla="*/ 2593223 w 3035892"/>
              <a:gd name="connsiteY48" fmla="*/ 3194890 h 3573476"/>
              <a:gd name="connsiteX49" fmla="*/ 2554942 w 3035892"/>
              <a:gd name="connsiteY49" fmla="*/ 3224862 h 3573476"/>
              <a:gd name="connsiteX50" fmla="*/ 2537060 w 3035892"/>
              <a:gd name="connsiteY50" fmla="*/ 3239907 h 3573476"/>
              <a:gd name="connsiteX51" fmla="*/ 2524023 w 3035892"/>
              <a:gd name="connsiteY51" fmla="*/ 3249067 h 3573476"/>
              <a:gd name="connsiteX52" fmla="*/ 2499351 w 3035892"/>
              <a:gd name="connsiteY52" fmla="*/ 3268384 h 3573476"/>
              <a:gd name="connsiteX53" fmla="*/ 2452772 w 3035892"/>
              <a:gd name="connsiteY53" fmla="*/ 3299138 h 3573476"/>
              <a:gd name="connsiteX54" fmla="*/ 2431989 w 3035892"/>
              <a:gd name="connsiteY54" fmla="*/ 3313744 h 3573476"/>
              <a:gd name="connsiteX55" fmla="*/ 2420575 w 3035892"/>
              <a:gd name="connsiteY55" fmla="*/ 3320397 h 3573476"/>
              <a:gd name="connsiteX56" fmla="*/ 2398398 w 3035892"/>
              <a:gd name="connsiteY56" fmla="*/ 3335040 h 3573476"/>
              <a:gd name="connsiteX57" fmla="*/ 2342427 w 3035892"/>
              <a:gd name="connsiteY57" fmla="*/ 3365951 h 3573476"/>
              <a:gd name="connsiteX58" fmla="*/ 2319252 w 3035892"/>
              <a:gd name="connsiteY58" fmla="*/ 3379461 h 3573476"/>
              <a:gd name="connsiteX59" fmla="*/ 2309888 w 3035892"/>
              <a:gd name="connsiteY59" fmla="*/ 3383922 h 3573476"/>
              <a:gd name="connsiteX60" fmla="*/ 2290881 w 3035892"/>
              <a:gd name="connsiteY60" fmla="*/ 3394420 h 3573476"/>
              <a:gd name="connsiteX61" fmla="*/ 2223815 w 3035892"/>
              <a:gd name="connsiteY61" fmla="*/ 3424932 h 3573476"/>
              <a:gd name="connsiteX62" fmla="*/ 2199478 w 3035892"/>
              <a:gd name="connsiteY62" fmla="*/ 3436528 h 3573476"/>
              <a:gd name="connsiteX63" fmla="*/ 2192547 w 3035892"/>
              <a:gd name="connsiteY63" fmla="*/ 3439158 h 3573476"/>
              <a:gd name="connsiteX64" fmla="*/ 2177319 w 3035892"/>
              <a:gd name="connsiteY64" fmla="*/ 3446086 h 3573476"/>
              <a:gd name="connsiteX65" fmla="*/ 2095723 w 3035892"/>
              <a:gd name="connsiteY65" fmla="*/ 3475899 h 3573476"/>
              <a:gd name="connsiteX66" fmla="*/ 2073293 w 3035892"/>
              <a:gd name="connsiteY66" fmla="*/ 3484410 h 3573476"/>
              <a:gd name="connsiteX67" fmla="*/ 2069144 w 3035892"/>
              <a:gd name="connsiteY67" fmla="*/ 3485611 h 3573476"/>
              <a:gd name="connsiteX68" fmla="*/ 2058227 w 3035892"/>
              <a:gd name="connsiteY68" fmla="*/ 3489600 h 3573476"/>
              <a:gd name="connsiteX69" fmla="*/ 1951868 w 3035892"/>
              <a:gd name="connsiteY69" fmla="*/ 3519529 h 3573476"/>
              <a:gd name="connsiteX70" fmla="*/ 1941328 w 3035892"/>
              <a:gd name="connsiteY70" fmla="*/ 3522579 h 3573476"/>
              <a:gd name="connsiteX71" fmla="*/ 1940269 w 3035892"/>
              <a:gd name="connsiteY71" fmla="*/ 3522794 h 3573476"/>
              <a:gd name="connsiteX72" fmla="*/ 1934124 w 3035892"/>
              <a:gd name="connsiteY72" fmla="*/ 3524523 h 3573476"/>
              <a:gd name="connsiteX73" fmla="*/ 1672953 w 3035892"/>
              <a:gd name="connsiteY73" fmla="*/ 3566851 h 3573476"/>
              <a:gd name="connsiteX74" fmla="*/ 1667021 w 3035892"/>
              <a:gd name="connsiteY74" fmla="*/ 3567104 h 3573476"/>
              <a:gd name="connsiteX75" fmla="*/ 1662567 w 3035892"/>
              <a:gd name="connsiteY75" fmla="*/ 3567643 h 3573476"/>
              <a:gd name="connsiteX76" fmla="*/ 1589164 w 3035892"/>
              <a:gd name="connsiteY76" fmla="*/ 3570585 h 3573476"/>
              <a:gd name="connsiteX77" fmla="*/ 1589164 w 3035892"/>
              <a:gd name="connsiteY77" fmla="*/ 3573476 h 3573476"/>
              <a:gd name="connsiteX78" fmla="*/ 1517952 w 3035892"/>
              <a:gd name="connsiteY78" fmla="*/ 3573476 h 3573476"/>
              <a:gd name="connsiteX79" fmla="*/ 1517937 w 3035892"/>
              <a:gd name="connsiteY79" fmla="*/ 3573476 h 3573476"/>
              <a:gd name="connsiteX80" fmla="*/ 1517922 w 3035892"/>
              <a:gd name="connsiteY80" fmla="*/ 3573476 h 3573476"/>
              <a:gd name="connsiteX81" fmla="*/ 1517029 w 3035892"/>
              <a:gd name="connsiteY81" fmla="*/ 3573476 h 3573476"/>
              <a:gd name="connsiteX82" fmla="*/ 1794 w 3035892"/>
              <a:gd name="connsiteY82" fmla="*/ 3573476 h 3573476"/>
              <a:gd name="connsiteX83" fmla="*/ 1794 w 3035892"/>
              <a:gd name="connsiteY83" fmla="*/ 2357835 h 3573476"/>
              <a:gd name="connsiteX84" fmla="*/ 0 w 3035892"/>
              <a:gd name="connsiteY84" fmla="*/ 2357835 h 3573476"/>
              <a:gd name="connsiteX85" fmla="*/ 0 w 3035892"/>
              <a:gd name="connsiteY85" fmla="*/ 2289827 h 3573476"/>
              <a:gd name="connsiteX86" fmla="*/ 0 w 3035892"/>
              <a:gd name="connsiteY86" fmla="*/ 2044041 h 3573476"/>
              <a:gd name="connsiteX87" fmla="*/ 0 w 3035892"/>
              <a:gd name="connsiteY87" fmla="*/ 1529436 h 3573476"/>
              <a:gd name="connsiteX88" fmla="*/ 0 w 3035892"/>
              <a:gd name="connsiteY88" fmla="*/ 1283650 h 3573476"/>
              <a:gd name="connsiteX89" fmla="*/ 1811 w 3035892"/>
              <a:gd name="connsiteY89" fmla="*/ 1283650 h 3573476"/>
              <a:gd name="connsiteX90" fmla="*/ 1811 w 3035892"/>
              <a:gd name="connsiteY90" fmla="*/ 1283649 h 3573476"/>
              <a:gd name="connsiteX91" fmla="*/ 1811 w 3035892"/>
              <a:gd name="connsiteY91" fmla="*/ 1283265 h 3573476"/>
              <a:gd name="connsiteX92" fmla="*/ 1811 w 3035892"/>
              <a:gd name="connsiteY92" fmla="*/ 1266798 h 3573476"/>
              <a:gd name="connsiteX93" fmla="*/ 1811 w 3035892"/>
              <a:gd name="connsiteY93" fmla="*/ 1215642 h 3573476"/>
              <a:gd name="connsiteX94" fmla="*/ 5595 w 3035892"/>
              <a:gd name="connsiteY94" fmla="*/ 1215642 h 3573476"/>
              <a:gd name="connsiteX95" fmla="*/ 8698 w 3035892"/>
              <a:gd name="connsiteY95" fmla="*/ 1160155 h 3573476"/>
              <a:gd name="connsiteX96" fmla="*/ 9488 w 3035892"/>
              <a:gd name="connsiteY96" fmla="*/ 1155383 h 3573476"/>
              <a:gd name="connsiteX97" fmla="*/ 9645 w 3035892"/>
              <a:gd name="connsiteY97" fmla="*/ 1152749 h 3573476"/>
              <a:gd name="connsiteX98" fmla="*/ 14063 w 3035892"/>
              <a:gd name="connsiteY98" fmla="*/ 1127724 h 3573476"/>
              <a:gd name="connsiteX99" fmla="*/ 27296 w 3035892"/>
              <a:gd name="connsiteY99" fmla="*/ 1047722 h 3573476"/>
              <a:gd name="connsiteX100" fmla="*/ 29811 w 3035892"/>
              <a:gd name="connsiteY100" fmla="*/ 1038521 h 3573476"/>
              <a:gd name="connsiteX101" fmla="*/ 30767 w 3035892"/>
              <a:gd name="connsiteY101" fmla="*/ 1033102 h 3573476"/>
              <a:gd name="connsiteX102" fmla="*/ 38938 w 3035892"/>
              <a:gd name="connsiteY102" fmla="*/ 1005126 h 3573476"/>
              <a:gd name="connsiteX103" fmla="*/ 57113 w 3035892"/>
              <a:gd name="connsiteY103" fmla="*/ 938624 h 3573476"/>
              <a:gd name="connsiteX104" fmla="*/ 62289 w 3035892"/>
              <a:gd name="connsiteY104" fmla="*/ 925170 h 3573476"/>
              <a:gd name="connsiteX105" fmla="*/ 64582 w 3035892"/>
              <a:gd name="connsiteY105" fmla="*/ 917319 h 3573476"/>
              <a:gd name="connsiteX106" fmla="*/ 75606 w 3035892"/>
              <a:gd name="connsiteY106" fmla="*/ 890555 h 3573476"/>
              <a:gd name="connsiteX107" fmla="*/ 97634 w 3035892"/>
              <a:gd name="connsiteY107" fmla="*/ 833298 h 3573476"/>
              <a:gd name="connsiteX108" fmla="*/ 106347 w 3035892"/>
              <a:gd name="connsiteY108" fmla="*/ 815923 h 3573476"/>
              <a:gd name="connsiteX109" fmla="*/ 110461 w 3035892"/>
              <a:gd name="connsiteY109" fmla="*/ 805934 h 3573476"/>
              <a:gd name="connsiteX110" fmla="*/ 123509 w 3035892"/>
              <a:gd name="connsiteY110" fmla="*/ 781699 h 3573476"/>
              <a:gd name="connsiteX111" fmla="*/ 148340 w 3035892"/>
              <a:gd name="connsiteY111" fmla="*/ 732182 h 3573476"/>
              <a:gd name="connsiteX112" fmla="*/ 161422 w 3035892"/>
              <a:gd name="connsiteY112" fmla="*/ 711281 h 3573476"/>
              <a:gd name="connsiteX113" fmla="*/ 167777 w 3035892"/>
              <a:gd name="connsiteY113" fmla="*/ 699476 h 3573476"/>
              <a:gd name="connsiteX114" fmla="*/ 182090 w 3035892"/>
              <a:gd name="connsiteY114" fmla="*/ 678257 h 3573476"/>
              <a:gd name="connsiteX115" fmla="*/ 208713 w 3035892"/>
              <a:gd name="connsiteY115" fmla="*/ 635717 h 3573476"/>
              <a:gd name="connsiteX116" fmla="*/ 226957 w 3035892"/>
              <a:gd name="connsiteY116" fmla="*/ 611737 h 3573476"/>
              <a:gd name="connsiteX117" fmla="*/ 235900 w 3035892"/>
              <a:gd name="connsiteY117" fmla="*/ 598479 h 3573476"/>
              <a:gd name="connsiteX118" fmla="*/ 250783 w 3035892"/>
              <a:gd name="connsiteY118" fmla="*/ 580422 h 3573476"/>
              <a:gd name="connsiteX119" fmla="*/ 278237 w 3035892"/>
              <a:gd name="connsiteY119" fmla="*/ 544336 h 3573476"/>
              <a:gd name="connsiteX120" fmla="*/ 302406 w 3035892"/>
              <a:gd name="connsiteY120" fmla="*/ 517787 h 3573476"/>
              <a:gd name="connsiteX121" fmla="*/ 314202 w 3035892"/>
              <a:gd name="connsiteY121" fmla="*/ 503474 h 3573476"/>
              <a:gd name="connsiteX122" fmla="*/ 329025 w 3035892"/>
              <a:gd name="connsiteY122" fmla="*/ 488547 h 3573476"/>
              <a:gd name="connsiteX123" fmla="*/ 356396 w 3035892"/>
              <a:gd name="connsiteY123" fmla="*/ 458480 h 3573476"/>
              <a:gd name="connsiteX124" fmla="*/ 387236 w 3035892"/>
              <a:gd name="connsiteY124" fmla="*/ 429920 h 3573476"/>
              <a:gd name="connsiteX125" fmla="*/ 402056 w 3035892"/>
              <a:gd name="connsiteY125" fmla="*/ 414994 h 3573476"/>
              <a:gd name="connsiteX126" fmla="*/ 416245 w 3035892"/>
              <a:gd name="connsiteY126" fmla="*/ 403056 h 3573476"/>
              <a:gd name="connsiteX127" fmla="*/ 442669 w 3035892"/>
              <a:gd name="connsiteY127" fmla="*/ 378585 h 3573476"/>
              <a:gd name="connsiteX128" fmla="*/ 480950 w 3035892"/>
              <a:gd name="connsiteY128" fmla="*/ 348615 h 3573476"/>
              <a:gd name="connsiteX129" fmla="*/ 498832 w 3035892"/>
              <a:gd name="connsiteY129" fmla="*/ 333570 h 3573476"/>
              <a:gd name="connsiteX130" fmla="*/ 511869 w 3035892"/>
              <a:gd name="connsiteY130" fmla="*/ 324408 h 3573476"/>
              <a:gd name="connsiteX131" fmla="*/ 536541 w 3035892"/>
              <a:gd name="connsiteY131" fmla="*/ 305092 h 3573476"/>
              <a:gd name="connsiteX132" fmla="*/ 583119 w 3035892"/>
              <a:gd name="connsiteY132" fmla="*/ 274338 h 3573476"/>
              <a:gd name="connsiteX133" fmla="*/ 603903 w 3035892"/>
              <a:gd name="connsiteY133" fmla="*/ 259732 h 3573476"/>
              <a:gd name="connsiteX134" fmla="*/ 615316 w 3035892"/>
              <a:gd name="connsiteY134" fmla="*/ 253079 h 3573476"/>
              <a:gd name="connsiteX135" fmla="*/ 637495 w 3035892"/>
              <a:gd name="connsiteY135" fmla="*/ 238436 h 3573476"/>
              <a:gd name="connsiteX136" fmla="*/ 693465 w 3035892"/>
              <a:gd name="connsiteY136" fmla="*/ 207524 h 3573476"/>
              <a:gd name="connsiteX137" fmla="*/ 716640 w 3035892"/>
              <a:gd name="connsiteY137" fmla="*/ 194015 h 3573476"/>
              <a:gd name="connsiteX138" fmla="*/ 726004 w 3035892"/>
              <a:gd name="connsiteY138" fmla="*/ 189554 h 3573476"/>
              <a:gd name="connsiteX139" fmla="*/ 745011 w 3035892"/>
              <a:gd name="connsiteY139" fmla="*/ 179057 h 3573476"/>
              <a:gd name="connsiteX140" fmla="*/ 812077 w 3035892"/>
              <a:gd name="connsiteY140" fmla="*/ 148545 h 3573476"/>
              <a:gd name="connsiteX141" fmla="*/ 836414 w 3035892"/>
              <a:gd name="connsiteY141" fmla="*/ 136949 h 3573476"/>
              <a:gd name="connsiteX142" fmla="*/ 843345 w 3035892"/>
              <a:gd name="connsiteY142" fmla="*/ 134319 h 3573476"/>
              <a:gd name="connsiteX143" fmla="*/ 858574 w 3035892"/>
              <a:gd name="connsiteY143" fmla="*/ 127390 h 3573476"/>
              <a:gd name="connsiteX144" fmla="*/ 940169 w 3035892"/>
              <a:gd name="connsiteY144" fmla="*/ 97577 h 3573476"/>
              <a:gd name="connsiteX145" fmla="*/ 962599 w 3035892"/>
              <a:gd name="connsiteY145" fmla="*/ 89065 h 3573476"/>
              <a:gd name="connsiteX146" fmla="*/ 966748 w 3035892"/>
              <a:gd name="connsiteY146" fmla="*/ 87866 h 3573476"/>
              <a:gd name="connsiteX147" fmla="*/ 977665 w 3035892"/>
              <a:gd name="connsiteY147" fmla="*/ 83877 h 3573476"/>
              <a:gd name="connsiteX148" fmla="*/ 1084024 w 3035892"/>
              <a:gd name="connsiteY148" fmla="*/ 53947 h 3573476"/>
              <a:gd name="connsiteX149" fmla="*/ 1094564 w 3035892"/>
              <a:gd name="connsiteY149" fmla="*/ 50897 h 3573476"/>
              <a:gd name="connsiteX150" fmla="*/ 1095623 w 3035892"/>
              <a:gd name="connsiteY150" fmla="*/ 50681 h 3573476"/>
              <a:gd name="connsiteX151" fmla="*/ 1101768 w 3035892"/>
              <a:gd name="connsiteY151" fmla="*/ 48953 h 3573476"/>
              <a:gd name="connsiteX152" fmla="*/ 1362938 w 3035892"/>
              <a:gd name="connsiteY152" fmla="*/ 6625 h 3573476"/>
              <a:gd name="connsiteX153" fmla="*/ 1368872 w 3035892"/>
              <a:gd name="connsiteY153" fmla="*/ 6373 h 3573476"/>
              <a:gd name="connsiteX154" fmla="*/ 1373325 w 3035892"/>
              <a:gd name="connsiteY154" fmla="*/ 5833 h 3573476"/>
              <a:gd name="connsiteX155" fmla="*/ 1446728 w 3035892"/>
              <a:gd name="connsiteY155" fmla="*/ 2891 h 3573476"/>
              <a:gd name="connsiteX156" fmla="*/ 1446728 w 3035892"/>
              <a:gd name="connsiteY156" fmla="*/ 1 h 3573476"/>
              <a:gd name="connsiteX157" fmla="*/ 1517940 w 3035892"/>
              <a:gd name="connsiteY157" fmla="*/ 1 h 357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3035892" h="3573476">
                <a:moveTo>
                  <a:pt x="1517955" y="0"/>
                </a:moveTo>
                <a:lnTo>
                  <a:pt x="1517970" y="1"/>
                </a:lnTo>
                <a:lnTo>
                  <a:pt x="1518863" y="1"/>
                </a:lnTo>
                <a:lnTo>
                  <a:pt x="3034099" y="1"/>
                </a:lnTo>
                <a:lnTo>
                  <a:pt x="3034099" y="1215642"/>
                </a:lnTo>
                <a:lnTo>
                  <a:pt x="3035892" y="1215642"/>
                </a:lnTo>
                <a:lnTo>
                  <a:pt x="3035892" y="1283649"/>
                </a:lnTo>
                <a:lnTo>
                  <a:pt x="3035892" y="1529436"/>
                </a:lnTo>
                <a:lnTo>
                  <a:pt x="3035892" y="2044041"/>
                </a:lnTo>
                <a:lnTo>
                  <a:pt x="3035892" y="2289827"/>
                </a:lnTo>
                <a:lnTo>
                  <a:pt x="3034081" y="2289827"/>
                </a:lnTo>
                <a:lnTo>
                  <a:pt x="3034081" y="2289827"/>
                </a:lnTo>
                <a:lnTo>
                  <a:pt x="3034081" y="2290211"/>
                </a:lnTo>
                <a:lnTo>
                  <a:pt x="3034081" y="2306678"/>
                </a:lnTo>
                <a:lnTo>
                  <a:pt x="3034081" y="2357834"/>
                </a:lnTo>
                <a:lnTo>
                  <a:pt x="3030297" y="2357834"/>
                </a:lnTo>
                <a:lnTo>
                  <a:pt x="3027194" y="2413321"/>
                </a:lnTo>
                <a:lnTo>
                  <a:pt x="3026404" y="2418092"/>
                </a:lnTo>
                <a:lnTo>
                  <a:pt x="3026247" y="2420727"/>
                </a:lnTo>
                <a:lnTo>
                  <a:pt x="3021829" y="2445752"/>
                </a:lnTo>
                <a:lnTo>
                  <a:pt x="3008596" y="2525754"/>
                </a:lnTo>
                <a:lnTo>
                  <a:pt x="3006082" y="2534955"/>
                </a:lnTo>
                <a:lnTo>
                  <a:pt x="3005125" y="2540374"/>
                </a:lnTo>
                <a:lnTo>
                  <a:pt x="2996954" y="2568350"/>
                </a:lnTo>
                <a:lnTo>
                  <a:pt x="2978779" y="2634852"/>
                </a:lnTo>
                <a:lnTo>
                  <a:pt x="2973603" y="2648306"/>
                </a:lnTo>
                <a:lnTo>
                  <a:pt x="2971310" y="2656157"/>
                </a:lnTo>
                <a:lnTo>
                  <a:pt x="2960286" y="2682921"/>
                </a:lnTo>
                <a:lnTo>
                  <a:pt x="2938258" y="2740178"/>
                </a:lnTo>
                <a:lnTo>
                  <a:pt x="2929546" y="2757553"/>
                </a:lnTo>
                <a:lnTo>
                  <a:pt x="2925431" y="2767542"/>
                </a:lnTo>
                <a:lnTo>
                  <a:pt x="2912383" y="2791777"/>
                </a:lnTo>
                <a:lnTo>
                  <a:pt x="2887552" y="2841293"/>
                </a:lnTo>
                <a:lnTo>
                  <a:pt x="2874470" y="2862196"/>
                </a:lnTo>
                <a:lnTo>
                  <a:pt x="2868115" y="2874000"/>
                </a:lnTo>
                <a:lnTo>
                  <a:pt x="2853802" y="2895219"/>
                </a:lnTo>
                <a:lnTo>
                  <a:pt x="2827179" y="2937760"/>
                </a:lnTo>
                <a:lnTo>
                  <a:pt x="2808935" y="2961740"/>
                </a:lnTo>
                <a:lnTo>
                  <a:pt x="2799992" y="2974997"/>
                </a:lnTo>
                <a:lnTo>
                  <a:pt x="2785109" y="2993054"/>
                </a:lnTo>
                <a:lnTo>
                  <a:pt x="2757655" y="3029140"/>
                </a:lnTo>
                <a:lnTo>
                  <a:pt x="2733486" y="3055689"/>
                </a:lnTo>
                <a:lnTo>
                  <a:pt x="2721690" y="3070002"/>
                </a:lnTo>
                <a:lnTo>
                  <a:pt x="2706867" y="3084930"/>
                </a:lnTo>
                <a:lnTo>
                  <a:pt x="2679496" y="3114997"/>
                </a:lnTo>
                <a:lnTo>
                  <a:pt x="2648656" y="3143557"/>
                </a:lnTo>
                <a:lnTo>
                  <a:pt x="2633836" y="3158482"/>
                </a:lnTo>
                <a:lnTo>
                  <a:pt x="2619647" y="3170420"/>
                </a:lnTo>
                <a:lnTo>
                  <a:pt x="2593223" y="3194890"/>
                </a:lnTo>
                <a:lnTo>
                  <a:pt x="2554942" y="3224862"/>
                </a:lnTo>
                <a:lnTo>
                  <a:pt x="2537060" y="3239907"/>
                </a:lnTo>
                <a:lnTo>
                  <a:pt x="2524023" y="3249067"/>
                </a:lnTo>
                <a:lnTo>
                  <a:pt x="2499351" y="3268384"/>
                </a:lnTo>
                <a:lnTo>
                  <a:pt x="2452772" y="3299138"/>
                </a:lnTo>
                <a:lnTo>
                  <a:pt x="2431989" y="3313744"/>
                </a:lnTo>
                <a:lnTo>
                  <a:pt x="2420575" y="3320397"/>
                </a:lnTo>
                <a:lnTo>
                  <a:pt x="2398398" y="3335040"/>
                </a:lnTo>
                <a:lnTo>
                  <a:pt x="2342427" y="3365951"/>
                </a:lnTo>
                <a:lnTo>
                  <a:pt x="2319252" y="3379461"/>
                </a:lnTo>
                <a:lnTo>
                  <a:pt x="2309888" y="3383922"/>
                </a:lnTo>
                <a:lnTo>
                  <a:pt x="2290881" y="3394420"/>
                </a:lnTo>
                <a:lnTo>
                  <a:pt x="2223815" y="3424932"/>
                </a:lnTo>
                <a:lnTo>
                  <a:pt x="2199478" y="3436528"/>
                </a:lnTo>
                <a:lnTo>
                  <a:pt x="2192547" y="3439158"/>
                </a:lnTo>
                <a:lnTo>
                  <a:pt x="2177319" y="3446086"/>
                </a:lnTo>
                <a:lnTo>
                  <a:pt x="2095723" y="3475899"/>
                </a:lnTo>
                <a:lnTo>
                  <a:pt x="2073293" y="3484410"/>
                </a:lnTo>
                <a:lnTo>
                  <a:pt x="2069144" y="3485611"/>
                </a:lnTo>
                <a:lnTo>
                  <a:pt x="2058227" y="3489600"/>
                </a:lnTo>
                <a:lnTo>
                  <a:pt x="1951868" y="3519529"/>
                </a:lnTo>
                <a:lnTo>
                  <a:pt x="1941328" y="3522579"/>
                </a:lnTo>
                <a:lnTo>
                  <a:pt x="1940269" y="3522794"/>
                </a:lnTo>
                <a:lnTo>
                  <a:pt x="1934124" y="3524523"/>
                </a:lnTo>
                <a:cubicBezTo>
                  <a:pt x="1849832" y="3544846"/>
                  <a:pt x="1762546" y="3559149"/>
                  <a:pt x="1672953" y="3566851"/>
                </a:cubicBezTo>
                <a:lnTo>
                  <a:pt x="1667021" y="3567104"/>
                </a:lnTo>
                <a:lnTo>
                  <a:pt x="1662567" y="3567643"/>
                </a:lnTo>
                <a:lnTo>
                  <a:pt x="1589164" y="3570585"/>
                </a:lnTo>
                <a:lnTo>
                  <a:pt x="1589164" y="3573476"/>
                </a:lnTo>
                <a:lnTo>
                  <a:pt x="1517952" y="3573476"/>
                </a:lnTo>
                <a:lnTo>
                  <a:pt x="1517937" y="3573476"/>
                </a:lnTo>
                <a:lnTo>
                  <a:pt x="1517922" y="3573476"/>
                </a:lnTo>
                <a:lnTo>
                  <a:pt x="1517029" y="3573476"/>
                </a:lnTo>
                <a:lnTo>
                  <a:pt x="1794" y="3573476"/>
                </a:lnTo>
                <a:lnTo>
                  <a:pt x="1794" y="2357835"/>
                </a:lnTo>
                <a:lnTo>
                  <a:pt x="0" y="2357835"/>
                </a:lnTo>
                <a:lnTo>
                  <a:pt x="0" y="2289827"/>
                </a:lnTo>
                <a:lnTo>
                  <a:pt x="0" y="2044041"/>
                </a:lnTo>
                <a:lnTo>
                  <a:pt x="0" y="1529436"/>
                </a:lnTo>
                <a:lnTo>
                  <a:pt x="0" y="1283650"/>
                </a:lnTo>
                <a:lnTo>
                  <a:pt x="1811" y="1283650"/>
                </a:lnTo>
                <a:lnTo>
                  <a:pt x="1811" y="1283649"/>
                </a:lnTo>
                <a:lnTo>
                  <a:pt x="1811" y="1283265"/>
                </a:lnTo>
                <a:lnTo>
                  <a:pt x="1811" y="1266798"/>
                </a:lnTo>
                <a:lnTo>
                  <a:pt x="1811" y="1215642"/>
                </a:lnTo>
                <a:lnTo>
                  <a:pt x="5595" y="1215642"/>
                </a:lnTo>
                <a:lnTo>
                  <a:pt x="8698" y="1160155"/>
                </a:lnTo>
                <a:lnTo>
                  <a:pt x="9488" y="1155383"/>
                </a:lnTo>
                <a:lnTo>
                  <a:pt x="9645" y="1152749"/>
                </a:lnTo>
                <a:lnTo>
                  <a:pt x="14063" y="1127724"/>
                </a:lnTo>
                <a:lnTo>
                  <a:pt x="27296" y="1047722"/>
                </a:lnTo>
                <a:lnTo>
                  <a:pt x="29811" y="1038521"/>
                </a:lnTo>
                <a:lnTo>
                  <a:pt x="30767" y="1033102"/>
                </a:lnTo>
                <a:lnTo>
                  <a:pt x="38938" y="1005126"/>
                </a:lnTo>
                <a:lnTo>
                  <a:pt x="57113" y="938624"/>
                </a:lnTo>
                <a:lnTo>
                  <a:pt x="62289" y="925170"/>
                </a:lnTo>
                <a:lnTo>
                  <a:pt x="64582" y="917319"/>
                </a:lnTo>
                <a:lnTo>
                  <a:pt x="75606" y="890555"/>
                </a:lnTo>
                <a:lnTo>
                  <a:pt x="97634" y="833298"/>
                </a:lnTo>
                <a:lnTo>
                  <a:pt x="106347" y="815923"/>
                </a:lnTo>
                <a:lnTo>
                  <a:pt x="110461" y="805934"/>
                </a:lnTo>
                <a:lnTo>
                  <a:pt x="123509" y="781699"/>
                </a:lnTo>
                <a:lnTo>
                  <a:pt x="148340" y="732182"/>
                </a:lnTo>
                <a:lnTo>
                  <a:pt x="161422" y="711281"/>
                </a:lnTo>
                <a:lnTo>
                  <a:pt x="167777" y="699476"/>
                </a:lnTo>
                <a:lnTo>
                  <a:pt x="182090" y="678257"/>
                </a:lnTo>
                <a:lnTo>
                  <a:pt x="208713" y="635717"/>
                </a:lnTo>
                <a:lnTo>
                  <a:pt x="226957" y="611737"/>
                </a:lnTo>
                <a:lnTo>
                  <a:pt x="235900" y="598479"/>
                </a:lnTo>
                <a:lnTo>
                  <a:pt x="250783" y="580422"/>
                </a:lnTo>
                <a:lnTo>
                  <a:pt x="278237" y="544336"/>
                </a:lnTo>
                <a:lnTo>
                  <a:pt x="302406" y="517787"/>
                </a:lnTo>
                <a:lnTo>
                  <a:pt x="314202" y="503474"/>
                </a:lnTo>
                <a:lnTo>
                  <a:pt x="329025" y="488547"/>
                </a:lnTo>
                <a:lnTo>
                  <a:pt x="356396" y="458480"/>
                </a:lnTo>
                <a:lnTo>
                  <a:pt x="387236" y="429920"/>
                </a:lnTo>
                <a:lnTo>
                  <a:pt x="402056" y="414994"/>
                </a:lnTo>
                <a:lnTo>
                  <a:pt x="416245" y="403056"/>
                </a:lnTo>
                <a:lnTo>
                  <a:pt x="442669" y="378585"/>
                </a:lnTo>
                <a:lnTo>
                  <a:pt x="480950" y="348615"/>
                </a:lnTo>
                <a:lnTo>
                  <a:pt x="498832" y="333570"/>
                </a:lnTo>
                <a:lnTo>
                  <a:pt x="511869" y="324408"/>
                </a:lnTo>
                <a:lnTo>
                  <a:pt x="536541" y="305092"/>
                </a:lnTo>
                <a:lnTo>
                  <a:pt x="583119" y="274338"/>
                </a:lnTo>
                <a:lnTo>
                  <a:pt x="603903" y="259732"/>
                </a:lnTo>
                <a:lnTo>
                  <a:pt x="615316" y="253079"/>
                </a:lnTo>
                <a:lnTo>
                  <a:pt x="637495" y="238436"/>
                </a:lnTo>
                <a:lnTo>
                  <a:pt x="693465" y="207524"/>
                </a:lnTo>
                <a:lnTo>
                  <a:pt x="716640" y="194015"/>
                </a:lnTo>
                <a:lnTo>
                  <a:pt x="726004" y="189554"/>
                </a:lnTo>
                <a:lnTo>
                  <a:pt x="745011" y="179057"/>
                </a:lnTo>
                <a:lnTo>
                  <a:pt x="812077" y="148545"/>
                </a:lnTo>
                <a:lnTo>
                  <a:pt x="836414" y="136949"/>
                </a:lnTo>
                <a:lnTo>
                  <a:pt x="843345" y="134319"/>
                </a:lnTo>
                <a:lnTo>
                  <a:pt x="858574" y="127390"/>
                </a:lnTo>
                <a:lnTo>
                  <a:pt x="940169" y="97577"/>
                </a:lnTo>
                <a:lnTo>
                  <a:pt x="962599" y="89065"/>
                </a:lnTo>
                <a:lnTo>
                  <a:pt x="966748" y="87866"/>
                </a:lnTo>
                <a:lnTo>
                  <a:pt x="977665" y="83877"/>
                </a:lnTo>
                <a:lnTo>
                  <a:pt x="1084024" y="53947"/>
                </a:lnTo>
                <a:lnTo>
                  <a:pt x="1094564" y="50897"/>
                </a:lnTo>
                <a:lnTo>
                  <a:pt x="1095623" y="50681"/>
                </a:lnTo>
                <a:lnTo>
                  <a:pt x="1101768" y="48953"/>
                </a:lnTo>
                <a:cubicBezTo>
                  <a:pt x="1186059" y="28631"/>
                  <a:pt x="1273346" y="14327"/>
                  <a:pt x="1362938" y="6625"/>
                </a:cubicBezTo>
                <a:lnTo>
                  <a:pt x="1368872" y="6373"/>
                </a:lnTo>
                <a:lnTo>
                  <a:pt x="1373325" y="5833"/>
                </a:lnTo>
                <a:lnTo>
                  <a:pt x="1446728" y="2891"/>
                </a:lnTo>
                <a:lnTo>
                  <a:pt x="1446728" y="1"/>
                </a:lnTo>
                <a:lnTo>
                  <a:pt x="1517940" y="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BBF648B-8662-41BD-ABD9-3FC10ADCB0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2728" y="-1"/>
            <a:ext cx="3329446" cy="3963752"/>
          </a:xfrm>
          <a:custGeom>
            <a:avLst/>
            <a:gdLst>
              <a:gd name="connsiteX0" fmla="*/ 0 w 3329446"/>
              <a:gd name="connsiteY0" fmla="*/ 0 h 3963752"/>
              <a:gd name="connsiteX1" fmla="*/ 3323772 w 3329446"/>
              <a:gd name="connsiteY1" fmla="*/ 0 h 3963752"/>
              <a:gd name="connsiteX2" fmla="*/ 3323772 w 3329446"/>
              <a:gd name="connsiteY2" fmla="*/ 1835849 h 3963752"/>
              <a:gd name="connsiteX3" fmla="*/ 3329446 w 3329446"/>
              <a:gd name="connsiteY3" fmla="*/ 1835849 h 3963752"/>
              <a:gd name="connsiteX4" fmla="*/ 3329446 w 3329446"/>
              <a:gd name="connsiteY4" fmla="*/ 2289287 h 3963752"/>
              <a:gd name="connsiteX5" fmla="*/ 3329446 w 3329446"/>
              <a:gd name="connsiteY5" fmla="*/ 2558380 h 3963752"/>
              <a:gd name="connsiteX6" fmla="*/ 3327463 w 3329446"/>
              <a:gd name="connsiteY6" fmla="*/ 2558380 h 3963752"/>
              <a:gd name="connsiteX7" fmla="*/ 3327463 w 3329446"/>
              <a:gd name="connsiteY7" fmla="*/ 2558800 h 3963752"/>
              <a:gd name="connsiteX8" fmla="*/ 3327463 w 3329446"/>
              <a:gd name="connsiteY8" fmla="*/ 2576829 h 3963752"/>
              <a:gd name="connsiteX9" fmla="*/ 3327463 w 3329446"/>
              <a:gd name="connsiteY9" fmla="*/ 2632836 h 3963752"/>
              <a:gd name="connsiteX10" fmla="*/ 3323321 w 3329446"/>
              <a:gd name="connsiteY10" fmla="*/ 2632836 h 3963752"/>
              <a:gd name="connsiteX11" fmla="*/ 3319923 w 3329446"/>
              <a:gd name="connsiteY11" fmla="*/ 2693585 h 3963752"/>
              <a:gd name="connsiteX12" fmla="*/ 3319059 w 3329446"/>
              <a:gd name="connsiteY12" fmla="*/ 2698808 h 3963752"/>
              <a:gd name="connsiteX13" fmla="*/ 3318887 w 3329446"/>
              <a:gd name="connsiteY13" fmla="*/ 2701693 h 3963752"/>
              <a:gd name="connsiteX14" fmla="*/ 3314050 w 3329446"/>
              <a:gd name="connsiteY14" fmla="*/ 2729091 h 3963752"/>
              <a:gd name="connsiteX15" fmla="*/ 3299562 w 3329446"/>
              <a:gd name="connsiteY15" fmla="*/ 2816679 h 3963752"/>
              <a:gd name="connsiteX16" fmla="*/ 3296809 w 3329446"/>
              <a:gd name="connsiteY16" fmla="*/ 2826752 h 3963752"/>
              <a:gd name="connsiteX17" fmla="*/ 3295762 w 3329446"/>
              <a:gd name="connsiteY17" fmla="*/ 2832686 h 3963752"/>
              <a:gd name="connsiteX18" fmla="*/ 3286816 w 3329446"/>
              <a:gd name="connsiteY18" fmla="*/ 2863315 h 3963752"/>
              <a:gd name="connsiteX19" fmla="*/ 3266917 w 3329446"/>
              <a:gd name="connsiteY19" fmla="*/ 2936122 h 3963752"/>
              <a:gd name="connsiteX20" fmla="*/ 3261251 w 3329446"/>
              <a:gd name="connsiteY20" fmla="*/ 2950852 h 3963752"/>
              <a:gd name="connsiteX21" fmla="*/ 3258740 w 3329446"/>
              <a:gd name="connsiteY21" fmla="*/ 2959448 h 3963752"/>
              <a:gd name="connsiteX22" fmla="*/ 3246671 w 3329446"/>
              <a:gd name="connsiteY22" fmla="*/ 2988749 h 3963752"/>
              <a:gd name="connsiteX23" fmla="*/ 3222555 w 3329446"/>
              <a:gd name="connsiteY23" fmla="*/ 3051436 h 3963752"/>
              <a:gd name="connsiteX24" fmla="*/ 3213015 w 3329446"/>
              <a:gd name="connsiteY24" fmla="*/ 3070459 h 3963752"/>
              <a:gd name="connsiteX25" fmla="*/ 3208511 w 3329446"/>
              <a:gd name="connsiteY25" fmla="*/ 3081395 h 3963752"/>
              <a:gd name="connsiteX26" fmla="*/ 3194225 w 3329446"/>
              <a:gd name="connsiteY26" fmla="*/ 3107928 h 3963752"/>
              <a:gd name="connsiteX27" fmla="*/ 3167040 w 3329446"/>
              <a:gd name="connsiteY27" fmla="*/ 3162139 h 3963752"/>
              <a:gd name="connsiteX28" fmla="*/ 3152717 w 3329446"/>
              <a:gd name="connsiteY28" fmla="*/ 3185024 h 3963752"/>
              <a:gd name="connsiteX29" fmla="*/ 3145760 w 3329446"/>
              <a:gd name="connsiteY29" fmla="*/ 3197948 h 3963752"/>
              <a:gd name="connsiteX30" fmla="*/ 3130089 w 3329446"/>
              <a:gd name="connsiteY30" fmla="*/ 3221179 h 3963752"/>
              <a:gd name="connsiteX31" fmla="*/ 3100942 w 3329446"/>
              <a:gd name="connsiteY31" fmla="*/ 3267753 h 3963752"/>
              <a:gd name="connsiteX32" fmla="*/ 3080967 w 3329446"/>
              <a:gd name="connsiteY32" fmla="*/ 3294007 h 3963752"/>
              <a:gd name="connsiteX33" fmla="*/ 3071177 w 3329446"/>
              <a:gd name="connsiteY33" fmla="*/ 3308521 h 3963752"/>
              <a:gd name="connsiteX34" fmla="*/ 3054883 w 3329446"/>
              <a:gd name="connsiteY34" fmla="*/ 3328291 h 3963752"/>
              <a:gd name="connsiteX35" fmla="*/ 3024825 w 3329446"/>
              <a:gd name="connsiteY35" fmla="*/ 3367799 h 3963752"/>
              <a:gd name="connsiteX36" fmla="*/ 2998364 w 3329446"/>
              <a:gd name="connsiteY36" fmla="*/ 3396866 h 3963752"/>
              <a:gd name="connsiteX37" fmla="*/ 2985450 w 3329446"/>
              <a:gd name="connsiteY37" fmla="*/ 3412536 h 3963752"/>
              <a:gd name="connsiteX38" fmla="*/ 2969221 w 3329446"/>
              <a:gd name="connsiteY38" fmla="*/ 3428879 h 3963752"/>
              <a:gd name="connsiteX39" fmla="*/ 2939255 w 3329446"/>
              <a:gd name="connsiteY39" fmla="*/ 3461797 h 3963752"/>
              <a:gd name="connsiteX40" fmla="*/ 2905490 w 3329446"/>
              <a:gd name="connsiteY40" fmla="*/ 3493065 h 3963752"/>
              <a:gd name="connsiteX41" fmla="*/ 2889265 w 3329446"/>
              <a:gd name="connsiteY41" fmla="*/ 3509406 h 3963752"/>
              <a:gd name="connsiteX42" fmla="*/ 2873730 w 3329446"/>
              <a:gd name="connsiteY42" fmla="*/ 3522476 h 3963752"/>
              <a:gd name="connsiteX43" fmla="*/ 2844801 w 3329446"/>
              <a:gd name="connsiteY43" fmla="*/ 3549267 h 3963752"/>
              <a:gd name="connsiteX44" fmla="*/ 2802889 w 3329446"/>
              <a:gd name="connsiteY44" fmla="*/ 3582080 h 3963752"/>
              <a:gd name="connsiteX45" fmla="*/ 2783312 w 3329446"/>
              <a:gd name="connsiteY45" fmla="*/ 3598552 h 3963752"/>
              <a:gd name="connsiteX46" fmla="*/ 2769039 w 3329446"/>
              <a:gd name="connsiteY46" fmla="*/ 3608581 h 3963752"/>
              <a:gd name="connsiteX47" fmla="*/ 2742027 w 3329446"/>
              <a:gd name="connsiteY47" fmla="*/ 3629729 h 3963752"/>
              <a:gd name="connsiteX48" fmla="*/ 2691032 w 3329446"/>
              <a:gd name="connsiteY48" fmla="*/ 3663400 h 3963752"/>
              <a:gd name="connsiteX49" fmla="*/ 2668278 w 3329446"/>
              <a:gd name="connsiteY49" fmla="*/ 3679391 h 3963752"/>
              <a:gd name="connsiteX50" fmla="*/ 2655781 w 3329446"/>
              <a:gd name="connsiteY50" fmla="*/ 3686674 h 3963752"/>
              <a:gd name="connsiteX51" fmla="*/ 2631501 w 3329446"/>
              <a:gd name="connsiteY51" fmla="*/ 3702706 h 3963752"/>
              <a:gd name="connsiteX52" fmla="*/ 2570223 w 3329446"/>
              <a:gd name="connsiteY52" fmla="*/ 3736549 h 3963752"/>
              <a:gd name="connsiteX53" fmla="*/ 2544851 w 3329446"/>
              <a:gd name="connsiteY53" fmla="*/ 3751340 h 3963752"/>
              <a:gd name="connsiteX54" fmla="*/ 2534598 w 3329446"/>
              <a:gd name="connsiteY54" fmla="*/ 3756224 h 3963752"/>
              <a:gd name="connsiteX55" fmla="*/ 2513789 w 3329446"/>
              <a:gd name="connsiteY55" fmla="*/ 3767716 h 3963752"/>
              <a:gd name="connsiteX56" fmla="*/ 2440364 w 3329446"/>
              <a:gd name="connsiteY56" fmla="*/ 3801122 h 3963752"/>
              <a:gd name="connsiteX57" fmla="*/ 2413718 w 3329446"/>
              <a:gd name="connsiteY57" fmla="*/ 3813817 h 3963752"/>
              <a:gd name="connsiteX58" fmla="*/ 2406131 w 3329446"/>
              <a:gd name="connsiteY58" fmla="*/ 3816697 h 3963752"/>
              <a:gd name="connsiteX59" fmla="*/ 2389458 w 3329446"/>
              <a:gd name="connsiteY59" fmla="*/ 3824282 h 3963752"/>
              <a:gd name="connsiteX60" fmla="*/ 2300125 w 3329446"/>
              <a:gd name="connsiteY60" fmla="*/ 3856922 h 3963752"/>
              <a:gd name="connsiteX61" fmla="*/ 2275568 w 3329446"/>
              <a:gd name="connsiteY61" fmla="*/ 3866241 h 3963752"/>
              <a:gd name="connsiteX62" fmla="*/ 2271026 w 3329446"/>
              <a:gd name="connsiteY62" fmla="*/ 3867555 h 3963752"/>
              <a:gd name="connsiteX63" fmla="*/ 2259074 w 3329446"/>
              <a:gd name="connsiteY63" fmla="*/ 3871922 h 3963752"/>
              <a:gd name="connsiteX64" fmla="*/ 2142630 w 3329446"/>
              <a:gd name="connsiteY64" fmla="*/ 3904690 h 3963752"/>
              <a:gd name="connsiteX65" fmla="*/ 2131089 w 3329446"/>
              <a:gd name="connsiteY65" fmla="*/ 3908028 h 3963752"/>
              <a:gd name="connsiteX66" fmla="*/ 2129930 w 3329446"/>
              <a:gd name="connsiteY66" fmla="*/ 3908264 h 3963752"/>
              <a:gd name="connsiteX67" fmla="*/ 2123202 w 3329446"/>
              <a:gd name="connsiteY67" fmla="*/ 3910157 h 3963752"/>
              <a:gd name="connsiteX68" fmla="*/ 1837266 w 3329446"/>
              <a:gd name="connsiteY68" fmla="*/ 3956499 h 3963752"/>
              <a:gd name="connsiteX69" fmla="*/ 1830771 w 3329446"/>
              <a:gd name="connsiteY69" fmla="*/ 3956775 h 3963752"/>
              <a:gd name="connsiteX70" fmla="*/ 1825895 w 3329446"/>
              <a:gd name="connsiteY70" fmla="*/ 3957365 h 3963752"/>
              <a:gd name="connsiteX71" fmla="*/ 1745532 w 3329446"/>
              <a:gd name="connsiteY71" fmla="*/ 3960587 h 3963752"/>
              <a:gd name="connsiteX72" fmla="*/ 1745532 w 3329446"/>
              <a:gd name="connsiteY72" fmla="*/ 3963751 h 3963752"/>
              <a:gd name="connsiteX73" fmla="*/ 1667566 w 3329446"/>
              <a:gd name="connsiteY73" fmla="*/ 3963751 h 3963752"/>
              <a:gd name="connsiteX74" fmla="*/ 1667550 w 3329446"/>
              <a:gd name="connsiteY74" fmla="*/ 3963752 h 3963752"/>
              <a:gd name="connsiteX75" fmla="*/ 1667534 w 3329446"/>
              <a:gd name="connsiteY75" fmla="*/ 3963751 h 3963752"/>
              <a:gd name="connsiteX76" fmla="*/ 1666556 w 3329446"/>
              <a:gd name="connsiteY76" fmla="*/ 3963751 h 3963752"/>
              <a:gd name="connsiteX77" fmla="*/ 7638 w 3329446"/>
              <a:gd name="connsiteY77" fmla="*/ 3963751 h 3963752"/>
              <a:gd name="connsiteX78" fmla="*/ 7638 w 3329446"/>
              <a:gd name="connsiteY78" fmla="*/ 2632836 h 3963752"/>
              <a:gd name="connsiteX79" fmla="*/ 5674 w 3329446"/>
              <a:gd name="connsiteY79" fmla="*/ 2632836 h 3963752"/>
              <a:gd name="connsiteX80" fmla="*/ 5674 w 3329446"/>
              <a:gd name="connsiteY80" fmla="*/ 2558380 h 3963752"/>
              <a:gd name="connsiteX81" fmla="*/ 5674 w 3329446"/>
              <a:gd name="connsiteY81" fmla="*/ 2289287 h 3963752"/>
              <a:gd name="connsiteX82" fmla="*/ 5674 w 3329446"/>
              <a:gd name="connsiteY82" fmla="*/ 1861477 h 3963752"/>
              <a:gd name="connsiteX83" fmla="*/ 0 w 3329446"/>
              <a:gd name="connsiteY83" fmla="*/ 1861477 h 3963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3329446" h="3963752">
                <a:moveTo>
                  <a:pt x="0" y="0"/>
                </a:moveTo>
                <a:lnTo>
                  <a:pt x="3323772" y="0"/>
                </a:lnTo>
                <a:lnTo>
                  <a:pt x="3323772" y="1835849"/>
                </a:lnTo>
                <a:lnTo>
                  <a:pt x="3329446" y="1835849"/>
                </a:lnTo>
                <a:lnTo>
                  <a:pt x="3329446" y="2289287"/>
                </a:lnTo>
                <a:lnTo>
                  <a:pt x="3329446" y="2558380"/>
                </a:lnTo>
                <a:lnTo>
                  <a:pt x="3327463" y="2558380"/>
                </a:lnTo>
                <a:lnTo>
                  <a:pt x="3327463" y="2558800"/>
                </a:lnTo>
                <a:lnTo>
                  <a:pt x="3327463" y="2576829"/>
                </a:lnTo>
                <a:lnTo>
                  <a:pt x="3327463" y="2632836"/>
                </a:lnTo>
                <a:lnTo>
                  <a:pt x="3323321" y="2632836"/>
                </a:lnTo>
                <a:lnTo>
                  <a:pt x="3319923" y="2693585"/>
                </a:lnTo>
                <a:lnTo>
                  <a:pt x="3319059" y="2698808"/>
                </a:lnTo>
                <a:lnTo>
                  <a:pt x="3318887" y="2701693"/>
                </a:lnTo>
                <a:lnTo>
                  <a:pt x="3314050" y="2729091"/>
                </a:lnTo>
                <a:lnTo>
                  <a:pt x="3299562" y="2816679"/>
                </a:lnTo>
                <a:lnTo>
                  <a:pt x="3296809" y="2826752"/>
                </a:lnTo>
                <a:lnTo>
                  <a:pt x="3295762" y="2832686"/>
                </a:lnTo>
                <a:lnTo>
                  <a:pt x="3286816" y="2863315"/>
                </a:lnTo>
                <a:lnTo>
                  <a:pt x="3266917" y="2936122"/>
                </a:lnTo>
                <a:lnTo>
                  <a:pt x="3261251" y="2950852"/>
                </a:lnTo>
                <a:lnTo>
                  <a:pt x="3258740" y="2959448"/>
                </a:lnTo>
                <a:lnTo>
                  <a:pt x="3246671" y="2988749"/>
                </a:lnTo>
                <a:lnTo>
                  <a:pt x="3222555" y="3051436"/>
                </a:lnTo>
                <a:lnTo>
                  <a:pt x="3213015" y="3070459"/>
                </a:lnTo>
                <a:lnTo>
                  <a:pt x="3208511" y="3081395"/>
                </a:lnTo>
                <a:lnTo>
                  <a:pt x="3194225" y="3107928"/>
                </a:lnTo>
                <a:lnTo>
                  <a:pt x="3167040" y="3162139"/>
                </a:lnTo>
                <a:lnTo>
                  <a:pt x="3152717" y="3185024"/>
                </a:lnTo>
                <a:lnTo>
                  <a:pt x="3145760" y="3197948"/>
                </a:lnTo>
                <a:lnTo>
                  <a:pt x="3130089" y="3221179"/>
                </a:lnTo>
                <a:lnTo>
                  <a:pt x="3100942" y="3267753"/>
                </a:lnTo>
                <a:lnTo>
                  <a:pt x="3080967" y="3294007"/>
                </a:lnTo>
                <a:lnTo>
                  <a:pt x="3071177" y="3308521"/>
                </a:lnTo>
                <a:lnTo>
                  <a:pt x="3054883" y="3328291"/>
                </a:lnTo>
                <a:lnTo>
                  <a:pt x="3024825" y="3367799"/>
                </a:lnTo>
                <a:lnTo>
                  <a:pt x="2998364" y="3396866"/>
                </a:lnTo>
                <a:lnTo>
                  <a:pt x="2985450" y="3412536"/>
                </a:lnTo>
                <a:lnTo>
                  <a:pt x="2969221" y="3428879"/>
                </a:lnTo>
                <a:lnTo>
                  <a:pt x="2939255" y="3461797"/>
                </a:lnTo>
                <a:lnTo>
                  <a:pt x="2905490" y="3493065"/>
                </a:lnTo>
                <a:lnTo>
                  <a:pt x="2889265" y="3509406"/>
                </a:lnTo>
                <a:lnTo>
                  <a:pt x="2873730" y="3522476"/>
                </a:lnTo>
                <a:lnTo>
                  <a:pt x="2844801" y="3549267"/>
                </a:lnTo>
                <a:lnTo>
                  <a:pt x="2802889" y="3582080"/>
                </a:lnTo>
                <a:lnTo>
                  <a:pt x="2783312" y="3598552"/>
                </a:lnTo>
                <a:lnTo>
                  <a:pt x="2769039" y="3608581"/>
                </a:lnTo>
                <a:lnTo>
                  <a:pt x="2742027" y="3629729"/>
                </a:lnTo>
                <a:lnTo>
                  <a:pt x="2691032" y="3663400"/>
                </a:lnTo>
                <a:lnTo>
                  <a:pt x="2668278" y="3679391"/>
                </a:lnTo>
                <a:lnTo>
                  <a:pt x="2655781" y="3686674"/>
                </a:lnTo>
                <a:lnTo>
                  <a:pt x="2631501" y="3702706"/>
                </a:lnTo>
                <a:lnTo>
                  <a:pt x="2570223" y="3736549"/>
                </a:lnTo>
                <a:lnTo>
                  <a:pt x="2544851" y="3751340"/>
                </a:lnTo>
                <a:lnTo>
                  <a:pt x="2534598" y="3756224"/>
                </a:lnTo>
                <a:lnTo>
                  <a:pt x="2513789" y="3767716"/>
                </a:lnTo>
                <a:lnTo>
                  <a:pt x="2440364" y="3801122"/>
                </a:lnTo>
                <a:lnTo>
                  <a:pt x="2413718" y="3813817"/>
                </a:lnTo>
                <a:lnTo>
                  <a:pt x="2406131" y="3816697"/>
                </a:lnTo>
                <a:lnTo>
                  <a:pt x="2389458" y="3824282"/>
                </a:lnTo>
                <a:lnTo>
                  <a:pt x="2300125" y="3856922"/>
                </a:lnTo>
                <a:lnTo>
                  <a:pt x="2275568" y="3866241"/>
                </a:lnTo>
                <a:lnTo>
                  <a:pt x="2271026" y="3867555"/>
                </a:lnTo>
                <a:lnTo>
                  <a:pt x="2259074" y="3871922"/>
                </a:lnTo>
                <a:lnTo>
                  <a:pt x="2142630" y="3904690"/>
                </a:lnTo>
                <a:lnTo>
                  <a:pt x="2131089" y="3908028"/>
                </a:lnTo>
                <a:lnTo>
                  <a:pt x="2129930" y="3908264"/>
                </a:lnTo>
                <a:lnTo>
                  <a:pt x="2123202" y="3910157"/>
                </a:lnTo>
                <a:cubicBezTo>
                  <a:pt x="2030918" y="3932407"/>
                  <a:pt x="1935355" y="3948066"/>
                  <a:pt x="1837266" y="3956499"/>
                </a:cubicBezTo>
                <a:lnTo>
                  <a:pt x="1830771" y="3956775"/>
                </a:lnTo>
                <a:lnTo>
                  <a:pt x="1825895" y="3957365"/>
                </a:lnTo>
                <a:lnTo>
                  <a:pt x="1745532" y="3960587"/>
                </a:lnTo>
                <a:lnTo>
                  <a:pt x="1745532" y="3963751"/>
                </a:lnTo>
                <a:lnTo>
                  <a:pt x="1667566" y="3963751"/>
                </a:lnTo>
                <a:lnTo>
                  <a:pt x="1667550" y="3963752"/>
                </a:lnTo>
                <a:lnTo>
                  <a:pt x="1667534" y="3963751"/>
                </a:lnTo>
                <a:lnTo>
                  <a:pt x="1666556" y="3963751"/>
                </a:lnTo>
                <a:lnTo>
                  <a:pt x="7638" y="3963751"/>
                </a:lnTo>
                <a:lnTo>
                  <a:pt x="7638" y="2632836"/>
                </a:lnTo>
                <a:lnTo>
                  <a:pt x="5674" y="2632836"/>
                </a:lnTo>
                <a:lnTo>
                  <a:pt x="5674" y="2558380"/>
                </a:lnTo>
                <a:lnTo>
                  <a:pt x="5674" y="2289287"/>
                </a:lnTo>
                <a:lnTo>
                  <a:pt x="5674" y="1861477"/>
                </a:lnTo>
                <a:lnTo>
                  <a:pt x="0" y="186147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9484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428CA49-FBDD-41D9-BB48-8148C5F0D6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10485" y="1250622"/>
            <a:ext cx="3418030" cy="4878949"/>
          </a:xfrm>
          <a:custGeom>
            <a:avLst/>
            <a:gdLst>
              <a:gd name="connsiteX0" fmla="*/ 1191331 w 3418030"/>
              <a:gd name="connsiteY0" fmla="*/ 0 h 4878949"/>
              <a:gd name="connsiteX1" fmla="*/ 1294432 w 3418030"/>
              <a:gd name="connsiteY1" fmla="*/ 0 h 4878949"/>
              <a:gd name="connsiteX2" fmla="*/ 1457098 w 3418030"/>
              <a:gd name="connsiteY2" fmla="*/ 0 h 4878949"/>
              <a:gd name="connsiteX3" fmla="*/ 1564784 w 3418030"/>
              <a:gd name="connsiteY3" fmla="*/ 0 h 4878949"/>
              <a:gd name="connsiteX4" fmla="*/ 2013538 w 3418030"/>
              <a:gd name="connsiteY4" fmla="*/ 0 h 4878949"/>
              <a:gd name="connsiteX5" fmla="*/ 2038520 w 3418030"/>
              <a:gd name="connsiteY5" fmla="*/ 0 h 4878949"/>
              <a:gd name="connsiteX6" fmla="*/ 2130825 w 3418030"/>
              <a:gd name="connsiteY6" fmla="*/ 0 h 4878949"/>
              <a:gd name="connsiteX7" fmla="*/ 2156238 w 3418030"/>
              <a:gd name="connsiteY7" fmla="*/ 0 h 4878949"/>
              <a:gd name="connsiteX8" fmla="*/ 2221889 w 3418030"/>
              <a:gd name="connsiteY8" fmla="*/ 0 h 4878949"/>
              <a:gd name="connsiteX9" fmla="*/ 2277890 w 3418030"/>
              <a:gd name="connsiteY9" fmla="*/ 0 h 4878949"/>
              <a:gd name="connsiteX10" fmla="*/ 2342770 w 3418030"/>
              <a:gd name="connsiteY10" fmla="*/ 0 h 4878949"/>
              <a:gd name="connsiteX11" fmla="*/ 2399737 w 3418030"/>
              <a:gd name="connsiteY11" fmla="*/ 0 h 4878949"/>
              <a:gd name="connsiteX12" fmla="*/ 2399737 w 3418030"/>
              <a:gd name="connsiteY12" fmla="*/ 1224 h 4878949"/>
              <a:gd name="connsiteX13" fmla="*/ 3278911 w 3418030"/>
              <a:gd name="connsiteY13" fmla="*/ 1224 h 4878949"/>
              <a:gd name="connsiteX14" fmla="*/ 3418030 w 3418030"/>
              <a:gd name="connsiteY14" fmla="*/ 1224 h 4878949"/>
              <a:gd name="connsiteX15" fmla="*/ 3418030 w 3418030"/>
              <a:gd name="connsiteY15" fmla="*/ 70784 h 4878949"/>
              <a:gd name="connsiteX16" fmla="*/ 3418030 w 3418030"/>
              <a:gd name="connsiteY16" fmla="*/ 685938 h 4878949"/>
              <a:gd name="connsiteX17" fmla="*/ 3418030 w 3418030"/>
              <a:gd name="connsiteY17" fmla="*/ 732837 h 4878949"/>
              <a:gd name="connsiteX18" fmla="*/ 3418030 w 3418030"/>
              <a:gd name="connsiteY18" fmla="*/ 755498 h 4878949"/>
              <a:gd name="connsiteX19" fmla="*/ 3418030 w 3418030"/>
              <a:gd name="connsiteY19" fmla="*/ 802397 h 4878949"/>
              <a:gd name="connsiteX20" fmla="*/ 3418030 w 3418030"/>
              <a:gd name="connsiteY20" fmla="*/ 1036312 h 4878949"/>
              <a:gd name="connsiteX21" fmla="*/ 3418030 w 3418030"/>
              <a:gd name="connsiteY21" fmla="*/ 1036923 h 4878949"/>
              <a:gd name="connsiteX22" fmla="*/ 3418030 w 3418030"/>
              <a:gd name="connsiteY22" fmla="*/ 1036933 h 4878949"/>
              <a:gd name="connsiteX23" fmla="*/ 3418030 w 3418030"/>
              <a:gd name="connsiteY23" fmla="*/ 1036943 h 4878949"/>
              <a:gd name="connsiteX24" fmla="*/ 3418030 w 3418030"/>
              <a:gd name="connsiteY24" fmla="*/ 1085589 h 4878949"/>
              <a:gd name="connsiteX25" fmla="*/ 3418030 w 3418030"/>
              <a:gd name="connsiteY25" fmla="*/ 1105871 h 4878949"/>
              <a:gd name="connsiteX26" fmla="*/ 3418030 w 3418030"/>
              <a:gd name="connsiteY26" fmla="*/ 1106482 h 4878949"/>
              <a:gd name="connsiteX27" fmla="*/ 3418030 w 3418030"/>
              <a:gd name="connsiteY27" fmla="*/ 1106491 h 4878949"/>
              <a:gd name="connsiteX28" fmla="*/ 3418030 w 3418030"/>
              <a:gd name="connsiteY28" fmla="*/ 1106501 h 4878949"/>
              <a:gd name="connsiteX29" fmla="*/ 3418030 w 3418030"/>
              <a:gd name="connsiteY29" fmla="*/ 1155149 h 4878949"/>
              <a:gd name="connsiteX30" fmla="*/ 3418030 w 3418030"/>
              <a:gd name="connsiteY30" fmla="*/ 1417551 h 4878949"/>
              <a:gd name="connsiteX31" fmla="*/ 3418030 w 3418030"/>
              <a:gd name="connsiteY31" fmla="*/ 1487111 h 4878949"/>
              <a:gd name="connsiteX32" fmla="*/ 3418030 w 3418030"/>
              <a:gd name="connsiteY32" fmla="*/ 1721026 h 4878949"/>
              <a:gd name="connsiteX33" fmla="*/ 3418030 w 3418030"/>
              <a:gd name="connsiteY33" fmla="*/ 1721637 h 4878949"/>
              <a:gd name="connsiteX34" fmla="*/ 3418030 w 3418030"/>
              <a:gd name="connsiteY34" fmla="*/ 1721646 h 4878949"/>
              <a:gd name="connsiteX35" fmla="*/ 3418030 w 3418030"/>
              <a:gd name="connsiteY35" fmla="*/ 1721657 h 4878949"/>
              <a:gd name="connsiteX36" fmla="*/ 3418030 w 3418030"/>
              <a:gd name="connsiteY36" fmla="*/ 1767925 h 4878949"/>
              <a:gd name="connsiteX37" fmla="*/ 3418030 w 3418030"/>
              <a:gd name="connsiteY37" fmla="*/ 1768536 h 4878949"/>
              <a:gd name="connsiteX38" fmla="*/ 3418030 w 3418030"/>
              <a:gd name="connsiteY38" fmla="*/ 1768546 h 4878949"/>
              <a:gd name="connsiteX39" fmla="*/ 3418030 w 3418030"/>
              <a:gd name="connsiteY39" fmla="*/ 1768556 h 4878949"/>
              <a:gd name="connsiteX40" fmla="*/ 3418030 w 3418030"/>
              <a:gd name="connsiteY40" fmla="*/ 1770303 h 4878949"/>
              <a:gd name="connsiteX41" fmla="*/ 3418030 w 3418030"/>
              <a:gd name="connsiteY41" fmla="*/ 1790585 h 4878949"/>
              <a:gd name="connsiteX42" fmla="*/ 3418030 w 3418030"/>
              <a:gd name="connsiteY42" fmla="*/ 1791196 h 4878949"/>
              <a:gd name="connsiteX43" fmla="*/ 3418030 w 3418030"/>
              <a:gd name="connsiteY43" fmla="*/ 1791205 h 4878949"/>
              <a:gd name="connsiteX44" fmla="*/ 3418030 w 3418030"/>
              <a:gd name="connsiteY44" fmla="*/ 1791215 h 4878949"/>
              <a:gd name="connsiteX45" fmla="*/ 3418030 w 3418030"/>
              <a:gd name="connsiteY45" fmla="*/ 1817203 h 4878949"/>
              <a:gd name="connsiteX46" fmla="*/ 3418030 w 3418030"/>
              <a:gd name="connsiteY46" fmla="*/ 1837484 h 4878949"/>
              <a:gd name="connsiteX47" fmla="*/ 3418030 w 3418030"/>
              <a:gd name="connsiteY47" fmla="*/ 1838095 h 4878949"/>
              <a:gd name="connsiteX48" fmla="*/ 3418030 w 3418030"/>
              <a:gd name="connsiteY48" fmla="*/ 1838105 h 4878949"/>
              <a:gd name="connsiteX49" fmla="*/ 3418030 w 3418030"/>
              <a:gd name="connsiteY49" fmla="*/ 1838115 h 4878949"/>
              <a:gd name="connsiteX50" fmla="*/ 3418030 w 3418030"/>
              <a:gd name="connsiteY50" fmla="*/ 1839863 h 4878949"/>
              <a:gd name="connsiteX51" fmla="*/ 3418030 w 3418030"/>
              <a:gd name="connsiteY51" fmla="*/ 1886762 h 4878949"/>
              <a:gd name="connsiteX52" fmla="*/ 3418030 w 3418030"/>
              <a:gd name="connsiteY52" fmla="*/ 2452639 h 4878949"/>
              <a:gd name="connsiteX53" fmla="*/ 3418030 w 3418030"/>
              <a:gd name="connsiteY53" fmla="*/ 2453250 h 4878949"/>
              <a:gd name="connsiteX54" fmla="*/ 3418030 w 3418030"/>
              <a:gd name="connsiteY54" fmla="*/ 2453260 h 4878949"/>
              <a:gd name="connsiteX55" fmla="*/ 3418030 w 3418030"/>
              <a:gd name="connsiteY55" fmla="*/ 2453270 h 4878949"/>
              <a:gd name="connsiteX56" fmla="*/ 3418030 w 3418030"/>
              <a:gd name="connsiteY56" fmla="*/ 2501917 h 4878949"/>
              <a:gd name="connsiteX57" fmla="*/ 3418030 w 3418030"/>
              <a:gd name="connsiteY57" fmla="*/ 2522198 h 4878949"/>
              <a:gd name="connsiteX58" fmla="*/ 3418030 w 3418030"/>
              <a:gd name="connsiteY58" fmla="*/ 2522809 h 4878949"/>
              <a:gd name="connsiteX59" fmla="*/ 3418030 w 3418030"/>
              <a:gd name="connsiteY59" fmla="*/ 2522819 h 4878949"/>
              <a:gd name="connsiteX60" fmla="*/ 3418030 w 3418030"/>
              <a:gd name="connsiteY60" fmla="*/ 2522830 h 4878949"/>
              <a:gd name="connsiteX61" fmla="*/ 3418030 w 3418030"/>
              <a:gd name="connsiteY61" fmla="*/ 2571476 h 4878949"/>
              <a:gd name="connsiteX62" fmla="*/ 3415609 w 3418030"/>
              <a:gd name="connsiteY62" fmla="*/ 2571476 h 4878949"/>
              <a:gd name="connsiteX63" fmla="*/ 3413143 w 3418030"/>
              <a:gd name="connsiteY63" fmla="*/ 2621619 h 4878949"/>
              <a:gd name="connsiteX64" fmla="*/ 3412693 w 3418030"/>
              <a:gd name="connsiteY64" fmla="*/ 2624661 h 4878949"/>
              <a:gd name="connsiteX65" fmla="*/ 3412480 w 3418030"/>
              <a:gd name="connsiteY65" fmla="*/ 2628713 h 4878949"/>
              <a:gd name="connsiteX66" fmla="*/ 3377025 w 3418030"/>
              <a:gd name="connsiteY66" fmla="*/ 2807125 h 4878949"/>
              <a:gd name="connsiteX67" fmla="*/ 3375576 w 3418030"/>
              <a:gd name="connsiteY67" fmla="*/ 2811322 h 4878949"/>
              <a:gd name="connsiteX68" fmla="*/ 3375395 w 3418030"/>
              <a:gd name="connsiteY68" fmla="*/ 2812045 h 4878949"/>
              <a:gd name="connsiteX69" fmla="*/ 3372842 w 3418030"/>
              <a:gd name="connsiteY69" fmla="*/ 2819247 h 4878949"/>
              <a:gd name="connsiteX70" fmla="*/ 3347771 w 3418030"/>
              <a:gd name="connsiteY70" fmla="*/ 2891903 h 4878949"/>
              <a:gd name="connsiteX71" fmla="*/ 3344429 w 3418030"/>
              <a:gd name="connsiteY71" fmla="*/ 2899360 h 4878949"/>
              <a:gd name="connsiteX72" fmla="*/ 3343424 w 3418030"/>
              <a:gd name="connsiteY72" fmla="*/ 2902194 h 4878949"/>
              <a:gd name="connsiteX73" fmla="*/ 3336294 w 3418030"/>
              <a:gd name="connsiteY73" fmla="*/ 2917516 h 4878949"/>
              <a:gd name="connsiteX74" fmla="*/ 3311321 w 3418030"/>
              <a:gd name="connsiteY74" fmla="*/ 2973257 h 4878949"/>
              <a:gd name="connsiteX75" fmla="*/ 3305517 w 3418030"/>
              <a:gd name="connsiteY75" fmla="*/ 2983659 h 4878949"/>
              <a:gd name="connsiteX76" fmla="*/ 3303314 w 3418030"/>
              <a:gd name="connsiteY76" fmla="*/ 2988394 h 4878949"/>
              <a:gd name="connsiteX77" fmla="*/ 3293601 w 3418030"/>
              <a:gd name="connsiteY77" fmla="*/ 3005019 h 4878949"/>
              <a:gd name="connsiteX78" fmla="*/ 3268042 w 3418030"/>
              <a:gd name="connsiteY78" fmla="*/ 3050833 h 4878949"/>
              <a:gd name="connsiteX79" fmla="*/ 3259248 w 3418030"/>
              <a:gd name="connsiteY79" fmla="*/ 3063817 h 4878949"/>
              <a:gd name="connsiteX80" fmla="*/ 3255513 w 3418030"/>
              <a:gd name="connsiteY80" fmla="*/ 3070215 h 4878949"/>
              <a:gd name="connsiteX81" fmla="*/ 3244196 w 3418030"/>
              <a:gd name="connsiteY81" fmla="*/ 3086045 h 4878949"/>
              <a:gd name="connsiteX82" fmla="*/ 3218302 w 3418030"/>
              <a:gd name="connsiteY82" fmla="*/ 3124280 h 4878949"/>
              <a:gd name="connsiteX83" fmla="*/ 3206037 w 3418030"/>
              <a:gd name="connsiteY83" fmla="*/ 3139430 h 4878949"/>
              <a:gd name="connsiteX84" fmla="*/ 3200464 w 3418030"/>
              <a:gd name="connsiteY84" fmla="*/ 3147227 h 4878949"/>
              <a:gd name="connsiteX85" fmla="*/ 3188229 w 3418030"/>
              <a:gd name="connsiteY85" fmla="*/ 3161424 h 4878949"/>
              <a:gd name="connsiteX86" fmla="*/ 3162468 w 3418030"/>
              <a:gd name="connsiteY86" fmla="*/ 3193243 h 4878949"/>
              <a:gd name="connsiteX87" fmla="*/ 3146287 w 3418030"/>
              <a:gd name="connsiteY87" fmla="*/ 3210097 h 4878949"/>
              <a:gd name="connsiteX88" fmla="*/ 3138613 w 3418030"/>
              <a:gd name="connsiteY88" fmla="*/ 3219003 h 4878949"/>
              <a:gd name="connsiteX89" fmla="*/ 3126010 w 3418030"/>
              <a:gd name="connsiteY89" fmla="*/ 3231219 h 4878949"/>
              <a:gd name="connsiteX90" fmla="*/ 3100905 w 3418030"/>
              <a:gd name="connsiteY90" fmla="*/ 3257369 h 4878949"/>
              <a:gd name="connsiteX91" fmla="*/ 3080407 w 3418030"/>
              <a:gd name="connsiteY91" fmla="*/ 3275420 h 4878949"/>
              <a:gd name="connsiteX92" fmla="*/ 3070407 w 3418030"/>
              <a:gd name="connsiteY92" fmla="*/ 3285113 h 4878949"/>
              <a:gd name="connsiteX93" fmla="*/ 3057904 w 3418030"/>
              <a:gd name="connsiteY93" fmla="*/ 3295236 h 4878949"/>
              <a:gd name="connsiteX94" fmla="*/ 3033981 w 3418030"/>
              <a:gd name="connsiteY94" fmla="*/ 3316304 h 4878949"/>
              <a:gd name="connsiteX95" fmla="*/ 3008795 w 3418030"/>
              <a:gd name="connsiteY95" fmla="*/ 3335002 h 4878949"/>
              <a:gd name="connsiteX96" fmla="*/ 2996290 w 3418030"/>
              <a:gd name="connsiteY96" fmla="*/ 3345128 h 4878949"/>
              <a:gd name="connsiteX97" fmla="*/ 2984301 w 3418030"/>
              <a:gd name="connsiteY97" fmla="*/ 3353185 h 4878949"/>
              <a:gd name="connsiteX98" fmla="*/ 2962062 w 3418030"/>
              <a:gd name="connsiteY98" fmla="*/ 3369695 h 4878949"/>
              <a:gd name="connsiteX99" fmla="*/ 2931835 w 3418030"/>
              <a:gd name="connsiteY99" fmla="*/ 3388450 h 4878949"/>
              <a:gd name="connsiteX100" fmla="*/ 2916709 w 3418030"/>
              <a:gd name="connsiteY100" fmla="*/ 3398618 h 4878949"/>
              <a:gd name="connsiteX101" fmla="*/ 2905603 w 3418030"/>
              <a:gd name="connsiteY101" fmla="*/ 3404726 h 4878949"/>
              <a:gd name="connsiteX102" fmla="*/ 2885517 w 3418030"/>
              <a:gd name="connsiteY102" fmla="*/ 3417189 h 4878949"/>
              <a:gd name="connsiteX103" fmla="*/ 2849882 w 3418030"/>
              <a:gd name="connsiteY103" fmla="*/ 3435375 h 4878949"/>
              <a:gd name="connsiteX104" fmla="*/ 2832108 w 3418030"/>
              <a:gd name="connsiteY104" fmla="*/ 3445153 h 4878949"/>
              <a:gd name="connsiteX105" fmla="*/ 2822219 w 3418030"/>
              <a:gd name="connsiteY105" fmla="*/ 3449494 h 4878949"/>
              <a:gd name="connsiteX106" fmla="*/ 2804710 w 3418030"/>
              <a:gd name="connsiteY106" fmla="*/ 3458432 h 4878949"/>
              <a:gd name="connsiteX107" fmla="*/ 2763233 w 3418030"/>
              <a:gd name="connsiteY107" fmla="*/ 3475393 h 4878949"/>
              <a:gd name="connsiteX108" fmla="*/ 2742933 w 3418030"/>
              <a:gd name="connsiteY108" fmla="*/ 3484308 h 4878949"/>
              <a:gd name="connsiteX109" fmla="*/ 2734565 w 3418030"/>
              <a:gd name="connsiteY109" fmla="*/ 3487117 h 4878949"/>
              <a:gd name="connsiteX110" fmla="*/ 2720010 w 3418030"/>
              <a:gd name="connsiteY110" fmla="*/ 3493070 h 4878949"/>
              <a:gd name="connsiteX111" fmla="*/ 2672049 w 3418030"/>
              <a:gd name="connsiteY111" fmla="*/ 3508117 h 4878949"/>
              <a:gd name="connsiteX112" fmla="*/ 2649630 w 3418030"/>
              <a:gd name="connsiteY112" fmla="*/ 3515648 h 4878949"/>
              <a:gd name="connsiteX113" fmla="*/ 2643052 w 3418030"/>
              <a:gd name="connsiteY113" fmla="*/ 3517214 h 4878949"/>
              <a:gd name="connsiteX114" fmla="*/ 2631783 w 3418030"/>
              <a:gd name="connsiteY114" fmla="*/ 3520749 h 4878949"/>
              <a:gd name="connsiteX115" fmla="*/ 2576079 w 3418030"/>
              <a:gd name="connsiteY115" fmla="*/ 3533167 h 4878949"/>
              <a:gd name="connsiteX116" fmla="*/ 2552643 w 3418030"/>
              <a:gd name="connsiteY116" fmla="*/ 3538747 h 4878949"/>
              <a:gd name="connsiteX117" fmla="*/ 2548104 w 3418030"/>
              <a:gd name="connsiteY117" fmla="*/ 3539401 h 4878949"/>
              <a:gd name="connsiteX118" fmla="*/ 2540397 w 3418030"/>
              <a:gd name="connsiteY118" fmla="*/ 3541118 h 4878949"/>
              <a:gd name="connsiteX119" fmla="*/ 2473383 w 3418030"/>
              <a:gd name="connsiteY119" fmla="*/ 3550158 h 4878949"/>
              <a:gd name="connsiteX120" fmla="*/ 2452420 w 3418030"/>
              <a:gd name="connsiteY120" fmla="*/ 3553176 h 4878949"/>
              <a:gd name="connsiteX121" fmla="*/ 2450212 w 3418030"/>
              <a:gd name="connsiteY121" fmla="*/ 3553284 h 4878949"/>
              <a:gd name="connsiteX122" fmla="*/ 2446216 w 3418030"/>
              <a:gd name="connsiteY122" fmla="*/ 3553824 h 4878949"/>
              <a:gd name="connsiteX123" fmla="*/ 2399737 w 3418030"/>
              <a:gd name="connsiteY123" fmla="*/ 3555943 h 4878949"/>
              <a:gd name="connsiteX124" fmla="*/ 2399737 w 3418030"/>
              <a:gd name="connsiteY124" fmla="*/ 3558529 h 4878949"/>
              <a:gd name="connsiteX125" fmla="*/ 2366297 w 3418030"/>
              <a:gd name="connsiteY125" fmla="*/ 3558529 h 4878949"/>
              <a:gd name="connsiteX126" fmla="*/ 2350286 w 3418030"/>
              <a:gd name="connsiteY126" fmla="*/ 3560726 h 4878949"/>
              <a:gd name="connsiteX127" fmla="*/ 2329679 w 3418030"/>
              <a:gd name="connsiteY127" fmla="*/ 3563743 h 4878949"/>
              <a:gd name="connsiteX128" fmla="*/ 2327509 w 3418030"/>
              <a:gd name="connsiteY128" fmla="*/ 3563851 h 4878949"/>
              <a:gd name="connsiteX129" fmla="*/ 2323580 w 3418030"/>
              <a:gd name="connsiteY129" fmla="*/ 3564391 h 4878949"/>
              <a:gd name="connsiteX130" fmla="*/ 2277890 w 3418030"/>
              <a:gd name="connsiteY130" fmla="*/ 3566510 h 4878949"/>
              <a:gd name="connsiteX131" fmla="*/ 2277890 w 3418030"/>
              <a:gd name="connsiteY131" fmla="*/ 3569096 h 4878949"/>
              <a:gd name="connsiteX132" fmla="*/ 2235765 w 3418030"/>
              <a:gd name="connsiteY132" fmla="*/ 3569096 h 4878949"/>
              <a:gd name="connsiteX133" fmla="*/ 2222205 w 3418030"/>
              <a:gd name="connsiteY133" fmla="*/ 3569096 h 4878949"/>
              <a:gd name="connsiteX134" fmla="*/ 2221889 w 3418030"/>
              <a:gd name="connsiteY134" fmla="*/ 3569096 h 4878949"/>
              <a:gd name="connsiteX135" fmla="*/ 2221889 w 3418030"/>
              <a:gd name="connsiteY135" fmla="*/ 3570333 h 4878949"/>
              <a:gd name="connsiteX136" fmla="*/ 2038520 w 3418030"/>
              <a:gd name="connsiteY136" fmla="*/ 3570333 h 4878949"/>
              <a:gd name="connsiteX137" fmla="*/ 2013539 w 3418030"/>
              <a:gd name="connsiteY137" fmla="*/ 3570333 h 4878949"/>
              <a:gd name="connsiteX138" fmla="*/ 1650818 w 3418030"/>
              <a:gd name="connsiteY138" fmla="*/ 3570333 h 4878949"/>
              <a:gd name="connsiteX139" fmla="*/ 1650818 w 3418030"/>
              <a:gd name="connsiteY139" fmla="*/ 3570744 h 4878949"/>
              <a:gd name="connsiteX140" fmla="*/ 1652012 w 3418030"/>
              <a:gd name="connsiteY140" fmla="*/ 3570744 h 4878949"/>
              <a:gd name="connsiteX141" fmla="*/ 1652012 w 3418030"/>
              <a:gd name="connsiteY141" fmla="*/ 3571721 h 4878949"/>
              <a:gd name="connsiteX142" fmla="*/ 1671221 w 3418030"/>
              <a:gd name="connsiteY142" fmla="*/ 3572716 h 4878949"/>
              <a:gd name="connsiteX143" fmla="*/ 1672387 w 3418030"/>
              <a:gd name="connsiteY143" fmla="*/ 3572898 h 4878949"/>
              <a:gd name="connsiteX144" fmla="*/ 1673940 w 3418030"/>
              <a:gd name="connsiteY144" fmla="*/ 3572984 h 4878949"/>
              <a:gd name="connsiteX145" fmla="*/ 1742290 w 3418030"/>
              <a:gd name="connsiteY145" fmla="*/ 3587296 h 4878949"/>
              <a:gd name="connsiteX146" fmla="*/ 1743898 w 3418030"/>
              <a:gd name="connsiteY146" fmla="*/ 3587880 h 4878949"/>
              <a:gd name="connsiteX147" fmla="*/ 1744176 w 3418030"/>
              <a:gd name="connsiteY147" fmla="*/ 3587953 h 4878949"/>
              <a:gd name="connsiteX148" fmla="*/ 1746934 w 3418030"/>
              <a:gd name="connsiteY148" fmla="*/ 3588984 h 4878949"/>
              <a:gd name="connsiteX149" fmla="*/ 1774769 w 3418030"/>
              <a:gd name="connsiteY149" fmla="*/ 3599104 h 4878949"/>
              <a:gd name="connsiteX150" fmla="*/ 1777626 w 3418030"/>
              <a:gd name="connsiteY150" fmla="*/ 3600453 h 4878949"/>
              <a:gd name="connsiteX151" fmla="*/ 1778712 w 3418030"/>
              <a:gd name="connsiteY151" fmla="*/ 3600858 h 4878949"/>
              <a:gd name="connsiteX152" fmla="*/ 1784582 w 3418030"/>
              <a:gd name="connsiteY152" fmla="*/ 3603737 h 4878949"/>
              <a:gd name="connsiteX153" fmla="*/ 1805936 w 3418030"/>
              <a:gd name="connsiteY153" fmla="*/ 3613817 h 4878949"/>
              <a:gd name="connsiteX154" fmla="*/ 1809922 w 3418030"/>
              <a:gd name="connsiteY154" fmla="*/ 3616160 h 4878949"/>
              <a:gd name="connsiteX155" fmla="*/ 1811736 w 3418030"/>
              <a:gd name="connsiteY155" fmla="*/ 3617049 h 4878949"/>
              <a:gd name="connsiteX156" fmla="*/ 1818105 w 3418030"/>
              <a:gd name="connsiteY156" fmla="*/ 3620970 h 4878949"/>
              <a:gd name="connsiteX157" fmla="*/ 1835657 w 3418030"/>
              <a:gd name="connsiteY157" fmla="*/ 3631287 h 4878949"/>
              <a:gd name="connsiteX158" fmla="*/ 1840631 w 3418030"/>
              <a:gd name="connsiteY158" fmla="*/ 3634836 h 4878949"/>
              <a:gd name="connsiteX159" fmla="*/ 1843082 w 3418030"/>
              <a:gd name="connsiteY159" fmla="*/ 3636344 h 4878949"/>
              <a:gd name="connsiteX160" fmla="*/ 1849146 w 3418030"/>
              <a:gd name="connsiteY160" fmla="*/ 3640912 h 4878949"/>
              <a:gd name="connsiteX161" fmla="*/ 1863794 w 3418030"/>
              <a:gd name="connsiteY161" fmla="*/ 3651364 h 4878949"/>
              <a:gd name="connsiteX162" fmla="*/ 1869598 w 3418030"/>
              <a:gd name="connsiteY162" fmla="*/ 3656316 h 4878949"/>
              <a:gd name="connsiteX163" fmla="*/ 1872586 w 3418030"/>
              <a:gd name="connsiteY163" fmla="*/ 3658565 h 4878949"/>
              <a:gd name="connsiteX164" fmla="*/ 1878025 w 3418030"/>
              <a:gd name="connsiteY164" fmla="*/ 3663504 h 4878949"/>
              <a:gd name="connsiteX165" fmla="*/ 1890215 w 3418030"/>
              <a:gd name="connsiteY165" fmla="*/ 3673902 h 4878949"/>
              <a:gd name="connsiteX166" fmla="*/ 1896672 w 3418030"/>
              <a:gd name="connsiteY166" fmla="*/ 3680434 h 4878949"/>
              <a:gd name="connsiteX167" fmla="*/ 1900084 w 3418030"/>
              <a:gd name="connsiteY167" fmla="*/ 3683531 h 4878949"/>
              <a:gd name="connsiteX168" fmla="*/ 1904763 w 3418030"/>
              <a:gd name="connsiteY168" fmla="*/ 3688618 h 4878949"/>
              <a:gd name="connsiteX169" fmla="*/ 1914782 w 3418030"/>
              <a:gd name="connsiteY169" fmla="*/ 3698752 h 4878949"/>
              <a:gd name="connsiteX170" fmla="*/ 1921697 w 3418030"/>
              <a:gd name="connsiteY170" fmla="*/ 3707026 h 4878949"/>
              <a:gd name="connsiteX171" fmla="*/ 1925411 w 3418030"/>
              <a:gd name="connsiteY171" fmla="*/ 3711062 h 4878949"/>
              <a:gd name="connsiteX172" fmla="*/ 1929289 w 3418030"/>
              <a:gd name="connsiteY172" fmla="*/ 3716109 h 4878949"/>
              <a:gd name="connsiteX173" fmla="*/ 1937360 w 3418030"/>
              <a:gd name="connsiteY173" fmla="*/ 3725766 h 4878949"/>
              <a:gd name="connsiteX174" fmla="*/ 1944523 w 3418030"/>
              <a:gd name="connsiteY174" fmla="*/ 3735932 h 4878949"/>
              <a:gd name="connsiteX175" fmla="*/ 1948403 w 3418030"/>
              <a:gd name="connsiteY175" fmla="*/ 3740980 h 4878949"/>
              <a:gd name="connsiteX176" fmla="*/ 1951490 w 3418030"/>
              <a:gd name="connsiteY176" fmla="*/ 3745819 h 4878949"/>
              <a:gd name="connsiteX177" fmla="*/ 1957815 w 3418030"/>
              <a:gd name="connsiteY177" fmla="*/ 3754796 h 4878949"/>
              <a:gd name="connsiteX178" fmla="*/ 1965000 w 3418030"/>
              <a:gd name="connsiteY178" fmla="*/ 3766998 h 4878949"/>
              <a:gd name="connsiteX179" fmla="*/ 1968895 w 3418030"/>
              <a:gd name="connsiteY179" fmla="*/ 3773103 h 4878949"/>
              <a:gd name="connsiteX180" fmla="*/ 1971236 w 3418030"/>
              <a:gd name="connsiteY180" fmla="*/ 3777586 h 4878949"/>
              <a:gd name="connsiteX181" fmla="*/ 1976010 w 3418030"/>
              <a:gd name="connsiteY181" fmla="*/ 3785694 h 4878949"/>
              <a:gd name="connsiteX182" fmla="*/ 1982978 w 3418030"/>
              <a:gd name="connsiteY182" fmla="*/ 3800078 h 4878949"/>
              <a:gd name="connsiteX183" fmla="*/ 1986724 w 3418030"/>
              <a:gd name="connsiteY183" fmla="*/ 3807252 h 4878949"/>
              <a:gd name="connsiteX184" fmla="*/ 1988387 w 3418030"/>
              <a:gd name="connsiteY184" fmla="*/ 3811244 h 4878949"/>
              <a:gd name="connsiteX185" fmla="*/ 1991811 w 3418030"/>
              <a:gd name="connsiteY185" fmla="*/ 3818312 h 4878949"/>
              <a:gd name="connsiteX186" fmla="*/ 1998309 w 3418030"/>
              <a:gd name="connsiteY186" fmla="*/ 3835054 h 4878949"/>
              <a:gd name="connsiteX187" fmla="*/ 2001724 w 3418030"/>
              <a:gd name="connsiteY187" fmla="*/ 3843248 h 4878949"/>
              <a:gd name="connsiteX188" fmla="*/ 2002801 w 3418030"/>
              <a:gd name="connsiteY188" fmla="*/ 3846626 h 4878949"/>
              <a:gd name="connsiteX189" fmla="*/ 2005081 w 3418030"/>
              <a:gd name="connsiteY189" fmla="*/ 3852501 h 4878949"/>
              <a:gd name="connsiteX190" fmla="*/ 2010846 w 3418030"/>
              <a:gd name="connsiteY190" fmla="*/ 3871861 h 4878949"/>
              <a:gd name="connsiteX191" fmla="*/ 2013730 w 3418030"/>
              <a:gd name="connsiteY191" fmla="*/ 3880910 h 4878949"/>
              <a:gd name="connsiteX192" fmla="*/ 2014331 w 3418030"/>
              <a:gd name="connsiteY192" fmla="*/ 3883565 h 4878949"/>
              <a:gd name="connsiteX193" fmla="*/ 2015685 w 3418030"/>
              <a:gd name="connsiteY193" fmla="*/ 3888114 h 4878949"/>
              <a:gd name="connsiteX194" fmla="*/ 2020442 w 3418030"/>
              <a:gd name="connsiteY194" fmla="*/ 3910600 h 4878949"/>
              <a:gd name="connsiteX195" fmla="*/ 2020535 w 3418030"/>
              <a:gd name="connsiteY195" fmla="*/ 3911014 h 4878949"/>
              <a:gd name="connsiteX196" fmla="*/ 2021162 w 3418030"/>
              <a:gd name="connsiteY196" fmla="*/ 3911014 h 4878949"/>
              <a:gd name="connsiteX197" fmla="*/ 2023207 w 3418030"/>
              <a:gd name="connsiteY197" fmla="*/ 3922096 h 4878949"/>
              <a:gd name="connsiteX198" fmla="*/ 2023457 w 3418030"/>
              <a:gd name="connsiteY198" fmla="*/ 3924341 h 4878949"/>
              <a:gd name="connsiteX199" fmla="*/ 2024115 w 3418030"/>
              <a:gd name="connsiteY199" fmla="*/ 3928152 h 4878949"/>
              <a:gd name="connsiteX200" fmla="*/ 2027578 w 3418030"/>
              <a:gd name="connsiteY200" fmla="*/ 3961293 h 4878949"/>
              <a:gd name="connsiteX201" fmla="*/ 2028734 w 3418030"/>
              <a:gd name="connsiteY201" fmla="*/ 3971660 h 4878949"/>
              <a:gd name="connsiteX202" fmla="*/ 2028775 w 3418030"/>
              <a:gd name="connsiteY202" fmla="*/ 3972751 h 4878949"/>
              <a:gd name="connsiteX203" fmla="*/ 2028982 w 3418030"/>
              <a:gd name="connsiteY203" fmla="*/ 3974727 h 4878949"/>
              <a:gd name="connsiteX204" fmla="*/ 2029794 w 3418030"/>
              <a:gd name="connsiteY204" fmla="*/ 3997713 h 4878949"/>
              <a:gd name="connsiteX205" fmla="*/ 2030784 w 3418030"/>
              <a:gd name="connsiteY205" fmla="*/ 3997713 h 4878949"/>
              <a:gd name="connsiteX206" fmla="*/ 2030784 w 3418030"/>
              <a:gd name="connsiteY206" fmla="*/ 4018905 h 4878949"/>
              <a:gd name="connsiteX207" fmla="*/ 2030784 w 3418030"/>
              <a:gd name="connsiteY207" fmla="*/ 4025726 h 4878949"/>
              <a:gd name="connsiteX208" fmla="*/ 2030784 w 3418030"/>
              <a:gd name="connsiteY208" fmla="*/ 4025885 h 4878949"/>
              <a:gd name="connsiteX209" fmla="*/ 2030784 w 3418030"/>
              <a:gd name="connsiteY209" fmla="*/ 4025886 h 4878949"/>
              <a:gd name="connsiteX210" fmla="*/ 2031258 w 3418030"/>
              <a:gd name="connsiteY210" fmla="*/ 4025886 h 4878949"/>
              <a:gd name="connsiteX211" fmla="*/ 2031258 w 3418030"/>
              <a:gd name="connsiteY211" fmla="*/ 4065384 h 4878949"/>
              <a:gd name="connsiteX212" fmla="*/ 2031258 w 3418030"/>
              <a:gd name="connsiteY212" fmla="*/ 4127703 h 4878949"/>
              <a:gd name="connsiteX213" fmla="*/ 2031258 w 3418030"/>
              <a:gd name="connsiteY213" fmla="*/ 4168958 h 4878949"/>
              <a:gd name="connsiteX214" fmla="*/ 2031258 w 3418030"/>
              <a:gd name="connsiteY214" fmla="*/ 4340879 h 4878949"/>
              <a:gd name="connsiteX215" fmla="*/ 2031258 w 3418030"/>
              <a:gd name="connsiteY215" fmla="*/ 4350450 h 4878949"/>
              <a:gd name="connsiteX216" fmla="*/ 2031258 w 3418030"/>
              <a:gd name="connsiteY216" fmla="*/ 4385812 h 4878949"/>
              <a:gd name="connsiteX217" fmla="*/ 2031258 w 3418030"/>
              <a:gd name="connsiteY217" fmla="*/ 4395548 h 4878949"/>
              <a:gd name="connsiteX218" fmla="*/ 2031258 w 3418030"/>
              <a:gd name="connsiteY218" fmla="*/ 4420700 h 4878949"/>
              <a:gd name="connsiteX219" fmla="*/ 2031258 w 3418030"/>
              <a:gd name="connsiteY219" fmla="*/ 4442154 h 4878949"/>
              <a:gd name="connsiteX220" fmla="*/ 2031258 w 3418030"/>
              <a:gd name="connsiteY220" fmla="*/ 4467010 h 4878949"/>
              <a:gd name="connsiteX221" fmla="*/ 2031258 w 3418030"/>
              <a:gd name="connsiteY221" fmla="*/ 4488834 h 4878949"/>
              <a:gd name="connsiteX222" fmla="*/ 2030789 w 3418030"/>
              <a:gd name="connsiteY222" fmla="*/ 4488834 h 4878949"/>
              <a:gd name="connsiteX223" fmla="*/ 2030789 w 3418030"/>
              <a:gd name="connsiteY223" fmla="*/ 4825652 h 4878949"/>
              <a:gd name="connsiteX224" fmla="*/ 2030789 w 3418030"/>
              <a:gd name="connsiteY224" fmla="*/ 4878949 h 4878949"/>
              <a:gd name="connsiteX225" fmla="*/ 2004140 w 3418030"/>
              <a:gd name="connsiteY225" fmla="*/ 4878949 h 4878949"/>
              <a:gd name="connsiteX226" fmla="*/ 1768470 w 3418030"/>
              <a:gd name="connsiteY226" fmla="*/ 4878949 h 4878949"/>
              <a:gd name="connsiteX227" fmla="*/ 1750503 w 3418030"/>
              <a:gd name="connsiteY227" fmla="*/ 4878949 h 4878949"/>
              <a:gd name="connsiteX228" fmla="*/ 1741822 w 3418030"/>
              <a:gd name="connsiteY228" fmla="*/ 4878949 h 4878949"/>
              <a:gd name="connsiteX229" fmla="*/ 1723854 w 3418030"/>
              <a:gd name="connsiteY229" fmla="*/ 4878949 h 4878949"/>
              <a:gd name="connsiteX230" fmla="*/ 1634240 w 3418030"/>
              <a:gd name="connsiteY230" fmla="*/ 4878949 h 4878949"/>
              <a:gd name="connsiteX231" fmla="*/ 1634005 w 3418030"/>
              <a:gd name="connsiteY231" fmla="*/ 4878949 h 4878949"/>
              <a:gd name="connsiteX232" fmla="*/ 1634002 w 3418030"/>
              <a:gd name="connsiteY232" fmla="*/ 4878949 h 4878949"/>
              <a:gd name="connsiteX233" fmla="*/ 1633998 w 3418030"/>
              <a:gd name="connsiteY233" fmla="*/ 4878949 h 4878949"/>
              <a:gd name="connsiteX234" fmla="*/ 1615361 w 3418030"/>
              <a:gd name="connsiteY234" fmla="*/ 4878949 h 4878949"/>
              <a:gd name="connsiteX235" fmla="*/ 1607591 w 3418030"/>
              <a:gd name="connsiteY235" fmla="*/ 4878949 h 4878949"/>
              <a:gd name="connsiteX236" fmla="*/ 1607357 w 3418030"/>
              <a:gd name="connsiteY236" fmla="*/ 4878949 h 4878949"/>
              <a:gd name="connsiteX237" fmla="*/ 1607354 w 3418030"/>
              <a:gd name="connsiteY237" fmla="*/ 4878949 h 4878949"/>
              <a:gd name="connsiteX238" fmla="*/ 1607350 w 3418030"/>
              <a:gd name="connsiteY238" fmla="*/ 4878949 h 4878949"/>
              <a:gd name="connsiteX239" fmla="*/ 1588712 w 3418030"/>
              <a:gd name="connsiteY239" fmla="*/ 4878949 h 4878949"/>
              <a:gd name="connsiteX240" fmla="*/ 1488184 w 3418030"/>
              <a:gd name="connsiteY240" fmla="*/ 4878949 h 4878949"/>
              <a:gd name="connsiteX241" fmla="*/ 1461535 w 3418030"/>
              <a:gd name="connsiteY241" fmla="*/ 4878949 h 4878949"/>
              <a:gd name="connsiteX242" fmla="*/ 1371921 w 3418030"/>
              <a:gd name="connsiteY242" fmla="*/ 4878949 h 4878949"/>
              <a:gd name="connsiteX243" fmla="*/ 1371687 w 3418030"/>
              <a:gd name="connsiteY243" fmla="*/ 4878949 h 4878949"/>
              <a:gd name="connsiteX244" fmla="*/ 1371683 w 3418030"/>
              <a:gd name="connsiteY244" fmla="*/ 4878949 h 4878949"/>
              <a:gd name="connsiteX245" fmla="*/ 1371679 w 3418030"/>
              <a:gd name="connsiteY245" fmla="*/ 4878949 h 4878949"/>
              <a:gd name="connsiteX246" fmla="*/ 1367507 w 3418030"/>
              <a:gd name="connsiteY246" fmla="*/ 4878949 h 4878949"/>
              <a:gd name="connsiteX247" fmla="*/ 1353954 w 3418030"/>
              <a:gd name="connsiteY247" fmla="*/ 4878949 h 4878949"/>
              <a:gd name="connsiteX248" fmla="*/ 1353719 w 3418030"/>
              <a:gd name="connsiteY248" fmla="*/ 4878949 h 4878949"/>
              <a:gd name="connsiteX249" fmla="*/ 1353716 w 3418030"/>
              <a:gd name="connsiteY249" fmla="*/ 4878949 h 4878949"/>
              <a:gd name="connsiteX250" fmla="*/ 1353712 w 3418030"/>
              <a:gd name="connsiteY250" fmla="*/ 4878949 h 4878949"/>
              <a:gd name="connsiteX251" fmla="*/ 1353043 w 3418030"/>
              <a:gd name="connsiteY251" fmla="*/ 4878949 h 4878949"/>
              <a:gd name="connsiteX252" fmla="*/ 1345272 w 3418030"/>
              <a:gd name="connsiteY252" fmla="*/ 4878949 h 4878949"/>
              <a:gd name="connsiteX253" fmla="*/ 1345038 w 3418030"/>
              <a:gd name="connsiteY253" fmla="*/ 4878949 h 4878949"/>
              <a:gd name="connsiteX254" fmla="*/ 1345035 w 3418030"/>
              <a:gd name="connsiteY254" fmla="*/ 4878949 h 4878949"/>
              <a:gd name="connsiteX255" fmla="*/ 1345031 w 3418030"/>
              <a:gd name="connsiteY255" fmla="*/ 4878949 h 4878949"/>
              <a:gd name="connsiteX256" fmla="*/ 1340858 w 3418030"/>
              <a:gd name="connsiteY256" fmla="*/ 4878949 h 4878949"/>
              <a:gd name="connsiteX257" fmla="*/ 1335075 w 3418030"/>
              <a:gd name="connsiteY257" fmla="*/ 4878949 h 4878949"/>
              <a:gd name="connsiteX258" fmla="*/ 1327305 w 3418030"/>
              <a:gd name="connsiteY258" fmla="*/ 4878949 h 4878949"/>
              <a:gd name="connsiteX259" fmla="*/ 1327071 w 3418030"/>
              <a:gd name="connsiteY259" fmla="*/ 4878949 h 4878949"/>
              <a:gd name="connsiteX260" fmla="*/ 1327067 w 3418030"/>
              <a:gd name="connsiteY260" fmla="*/ 4878949 h 4878949"/>
              <a:gd name="connsiteX261" fmla="*/ 1327063 w 3418030"/>
              <a:gd name="connsiteY261" fmla="*/ 4878949 h 4878949"/>
              <a:gd name="connsiteX262" fmla="*/ 1326394 w 3418030"/>
              <a:gd name="connsiteY262" fmla="*/ 4878949 h 4878949"/>
              <a:gd name="connsiteX263" fmla="*/ 1308426 w 3418030"/>
              <a:gd name="connsiteY263" fmla="*/ 4878949 h 4878949"/>
              <a:gd name="connsiteX264" fmla="*/ 1105188 w 3418030"/>
              <a:gd name="connsiteY264" fmla="*/ 4878949 h 4878949"/>
              <a:gd name="connsiteX265" fmla="*/ 1091635 w 3418030"/>
              <a:gd name="connsiteY265" fmla="*/ 4878949 h 4878949"/>
              <a:gd name="connsiteX266" fmla="*/ 1091401 w 3418030"/>
              <a:gd name="connsiteY266" fmla="*/ 4878949 h 4878949"/>
              <a:gd name="connsiteX267" fmla="*/ 1091397 w 3418030"/>
              <a:gd name="connsiteY267" fmla="*/ 4878949 h 4878949"/>
              <a:gd name="connsiteX268" fmla="*/ 1091393 w 3418030"/>
              <a:gd name="connsiteY268" fmla="*/ 4878949 h 4878949"/>
              <a:gd name="connsiteX269" fmla="*/ 1087221 w 3418030"/>
              <a:gd name="connsiteY269" fmla="*/ 4878949 h 4878949"/>
              <a:gd name="connsiteX270" fmla="*/ 1078540 w 3418030"/>
              <a:gd name="connsiteY270" fmla="*/ 4878949 h 4878949"/>
              <a:gd name="connsiteX271" fmla="*/ 1072756 w 3418030"/>
              <a:gd name="connsiteY271" fmla="*/ 4878949 h 4878949"/>
              <a:gd name="connsiteX272" fmla="*/ 1064986 w 3418030"/>
              <a:gd name="connsiteY272" fmla="*/ 4878949 h 4878949"/>
              <a:gd name="connsiteX273" fmla="*/ 1064752 w 3418030"/>
              <a:gd name="connsiteY273" fmla="*/ 4878949 h 4878949"/>
              <a:gd name="connsiteX274" fmla="*/ 1064748 w 3418030"/>
              <a:gd name="connsiteY274" fmla="*/ 4878949 h 4878949"/>
              <a:gd name="connsiteX275" fmla="*/ 1064745 w 3418030"/>
              <a:gd name="connsiteY275" fmla="*/ 4878949 h 4878949"/>
              <a:gd name="connsiteX276" fmla="*/ 1060572 w 3418030"/>
              <a:gd name="connsiteY276" fmla="*/ 4878949 h 4878949"/>
              <a:gd name="connsiteX277" fmla="*/ 1046108 w 3418030"/>
              <a:gd name="connsiteY277" fmla="*/ 4878949 h 4878949"/>
              <a:gd name="connsiteX278" fmla="*/ 970958 w 3418030"/>
              <a:gd name="connsiteY278" fmla="*/ 4878949 h 4878949"/>
              <a:gd name="connsiteX279" fmla="*/ 970723 w 3418030"/>
              <a:gd name="connsiteY279" fmla="*/ 4878949 h 4878949"/>
              <a:gd name="connsiteX280" fmla="*/ 970720 w 3418030"/>
              <a:gd name="connsiteY280" fmla="*/ 4878949 h 4878949"/>
              <a:gd name="connsiteX281" fmla="*/ 970716 w 3418030"/>
              <a:gd name="connsiteY281" fmla="*/ 4878949 h 4878949"/>
              <a:gd name="connsiteX282" fmla="*/ 952079 w 3418030"/>
              <a:gd name="connsiteY282" fmla="*/ 4878949 h 4878949"/>
              <a:gd name="connsiteX283" fmla="*/ 944309 w 3418030"/>
              <a:gd name="connsiteY283" fmla="*/ 4878949 h 4878949"/>
              <a:gd name="connsiteX284" fmla="*/ 944075 w 3418030"/>
              <a:gd name="connsiteY284" fmla="*/ 4878949 h 4878949"/>
              <a:gd name="connsiteX285" fmla="*/ 944072 w 3418030"/>
              <a:gd name="connsiteY285" fmla="*/ 4878949 h 4878949"/>
              <a:gd name="connsiteX286" fmla="*/ 944068 w 3418030"/>
              <a:gd name="connsiteY286" fmla="*/ 4878949 h 4878949"/>
              <a:gd name="connsiteX287" fmla="*/ 925430 w 3418030"/>
              <a:gd name="connsiteY287" fmla="*/ 4878949 h 4878949"/>
              <a:gd name="connsiteX288" fmla="*/ 824902 w 3418030"/>
              <a:gd name="connsiteY288" fmla="*/ 4878949 h 4878949"/>
              <a:gd name="connsiteX289" fmla="*/ 798253 w 3418030"/>
              <a:gd name="connsiteY289" fmla="*/ 4878949 h 4878949"/>
              <a:gd name="connsiteX290" fmla="*/ 708639 w 3418030"/>
              <a:gd name="connsiteY290" fmla="*/ 4878949 h 4878949"/>
              <a:gd name="connsiteX291" fmla="*/ 708405 w 3418030"/>
              <a:gd name="connsiteY291" fmla="*/ 4878949 h 4878949"/>
              <a:gd name="connsiteX292" fmla="*/ 708401 w 3418030"/>
              <a:gd name="connsiteY292" fmla="*/ 4878949 h 4878949"/>
              <a:gd name="connsiteX293" fmla="*/ 708397 w 3418030"/>
              <a:gd name="connsiteY293" fmla="*/ 4878949 h 4878949"/>
              <a:gd name="connsiteX294" fmla="*/ 690672 w 3418030"/>
              <a:gd name="connsiteY294" fmla="*/ 4878949 h 4878949"/>
              <a:gd name="connsiteX295" fmla="*/ 690437 w 3418030"/>
              <a:gd name="connsiteY295" fmla="*/ 4878949 h 4878949"/>
              <a:gd name="connsiteX296" fmla="*/ 690434 w 3418030"/>
              <a:gd name="connsiteY296" fmla="*/ 4878949 h 4878949"/>
              <a:gd name="connsiteX297" fmla="*/ 690430 w 3418030"/>
              <a:gd name="connsiteY297" fmla="*/ 4878949 h 4878949"/>
              <a:gd name="connsiteX298" fmla="*/ 689761 w 3418030"/>
              <a:gd name="connsiteY298" fmla="*/ 4878949 h 4878949"/>
              <a:gd name="connsiteX299" fmla="*/ 681990 w 3418030"/>
              <a:gd name="connsiteY299" fmla="*/ 4878949 h 4878949"/>
              <a:gd name="connsiteX300" fmla="*/ 681756 w 3418030"/>
              <a:gd name="connsiteY300" fmla="*/ 4878949 h 4878949"/>
              <a:gd name="connsiteX301" fmla="*/ 681753 w 3418030"/>
              <a:gd name="connsiteY301" fmla="*/ 4878949 h 4878949"/>
              <a:gd name="connsiteX302" fmla="*/ 681749 w 3418030"/>
              <a:gd name="connsiteY302" fmla="*/ 4878949 h 4878949"/>
              <a:gd name="connsiteX303" fmla="*/ 671793 w 3418030"/>
              <a:gd name="connsiteY303" fmla="*/ 4878949 h 4878949"/>
              <a:gd name="connsiteX304" fmla="*/ 664023 w 3418030"/>
              <a:gd name="connsiteY304" fmla="*/ 4878949 h 4878949"/>
              <a:gd name="connsiteX305" fmla="*/ 663789 w 3418030"/>
              <a:gd name="connsiteY305" fmla="*/ 4878949 h 4878949"/>
              <a:gd name="connsiteX306" fmla="*/ 663785 w 3418030"/>
              <a:gd name="connsiteY306" fmla="*/ 4878949 h 4878949"/>
              <a:gd name="connsiteX307" fmla="*/ 663781 w 3418030"/>
              <a:gd name="connsiteY307" fmla="*/ 4878949 h 4878949"/>
              <a:gd name="connsiteX308" fmla="*/ 663112 w 3418030"/>
              <a:gd name="connsiteY308" fmla="*/ 4878949 h 4878949"/>
              <a:gd name="connsiteX309" fmla="*/ 645144 w 3418030"/>
              <a:gd name="connsiteY309" fmla="*/ 4878949 h 4878949"/>
              <a:gd name="connsiteX310" fmla="*/ 428353 w 3418030"/>
              <a:gd name="connsiteY310" fmla="*/ 4878949 h 4878949"/>
              <a:gd name="connsiteX311" fmla="*/ 428119 w 3418030"/>
              <a:gd name="connsiteY311" fmla="*/ 4878949 h 4878949"/>
              <a:gd name="connsiteX312" fmla="*/ 428115 w 3418030"/>
              <a:gd name="connsiteY312" fmla="*/ 4878949 h 4878949"/>
              <a:gd name="connsiteX313" fmla="*/ 428111 w 3418030"/>
              <a:gd name="connsiteY313" fmla="*/ 4878949 h 4878949"/>
              <a:gd name="connsiteX314" fmla="*/ 409474 w 3418030"/>
              <a:gd name="connsiteY314" fmla="*/ 4878949 h 4878949"/>
              <a:gd name="connsiteX315" fmla="*/ 401704 w 3418030"/>
              <a:gd name="connsiteY315" fmla="*/ 4878949 h 4878949"/>
              <a:gd name="connsiteX316" fmla="*/ 401470 w 3418030"/>
              <a:gd name="connsiteY316" fmla="*/ 4878949 h 4878949"/>
              <a:gd name="connsiteX317" fmla="*/ 401466 w 3418030"/>
              <a:gd name="connsiteY317" fmla="*/ 4878949 h 4878949"/>
              <a:gd name="connsiteX318" fmla="*/ 401462 w 3418030"/>
              <a:gd name="connsiteY318" fmla="*/ 4878949 h 4878949"/>
              <a:gd name="connsiteX319" fmla="*/ 382826 w 3418030"/>
              <a:gd name="connsiteY319" fmla="*/ 4878949 h 4878949"/>
              <a:gd name="connsiteX320" fmla="*/ 382826 w 3418030"/>
              <a:gd name="connsiteY320" fmla="*/ 4878022 h 4878949"/>
              <a:gd name="connsiteX321" fmla="*/ 363616 w 3418030"/>
              <a:gd name="connsiteY321" fmla="*/ 4877077 h 4878949"/>
              <a:gd name="connsiteX322" fmla="*/ 362450 w 3418030"/>
              <a:gd name="connsiteY322" fmla="*/ 4876905 h 4878949"/>
              <a:gd name="connsiteX323" fmla="*/ 360898 w 3418030"/>
              <a:gd name="connsiteY323" fmla="*/ 4876823 h 4878949"/>
              <a:gd name="connsiteX324" fmla="*/ 292547 w 3418030"/>
              <a:gd name="connsiteY324" fmla="*/ 4863240 h 4878949"/>
              <a:gd name="connsiteX325" fmla="*/ 290939 w 3418030"/>
              <a:gd name="connsiteY325" fmla="*/ 4862685 h 4878949"/>
              <a:gd name="connsiteX326" fmla="*/ 290662 w 3418030"/>
              <a:gd name="connsiteY326" fmla="*/ 4862616 h 4878949"/>
              <a:gd name="connsiteX327" fmla="*/ 287903 w 3418030"/>
              <a:gd name="connsiteY327" fmla="*/ 4861637 h 4878949"/>
              <a:gd name="connsiteX328" fmla="*/ 260068 w 3418030"/>
              <a:gd name="connsiteY328" fmla="*/ 4852032 h 4878949"/>
              <a:gd name="connsiteX329" fmla="*/ 257211 w 3418030"/>
              <a:gd name="connsiteY329" fmla="*/ 4850752 h 4878949"/>
              <a:gd name="connsiteX330" fmla="*/ 256125 w 3418030"/>
              <a:gd name="connsiteY330" fmla="*/ 4850367 h 4878949"/>
              <a:gd name="connsiteX331" fmla="*/ 250255 w 3418030"/>
              <a:gd name="connsiteY331" fmla="*/ 4847636 h 4878949"/>
              <a:gd name="connsiteX332" fmla="*/ 228901 w 3418030"/>
              <a:gd name="connsiteY332" fmla="*/ 4838068 h 4878949"/>
              <a:gd name="connsiteX333" fmla="*/ 224915 w 3418030"/>
              <a:gd name="connsiteY333" fmla="*/ 4835845 h 4878949"/>
              <a:gd name="connsiteX334" fmla="*/ 223101 w 3418030"/>
              <a:gd name="connsiteY334" fmla="*/ 4835001 h 4878949"/>
              <a:gd name="connsiteX335" fmla="*/ 216732 w 3418030"/>
              <a:gd name="connsiteY335" fmla="*/ 4831280 h 4878949"/>
              <a:gd name="connsiteX336" fmla="*/ 199181 w 3418030"/>
              <a:gd name="connsiteY336" fmla="*/ 4821488 h 4878949"/>
              <a:gd name="connsiteX337" fmla="*/ 194206 w 3418030"/>
              <a:gd name="connsiteY337" fmla="*/ 4818119 h 4878949"/>
              <a:gd name="connsiteX338" fmla="*/ 191756 w 3418030"/>
              <a:gd name="connsiteY338" fmla="*/ 4816688 h 4878949"/>
              <a:gd name="connsiteX339" fmla="*/ 185691 w 3418030"/>
              <a:gd name="connsiteY339" fmla="*/ 4812352 h 4878949"/>
              <a:gd name="connsiteX340" fmla="*/ 171043 w 3418030"/>
              <a:gd name="connsiteY340" fmla="*/ 4802432 h 4878949"/>
              <a:gd name="connsiteX341" fmla="*/ 165239 w 3418030"/>
              <a:gd name="connsiteY341" fmla="*/ 4797733 h 4878949"/>
              <a:gd name="connsiteX342" fmla="*/ 162251 w 3418030"/>
              <a:gd name="connsiteY342" fmla="*/ 4795598 h 4878949"/>
              <a:gd name="connsiteX343" fmla="*/ 156813 w 3418030"/>
              <a:gd name="connsiteY343" fmla="*/ 4790911 h 4878949"/>
              <a:gd name="connsiteX344" fmla="*/ 144622 w 3418030"/>
              <a:gd name="connsiteY344" fmla="*/ 4781042 h 4878949"/>
              <a:gd name="connsiteX345" fmla="*/ 138166 w 3418030"/>
              <a:gd name="connsiteY345" fmla="*/ 4774843 h 4878949"/>
              <a:gd name="connsiteX346" fmla="*/ 134753 w 3418030"/>
              <a:gd name="connsiteY346" fmla="*/ 4771903 h 4878949"/>
              <a:gd name="connsiteX347" fmla="*/ 130074 w 3418030"/>
              <a:gd name="connsiteY347" fmla="*/ 4767074 h 4878949"/>
              <a:gd name="connsiteX348" fmla="*/ 120055 w 3418030"/>
              <a:gd name="connsiteY348" fmla="*/ 4757456 h 4878949"/>
              <a:gd name="connsiteX349" fmla="*/ 113141 w 3418030"/>
              <a:gd name="connsiteY349" fmla="*/ 4749604 h 4878949"/>
              <a:gd name="connsiteX350" fmla="*/ 109426 w 3418030"/>
              <a:gd name="connsiteY350" fmla="*/ 4745772 h 4878949"/>
              <a:gd name="connsiteX351" fmla="*/ 105549 w 3418030"/>
              <a:gd name="connsiteY351" fmla="*/ 4740983 h 4878949"/>
              <a:gd name="connsiteX352" fmla="*/ 97477 w 3418030"/>
              <a:gd name="connsiteY352" fmla="*/ 4731817 h 4878949"/>
              <a:gd name="connsiteX353" fmla="*/ 90315 w 3418030"/>
              <a:gd name="connsiteY353" fmla="*/ 4722168 h 4878949"/>
              <a:gd name="connsiteX354" fmla="*/ 86434 w 3418030"/>
              <a:gd name="connsiteY354" fmla="*/ 4717378 h 4878949"/>
              <a:gd name="connsiteX355" fmla="*/ 83347 w 3418030"/>
              <a:gd name="connsiteY355" fmla="*/ 4712785 h 4878949"/>
              <a:gd name="connsiteX356" fmla="*/ 77022 w 3418030"/>
              <a:gd name="connsiteY356" fmla="*/ 4704265 h 4878949"/>
              <a:gd name="connsiteX357" fmla="*/ 69837 w 3418030"/>
              <a:gd name="connsiteY357" fmla="*/ 4692685 h 4878949"/>
              <a:gd name="connsiteX358" fmla="*/ 65942 w 3418030"/>
              <a:gd name="connsiteY358" fmla="*/ 4686890 h 4878949"/>
              <a:gd name="connsiteX359" fmla="*/ 63602 w 3418030"/>
              <a:gd name="connsiteY359" fmla="*/ 4682635 h 4878949"/>
              <a:gd name="connsiteX360" fmla="*/ 58828 w 3418030"/>
              <a:gd name="connsiteY360" fmla="*/ 4674940 h 4878949"/>
              <a:gd name="connsiteX361" fmla="*/ 51860 w 3418030"/>
              <a:gd name="connsiteY361" fmla="*/ 4661288 h 4878949"/>
              <a:gd name="connsiteX362" fmla="*/ 48115 w 3418030"/>
              <a:gd name="connsiteY362" fmla="*/ 4654479 h 4878949"/>
              <a:gd name="connsiteX363" fmla="*/ 46451 w 3418030"/>
              <a:gd name="connsiteY363" fmla="*/ 4650690 h 4878949"/>
              <a:gd name="connsiteX364" fmla="*/ 43027 w 3418030"/>
              <a:gd name="connsiteY364" fmla="*/ 4643982 h 4878949"/>
              <a:gd name="connsiteX365" fmla="*/ 36529 w 3418030"/>
              <a:gd name="connsiteY365" fmla="*/ 4628092 h 4878949"/>
              <a:gd name="connsiteX366" fmla="*/ 33115 w 3418030"/>
              <a:gd name="connsiteY366" fmla="*/ 4620315 h 4878949"/>
              <a:gd name="connsiteX367" fmla="*/ 32037 w 3418030"/>
              <a:gd name="connsiteY367" fmla="*/ 4617109 h 4878949"/>
              <a:gd name="connsiteX368" fmla="*/ 29757 w 3418030"/>
              <a:gd name="connsiteY368" fmla="*/ 4611533 h 4878949"/>
              <a:gd name="connsiteX369" fmla="*/ 23992 w 3418030"/>
              <a:gd name="connsiteY369" fmla="*/ 4593159 h 4878949"/>
              <a:gd name="connsiteX370" fmla="*/ 21107 w 3418030"/>
              <a:gd name="connsiteY370" fmla="*/ 4584570 h 4878949"/>
              <a:gd name="connsiteX371" fmla="*/ 20507 w 3418030"/>
              <a:gd name="connsiteY371" fmla="*/ 4582050 h 4878949"/>
              <a:gd name="connsiteX372" fmla="*/ 19153 w 3418030"/>
              <a:gd name="connsiteY372" fmla="*/ 4577733 h 4878949"/>
              <a:gd name="connsiteX373" fmla="*/ 14395 w 3418030"/>
              <a:gd name="connsiteY373" fmla="*/ 4556392 h 4878949"/>
              <a:gd name="connsiteX374" fmla="*/ 12258 w 3418030"/>
              <a:gd name="connsiteY374" fmla="*/ 4547414 h 4878949"/>
              <a:gd name="connsiteX375" fmla="*/ 12008 w 3418030"/>
              <a:gd name="connsiteY375" fmla="*/ 4545675 h 4878949"/>
              <a:gd name="connsiteX376" fmla="*/ 11349 w 3418030"/>
              <a:gd name="connsiteY376" fmla="*/ 4542722 h 4878949"/>
              <a:gd name="connsiteX377" fmla="*/ 7886 w 3418030"/>
              <a:gd name="connsiteY377" fmla="*/ 4517048 h 4878949"/>
              <a:gd name="connsiteX378" fmla="*/ 6730 w 3418030"/>
              <a:gd name="connsiteY378" fmla="*/ 4509017 h 4878949"/>
              <a:gd name="connsiteX379" fmla="*/ 6688 w 3418030"/>
              <a:gd name="connsiteY379" fmla="*/ 4508172 h 4878949"/>
              <a:gd name="connsiteX380" fmla="*/ 6482 w 3418030"/>
              <a:gd name="connsiteY380" fmla="*/ 4506641 h 4878949"/>
              <a:gd name="connsiteX381" fmla="*/ 5671 w 3418030"/>
              <a:gd name="connsiteY381" fmla="*/ 4488834 h 4878949"/>
              <a:gd name="connsiteX382" fmla="*/ 4679 w 3418030"/>
              <a:gd name="connsiteY382" fmla="*/ 4488834 h 4878949"/>
              <a:gd name="connsiteX383" fmla="*/ 4679 w 3418030"/>
              <a:gd name="connsiteY383" fmla="*/ 4476023 h 4878949"/>
              <a:gd name="connsiteX384" fmla="*/ 3837 w 3418030"/>
              <a:gd name="connsiteY384" fmla="*/ 4469889 h 4878949"/>
              <a:gd name="connsiteX385" fmla="*/ 2681 w 3418030"/>
              <a:gd name="connsiteY385" fmla="*/ 4461995 h 4878949"/>
              <a:gd name="connsiteX386" fmla="*/ 2640 w 3418030"/>
              <a:gd name="connsiteY386" fmla="*/ 4461163 h 4878949"/>
              <a:gd name="connsiteX387" fmla="*/ 2433 w 3418030"/>
              <a:gd name="connsiteY387" fmla="*/ 4459658 h 4878949"/>
              <a:gd name="connsiteX388" fmla="*/ 1621 w 3418030"/>
              <a:gd name="connsiteY388" fmla="*/ 4442154 h 4878949"/>
              <a:gd name="connsiteX389" fmla="*/ 631 w 3418030"/>
              <a:gd name="connsiteY389" fmla="*/ 4442154 h 4878949"/>
              <a:gd name="connsiteX390" fmla="*/ 631 w 3418030"/>
              <a:gd name="connsiteY390" fmla="*/ 4426015 h 4878949"/>
              <a:gd name="connsiteX391" fmla="*/ 631 w 3418030"/>
              <a:gd name="connsiteY391" fmla="*/ 4420821 h 4878949"/>
              <a:gd name="connsiteX392" fmla="*/ 631 w 3418030"/>
              <a:gd name="connsiteY392" fmla="*/ 4420700 h 4878949"/>
              <a:gd name="connsiteX393" fmla="*/ 157 w 3418030"/>
              <a:gd name="connsiteY393" fmla="*/ 4420700 h 4878949"/>
              <a:gd name="connsiteX394" fmla="*/ 157 w 3418030"/>
              <a:gd name="connsiteY394" fmla="*/ 4350450 h 4878949"/>
              <a:gd name="connsiteX395" fmla="*/ 157 w 3418030"/>
              <a:gd name="connsiteY395" fmla="*/ 4340879 h 4878949"/>
              <a:gd name="connsiteX396" fmla="*/ 157 w 3418030"/>
              <a:gd name="connsiteY396" fmla="*/ 4127703 h 4878949"/>
              <a:gd name="connsiteX397" fmla="*/ 157 w 3418030"/>
              <a:gd name="connsiteY397" fmla="*/ 4025885 h 4878949"/>
              <a:gd name="connsiteX398" fmla="*/ 157 w 3418030"/>
              <a:gd name="connsiteY398" fmla="*/ 3997713 h 4878949"/>
              <a:gd name="connsiteX399" fmla="*/ 626 w 3418030"/>
              <a:gd name="connsiteY399" fmla="*/ 3997713 h 4878949"/>
              <a:gd name="connsiteX400" fmla="*/ 626 w 3418030"/>
              <a:gd name="connsiteY400" fmla="*/ 3911014 h 4878949"/>
              <a:gd name="connsiteX401" fmla="*/ 0 w 3418030"/>
              <a:gd name="connsiteY401" fmla="*/ 3911014 h 4878949"/>
              <a:gd name="connsiteX402" fmla="*/ 0 w 3418030"/>
              <a:gd name="connsiteY402" fmla="*/ 3908592 h 4878949"/>
              <a:gd name="connsiteX403" fmla="*/ 0 w 3418030"/>
              <a:gd name="connsiteY403" fmla="*/ 3570744 h 4878949"/>
              <a:gd name="connsiteX404" fmla="*/ 0 w 3418030"/>
              <a:gd name="connsiteY404" fmla="*/ 2076617 h 4878949"/>
              <a:gd name="connsiteX405" fmla="*/ 3302 w 3418030"/>
              <a:gd name="connsiteY405" fmla="*/ 2076617 h 4878949"/>
              <a:gd name="connsiteX406" fmla="*/ 3302 w 3418030"/>
              <a:gd name="connsiteY406" fmla="*/ 2074287 h 4878949"/>
              <a:gd name="connsiteX407" fmla="*/ 3302 w 3418030"/>
              <a:gd name="connsiteY407" fmla="*/ 1850939 h 4878949"/>
              <a:gd name="connsiteX408" fmla="*/ 3302 w 3418030"/>
              <a:gd name="connsiteY408" fmla="*/ 1850328 h 4878949"/>
              <a:gd name="connsiteX409" fmla="*/ 3301 w 3418030"/>
              <a:gd name="connsiteY409" fmla="*/ 1850319 h 4878949"/>
              <a:gd name="connsiteX410" fmla="*/ 3302 w 3418030"/>
              <a:gd name="connsiteY410" fmla="*/ 1850309 h 4878949"/>
              <a:gd name="connsiteX411" fmla="*/ 3302 w 3418030"/>
              <a:gd name="connsiteY411" fmla="*/ 1804040 h 4878949"/>
              <a:gd name="connsiteX412" fmla="*/ 3302 w 3418030"/>
              <a:gd name="connsiteY412" fmla="*/ 1803429 h 4878949"/>
              <a:gd name="connsiteX413" fmla="*/ 3301 w 3418030"/>
              <a:gd name="connsiteY413" fmla="*/ 1803419 h 4878949"/>
              <a:gd name="connsiteX414" fmla="*/ 3302 w 3418030"/>
              <a:gd name="connsiteY414" fmla="*/ 1803409 h 4878949"/>
              <a:gd name="connsiteX415" fmla="*/ 3302 w 3418030"/>
              <a:gd name="connsiteY415" fmla="*/ 1801662 h 4878949"/>
              <a:gd name="connsiteX416" fmla="*/ 3302 w 3418030"/>
              <a:gd name="connsiteY416" fmla="*/ 1770814 h 4878949"/>
              <a:gd name="connsiteX417" fmla="*/ 3302 w 3418030"/>
              <a:gd name="connsiteY417" fmla="*/ 1770203 h 4878949"/>
              <a:gd name="connsiteX418" fmla="*/ 3301 w 3418030"/>
              <a:gd name="connsiteY418" fmla="*/ 1770192 h 4878949"/>
              <a:gd name="connsiteX419" fmla="*/ 3302 w 3418030"/>
              <a:gd name="connsiteY419" fmla="*/ 1770183 h 4878949"/>
              <a:gd name="connsiteX420" fmla="*/ 3302 w 3418030"/>
              <a:gd name="connsiteY420" fmla="*/ 1754762 h 4878949"/>
              <a:gd name="connsiteX421" fmla="*/ 3302 w 3418030"/>
              <a:gd name="connsiteY421" fmla="*/ 1723914 h 4878949"/>
              <a:gd name="connsiteX422" fmla="*/ 3302 w 3418030"/>
              <a:gd name="connsiteY422" fmla="*/ 1723304 h 4878949"/>
              <a:gd name="connsiteX423" fmla="*/ 3301 w 3418030"/>
              <a:gd name="connsiteY423" fmla="*/ 1723293 h 4878949"/>
              <a:gd name="connsiteX424" fmla="*/ 3302 w 3418030"/>
              <a:gd name="connsiteY424" fmla="*/ 1723284 h 4878949"/>
              <a:gd name="connsiteX425" fmla="*/ 3302 w 3418030"/>
              <a:gd name="connsiteY425" fmla="*/ 1721537 h 4878949"/>
              <a:gd name="connsiteX426" fmla="*/ 3302 w 3418030"/>
              <a:gd name="connsiteY426" fmla="*/ 1674636 h 4878949"/>
              <a:gd name="connsiteX427" fmla="*/ 3302 w 3418030"/>
              <a:gd name="connsiteY427" fmla="*/ 1119326 h 4878949"/>
              <a:gd name="connsiteX428" fmla="*/ 3302 w 3418030"/>
              <a:gd name="connsiteY428" fmla="*/ 1118715 h 4878949"/>
              <a:gd name="connsiteX429" fmla="*/ 3301 w 3418030"/>
              <a:gd name="connsiteY429" fmla="*/ 1118705 h 4878949"/>
              <a:gd name="connsiteX430" fmla="*/ 3302 w 3418030"/>
              <a:gd name="connsiteY430" fmla="*/ 1118695 h 4878949"/>
              <a:gd name="connsiteX431" fmla="*/ 3302 w 3418030"/>
              <a:gd name="connsiteY431" fmla="*/ 1070048 h 4878949"/>
              <a:gd name="connsiteX432" fmla="*/ 3302 w 3418030"/>
              <a:gd name="connsiteY432" fmla="*/ 1039200 h 4878949"/>
              <a:gd name="connsiteX433" fmla="*/ 3302 w 3418030"/>
              <a:gd name="connsiteY433" fmla="*/ 1038590 h 4878949"/>
              <a:gd name="connsiteX434" fmla="*/ 3301 w 3418030"/>
              <a:gd name="connsiteY434" fmla="*/ 1038579 h 4878949"/>
              <a:gd name="connsiteX435" fmla="*/ 3302 w 3418030"/>
              <a:gd name="connsiteY435" fmla="*/ 1038570 h 4878949"/>
              <a:gd name="connsiteX436" fmla="*/ 3302 w 3418030"/>
              <a:gd name="connsiteY436" fmla="*/ 989923 h 4878949"/>
              <a:gd name="connsiteX437" fmla="*/ 5852 w 3418030"/>
              <a:gd name="connsiteY437" fmla="*/ 989923 h 4878949"/>
              <a:gd name="connsiteX438" fmla="*/ 8449 w 3418030"/>
              <a:gd name="connsiteY438" fmla="*/ 939781 h 4878949"/>
              <a:gd name="connsiteX439" fmla="*/ 8925 w 3418030"/>
              <a:gd name="connsiteY439" fmla="*/ 936738 h 4878949"/>
              <a:gd name="connsiteX440" fmla="*/ 9149 w 3418030"/>
              <a:gd name="connsiteY440" fmla="*/ 932684 h 4878949"/>
              <a:gd name="connsiteX441" fmla="*/ 46507 w 3418030"/>
              <a:gd name="connsiteY441" fmla="*/ 754274 h 4878949"/>
              <a:gd name="connsiteX442" fmla="*/ 48032 w 3418030"/>
              <a:gd name="connsiteY442" fmla="*/ 750077 h 4878949"/>
              <a:gd name="connsiteX443" fmla="*/ 48222 w 3418030"/>
              <a:gd name="connsiteY443" fmla="*/ 749353 h 4878949"/>
              <a:gd name="connsiteX444" fmla="*/ 50914 w 3418030"/>
              <a:gd name="connsiteY444" fmla="*/ 742152 h 4878949"/>
              <a:gd name="connsiteX445" fmla="*/ 77329 w 3418030"/>
              <a:gd name="connsiteY445" fmla="*/ 669497 h 4878949"/>
              <a:gd name="connsiteX446" fmla="*/ 80849 w 3418030"/>
              <a:gd name="connsiteY446" fmla="*/ 662039 h 4878949"/>
              <a:gd name="connsiteX447" fmla="*/ 81908 w 3418030"/>
              <a:gd name="connsiteY447" fmla="*/ 659204 h 4878949"/>
              <a:gd name="connsiteX448" fmla="*/ 89422 w 3418030"/>
              <a:gd name="connsiteY448" fmla="*/ 643883 h 4878949"/>
              <a:gd name="connsiteX449" fmla="*/ 115734 w 3418030"/>
              <a:gd name="connsiteY449" fmla="*/ 588143 h 4878949"/>
              <a:gd name="connsiteX450" fmla="*/ 121848 w 3418030"/>
              <a:gd name="connsiteY450" fmla="*/ 577740 h 4878949"/>
              <a:gd name="connsiteX451" fmla="*/ 124169 w 3418030"/>
              <a:gd name="connsiteY451" fmla="*/ 573005 h 4878949"/>
              <a:gd name="connsiteX452" fmla="*/ 134403 w 3418030"/>
              <a:gd name="connsiteY452" fmla="*/ 556381 h 4878949"/>
              <a:gd name="connsiteX453" fmla="*/ 161333 w 3418030"/>
              <a:gd name="connsiteY453" fmla="*/ 510566 h 4878949"/>
              <a:gd name="connsiteX454" fmla="*/ 170598 w 3418030"/>
              <a:gd name="connsiteY454" fmla="*/ 497582 h 4878949"/>
              <a:gd name="connsiteX455" fmla="*/ 174534 w 3418030"/>
              <a:gd name="connsiteY455" fmla="*/ 491185 h 4878949"/>
              <a:gd name="connsiteX456" fmla="*/ 186458 w 3418030"/>
              <a:gd name="connsiteY456" fmla="*/ 475354 h 4878949"/>
              <a:gd name="connsiteX457" fmla="*/ 213741 w 3418030"/>
              <a:gd name="connsiteY457" fmla="*/ 437120 h 4878949"/>
              <a:gd name="connsiteX458" fmla="*/ 226666 w 3418030"/>
              <a:gd name="connsiteY458" fmla="*/ 421970 h 4878949"/>
              <a:gd name="connsiteX459" fmla="*/ 232537 w 3418030"/>
              <a:gd name="connsiteY459" fmla="*/ 414172 h 4878949"/>
              <a:gd name="connsiteX460" fmla="*/ 245428 w 3418030"/>
              <a:gd name="connsiteY460" fmla="*/ 399975 h 4878949"/>
              <a:gd name="connsiteX461" fmla="*/ 272569 w 3418030"/>
              <a:gd name="connsiteY461" fmla="*/ 368155 h 4878949"/>
              <a:gd name="connsiteX462" fmla="*/ 289619 w 3418030"/>
              <a:gd name="connsiteY462" fmla="*/ 351302 h 4878949"/>
              <a:gd name="connsiteX463" fmla="*/ 297703 w 3418030"/>
              <a:gd name="connsiteY463" fmla="*/ 342396 h 4878949"/>
              <a:gd name="connsiteX464" fmla="*/ 310983 w 3418030"/>
              <a:gd name="connsiteY464" fmla="*/ 330181 h 4878949"/>
              <a:gd name="connsiteX465" fmla="*/ 337434 w 3418030"/>
              <a:gd name="connsiteY465" fmla="*/ 304029 h 4878949"/>
              <a:gd name="connsiteX466" fmla="*/ 359031 w 3418030"/>
              <a:gd name="connsiteY466" fmla="*/ 285980 h 4878949"/>
              <a:gd name="connsiteX467" fmla="*/ 369567 w 3418030"/>
              <a:gd name="connsiteY467" fmla="*/ 276286 h 4878949"/>
              <a:gd name="connsiteX468" fmla="*/ 382740 w 3418030"/>
              <a:gd name="connsiteY468" fmla="*/ 266163 h 4878949"/>
              <a:gd name="connsiteX469" fmla="*/ 407948 w 3418030"/>
              <a:gd name="connsiteY469" fmla="*/ 245095 h 4878949"/>
              <a:gd name="connsiteX470" fmla="*/ 434483 w 3418030"/>
              <a:gd name="connsiteY470" fmla="*/ 226398 h 4878949"/>
              <a:gd name="connsiteX471" fmla="*/ 447659 w 3418030"/>
              <a:gd name="connsiteY471" fmla="*/ 216272 h 4878949"/>
              <a:gd name="connsiteX472" fmla="*/ 460291 w 3418030"/>
              <a:gd name="connsiteY472" fmla="*/ 208214 h 4878949"/>
              <a:gd name="connsiteX473" fmla="*/ 483722 w 3418030"/>
              <a:gd name="connsiteY473" fmla="*/ 191703 h 4878949"/>
              <a:gd name="connsiteX474" fmla="*/ 515572 w 3418030"/>
              <a:gd name="connsiteY474" fmla="*/ 172948 h 4878949"/>
              <a:gd name="connsiteX475" fmla="*/ 531508 w 3418030"/>
              <a:gd name="connsiteY475" fmla="*/ 162782 h 4878949"/>
              <a:gd name="connsiteX476" fmla="*/ 543209 w 3418030"/>
              <a:gd name="connsiteY476" fmla="*/ 156673 h 4878949"/>
              <a:gd name="connsiteX477" fmla="*/ 564373 w 3418030"/>
              <a:gd name="connsiteY477" fmla="*/ 144210 h 4878949"/>
              <a:gd name="connsiteX478" fmla="*/ 601919 w 3418030"/>
              <a:gd name="connsiteY478" fmla="*/ 126023 h 4878949"/>
              <a:gd name="connsiteX479" fmla="*/ 620646 w 3418030"/>
              <a:gd name="connsiteY479" fmla="*/ 116246 h 4878949"/>
              <a:gd name="connsiteX480" fmla="*/ 631065 w 3418030"/>
              <a:gd name="connsiteY480" fmla="*/ 111905 h 4878949"/>
              <a:gd name="connsiteX481" fmla="*/ 649513 w 3418030"/>
              <a:gd name="connsiteY481" fmla="*/ 102967 h 4878949"/>
              <a:gd name="connsiteX482" fmla="*/ 693215 w 3418030"/>
              <a:gd name="connsiteY482" fmla="*/ 86005 h 4878949"/>
              <a:gd name="connsiteX483" fmla="*/ 714604 w 3418030"/>
              <a:gd name="connsiteY483" fmla="*/ 77091 h 4878949"/>
              <a:gd name="connsiteX484" fmla="*/ 723421 w 3418030"/>
              <a:gd name="connsiteY484" fmla="*/ 74281 h 4878949"/>
              <a:gd name="connsiteX485" fmla="*/ 738755 w 3418030"/>
              <a:gd name="connsiteY485" fmla="*/ 68329 h 4878949"/>
              <a:gd name="connsiteX486" fmla="*/ 789290 w 3418030"/>
              <a:gd name="connsiteY486" fmla="*/ 53281 h 4878949"/>
              <a:gd name="connsiteX487" fmla="*/ 812911 w 3418030"/>
              <a:gd name="connsiteY487" fmla="*/ 45751 h 4878949"/>
              <a:gd name="connsiteX488" fmla="*/ 819840 w 3418030"/>
              <a:gd name="connsiteY488" fmla="*/ 44184 h 4878949"/>
              <a:gd name="connsiteX489" fmla="*/ 831714 w 3418030"/>
              <a:gd name="connsiteY489" fmla="*/ 40649 h 4878949"/>
              <a:gd name="connsiteX490" fmla="*/ 890408 w 3418030"/>
              <a:gd name="connsiteY490" fmla="*/ 28233 h 4878949"/>
              <a:gd name="connsiteX491" fmla="*/ 891488 w 3418030"/>
              <a:gd name="connsiteY491" fmla="*/ 27989 h 4878949"/>
              <a:gd name="connsiteX492" fmla="*/ 891488 w 3418030"/>
              <a:gd name="connsiteY492" fmla="*/ 26353 h 4878949"/>
              <a:gd name="connsiteX493" fmla="*/ 920414 w 3418030"/>
              <a:gd name="connsiteY493" fmla="*/ 21016 h 4878949"/>
              <a:gd name="connsiteX494" fmla="*/ 926275 w 3418030"/>
              <a:gd name="connsiteY494" fmla="*/ 20363 h 4878949"/>
              <a:gd name="connsiteX495" fmla="*/ 936223 w 3418030"/>
              <a:gd name="connsiteY495" fmla="*/ 18645 h 4878949"/>
              <a:gd name="connsiteX496" fmla="*/ 1022729 w 3418030"/>
              <a:gd name="connsiteY496" fmla="*/ 9605 h 4878949"/>
              <a:gd name="connsiteX497" fmla="*/ 1049789 w 3418030"/>
              <a:gd name="connsiteY497" fmla="*/ 6588 h 4878949"/>
              <a:gd name="connsiteX498" fmla="*/ 1052637 w 3418030"/>
              <a:gd name="connsiteY498" fmla="*/ 6482 h 4878949"/>
              <a:gd name="connsiteX499" fmla="*/ 1057795 w 3418030"/>
              <a:gd name="connsiteY499" fmla="*/ 5941 h 4878949"/>
              <a:gd name="connsiteX500" fmla="*/ 1117794 w 3418030"/>
              <a:gd name="connsiteY500" fmla="*/ 3821 h 4878949"/>
              <a:gd name="connsiteX501" fmla="*/ 1117794 w 3418030"/>
              <a:gd name="connsiteY501" fmla="*/ 1237 h 4878949"/>
              <a:gd name="connsiteX502" fmla="*/ 1173109 w 3418030"/>
              <a:gd name="connsiteY502" fmla="*/ 1237 h 4878949"/>
              <a:gd name="connsiteX503" fmla="*/ 1190915 w 3418030"/>
              <a:gd name="connsiteY503" fmla="*/ 1237 h 4878949"/>
              <a:gd name="connsiteX504" fmla="*/ 1191329 w 3418030"/>
              <a:gd name="connsiteY504" fmla="*/ 1237 h 4878949"/>
              <a:gd name="connsiteX505" fmla="*/ 1191331 w 3418030"/>
              <a:gd name="connsiteY505" fmla="*/ 1237 h 487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</a:cxnLst>
            <a:rect l="l" t="t" r="r" b="b"/>
            <a:pathLst>
              <a:path w="3418030" h="4878949">
                <a:moveTo>
                  <a:pt x="1191331" y="0"/>
                </a:moveTo>
                <a:lnTo>
                  <a:pt x="1294432" y="0"/>
                </a:lnTo>
                <a:lnTo>
                  <a:pt x="1457098" y="0"/>
                </a:lnTo>
                <a:lnTo>
                  <a:pt x="1564784" y="0"/>
                </a:lnTo>
                <a:lnTo>
                  <a:pt x="2013538" y="0"/>
                </a:lnTo>
                <a:lnTo>
                  <a:pt x="2038520" y="0"/>
                </a:lnTo>
                <a:lnTo>
                  <a:pt x="2130825" y="0"/>
                </a:lnTo>
                <a:lnTo>
                  <a:pt x="2156238" y="0"/>
                </a:lnTo>
                <a:lnTo>
                  <a:pt x="2221889" y="0"/>
                </a:lnTo>
                <a:lnTo>
                  <a:pt x="2277890" y="0"/>
                </a:lnTo>
                <a:lnTo>
                  <a:pt x="2342770" y="0"/>
                </a:lnTo>
                <a:lnTo>
                  <a:pt x="2399737" y="0"/>
                </a:lnTo>
                <a:lnTo>
                  <a:pt x="2399737" y="1224"/>
                </a:lnTo>
                <a:lnTo>
                  <a:pt x="3278911" y="1224"/>
                </a:lnTo>
                <a:lnTo>
                  <a:pt x="3418030" y="1224"/>
                </a:lnTo>
                <a:lnTo>
                  <a:pt x="3418030" y="70784"/>
                </a:lnTo>
                <a:lnTo>
                  <a:pt x="3418030" y="685938"/>
                </a:lnTo>
                <a:lnTo>
                  <a:pt x="3418030" y="732837"/>
                </a:lnTo>
                <a:lnTo>
                  <a:pt x="3418030" y="755498"/>
                </a:lnTo>
                <a:lnTo>
                  <a:pt x="3418030" y="802397"/>
                </a:lnTo>
                <a:lnTo>
                  <a:pt x="3418030" y="1036312"/>
                </a:lnTo>
                <a:lnTo>
                  <a:pt x="3418030" y="1036923"/>
                </a:lnTo>
                <a:lnTo>
                  <a:pt x="3418030" y="1036933"/>
                </a:lnTo>
                <a:lnTo>
                  <a:pt x="3418030" y="1036943"/>
                </a:lnTo>
                <a:lnTo>
                  <a:pt x="3418030" y="1085589"/>
                </a:lnTo>
                <a:lnTo>
                  <a:pt x="3418030" y="1105871"/>
                </a:lnTo>
                <a:lnTo>
                  <a:pt x="3418030" y="1106482"/>
                </a:lnTo>
                <a:lnTo>
                  <a:pt x="3418030" y="1106491"/>
                </a:lnTo>
                <a:lnTo>
                  <a:pt x="3418030" y="1106501"/>
                </a:lnTo>
                <a:lnTo>
                  <a:pt x="3418030" y="1155149"/>
                </a:lnTo>
                <a:lnTo>
                  <a:pt x="3418030" y="1417551"/>
                </a:lnTo>
                <a:lnTo>
                  <a:pt x="3418030" y="1487111"/>
                </a:lnTo>
                <a:lnTo>
                  <a:pt x="3418030" y="1721026"/>
                </a:lnTo>
                <a:lnTo>
                  <a:pt x="3418030" y="1721637"/>
                </a:lnTo>
                <a:lnTo>
                  <a:pt x="3418030" y="1721646"/>
                </a:lnTo>
                <a:lnTo>
                  <a:pt x="3418030" y="1721657"/>
                </a:lnTo>
                <a:lnTo>
                  <a:pt x="3418030" y="1767925"/>
                </a:lnTo>
                <a:lnTo>
                  <a:pt x="3418030" y="1768536"/>
                </a:lnTo>
                <a:lnTo>
                  <a:pt x="3418030" y="1768546"/>
                </a:lnTo>
                <a:lnTo>
                  <a:pt x="3418030" y="1768556"/>
                </a:lnTo>
                <a:lnTo>
                  <a:pt x="3418030" y="1770303"/>
                </a:lnTo>
                <a:lnTo>
                  <a:pt x="3418030" y="1790585"/>
                </a:lnTo>
                <a:lnTo>
                  <a:pt x="3418030" y="1791196"/>
                </a:lnTo>
                <a:lnTo>
                  <a:pt x="3418030" y="1791205"/>
                </a:lnTo>
                <a:lnTo>
                  <a:pt x="3418030" y="1791215"/>
                </a:lnTo>
                <a:lnTo>
                  <a:pt x="3418030" y="1817203"/>
                </a:lnTo>
                <a:lnTo>
                  <a:pt x="3418030" y="1837484"/>
                </a:lnTo>
                <a:lnTo>
                  <a:pt x="3418030" y="1838095"/>
                </a:lnTo>
                <a:lnTo>
                  <a:pt x="3418030" y="1838105"/>
                </a:lnTo>
                <a:lnTo>
                  <a:pt x="3418030" y="1838115"/>
                </a:lnTo>
                <a:lnTo>
                  <a:pt x="3418030" y="1839863"/>
                </a:lnTo>
                <a:lnTo>
                  <a:pt x="3418030" y="1886762"/>
                </a:lnTo>
                <a:lnTo>
                  <a:pt x="3418030" y="2452639"/>
                </a:lnTo>
                <a:lnTo>
                  <a:pt x="3418030" y="2453250"/>
                </a:lnTo>
                <a:lnTo>
                  <a:pt x="3418030" y="2453260"/>
                </a:lnTo>
                <a:lnTo>
                  <a:pt x="3418030" y="2453270"/>
                </a:lnTo>
                <a:lnTo>
                  <a:pt x="3418030" y="2501917"/>
                </a:lnTo>
                <a:lnTo>
                  <a:pt x="3418030" y="2522198"/>
                </a:lnTo>
                <a:lnTo>
                  <a:pt x="3418030" y="2522809"/>
                </a:lnTo>
                <a:lnTo>
                  <a:pt x="3418030" y="2522819"/>
                </a:lnTo>
                <a:lnTo>
                  <a:pt x="3418030" y="2522830"/>
                </a:lnTo>
                <a:lnTo>
                  <a:pt x="3418030" y="2571476"/>
                </a:lnTo>
                <a:lnTo>
                  <a:pt x="3415609" y="2571476"/>
                </a:lnTo>
                <a:lnTo>
                  <a:pt x="3413143" y="2621619"/>
                </a:lnTo>
                <a:lnTo>
                  <a:pt x="3412693" y="2624661"/>
                </a:lnTo>
                <a:lnTo>
                  <a:pt x="3412480" y="2628713"/>
                </a:lnTo>
                <a:cubicBezTo>
                  <a:pt x="3406029" y="2689917"/>
                  <a:pt x="3394048" y="2749544"/>
                  <a:pt x="3377025" y="2807125"/>
                </a:cubicBezTo>
                <a:lnTo>
                  <a:pt x="3375576" y="2811322"/>
                </a:lnTo>
                <a:lnTo>
                  <a:pt x="3375395" y="2812045"/>
                </a:lnTo>
                <a:lnTo>
                  <a:pt x="3372842" y="2819247"/>
                </a:lnTo>
                <a:lnTo>
                  <a:pt x="3347771" y="2891903"/>
                </a:lnTo>
                <a:lnTo>
                  <a:pt x="3344429" y="2899360"/>
                </a:lnTo>
                <a:lnTo>
                  <a:pt x="3343424" y="2902194"/>
                </a:lnTo>
                <a:lnTo>
                  <a:pt x="3336294" y="2917516"/>
                </a:lnTo>
                <a:lnTo>
                  <a:pt x="3311321" y="2973257"/>
                </a:lnTo>
                <a:lnTo>
                  <a:pt x="3305517" y="2983659"/>
                </a:lnTo>
                <a:lnTo>
                  <a:pt x="3303314" y="2988394"/>
                </a:lnTo>
                <a:lnTo>
                  <a:pt x="3293601" y="3005019"/>
                </a:lnTo>
                <a:lnTo>
                  <a:pt x="3268042" y="3050833"/>
                </a:lnTo>
                <a:lnTo>
                  <a:pt x="3259248" y="3063817"/>
                </a:lnTo>
                <a:lnTo>
                  <a:pt x="3255513" y="3070215"/>
                </a:lnTo>
                <a:lnTo>
                  <a:pt x="3244196" y="3086045"/>
                </a:lnTo>
                <a:lnTo>
                  <a:pt x="3218302" y="3124280"/>
                </a:lnTo>
                <a:lnTo>
                  <a:pt x="3206037" y="3139430"/>
                </a:lnTo>
                <a:lnTo>
                  <a:pt x="3200464" y="3147227"/>
                </a:lnTo>
                <a:lnTo>
                  <a:pt x="3188229" y="3161424"/>
                </a:lnTo>
                <a:lnTo>
                  <a:pt x="3162468" y="3193243"/>
                </a:lnTo>
                <a:lnTo>
                  <a:pt x="3146287" y="3210097"/>
                </a:lnTo>
                <a:lnTo>
                  <a:pt x="3138613" y="3219003"/>
                </a:lnTo>
                <a:lnTo>
                  <a:pt x="3126010" y="3231219"/>
                </a:lnTo>
                <a:lnTo>
                  <a:pt x="3100905" y="3257369"/>
                </a:lnTo>
                <a:lnTo>
                  <a:pt x="3080407" y="3275420"/>
                </a:lnTo>
                <a:lnTo>
                  <a:pt x="3070407" y="3285113"/>
                </a:lnTo>
                <a:lnTo>
                  <a:pt x="3057904" y="3295236"/>
                </a:lnTo>
                <a:lnTo>
                  <a:pt x="3033981" y="3316304"/>
                </a:lnTo>
                <a:lnTo>
                  <a:pt x="3008795" y="3335002"/>
                </a:lnTo>
                <a:lnTo>
                  <a:pt x="2996290" y="3345128"/>
                </a:lnTo>
                <a:lnTo>
                  <a:pt x="2984301" y="3353185"/>
                </a:lnTo>
                <a:lnTo>
                  <a:pt x="2962062" y="3369695"/>
                </a:lnTo>
                <a:lnTo>
                  <a:pt x="2931835" y="3388450"/>
                </a:lnTo>
                <a:lnTo>
                  <a:pt x="2916709" y="3398618"/>
                </a:lnTo>
                <a:lnTo>
                  <a:pt x="2905603" y="3404726"/>
                </a:lnTo>
                <a:lnTo>
                  <a:pt x="2885517" y="3417189"/>
                </a:lnTo>
                <a:lnTo>
                  <a:pt x="2849882" y="3435375"/>
                </a:lnTo>
                <a:lnTo>
                  <a:pt x="2832108" y="3445153"/>
                </a:lnTo>
                <a:lnTo>
                  <a:pt x="2822219" y="3449494"/>
                </a:lnTo>
                <a:lnTo>
                  <a:pt x="2804710" y="3458432"/>
                </a:lnTo>
                <a:lnTo>
                  <a:pt x="2763233" y="3475393"/>
                </a:lnTo>
                <a:lnTo>
                  <a:pt x="2742933" y="3484308"/>
                </a:lnTo>
                <a:lnTo>
                  <a:pt x="2734565" y="3487117"/>
                </a:lnTo>
                <a:lnTo>
                  <a:pt x="2720010" y="3493070"/>
                </a:lnTo>
                <a:lnTo>
                  <a:pt x="2672049" y="3508117"/>
                </a:lnTo>
                <a:lnTo>
                  <a:pt x="2649630" y="3515648"/>
                </a:lnTo>
                <a:lnTo>
                  <a:pt x="2643052" y="3517214"/>
                </a:lnTo>
                <a:lnTo>
                  <a:pt x="2631783" y="3520749"/>
                </a:lnTo>
                <a:lnTo>
                  <a:pt x="2576079" y="3533167"/>
                </a:lnTo>
                <a:lnTo>
                  <a:pt x="2552643" y="3538747"/>
                </a:lnTo>
                <a:lnTo>
                  <a:pt x="2548104" y="3539401"/>
                </a:lnTo>
                <a:lnTo>
                  <a:pt x="2540397" y="3541118"/>
                </a:lnTo>
                <a:lnTo>
                  <a:pt x="2473383" y="3550158"/>
                </a:lnTo>
                <a:lnTo>
                  <a:pt x="2452420" y="3553176"/>
                </a:lnTo>
                <a:lnTo>
                  <a:pt x="2450212" y="3553284"/>
                </a:lnTo>
                <a:lnTo>
                  <a:pt x="2446216" y="3553824"/>
                </a:lnTo>
                <a:lnTo>
                  <a:pt x="2399737" y="3555943"/>
                </a:lnTo>
                <a:lnTo>
                  <a:pt x="2399737" y="3558529"/>
                </a:lnTo>
                <a:lnTo>
                  <a:pt x="2366297" y="3558529"/>
                </a:lnTo>
                <a:lnTo>
                  <a:pt x="2350286" y="3560726"/>
                </a:lnTo>
                <a:lnTo>
                  <a:pt x="2329679" y="3563743"/>
                </a:lnTo>
                <a:lnTo>
                  <a:pt x="2327509" y="3563851"/>
                </a:lnTo>
                <a:lnTo>
                  <a:pt x="2323580" y="3564391"/>
                </a:lnTo>
                <a:lnTo>
                  <a:pt x="2277890" y="3566510"/>
                </a:lnTo>
                <a:lnTo>
                  <a:pt x="2277890" y="3569096"/>
                </a:lnTo>
                <a:lnTo>
                  <a:pt x="2235765" y="3569096"/>
                </a:lnTo>
                <a:lnTo>
                  <a:pt x="2222205" y="3569096"/>
                </a:lnTo>
                <a:lnTo>
                  <a:pt x="2221889" y="3569096"/>
                </a:lnTo>
                <a:lnTo>
                  <a:pt x="2221889" y="3570333"/>
                </a:lnTo>
                <a:lnTo>
                  <a:pt x="2038520" y="3570333"/>
                </a:lnTo>
                <a:lnTo>
                  <a:pt x="2013539" y="3570333"/>
                </a:lnTo>
                <a:lnTo>
                  <a:pt x="1650818" y="3570333"/>
                </a:lnTo>
                <a:lnTo>
                  <a:pt x="1650818" y="3570744"/>
                </a:lnTo>
                <a:lnTo>
                  <a:pt x="1652012" y="3570744"/>
                </a:lnTo>
                <a:lnTo>
                  <a:pt x="1652012" y="3571721"/>
                </a:lnTo>
                <a:lnTo>
                  <a:pt x="1671221" y="3572716"/>
                </a:lnTo>
                <a:lnTo>
                  <a:pt x="1672387" y="3572898"/>
                </a:lnTo>
                <a:lnTo>
                  <a:pt x="1673940" y="3572984"/>
                </a:lnTo>
                <a:cubicBezTo>
                  <a:pt x="1697387" y="3575588"/>
                  <a:pt x="1720231" y="3580424"/>
                  <a:pt x="1742290" y="3587296"/>
                </a:cubicBezTo>
                <a:lnTo>
                  <a:pt x="1743898" y="3587880"/>
                </a:lnTo>
                <a:lnTo>
                  <a:pt x="1744176" y="3587953"/>
                </a:lnTo>
                <a:lnTo>
                  <a:pt x="1746934" y="3588984"/>
                </a:lnTo>
                <a:lnTo>
                  <a:pt x="1774769" y="3599104"/>
                </a:lnTo>
                <a:lnTo>
                  <a:pt x="1777626" y="3600453"/>
                </a:lnTo>
                <a:lnTo>
                  <a:pt x="1778712" y="3600858"/>
                </a:lnTo>
                <a:lnTo>
                  <a:pt x="1784582" y="3603737"/>
                </a:lnTo>
                <a:lnTo>
                  <a:pt x="1805936" y="3613817"/>
                </a:lnTo>
                <a:lnTo>
                  <a:pt x="1809922" y="3616160"/>
                </a:lnTo>
                <a:lnTo>
                  <a:pt x="1811736" y="3617049"/>
                </a:lnTo>
                <a:lnTo>
                  <a:pt x="1818105" y="3620970"/>
                </a:lnTo>
                <a:lnTo>
                  <a:pt x="1835657" y="3631287"/>
                </a:lnTo>
                <a:lnTo>
                  <a:pt x="1840631" y="3634836"/>
                </a:lnTo>
                <a:lnTo>
                  <a:pt x="1843082" y="3636344"/>
                </a:lnTo>
                <a:lnTo>
                  <a:pt x="1849146" y="3640912"/>
                </a:lnTo>
                <a:lnTo>
                  <a:pt x="1863794" y="3651364"/>
                </a:lnTo>
                <a:lnTo>
                  <a:pt x="1869598" y="3656316"/>
                </a:lnTo>
                <a:lnTo>
                  <a:pt x="1872586" y="3658565"/>
                </a:lnTo>
                <a:lnTo>
                  <a:pt x="1878025" y="3663504"/>
                </a:lnTo>
                <a:lnTo>
                  <a:pt x="1890215" y="3673902"/>
                </a:lnTo>
                <a:lnTo>
                  <a:pt x="1896672" y="3680434"/>
                </a:lnTo>
                <a:lnTo>
                  <a:pt x="1900084" y="3683531"/>
                </a:lnTo>
                <a:lnTo>
                  <a:pt x="1904763" y="3688618"/>
                </a:lnTo>
                <a:lnTo>
                  <a:pt x="1914782" y="3698752"/>
                </a:lnTo>
                <a:lnTo>
                  <a:pt x="1921697" y="3707026"/>
                </a:lnTo>
                <a:lnTo>
                  <a:pt x="1925411" y="3711062"/>
                </a:lnTo>
                <a:lnTo>
                  <a:pt x="1929289" y="3716109"/>
                </a:lnTo>
                <a:lnTo>
                  <a:pt x="1937360" y="3725766"/>
                </a:lnTo>
                <a:lnTo>
                  <a:pt x="1944523" y="3735932"/>
                </a:lnTo>
                <a:lnTo>
                  <a:pt x="1948403" y="3740980"/>
                </a:lnTo>
                <a:lnTo>
                  <a:pt x="1951490" y="3745819"/>
                </a:lnTo>
                <a:lnTo>
                  <a:pt x="1957815" y="3754796"/>
                </a:lnTo>
                <a:lnTo>
                  <a:pt x="1965000" y="3766998"/>
                </a:lnTo>
                <a:lnTo>
                  <a:pt x="1968895" y="3773103"/>
                </a:lnTo>
                <a:lnTo>
                  <a:pt x="1971236" y="3777586"/>
                </a:lnTo>
                <a:lnTo>
                  <a:pt x="1976010" y="3785694"/>
                </a:lnTo>
                <a:lnTo>
                  <a:pt x="1982978" y="3800078"/>
                </a:lnTo>
                <a:lnTo>
                  <a:pt x="1986724" y="3807252"/>
                </a:lnTo>
                <a:lnTo>
                  <a:pt x="1988387" y="3811244"/>
                </a:lnTo>
                <a:lnTo>
                  <a:pt x="1991811" y="3818312"/>
                </a:lnTo>
                <a:lnTo>
                  <a:pt x="1998309" y="3835054"/>
                </a:lnTo>
                <a:lnTo>
                  <a:pt x="2001724" y="3843248"/>
                </a:lnTo>
                <a:lnTo>
                  <a:pt x="2002801" y="3846626"/>
                </a:lnTo>
                <a:lnTo>
                  <a:pt x="2005081" y="3852501"/>
                </a:lnTo>
                <a:lnTo>
                  <a:pt x="2010846" y="3871861"/>
                </a:lnTo>
                <a:lnTo>
                  <a:pt x="2013730" y="3880910"/>
                </a:lnTo>
                <a:lnTo>
                  <a:pt x="2014331" y="3883565"/>
                </a:lnTo>
                <a:lnTo>
                  <a:pt x="2015685" y="3888114"/>
                </a:lnTo>
                <a:lnTo>
                  <a:pt x="2020442" y="3910600"/>
                </a:lnTo>
                <a:lnTo>
                  <a:pt x="2020535" y="3911014"/>
                </a:lnTo>
                <a:lnTo>
                  <a:pt x="2021162" y="3911014"/>
                </a:lnTo>
                <a:lnTo>
                  <a:pt x="2023207" y="3922096"/>
                </a:lnTo>
                <a:lnTo>
                  <a:pt x="2023457" y="3924341"/>
                </a:lnTo>
                <a:lnTo>
                  <a:pt x="2024115" y="3928152"/>
                </a:lnTo>
                <a:lnTo>
                  <a:pt x="2027578" y="3961293"/>
                </a:lnTo>
                <a:lnTo>
                  <a:pt x="2028734" y="3971660"/>
                </a:lnTo>
                <a:lnTo>
                  <a:pt x="2028775" y="3972751"/>
                </a:lnTo>
                <a:lnTo>
                  <a:pt x="2028982" y="3974727"/>
                </a:lnTo>
                <a:lnTo>
                  <a:pt x="2029794" y="3997713"/>
                </a:lnTo>
                <a:lnTo>
                  <a:pt x="2030784" y="3997713"/>
                </a:lnTo>
                <a:lnTo>
                  <a:pt x="2030784" y="4018905"/>
                </a:lnTo>
                <a:lnTo>
                  <a:pt x="2030784" y="4025726"/>
                </a:lnTo>
                <a:lnTo>
                  <a:pt x="2030784" y="4025885"/>
                </a:lnTo>
                <a:lnTo>
                  <a:pt x="2030784" y="4025886"/>
                </a:lnTo>
                <a:lnTo>
                  <a:pt x="2031258" y="4025886"/>
                </a:lnTo>
                <a:lnTo>
                  <a:pt x="2031258" y="4065384"/>
                </a:lnTo>
                <a:lnTo>
                  <a:pt x="2031258" y="4127703"/>
                </a:lnTo>
                <a:lnTo>
                  <a:pt x="2031258" y="4168958"/>
                </a:lnTo>
                <a:lnTo>
                  <a:pt x="2031258" y="4340879"/>
                </a:lnTo>
                <a:lnTo>
                  <a:pt x="2031258" y="4350450"/>
                </a:lnTo>
                <a:lnTo>
                  <a:pt x="2031258" y="4385812"/>
                </a:lnTo>
                <a:lnTo>
                  <a:pt x="2031258" y="4395548"/>
                </a:lnTo>
                <a:lnTo>
                  <a:pt x="2031258" y="4420700"/>
                </a:lnTo>
                <a:lnTo>
                  <a:pt x="2031258" y="4442154"/>
                </a:lnTo>
                <a:lnTo>
                  <a:pt x="2031258" y="4467010"/>
                </a:lnTo>
                <a:lnTo>
                  <a:pt x="2031258" y="4488834"/>
                </a:lnTo>
                <a:lnTo>
                  <a:pt x="2030789" y="4488834"/>
                </a:lnTo>
                <a:lnTo>
                  <a:pt x="2030789" y="4825652"/>
                </a:lnTo>
                <a:lnTo>
                  <a:pt x="2030789" y="4878949"/>
                </a:lnTo>
                <a:lnTo>
                  <a:pt x="2004140" y="4878949"/>
                </a:lnTo>
                <a:lnTo>
                  <a:pt x="1768470" y="4878949"/>
                </a:lnTo>
                <a:lnTo>
                  <a:pt x="1750503" y="4878949"/>
                </a:lnTo>
                <a:lnTo>
                  <a:pt x="1741822" y="4878949"/>
                </a:lnTo>
                <a:lnTo>
                  <a:pt x="1723854" y="4878949"/>
                </a:lnTo>
                <a:lnTo>
                  <a:pt x="1634240" y="4878949"/>
                </a:lnTo>
                <a:lnTo>
                  <a:pt x="1634005" y="4878949"/>
                </a:lnTo>
                <a:lnTo>
                  <a:pt x="1634002" y="4878949"/>
                </a:lnTo>
                <a:lnTo>
                  <a:pt x="1633998" y="4878949"/>
                </a:lnTo>
                <a:lnTo>
                  <a:pt x="1615361" y="4878949"/>
                </a:lnTo>
                <a:lnTo>
                  <a:pt x="1607591" y="4878949"/>
                </a:lnTo>
                <a:lnTo>
                  <a:pt x="1607357" y="4878949"/>
                </a:lnTo>
                <a:lnTo>
                  <a:pt x="1607354" y="4878949"/>
                </a:lnTo>
                <a:lnTo>
                  <a:pt x="1607350" y="4878949"/>
                </a:lnTo>
                <a:lnTo>
                  <a:pt x="1588712" y="4878949"/>
                </a:lnTo>
                <a:lnTo>
                  <a:pt x="1488184" y="4878949"/>
                </a:lnTo>
                <a:lnTo>
                  <a:pt x="1461535" y="4878949"/>
                </a:lnTo>
                <a:lnTo>
                  <a:pt x="1371921" y="4878949"/>
                </a:lnTo>
                <a:lnTo>
                  <a:pt x="1371687" y="4878949"/>
                </a:lnTo>
                <a:lnTo>
                  <a:pt x="1371683" y="4878949"/>
                </a:lnTo>
                <a:lnTo>
                  <a:pt x="1371679" y="4878949"/>
                </a:lnTo>
                <a:lnTo>
                  <a:pt x="1367507" y="4878949"/>
                </a:lnTo>
                <a:lnTo>
                  <a:pt x="1353954" y="4878949"/>
                </a:lnTo>
                <a:lnTo>
                  <a:pt x="1353719" y="4878949"/>
                </a:lnTo>
                <a:lnTo>
                  <a:pt x="1353716" y="4878949"/>
                </a:lnTo>
                <a:lnTo>
                  <a:pt x="1353712" y="4878949"/>
                </a:lnTo>
                <a:lnTo>
                  <a:pt x="1353043" y="4878949"/>
                </a:lnTo>
                <a:lnTo>
                  <a:pt x="1345272" y="4878949"/>
                </a:lnTo>
                <a:lnTo>
                  <a:pt x="1345038" y="4878949"/>
                </a:lnTo>
                <a:lnTo>
                  <a:pt x="1345035" y="4878949"/>
                </a:lnTo>
                <a:lnTo>
                  <a:pt x="1345031" y="4878949"/>
                </a:lnTo>
                <a:lnTo>
                  <a:pt x="1340858" y="4878949"/>
                </a:lnTo>
                <a:lnTo>
                  <a:pt x="1335075" y="4878949"/>
                </a:lnTo>
                <a:lnTo>
                  <a:pt x="1327305" y="4878949"/>
                </a:lnTo>
                <a:lnTo>
                  <a:pt x="1327071" y="4878949"/>
                </a:lnTo>
                <a:lnTo>
                  <a:pt x="1327067" y="4878949"/>
                </a:lnTo>
                <a:lnTo>
                  <a:pt x="1327063" y="4878949"/>
                </a:lnTo>
                <a:lnTo>
                  <a:pt x="1326394" y="4878949"/>
                </a:lnTo>
                <a:lnTo>
                  <a:pt x="1308426" y="4878949"/>
                </a:lnTo>
                <a:lnTo>
                  <a:pt x="1105188" y="4878949"/>
                </a:lnTo>
                <a:lnTo>
                  <a:pt x="1091635" y="4878949"/>
                </a:lnTo>
                <a:lnTo>
                  <a:pt x="1091401" y="4878949"/>
                </a:lnTo>
                <a:lnTo>
                  <a:pt x="1091397" y="4878949"/>
                </a:lnTo>
                <a:lnTo>
                  <a:pt x="1091393" y="4878949"/>
                </a:lnTo>
                <a:lnTo>
                  <a:pt x="1087221" y="4878949"/>
                </a:lnTo>
                <a:lnTo>
                  <a:pt x="1078540" y="4878949"/>
                </a:lnTo>
                <a:lnTo>
                  <a:pt x="1072756" y="4878949"/>
                </a:lnTo>
                <a:lnTo>
                  <a:pt x="1064986" y="4878949"/>
                </a:lnTo>
                <a:lnTo>
                  <a:pt x="1064752" y="4878949"/>
                </a:lnTo>
                <a:lnTo>
                  <a:pt x="1064748" y="4878949"/>
                </a:lnTo>
                <a:lnTo>
                  <a:pt x="1064745" y="4878949"/>
                </a:lnTo>
                <a:lnTo>
                  <a:pt x="1060572" y="4878949"/>
                </a:lnTo>
                <a:lnTo>
                  <a:pt x="1046108" y="4878949"/>
                </a:lnTo>
                <a:lnTo>
                  <a:pt x="970958" y="4878949"/>
                </a:lnTo>
                <a:lnTo>
                  <a:pt x="970723" y="4878949"/>
                </a:lnTo>
                <a:lnTo>
                  <a:pt x="970720" y="4878949"/>
                </a:lnTo>
                <a:lnTo>
                  <a:pt x="970716" y="4878949"/>
                </a:lnTo>
                <a:lnTo>
                  <a:pt x="952079" y="4878949"/>
                </a:lnTo>
                <a:lnTo>
                  <a:pt x="944309" y="4878949"/>
                </a:lnTo>
                <a:lnTo>
                  <a:pt x="944075" y="4878949"/>
                </a:lnTo>
                <a:lnTo>
                  <a:pt x="944072" y="4878949"/>
                </a:lnTo>
                <a:lnTo>
                  <a:pt x="944068" y="4878949"/>
                </a:lnTo>
                <a:lnTo>
                  <a:pt x="925430" y="4878949"/>
                </a:lnTo>
                <a:lnTo>
                  <a:pt x="824902" y="4878949"/>
                </a:lnTo>
                <a:lnTo>
                  <a:pt x="798253" y="4878949"/>
                </a:lnTo>
                <a:lnTo>
                  <a:pt x="708639" y="4878949"/>
                </a:lnTo>
                <a:lnTo>
                  <a:pt x="708405" y="4878949"/>
                </a:lnTo>
                <a:lnTo>
                  <a:pt x="708401" y="4878949"/>
                </a:lnTo>
                <a:lnTo>
                  <a:pt x="708397" y="4878949"/>
                </a:lnTo>
                <a:lnTo>
                  <a:pt x="690672" y="4878949"/>
                </a:lnTo>
                <a:lnTo>
                  <a:pt x="690437" y="4878949"/>
                </a:lnTo>
                <a:lnTo>
                  <a:pt x="690434" y="4878949"/>
                </a:lnTo>
                <a:lnTo>
                  <a:pt x="690430" y="4878949"/>
                </a:lnTo>
                <a:lnTo>
                  <a:pt x="689761" y="4878949"/>
                </a:lnTo>
                <a:lnTo>
                  <a:pt x="681990" y="4878949"/>
                </a:lnTo>
                <a:lnTo>
                  <a:pt x="681756" y="4878949"/>
                </a:lnTo>
                <a:lnTo>
                  <a:pt x="681753" y="4878949"/>
                </a:lnTo>
                <a:lnTo>
                  <a:pt x="681749" y="4878949"/>
                </a:lnTo>
                <a:lnTo>
                  <a:pt x="671793" y="4878949"/>
                </a:lnTo>
                <a:lnTo>
                  <a:pt x="664023" y="4878949"/>
                </a:lnTo>
                <a:lnTo>
                  <a:pt x="663789" y="4878949"/>
                </a:lnTo>
                <a:lnTo>
                  <a:pt x="663785" y="4878949"/>
                </a:lnTo>
                <a:lnTo>
                  <a:pt x="663781" y="4878949"/>
                </a:lnTo>
                <a:lnTo>
                  <a:pt x="663112" y="4878949"/>
                </a:lnTo>
                <a:lnTo>
                  <a:pt x="645144" y="4878949"/>
                </a:lnTo>
                <a:lnTo>
                  <a:pt x="428353" y="4878949"/>
                </a:lnTo>
                <a:lnTo>
                  <a:pt x="428119" y="4878949"/>
                </a:lnTo>
                <a:lnTo>
                  <a:pt x="428115" y="4878949"/>
                </a:lnTo>
                <a:lnTo>
                  <a:pt x="428111" y="4878949"/>
                </a:lnTo>
                <a:lnTo>
                  <a:pt x="409474" y="4878949"/>
                </a:lnTo>
                <a:lnTo>
                  <a:pt x="401704" y="4878949"/>
                </a:lnTo>
                <a:lnTo>
                  <a:pt x="401470" y="4878949"/>
                </a:lnTo>
                <a:lnTo>
                  <a:pt x="401466" y="4878949"/>
                </a:lnTo>
                <a:lnTo>
                  <a:pt x="401462" y="4878949"/>
                </a:lnTo>
                <a:lnTo>
                  <a:pt x="382826" y="4878949"/>
                </a:lnTo>
                <a:lnTo>
                  <a:pt x="382826" y="4878022"/>
                </a:lnTo>
                <a:lnTo>
                  <a:pt x="363616" y="4877077"/>
                </a:lnTo>
                <a:lnTo>
                  <a:pt x="362450" y="4876905"/>
                </a:lnTo>
                <a:lnTo>
                  <a:pt x="360898" y="4876823"/>
                </a:lnTo>
                <a:cubicBezTo>
                  <a:pt x="337450" y="4874352"/>
                  <a:pt x="314607" y="4869762"/>
                  <a:pt x="292547" y="4863240"/>
                </a:cubicBezTo>
                <a:lnTo>
                  <a:pt x="290939" y="4862685"/>
                </a:lnTo>
                <a:lnTo>
                  <a:pt x="290662" y="4862616"/>
                </a:lnTo>
                <a:lnTo>
                  <a:pt x="287903" y="4861637"/>
                </a:lnTo>
                <a:lnTo>
                  <a:pt x="260068" y="4852032"/>
                </a:lnTo>
                <a:lnTo>
                  <a:pt x="257211" y="4850752"/>
                </a:lnTo>
                <a:lnTo>
                  <a:pt x="256125" y="4850367"/>
                </a:lnTo>
                <a:lnTo>
                  <a:pt x="250255" y="4847636"/>
                </a:lnTo>
                <a:lnTo>
                  <a:pt x="228901" y="4838068"/>
                </a:lnTo>
                <a:lnTo>
                  <a:pt x="224915" y="4835845"/>
                </a:lnTo>
                <a:lnTo>
                  <a:pt x="223101" y="4835001"/>
                </a:lnTo>
                <a:lnTo>
                  <a:pt x="216732" y="4831280"/>
                </a:lnTo>
                <a:lnTo>
                  <a:pt x="199181" y="4821488"/>
                </a:lnTo>
                <a:lnTo>
                  <a:pt x="194206" y="4818119"/>
                </a:lnTo>
                <a:lnTo>
                  <a:pt x="191756" y="4816688"/>
                </a:lnTo>
                <a:lnTo>
                  <a:pt x="185691" y="4812352"/>
                </a:lnTo>
                <a:lnTo>
                  <a:pt x="171043" y="4802432"/>
                </a:lnTo>
                <a:lnTo>
                  <a:pt x="165239" y="4797733"/>
                </a:lnTo>
                <a:lnTo>
                  <a:pt x="162251" y="4795598"/>
                </a:lnTo>
                <a:lnTo>
                  <a:pt x="156813" y="4790911"/>
                </a:lnTo>
                <a:lnTo>
                  <a:pt x="144622" y="4781042"/>
                </a:lnTo>
                <a:lnTo>
                  <a:pt x="138166" y="4774843"/>
                </a:lnTo>
                <a:lnTo>
                  <a:pt x="134753" y="4771903"/>
                </a:lnTo>
                <a:lnTo>
                  <a:pt x="130074" y="4767074"/>
                </a:lnTo>
                <a:lnTo>
                  <a:pt x="120055" y="4757456"/>
                </a:lnTo>
                <a:lnTo>
                  <a:pt x="113141" y="4749604"/>
                </a:lnTo>
                <a:lnTo>
                  <a:pt x="109426" y="4745772"/>
                </a:lnTo>
                <a:lnTo>
                  <a:pt x="105549" y="4740983"/>
                </a:lnTo>
                <a:lnTo>
                  <a:pt x="97477" y="4731817"/>
                </a:lnTo>
                <a:lnTo>
                  <a:pt x="90315" y="4722168"/>
                </a:lnTo>
                <a:lnTo>
                  <a:pt x="86434" y="4717378"/>
                </a:lnTo>
                <a:lnTo>
                  <a:pt x="83347" y="4712785"/>
                </a:lnTo>
                <a:lnTo>
                  <a:pt x="77022" y="4704265"/>
                </a:lnTo>
                <a:lnTo>
                  <a:pt x="69837" y="4692685"/>
                </a:lnTo>
                <a:lnTo>
                  <a:pt x="65942" y="4686890"/>
                </a:lnTo>
                <a:lnTo>
                  <a:pt x="63602" y="4682635"/>
                </a:lnTo>
                <a:lnTo>
                  <a:pt x="58828" y="4674940"/>
                </a:lnTo>
                <a:lnTo>
                  <a:pt x="51860" y="4661288"/>
                </a:lnTo>
                <a:lnTo>
                  <a:pt x="48115" y="4654479"/>
                </a:lnTo>
                <a:lnTo>
                  <a:pt x="46451" y="4650690"/>
                </a:lnTo>
                <a:lnTo>
                  <a:pt x="43027" y="4643982"/>
                </a:lnTo>
                <a:lnTo>
                  <a:pt x="36529" y="4628092"/>
                </a:lnTo>
                <a:lnTo>
                  <a:pt x="33115" y="4620315"/>
                </a:lnTo>
                <a:lnTo>
                  <a:pt x="32037" y="4617109"/>
                </a:lnTo>
                <a:lnTo>
                  <a:pt x="29757" y="4611533"/>
                </a:lnTo>
                <a:lnTo>
                  <a:pt x="23992" y="4593159"/>
                </a:lnTo>
                <a:lnTo>
                  <a:pt x="21107" y="4584570"/>
                </a:lnTo>
                <a:lnTo>
                  <a:pt x="20507" y="4582050"/>
                </a:lnTo>
                <a:lnTo>
                  <a:pt x="19153" y="4577733"/>
                </a:lnTo>
                <a:lnTo>
                  <a:pt x="14395" y="4556392"/>
                </a:lnTo>
                <a:lnTo>
                  <a:pt x="12258" y="4547414"/>
                </a:lnTo>
                <a:lnTo>
                  <a:pt x="12008" y="4545675"/>
                </a:lnTo>
                <a:lnTo>
                  <a:pt x="11349" y="4542722"/>
                </a:lnTo>
                <a:lnTo>
                  <a:pt x="7886" y="4517048"/>
                </a:lnTo>
                <a:lnTo>
                  <a:pt x="6730" y="4509017"/>
                </a:lnTo>
                <a:lnTo>
                  <a:pt x="6688" y="4508172"/>
                </a:lnTo>
                <a:lnTo>
                  <a:pt x="6482" y="4506641"/>
                </a:lnTo>
                <a:lnTo>
                  <a:pt x="5671" y="4488834"/>
                </a:lnTo>
                <a:lnTo>
                  <a:pt x="4679" y="4488834"/>
                </a:lnTo>
                <a:lnTo>
                  <a:pt x="4679" y="4476023"/>
                </a:lnTo>
                <a:lnTo>
                  <a:pt x="3837" y="4469889"/>
                </a:lnTo>
                <a:lnTo>
                  <a:pt x="2681" y="4461995"/>
                </a:lnTo>
                <a:lnTo>
                  <a:pt x="2640" y="4461163"/>
                </a:lnTo>
                <a:lnTo>
                  <a:pt x="2433" y="4459658"/>
                </a:lnTo>
                <a:lnTo>
                  <a:pt x="1621" y="4442154"/>
                </a:lnTo>
                <a:lnTo>
                  <a:pt x="631" y="4442154"/>
                </a:lnTo>
                <a:lnTo>
                  <a:pt x="631" y="4426015"/>
                </a:lnTo>
                <a:lnTo>
                  <a:pt x="631" y="4420821"/>
                </a:lnTo>
                <a:lnTo>
                  <a:pt x="631" y="4420700"/>
                </a:lnTo>
                <a:lnTo>
                  <a:pt x="157" y="4420700"/>
                </a:lnTo>
                <a:lnTo>
                  <a:pt x="157" y="4350450"/>
                </a:lnTo>
                <a:lnTo>
                  <a:pt x="157" y="4340879"/>
                </a:lnTo>
                <a:lnTo>
                  <a:pt x="157" y="4127703"/>
                </a:lnTo>
                <a:lnTo>
                  <a:pt x="157" y="4025885"/>
                </a:lnTo>
                <a:lnTo>
                  <a:pt x="157" y="3997713"/>
                </a:lnTo>
                <a:lnTo>
                  <a:pt x="626" y="3997713"/>
                </a:lnTo>
                <a:lnTo>
                  <a:pt x="626" y="3911014"/>
                </a:lnTo>
                <a:lnTo>
                  <a:pt x="0" y="3911014"/>
                </a:lnTo>
                <a:lnTo>
                  <a:pt x="0" y="3908592"/>
                </a:lnTo>
                <a:lnTo>
                  <a:pt x="0" y="3570744"/>
                </a:lnTo>
                <a:lnTo>
                  <a:pt x="0" y="2076617"/>
                </a:lnTo>
                <a:lnTo>
                  <a:pt x="3302" y="2076617"/>
                </a:lnTo>
                <a:lnTo>
                  <a:pt x="3302" y="2074287"/>
                </a:lnTo>
                <a:lnTo>
                  <a:pt x="3302" y="1850939"/>
                </a:lnTo>
                <a:lnTo>
                  <a:pt x="3302" y="1850328"/>
                </a:lnTo>
                <a:lnTo>
                  <a:pt x="3301" y="1850319"/>
                </a:lnTo>
                <a:lnTo>
                  <a:pt x="3302" y="1850309"/>
                </a:lnTo>
                <a:lnTo>
                  <a:pt x="3302" y="1804040"/>
                </a:lnTo>
                <a:lnTo>
                  <a:pt x="3302" y="1803429"/>
                </a:lnTo>
                <a:lnTo>
                  <a:pt x="3301" y="1803419"/>
                </a:lnTo>
                <a:lnTo>
                  <a:pt x="3302" y="1803409"/>
                </a:lnTo>
                <a:lnTo>
                  <a:pt x="3302" y="1801662"/>
                </a:lnTo>
                <a:lnTo>
                  <a:pt x="3302" y="1770814"/>
                </a:lnTo>
                <a:lnTo>
                  <a:pt x="3302" y="1770203"/>
                </a:lnTo>
                <a:lnTo>
                  <a:pt x="3301" y="1770192"/>
                </a:lnTo>
                <a:lnTo>
                  <a:pt x="3302" y="1770183"/>
                </a:lnTo>
                <a:lnTo>
                  <a:pt x="3302" y="1754762"/>
                </a:lnTo>
                <a:lnTo>
                  <a:pt x="3302" y="1723914"/>
                </a:lnTo>
                <a:lnTo>
                  <a:pt x="3302" y="1723304"/>
                </a:lnTo>
                <a:lnTo>
                  <a:pt x="3301" y="1723293"/>
                </a:lnTo>
                <a:lnTo>
                  <a:pt x="3302" y="1723284"/>
                </a:lnTo>
                <a:lnTo>
                  <a:pt x="3302" y="1721537"/>
                </a:lnTo>
                <a:lnTo>
                  <a:pt x="3302" y="1674636"/>
                </a:lnTo>
                <a:lnTo>
                  <a:pt x="3302" y="1119326"/>
                </a:lnTo>
                <a:lnTo>
                  <a:pt x="3302" y="1118715"/>
                </a:lnTo>
                <a:lnTo>
                  <a:pt x="3301" y="1118705"/>
                </a:lnTo>
                <a:lnTo>
                  <a:pt x="3302" y="1118695"/>
                </a:lnTo>
                <a:lnTo>
                  <a:pt x="3302" y="1070048"/>
                </a:lnTo>
                <a:lnTo>
                  <a:pt x="3302" y="1039200"/>
                </a:lnTo>
                <a:lnTo>
                  <a:pt x="3302" y="1038590"/>
                </a:lnTo>
                <a:lnTo>
                  <a:pt x="3301" y="1038579"/>
                </a:lnTo>
                <a:lnTo>
                  <a:pt x="3302" y="1038570"/>
                </a:lnTo>
                <a:lnTo>
                  <a:pt x="3302" y="989923"/>
                </a:lnTo>
                <a:lnTo>
                  <a:pt x="5852" y="989923"/>
                </a:lnTo>
                <a:lnTo>
                  <a:pt x="8449" y="939781"/>
                </a:lnTo>
                <a:lnTo>
                  <a:pt x="8925" y="936738"/>
                </a:lnTo>
                <a:lnTo>
                  <a:pt x="9149" y="932684"/>
                </a:lnTo>
                <a:cubicBezTo>
                  <a:pt x="15946" y="871482"/>
                  <a:pt x="28569" y="811856"/>
                  <a:pt x="46507" y="754274"/>
                </a:cubicBezTo>
                <a:lnTo>
                  <a:pt x="48032" y="750077"/>
                </a:lnTo>
                <a:lnTo>
                  <a:pt x="48222" y="749353"/>
                </a:lnTo>
                <a:lnTo>
                  <a:pt x="50914" y="742152"/>
                </a:lnTo>
                <a:lnTo>
                  <a:pt x="77329" y="669497"/>
                </a:lnTo>
                <a:lnTo>
                  <a:pt x="80849" y="662039"/>
                </a:lnTo>
                <a:lnTo>
                  <a:pt x="81908" y="659204"/>
                </a:lnTo>
                <a:lnTo>
                  <a:pt x="89422" y="643883"/>
                </a:lnTo>
                <a:lnTo>
                  <a:pt x="115734" y="588143"/>
                </a:lnTo>
                <a:lnTo>
                  <a:pt x="121848" y="577740"/>
                </a:lnTo>
                <a:lnTo>
                  <a:pt x="124169" y="573005"/>
                </a:lnTo>
                <a:lnTo>
                  <a:pt x="134403" y="556381"/>
                </a:lnTo>
                <a:lnTo>
                  <a:pt x="161333" y="510566"/>
                </a:lnTo>
                <a:lnTo>
                  <a:pt x="170598" y="497582"/>
                </a:lnTo>
                <a:lnTo>
                  <a:pt x="174534" y="491185"/>
                </a:lnTo>
                <a:lnTo>
                  <a:pt x="186458" y="475354"/>
                </a:lnTo>
                <a:lnTo>
                  <a:pt x="213741" y="437120"/>
                </a:lnTo>
                <a:lnTo>
                  <a:pt x="226666" y="421970"/>
                </a:lnTo>
                <a:lnTo>
                  <a:pt x="232537" y="414172"/>
                </a:lnTo>
                <a:lnTo>
                  <a:pt x="245428" y="399975"/>
                </a:lnTo>
                <a:lnTo>
                  <a:pt x="272569" y="368155"/>
                </a:lnTo>
                <a:lnTo>
                  <a:pt x="289619" y="351302"/>
                </a:lnTo>
                <a:lnTo>
                  <a:pt x="297703" y="342396"/>
                </a:lnTo>
                <a:lnTo>
                  <a:pt x="310983" y="330181"/>
                </a:lnTo>
                <a:lnTo>
                  <a:pt x="337434" y="304029"/>
                </a:lnTo>
                <a:lnTo>
                  <a:pt x="359031" y="285980"/>
                </a:lnTo>
                <a:lnTo>
                  <a:pt x="369567" y="276286"/>
                </a:lnTo>
                <a:lnTo>
                  <a:pt x="382740" y="266163"/>
                </a:lnTo>
                <a:lnTo>
                  <a:pt x="407948" y="245095"/>
                </a:lnTo>
                <a:lnTo>
                  <a:pt x="434483" y="226398"/>
                </a:lnTo>
                <a:lnTo>
                  <a:pt x="447659" y="216272"/>
                </a:lnTo>
                <a:lnTo>
                  <a:pt x="460291" y="208214"/>
                </a:lnTo>
                <a:lnTo>
                  <a:pt x="483722" y="191703"/>
                </a:lnTo>
                <a:lnTo>
                  <a:pt x="515572" y="172948"/>
                </a:lnTo>
                <a:lnTo>
                  <a:pt x="531508" y="162782"/>
                </a:lnTo>
                <a:lnTo>
                  <a:pt x="543209" y="156673"/>
                </a:lnTo>
                <a:lnTo>
                  <a:pt x="564373" y="144210"/>
                </a:lnTo>
                <a:lnTo>
                  <a:pt x="601919" y="126023"/>
                </a:lnTo>
                <a:lnTo>
                  <a:pt x="620646" y="116246"/>
                </a:lnTo>
                <a:lnTo>
                  <a:pt x="631065" y="111905"/>
                </a:lnTo>
                <a:lnTo>
                  <a:pt x="649513" y="102967"/>
                </a:lnTo>
                <a:lnTo>
                  <a:pt x="693215" y="86005"/>
                </a:lnTo>
                <a:lnTo>
                  <a:pt x="714604" y="77091"/>
                </a:lnTo>
                <a:lnTo>
                  <a:pt x="723421" y="74281"/>
                </a:lnTo>
                <a:lnTo>
                  <a:pt x="738755" y="68329"/>
                </a:lnTo>
                <a:lnTo>
                  <a:pt x="789290" y="53281"/>
                </a:lnTo>
                <a:lnTo>
                  <a:pt x="812911" y="45751"/>
                </a:lnTo>
                <a:lnTo>
                  <a:pt x="819840" y="44184"/>
                </a:lnTo>
                <a:lnTo>
                  <a:pt x="831714" y="40649"/>
                </a:lnTo>
                <a:lnTo>
                  <a:pt x="890408" y="28233"/>
                </a:lnTo>
                <a:lnTo>
                  <a:pt x="891488" y="27989"/>
                </a:lnTo>
                <a:lnTo>
                  <a:pt x="891488" y="26353"/>
                </a:lnTo>
                <a:lnTo>
                  <a:pt x="920414" y="21016"/>
                </a:lnTo>
                <a:lnTo>
                  <a:pt x="926275" y="20363"/>
                </a:lnTo>
                <a:lnTo>
                  <a:pt x="936223" y="18645"/>
                </a:lnTo>
                <a:lnTo>
                  <a:pt x="1022729" y="9605"/>
                </a:lnTo>
                <a:lnTo>
                  <a:pt x="1049789" y="6588"/>
                </a:lnTo>
                <a:lnTo>
                  <a:pt x="1052637" y="6482"/>
                </a:lnTo>
                <a:lnTo>
                  <a:pt x="1057795" y="5941"/>
                </a:lnTo>
                <a:lnTo>
                  <a:pt x="1117794" y="3821"/>
                </a:lnTo>
                <a:lnTo>
                  <a:pt x="1117794" y="1237"/>
                </a:lnTo>
                <a:lnTo>
                  <a:pt x="1173109" y="1237"/>
                </a:lnTo>
                <a:lnTo>
                  <a:pt x="1190915" y="1237"/>
                </a:lnTo>
                <a:lnTo>
                  <a:pt x="1191329" y="1237"/>
                </a:lnTo>
                <a:lnTo>
                  <a:pt x="1191331" y="12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93976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254486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753B3EF-D4B7-4A79-9D8C-1B88C55A45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715251" y="1104900"/>
            <a:ext cx="2181225" cy="4564380"/>
          </a:xfrm>
          <a:custGeom>
            <a:avLst/>
            <a:gdLst>
              <a:gd name="connsiteX0" fmla="*/ 194587 w 2181225"/>
              <a:gd name="connsiteY0" fmla="*/ 0 h 4564380"/>
              <a:gd name="connsiteX1" fmla="*/ 1986638 w 2181225"/>
              <a:gd name="connsiteY1" fmla="*/ 0 h 4564380"/>
              <a:gd name="connsiteX2" fmla="*/ 2181225 w 2181225"/>
              <a:gd name="connsiteY2" fmla="*/ 194587 h 4564380"/>
              <a:gd name="connsiteX3" fmla="*/ 2181225 w 2181225"/>
              <a:gd name="connsiteY3" fmla="*/ 4369793 h 4564380"/>
              <a:gd name="connsiteX4" fmla="*/ 1986638 w 2181225"/>
              <a:gd name="connsiteY4" fmla="*/ 4564380 h 4564380"/>
              <a:gd name="connsiteX5" fmla="*/ 194587 w 2181225"/>
              <a:gd name="connsiteY5" fmla="*/ 4564380 h 4564380"/>
              <a:gd name="connsiteX6" fmla="*/ 0 w 2181225"/>
              <a:gd name="connsiteY6" fmla="*/ 4369793 h 4564380"/>
              <a:gd name="connsiteX7" fmla="*/ 0 w 2181225"/>
              <a:gd name="connsiteY7" fmla="*/ 194587 h 4564380"/>
              <a:gd name="connsiteX8" fmla="*/ 194587 w 2181225"/>
              <a:gd name="connsiteY8" fmla="*/ 0 h 456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81225" h="4564380">
                <a:moveTo>
                  <a:pt x="194587" y="0"/>
                </a:moveTo>
                <a:lnTo>
                  <a:pt x="1986638" y="0"/>
                </a:lnTo>
                <a:cubicBezTo>
                  <a:pt x="2094105" y="0"/>
                  <a:pt x="2181225" y="87120"/>
                  <a:pt x="2181225" y="194587"/>
                </a:cubicBezTo>
                <a:lnTo>
                  <a:pt x="2181225" y="4369793"/>
                </a:lnTo>
                <a:cubicBezTo>
                  <a:pt x="2181225" y="4477260"/>
                  <a:pt x="2094105" y="4564380"/>
                  <a:pt x="1986638" y="4564380"/>
                </a:cubicBezTo>
                <a:lnTo>
                  <a:pt x="194587" y="4564380"/>
                </a:lnTo>
                <a:cubicBezTo>
                  <a:pt x="87120" y="4564380"/>
                  <a:pt x="0" y="4477260"/>
                  <a:pt x="0" y="4369793"/>
                </a:cubicBezTo>
                <a:lnTo>
                  <a:pt x="0" y="194587"/>
                </a:lnTo>
                <a:cubicBezTo>
                  <a:pt x="0" y="87120"/>
                  <a:pt x="87120" y="0"/>
                  <a:pt x="19458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638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6.xml"/><Relationship Id="rId18" Type="http://schemas.openxmlformats.org/officeDocument/2006/relationships/slideLayout" Target="../slideLayouts/slideLayout151.xml"/><Relationship Id="rId26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5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0" Type="http://schemas.openxmlformats.org/officeDocument/2006/relationships/slideLayout" Target="../slideLayouts/slideLayout153.xml"/><Relationship Id="rId29" Type="http://schemas.openxmlformats.org/officeDocument/2006/relationships/theme" Target="../theme/theme11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24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8.xml"/><Relationship Id="rId23" Type="http://schemas.openxmlformats.org/officeDocument/2006/relationships/slideLayout" Target="../slideLayouts/slideLayout156.xml"/><Relationship Id="rId28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Relationship Id="rId22" Type="http://schemas.openxmlformats.org/officeDocument/2006/relationships/slideLayout" Target="../slideLayouts/slideLayout155.xml"/><Relationship Id="rId27" Type="http://schemas.openxmlformats.org/officeDocument/2006/relationships/slideLayout" Target="../slideLayouts/slideLayout16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6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6.xml"/><Relationship Id="rId26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25" Type="http://schemas.openxmlformats.org/officeDocument/2006/relationships/slideLayout" Target="../slideLayouts/slideLayout193.xml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20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24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23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78.xml"/><Relationship Id="rId19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Relationship Id="rId22" Type="http://schemas.openxmlformats.org/officeDocument/2006/relationships/slideLayout" Target="../slideLayouts/slideLayout190.xml"/><Relationship Id="rId27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.xml"/><Relationship Id="rId13" Type="http://schemas.openxmlformats.org/officeDocument/2006/relationships/slideLayout" Target="../slideLayouts/slideLayout207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206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196.xml"/><Relationship Id="rId16" Type="http://schemas.openxmlformats.org/officeDocument/2006/relationships/tags" Target="../tags/tag11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205.xml"/><Relationship Id="rId5" Type="http://schemas.openxmlformats.org/officeDocument/2006/relationships/slideLayout" Target="../slideLayouts/slideLayout199.xml"/><Relationship Id="rId15" Type="http://schemas.openxmlformats.org/officeDocument/2006/relationships/theme" Target="../theme/theme14.xml"/><Relationship Id="rId10" Type="http://schemas.openxmlformats.org/officeDocument/2006/relationships/slideLayout" Target="../slideLayouts/slideLayout204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4" Type="http://schemas.openxmlformats.org/officeDocument/2006/relationships/slideLayout" Target="../slideLayouts/slideLayout20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26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11.xml"/><Relationship Id="rId21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5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slideLayout" Target="../slideLayouts/slideLayout228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24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23" Type="http://schemas.openxmlformats.org/officeDocument/2006/relationships/slideLayout" Target="../slideLayouts/slideLayout231.xml"/><Relationship Id="rId10" Type="http://schemas.openxmlformats.org/officeDocument/2006/relationships/slideLayout" Target="../slideLayouts/slideLayout218.xml"/><Relationship Id="rId19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Relationship Id="rId22" Type="http://schemas.openxmlformats.org/officeDocument/2006/relationships/slideLayout" Target="../slideLayouts/slideLayout230.xml"/><Relationship Id="rId27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2.xml"/><Relationship Id="rId13" Type="http://schemas.openxmlformats.org/officeDocument/2006/relationships/slideLayout" Target="../slideLayouts/slideLayout247.xml"/><Relationship Id="rId18" Type="http://schemas.openxmlformats.org/officeDocument/2006/relationships/slideLayout" Target="../slideLayouts/slideLayout252.xml"/><Relationship Id="rId26" Type="http://schemas.openxmlformats.org/officeDocument/2006/relationships/slideLayout" Target="../slideLayouts/slideLayout260.xml"/><Relationship Id="rId3" Type="http://schemas.openxmlformats.org/officeDocument/2006/relationships/slideLayout" Target="../slideLayouts/slideLayout237.xml"/><Relationship Id="rId21" Type="http://schemas.openxmlformats.org/officeDocument/2006/relationships/slideLayout" Target="../slideLayouts/slideLayout255.xml"/><Relationship Id="rId7" Type="http://schemas.openxmlformats.org/officeDocument/2006/relationships/slideLayout" Target="../slideLayouts/slideLayout241.xml"/><Relationship Id="rId12" Type="http://schemas.openxmlformats.org/officeDocument/2006/relationships/slideLayout" Target="../slideLayouts/slideLayout246.xml"/><Relationship Id="rId17" Type="http://schemas.openxmlformats.org/officeDocument/2006/relationships/slideLayout" Target="../slideLayouts/slideLayout251.xml"/><Relationship Id="rId25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236.xml"/><Relationship Id="rId16" Type="http://schemas.openxmlformats.org/officeDocument/2006/relationships/slideLayout" Target="../slideLayouts/slideLayout250.xml"/><Relationship Id="rId20" Type="http://schemas.openxmlformats.org/officeDocument/2006/relationships/slideLayout" Target="../slideLayouts/slideLayout254.xml"/><Relationship Id="rId29" Type="http://schemas.openxmlformats.org/officeDocument/2006/relationships/theme" Target="../theme/theme16.xml"/><Relationship Id="rId1" Type="http://schemas.openxmlformats.org/officeDocument/2006/relationships/slideLayout" Target="../slideLayouts/slideLayout235.xml"/><Relationship Id="rId6" Type="http://schemas.openxmlformats.org/officeDocument/2006/relationships/slideLayout" Target="../slideLayouts/slideLayout240.xml"/><Relationship Id="rId11" Type="http://schemas.openxmlformats.org/officeDocument/2006/relationships/slideLayout" Target="../slideLayouts/slideLayout245.xml"/><Relationship Id="rId24" Type="http://schemas.openxmlformats.org/officeDocument/2006/relationships/slideLayout" Target="../slideLayouts/slideLayout258.xml"/><Relationship Id="rId5" Type="http://schemas.openxmlformats.org/officeDocument/2006/relationships/slideLayout" Target="../slideLayouts/slideLayout239.xml"/><Relationship Id="rId15" Type="http://schemas.openxmlformats.org/officeDocument/2006/relationships/slideLayout" Target="../slideLayouts/slideLayout249.xml"/><Relationship Id="rId23" Type="http://schemas.openxmlformats.org/officeDocument/2006/relationships/slideLayout" Target="../slideLayouts/slideLayout257.xml"/><Relationship Id="rId28" Type="http://schemas.openxmlformats.org/officeDocument/2006/relationships/slideLayout" Target="../slideLayouts/slideLayout262.xml"/><Relationship Id="rId10" Type="http://schemas.openxmlformats.org/officeDocument/2006/relationships/slideLayout" Target="../slideLayouts/slideLayout244.xml"/><Relationship Id="rId19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38.xml"/><Relationship Id="rId9" Type="http://schemas.openxmlformats.org/officeDocument/2006/relationships/slideLayout" Target="../slideLayouts/slideLayout243.xml"/><Relationship Id="rId14" Type="http://schemas.openxmlformats.org/officeDocument/2006/relationships/slideLayout" Target="../slideLayouts/slideLayout248.xml"/><Relationship Id="rId22" Type="http://schemas.openxmlformats.org/officeDocument/2006/relationships/slideLayout" Target="../slideLayouts/slideLayout256.xml"/><Relationship Id="rId27" Type="http://schemas.openxmlformats.org/officeDocument/2006/relationships/slideLayout" Target="../slideLayouts/slideLayout26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theme" Target="../theme/theme6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theme" Target="../theme/theme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10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BF353B-331B-4066-A8B1-937CD9342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C27269-AB9A-406A-A634-CF9DDF72E3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42107C-2BD1-4B0A-8384-8C36B5EF4B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1850" y="6181725"/>
            <a:ext cx="590550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lvl1pPr>
              <a:defRPr lang="en-ID" smtClean="0">
                <a:solidFill>
                  <a:srgbClr val="979DAC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3655FF-9B90-4F82-826E-04DB02B05EC5}"/>
              </a:ext>
            </a:extLst>
          </p:cNvPr>
          <p:cNvSpPr txBox="1"/>
          <p:nvPr userDrawn="1"/>
        </p:nvSpPr>
        <p:spPr>
          <a:xfrm>
            <a:off x="609600" y="6258667"/>
            <a:ext cx="3486150" cy="215444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800" spc="300" dirty="0">
                <a:solidFill>
                  <a:srgbClr val="979DAC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SENTATION TEMPLAT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20EDE18-4D6C-4D8E-BB9D-8D58AA09C241}"/>
              </a:ext>
            </a:extLst>
          </p:cNvPr>
          <p:cNvCxnSpPr>
            <a:cxnSpLocks/>
          </p:cNvCxnSpPr>
          <p:nvPr userDrawn="1"/>
        </p:nvCxnSpPr>
        <p:spPr>
          <a:xfrm>
            <a:off x="11830050" y="6366391"/>
            <a:ext cx="361950" cy="0"/>
          </a:xfrm>
          <a:prstGeom prst="line">
            <a:avLst/>
          </a:prstGeom>
          <a:ln w="15875">
            <a:solidFill>
              <a:srgbClr val="0466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5140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836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60789B-B2CE-47B4-919F-70C6DAB9C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D5A94A-FC61-48A6-9910-75A4B805B8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A1DBD-5C0C-4888-B917-44054DB025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7358C-9098-4674-ACDB-BDD372543B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7513AF-9268-426C-B69C-DB3CADD741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012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  <p:sldLayoutId id="2147483995" r:id="rId12"/>
    <p:sldLayoutId id="214748399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C0169B-A9D3-4BA8-81B2-7D53EAB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8C56E1-9AD3-42D3-A2CE-7B73529672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2EC1A2-C2A5-4323-BF31-352919B9E8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377AB3-EA0F-4564-BA11-CE86CEC2B74E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D1A3A-9C42-41BB-AD2B-86954C86C0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C9FF7F-659A-4D75-9BB5-67CC5253CA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FBD112-55D8-4CF9-923F-275B1C8B9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333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10" r:id="rId13"/>
    <p:sldLayoutId id="2147484011" r:id="rId14"/>
    <p:sldLayoutId id="2147484012" r:id="rId15"/>
    <p:sldLayoutId id="2147484013" r:id="rId16"/>
    <p:sldLayoutId id="2147484014" r:id="rId17"/>
    <p:sldLayoutId id="2147484015" r:id="rId18"/>
    <p:sldLayoutId id="2147484016" r:id="rId19"/>
    <p:sldLayoutId id="2147484017" r:id="rId20"/>
    <p:sldLayoutId id="2147484018" r:id="rId21"/>
    <p:sldLayoutId id="2147484019" r:id="rId22"/>
    <p:sldLayoutId id="2147484020" r:id="rId23"/>
    <p:sldLayoutId id="2147484021" r:id="rId24"/>
    <p:sldLayoutId id="2147484022" r:id="rId25"/>
    <p:sldLayoutId id="2147484023" r:id="rId26"/>
    <p:sldLayoutId id="2147484024" r:id="rId27"/>
    <p:sldLayoutId id="2147484025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4159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  <p:sldLayoutId id="2147484037" r:id="rId5"/>
    <p:sldLayoutId id="2147484038" r:id="rId6"/>
    <p:sldLayoutId id="2147484039" r:id="rId7"/>
  </p:sldLayoutIdLst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>
          <p15:clr>
            <a:srgbClr val="F26B43"/>
          </p15:clr>
        </p15:guide>
        <p15:guide id="2" pos="280">
          <p15:clr>
            <a:srgbClr val="F26B43"/>
          </p15:clr>
        </p15:guide>
        <p15:guide id="3" pos="7401">
          <p15:clr>
            <a:srgbClr val="F26B43"/>
          </p15:clr>
        </p15:guide>
        <p15:guide id="4" orient="horz" pos="278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5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7617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  <p:sldLayoutId id="2147484045" r:id="rId5"/>
    <p:sldLayoutId id="2147484046" r:id="rId6"/>
    <p:sldLayoutId id="2147484047" r:id="rId7"/>
    <p:sldLayoutId id="2147484048" r:id="rId8"/>
    <p:sldLayoutId id="2147484049" r:id="rId9"/>
    <p:sldLayoutId id="2147484050" r:id="rId10"/>
    <p:sldLayoutId id="2147484051" r:id="rId11"/>
    <p:sldLayoutId id="2147484052" r:id="rId12"/>
    <p:sldLayoutId id="2147484053" r:id="rId13"/>
    <p:sldLayoutId id="2147484054" r:id="rId14"/>
    <p:sldLayoutId id="2147484055" r:id="rId15"/>
    <p:sldLayoutId id="2147484056" r:id="rId16"/>
    <p:sldLayoutId id="2147484057" r:id="rId17"/>
    <p:sldLayoutId id="2147484058" r:id="rId18"/>
    <p:sldLayoutId id="2147484059" r:id="rId19"/>
    <p:sldLayoutId id="2147484060" r:id="rId20"/>
    <p:sldLayoutId id="2147484061" r:id="rId21"/>
    <p:sldLayoutId id="2147484062" r:id="rId22"/>
    <p:sldLayoutId id="2147484063" r:id="rId23"/>
    <p:sldLayoutId id="2147484064" r:id="rId24"/>
    <p:sldLayoutId id="2147484065" r:id="rId25"/>
    <p:sldLayoutId id="2147484066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C400A77-AD0B-405E-A5FA-E65B071C7C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43801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1" imgH="381" progId="TCLayout.ActiveDocument.1">
                  <p:embed/>
                </p:oleObj>
              </mc:Choice>
              <mc:Fallback>
                <p:oleObj name="think-cell Slide" r:id="rId18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C400A77-AD0B-405E-A5FA-E65B071C7C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B645C99-D70B-4790-B0BE-1C95AB6555B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2C23F0-DCF9-41B0-AA2D-CF76531A0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4D7B43-34F1-4B75-8BE8-A4E952C914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1E6030-3EAA-4394-A32C-021176AB37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427EFE-020E-4662-B68A-EB3CD7C19C13}" type="datetimeFigureOut">
              <a:rPr lang="en-ID" smtClean="0"/>
              <a:t>16/07/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072208-910C-4EDC-96B9-5730526A9A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0A8EAB-110A-49AD-BCB5-6042D31E8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72859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  <p:sldLayoutId id="2147484078" r:id="rId11"/>
    <p:sldLayoutId id="2147484079" r:id="rId12"/>
    <p:sldLayoutId id="2147484080" r:id="rId13"/>
    <p:sldLayoutId id="2147484081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lgGrid">
          <a:fgClr>
            <a:srgbClr val="F6F5F8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1692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  <p:sldLayoutId id="2147484091" r:id="rId9"/>
    <p:sldLayoutId id="2147484092" r:id="rId10"/>
    <p:sldLayoutId id="2147484093" r:id="rId11"/>
    <p:sldLayoutId id="2147484094" r:id="rId12"/>
    <p:sldLayoutId id="2147484095" r:id="rId13"/>
    <p:sldLayoutId id="2147484096" r:id="rId14"/>
    <p:sldLayoutId id="2147484097" r:id="rId15"/>
    <p:sldLayoutId id="2147484098" r:id="rId16"/>
    <p:sldLayoutId id="2147484099" r:id="rId17"/>
    <p:sldLayoutId id="2147484100" r:id="rId18"/>
    <p:sldLayoutId id="2147484101" r:id="rId19"/>
    <p:sldLayoutId id="2147484102" r:id="rId20"/>
    <p:sldLayoutId id="2147484103" r:id="rId21"/>
    <p:sldLayoutId id="2147484104" r:id="rId22"/>
    <p:sldLayoutId id="2147484105" r:id="rId23"/>
    <p:sldLayoutId id="2147484106" r:id="rId24"/>
    <p:sldLayoutId id="2147484107" r:id="rId25"/>
    <p:sldLayoutId id="2147484108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C0169B-A9D3-4BA8-81B2-7D53EAB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8C56E1-9AD3-42D3-A2CE-7B73529672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2EC1A2-C2A5-4323-BF31-352919B9E8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377AB3-EA0F-4564-BA11-CE86CEC2B74E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D1A3A-9C42-41BB-AD2B-86954C86C0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C9FF7F-659A-4D75-9BB5-67CC5253CA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FBD112-55D8-4CF9-923F-275B1C8B9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71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18" r:id="rId9"/>
    <p:sldLayoutId id="2147484119" r:id="rId10"/>
    <p:sldLayoutId id="2147484120" r:id="rId11"/>
    <p:sldLayoutId id="2147484121" r:id="rId12"/>
    <p:sldLayoutId id="2147484122" r:id="rId13"/>
    <p:sldLayoutId id="2147484123" r:id="rId14"/>
    <p:sldLayoutId id="2147484124" r:id="rId15"/>
    <p:sldLayoutId id="2147484125" r:id="rId16"/>
    <p:sldLayoutId id="2147484126" r:id="rId17"/>
    <p:sldLayoutId id="2147484127" r:id="rId18"/>
    <p:sldLayoutId id="2147484128" r:id="rId19"/>
    <p:sldLayoutId id="2147484129" r:id="rId20"/>
    <p:sldLayoutId id="2147484130" r:id="rId21"/>
    <p:sldLayoutId id="2147484131" r:id="rId22"/>
    <p:sldLayoutId id="2147484132" r:id="rId23"/>
    <p:sldLayoutId id="2147484133" r:id="rId24"/>
    <p:sldLayoutId id="2147484134" r:id="rId25"/>
    <p:sldLayoutId id="2147484135" r:id="rId26"/>
    <p:sldLayoutId id="2147484136" r:id="rId27"/>
    <p:sldLayoutId id="2147484137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60789B-B2CE-47B4-919F-70C6DAB9C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D5A94A-FC61-48A6-9910-75A4B805B8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A1DBD-5C0C-4888-B917-44054DB025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7358C-9098-4674-ACDB-BDD372543B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7513AF-9268-426C-B69C-DB3CADD741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162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839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</p:sldLayoutIdLst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>
          <p15:clr>
            <a:srgbClr val="F26B43"/>
          </p15:clr>
        </p15:guide>
        <p15:guide id="2" pos="280">
          <p15:clr>
            <a:srgbClr val="F26B43"/>
          </p15:clr>
        </p15:guide>
        <p15:guide id="3" pos="7401">
          <p15:clr>
            <a:srgbClr val="F26B43"/>
          </p15:clr>
        </p15:guide>
        <p15:guide id="4" orient="horz" pos="27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E94FC0-35D2-44AE-AEE5-71505C6D0A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88331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E94FC0-35D2-44AE-AEE5-71505C6D0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A7D9650-46B3-4E96-A668-2171F650283E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64A4A6-6757-E34C-869B-A73947FBD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65126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1F96B-B991-4D47-B8A1-D2EE9230D8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551709"/>
            <a:ext cx="11160126" cy="4625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0665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>
          <p15:clr>
            <a:srgbClr val="F26B43"/>
          </p15:clr>
        </p15:guide>
        <p15:guide id="2" pos="7355">
          <p15:clr>
            <a:srgbClr val="F26B43"/>
          </p15:clr>
        </p15:guide>
        <p15:guide id="3" orient="horz" pos="3997">
          <p15:clr>
            <a:srgbClr val="F26B43"/>
          </p15:clr>
        </p15:guide>
        <p15:guide id="4" orient="horz" pos="79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60789B-B2CE-47B4-919F-70C6DAB9C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D5A94A-FC61-48A6-9910-75A4B805B8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A1DBD-5C0C-4888-B917-44054DB025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3D84E3-1DE8-4F33-A884-614083C34056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7358C-9098-4674-ACDB-BDD372543B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7513AF-9268-426C-B69C-DB3CADD741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9078B4-09E3-4E92-BBC9-74AC7508B2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894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C0169B-A9D3-4BA8-81B2-7D53EAB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8C56E1-9AD3-42D3-A2CE-7B73529672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2EC1A2-C2A5-4323-BF31-352919B9E8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377AB3-EA0F-4564-BA11-CE86CEC2B74E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D1A3A-9C42-41BB-AD2B-86954C86C0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C9FF7F-659A-4D75-9BB5-67CC5253CA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FBD112-55D8-4CF9-923F-275B1C8B9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273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  <p:sldLayoutId id="2147483878" r:id="rId13"/>
    <p:sldLayoutId id="2147483879" r:id="rId14"/>
    <p:sldLayoutId id="2147483880" r:id="rId15"/>
    <p:sldLayoutId id="2147483881" r:id="rId16"/>
    <p:sldLayoutId id="2147483882" r:id="rId17"/>
    <p:sldLayoutId id="2147483883" r:id="rId18"/>
    <p:sldLayoutId id="2147483884" r:id="rId19"/>
    <p:sldLayoutId id="2147483885" r:id="rId20"/>
    <p:sldLayoutId id="2147483886" r:id="rId21"/>
    <p:sldLayoutId id="2147483887" r:id="rId22"/>
    <p:sldLayoutId id="2147483888" r:id="rId23"/>
    <p:sldLayoutId id="2147483893" r:id="rId24"/>
    <p:sldLayoutId id="2147483894" r:id="rId25"/>
    <p:sldLayoutId id="2147483895" r:id="rId26"/>
    <p:sldLayoutId id="2147483896" r:id="rId27"/>
    <p:sldLayoutId id="2147483897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C0169B-A9D3-4BA8-81B2-7D53EAB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8C56E1-9AD3-42D3-A2CE-7B73529672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2EC1A2-C2A5-4323-BF31-352919B9E8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377AB3-EA0F-4564-BA11-CE86CEC2B74E}" type="datetimeFigureOut">
              <a:rPr lang="en-US" smtClean="0"/>
              <a:t>7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D1A3A-9C42-41BB-AD2B-86954C86C0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C9FF7F-659A-4D75-9BB5-67CC5253CA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FBD112-55D8-4CF9-923F-275B1C8B9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459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7" r:id="rId16"/>
    <p:sldLayoutId id="2147483948" r:id="rId17"/>
    <p:sldLayoutId id="2147483949" r:id="rId18"/>
    <p:sldLayoutId id="2147483950" r:id="rId19"/>
    <p:sldLayoutId id="2147483951" r:id="rId20"/>
    <p:sldLayoutId id="2147483952" r:id="rId21"/>
    <p:sldLayoutId id="2147483953" r:id="rId22"/>
    <p:sldLayoutId id="2147483954" r:id="rId23"/>
    <p:sldLayoutId id="2147483959" r:id="rId24"/>
    <p:sldLayoutId id="2147483960" r:id="rId25"/>
    <p:sldLayoutId id="2147483961" r:id="rId26"/>
    <p:sldLayoutId id="2147483962" r:id="rId27"/>
    <p:sldLayoutId id="2147483963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BF353B-331B-4066-A8B1-937CD9342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C27269-AB9A-406A-A634-CF9DDF72E3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42107C-2BD1-4B0A-8384-8C36B5EF4B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1850" y="6181725"/>
            <a:ext cx="590550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lvl1pPr>
              <a:defRPr lang="en-ID" smtClean="0">
                <a:solidFill>
                  <a:srgbClr val="979DAC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r"/>
            <a:fld id="{8BEBFD21-0730-494A-B9A8-7A1E682354E2}" type="slidenum">
              <a:rPr lang="en-ID" smtClean="0"/>
              <a:pPr algn="r"/>
              <a:t>‹#›</a:t>
            </a:fld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3655FF-9B90-4F82-826E-04DB02B05EC5}"/>
              </a:ext>
            </a:extLst>
          </p:cNvPr>
          <p:cNvSpPr txBox="1"/>
          <p:nvPr userDrawn="1"/>
        </p:nvSpPr>
        <p:spPr>
          <a:xfrm>
            <a:off x="609600" y="6258667"/>
            <a:ext cx="3486150" cy="215444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800" spc="300" dirty="0">
                <a:solidFill>
                  <a:srgbClr val="979DAC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SENTATION TEMPLAT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20EDE18-4D6C-4D8E-BB9D-8D58AA09C241}"/>
              </a:ext>
            </a:extLst>
          </p:cNvPr>
          <p:cNvCxnSpPr>
            <a:cxnSpLocks/>
          </p:cNvCxnSpPr>
          <p:nvPr userDrawn="1"/>
        </p:nvCxnSpPr>
        <p:spPr>
          <a:xfrm>
            <a:off x="11830050" y="6366391"/>
            <a:ext cx="361950" cy="0"/>
          </a:xfrm>
          <a:prstGeom prst="line">
            <a:avLst/>
          </a:prstGeom>
          <a:ln w="15875">
            <a:solidFill>
              <a:srgbClr val="0466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8521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7" r:id="rId3"/>
    <p:sldLayoutId id="2147483968" r:id="rId4"/>
    <p:sldLayoutId id="2147483969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E94FC0-35D2-44AE-AEE5-71505C6D0A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70678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E94FC0-35D2-44AE-AEE5-71505C6D0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A7D9650-46B3-4E96-A668-2171F650283E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64A4A6-6757-E34C-869B-A73947FBD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65126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1F96B-B991-4D47-B8A1-D2EE9230D8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551709"/>
            <a:ext cx="11160126" cy="4625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9462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  <p:sldLayoutId id="214748398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>
          <p15:clr>
            <a:srgbClr val="F26B43"/>
          </p15:clr>
        </p15:guide>
        <p15:guide id="2" pos="7355">
          <p15:clr>
            <a:srgbClr val="F26B43"/>
          </p15:clr>
        </p15:guide>
        <p15:guide id="3" orient="horz" pos="3997">
          <p15:clr>
            <a:srgbClr val="F26B43"/>
          </p15:clr>
        </p15:guide>
        <p15:guide id="4" orient="horz" pos="7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jpeg"/><Relationship Id="rId7" Type="http://schemas.openxmlformats.org/officeDocument/2006/relationships/image" Target="../media/image14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21.png"/><Relationship Id="rId5" Type="http://schemas.openxmlformats.org/officeDocument/2006/relationships/image" Target="../media/image38.emf"/><Relationship Id="rId4" Type="http://schemas.openxmlformats.org/officeDocument/2006/relationships/image" Target="../media/image3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114.xml"/><Relationship Id="rId7" Type="http://schemas.openxmlformats.org/officeDocument/2006/relationships/oleObject" Target="../embeddings/oleObject14.bin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microsoft.com/office/2007/relationships/hdphoto" Target="../media/hdphoto7.wdp"/><Relationship Id="rId11" Type="http://schemas.openxmlformats.org/officeDocument/2006/relationships/image" Target="../media/image21.png"/><Relationship Id="rId5" Type="http://schemas.openxmlformats.org/officeDocument/2006/relationships/image" Target="../media/image39.png"/><Relationship Id="rId10" Type="http://schemas.microsoft.com/office/2007/relationships/hdphoto" Target="../media/hdphoto8.wdp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21.png"/><Relationship Id="rId5" Type="http://schemas.openxmlformats.org/officeDocument/2006/relationships/image" Target="../media/image41.emf"/><Relationship Id="rId4" Type="http://schemas.microsoft.com/office/2007/relationships/hdphoto" Target="../media/hdphoto6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52.xml"/><Relationship Id="rId5" Type="http://schemas.openxmlformats.org/officeDocument/2006/relationships/image" Target="../media/image21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6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microsoft.com/office/2007/relationships/hdphoto" Target="../media/hdphoto6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6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microsoft.com/office/2007/relationships/hdphoto" Target="../media/hdphoto6.wdp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1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4.xml"/><Relationship Id="rId6" Type="http://schemas.openxmlformats.org/officeDocument/2006/relationships/image" Target="../media/image21.png"/><Relationship Id="rId5" Type="http://schemas.openxmlformats.org/officeDocument/2006/relationships/image" Target="../media/image17.png"/><Relationship Id="rId4" Type="http://schemas.microsoft.com/office/2007/relationships/hdphoto" Target="../media/hdphoto2.wdp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5.xml"/><Relationship Id="rId6" Type="http://schemas.openxmlformats.org/officeDocument/2006/relationships/image" Target="../media/image49.jpe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50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7" Type="http://schemas.openxmlformats.org/officeDocument/2006/relationships/image" Target="../media/image21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88.xml"/><Relationship Id="rId6" Type="http://schemas.openxmlformats.org/officeDocument/2006/relationships/image" Target="../media/image53.png"/><Relationship Id="rId5" Type="http://schemas.openxmlformats.org/officeDocument/2006/relationships/image" Target="../media/image11.png"/><Relationship Id="rId4" Type="http://schemas.openxmlformats.org/officeDocument/2006/relationships/image" Target="../media/image5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4.xml"/><Relationship Id="rId6" Type="http://schemas.openxmlformats.org/officeDocument/2006/relationships/image" Target="../media/image22.png"/><Relationship Id="rId5" Type="http://schemas.openxmlformats.org/officeDocument/2006/relationships/image" Target="../media/image17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08.xml"/><Relationship Id="rId5" Type="http://schemas.openxmlformats.org/officeDocument/2006/relationships/image" Target="../media/image21.pn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8.xml"/><Relationship Id="rId5" Type="http://schemas.openxmlformats.org/officeDocument/2006/relationships/image" Target="../media/image21.png"/><Relationship Id="rId4" Type="http://schemas.openxmlformats.org/officeDocument/2006/relationships/image" Target="../media/image2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30.png"/><Relationship Id="rId5" Type="http://schemas.microsoft.com/office/2007/relationships/hdphoto" Target="../media/hdphoto4.wdp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32.jpeg"/><Relationship Id="rId4" Type="http://schemas.microsoft.com/office/2007/relationships/hdphoto" Target="../media/hdphoto5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microsoft.com/office/2007/relationships/hdphoto" Target="../media/hdphoto6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hqprint">
            <a:alphaModFix amt="17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: Single Corner Rounded 7">
            <a:extLst>
              <a:ext uri="{FF2B5EF4-FFF2-40B4-BE49-F238E27FC236}">
                <a16:creationId xmlns:a16="http://schemas.microsoft.com/office/drawing/2014/main" id="{8974CCCA-77B8-4D4B-9685-2E38607F37CE}"/>
              </a:ext>
            </a:extLst>
          </p:cNvPr>
          <p:cNvSpPr/>
          <p:nvPr/>
        </p:nvSpPr>
        <p:spPr>
          <a:xfrm flipH="1">
            <a:off x="0" y="304676"/>
            <a:ext cx="5820230" cy="6553324"/>
          </a:xfrm>
          <a:prstGeom prst="round1Rect">
            <a:avLst>
              <a:gd name="adj" fmla="val 32642"/>
            </a:avLst>
          </a:prstGeom>
          <a:solidFill>
            <a:srgbClr val="1D3166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8D3A34E-D6A7-AC47-B9DC-053B0D4411DF}"/>
              </a:ext>
            </a:extLst>
          </p:cNvPr>
          <p:cNvSpPr/>
          <p:nvPr/>
        </p:nvSpPr>
        <p:spPr>
          <a:xfrm>
            <a:off x="3784466" y="0"/>
            <a:ext cx="2035764" cy="82731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3" name="Picture Placeholder 20">
            <a:extLst>
              <a:ext uri="{FF2B5EF4-FFF2-40B4-BE49-F238E27FC236}">
                <a16:creationId xmlns:a16="http://schemas.microsoft.com/office/drawing/2014/main" id="{02C46A21-6F51-2642-8E4D-C7235FC48C4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0225" y="827088"/>
            <a:ext cx="11131550" cy="4819650"/>
          </a:xfrm>
          <a:custGeom>
            <a:avLst/>
            <a:gdLst>
              <a:gd name="connsiteX0" fmla="*/ 1470815 w 11132612"/>
              <a:gd name="connsiteY0" fmla="*/ 0 h 4818867"/>
              <a:gd name="connsiteX1" fmla="*/ 11132612 w 11132612"/>
              <a:gd name="connsiteY1" fmla="*/ 0 h 4818867"/>
              <a:gd name="connsiteX2" fmla="*/ 11132612 w 11132612"/>
              <a:gd name="connsiteY2" fmla="*/ 4818867 h 4818867"/>
              <a:gd name="connsiteX3" fmla="*/ 0 w 11132612"/>
              <a:gd name="connsiteY3" fmla="*/ 4818867 h 4818867"/>
              <a:gd name="connsiteX4" fmla="*/ 0 w 11132612"/>
              <a:gd name="connsiteY4" fmla="*/ 1470815 h 4818867"/>
              <a:gd name="connsiteX5" fmla="*/ 1470815 w 11132612"/>
              <a:gd name="connsiteY5" fmla="*/ 0 h 481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32612" h="4818867">
                <a:moveTo>
                  <a:pt x="1470815" y="0"/>
                </a:moveTo>
                <a:lnTo>
                  <a:pt x="11132612" y="0"/>
                </a:lnTo>
                <a:lnTo>
                  <a:pt x="11132612" y="4818867"/>
                </a:lnTo>
                <a:lnTo>
                  <a:pt x="0" y="4818867"/>
                </a:lnTo>
                <a:lnTo>
                  <a:pt x="0" y="1470815"/>
                </a:lnTo>
                <a:cubicBezTo>
                  <a:pt x="0" y="658506"/>
                  <a:pt x="658506" y="0"/>
                  <a:pt x="1470815" y="0"/>
                </a:cubicBezTo>
                <a:close/>
              </a:path>
            </a:pathLst>
          </a:custGeom>
        </p:spPr>
      </p:pic>
      <p:sp>
        <p:nvSpPr>
          <p:cNvPr id="54" name="Freeform: Shape 38">
            <a:extLst>
              <a:ext uri="{FF2B5EF4-FFF2-40B4-BE49-F238E27FC236}">
                <a16:creationId xmlns:a16="http://schemas.microsoft.com/office/drawing/2014/main" id="{7469CFAE-84AB-0E4B-B4E8-4D72DF442AA9}"/>
              </a:ext>
            </a:extLst>
          </p:cNvPr>
          <p:cNvSpPr/>
          <p:nvPr/>
        </p:nvSpPr>
        <p:spPr>
          <a:xfrm flipH="1">
            <a:off x="529960" y="826759"/>
            <a:ext cx="6761350" cy="4818867"/>
          </a:xfrm>
          <a:custGeom>
            <a:avLst/>
            <a:gdLst>
              <a:gd name="connsiteX0" fmla="*/ 5290535 w 6761350"/>
              <a:gd name="connsiteY0" fmla="*/ 0 h 4818867"/>
              <a:gd name="connsiteX1" fmla="*/ 0 w 6761350"/>
              <a:gd name="connsiteY1" fmla="*/ 0 h 4818867"/>
              <a:gd name="connsiteX2" fmla="*/ 1470815 w 6761350"/>
              <a:gd name="connsiteY2" fmla="*/ 1470815 h 4818867"/>
              <a:gd name="connsiteX3" fmla="*/ 1470815 w 6761350"/>
              <a:gd name="connsiteY3" fmla="*/ 4818867 h 4818867"/>
              <a:gd name="connsiteX4" fmla="*/ 6761350 w 6761350"/>
              <a:gd name="connsiteY4" fmla="*/ 4818867 h 4818867"/>
              <a:gd name="connsiteX5" fmla="*/ 6761350 w 6761350"/>
              <a:gd name="connsiteY5" fmla="*/ 1470815 h 4818867"/>
              <a:gd name="connsiteX6" fmla="*/ 5290535 w 6761350"/>
              <a:gd name="connsiteY6" fmla="*/ 0 h 481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1350" h="4818867">
                <a:moveTo>
                  <a:pt x="5290535" y="0"/>
                </a:moveTo>
                <a:lnTo>
                  <a:pt x="0" y="0"/>
                </a:lnTo>
                <a:cubicBezTo>
                  <a:pt x="812309" y="0"/>
                  <a:pt x="1470815" y="658506"/>
                  <a:pt x="1470815" y="1470815"/>
                </a:cubicBezTo>
                <a:lnTo>
                  <a:pt x="1470815" y="4818867"/>
                </a:lnTo>
                <a:lnTo>
                  <a:pt x="6761350" y="4818867"/>
                </a:lnTo>
                <a:lnTo>
                  <a:pt x="6761350" y="1470815"/>
                </a:lnTo>
                <a:cubicBezTo>
                  <a:pt x="6761350" y="658506"/>
                  <a:pt x="6102844" y="0"/>
                  <a:pt x="5290535" y="0"/>
                </a:cubicBezTo>
                <a:close/>
              </a:path>
            </a:pathLst>
          </a:custGeom>
          <a:solidFill>
            <a:sysClr val="windowText" lastClr="000000">
              <a:alpha val="20000"/>
            </a:sysClr>
          </a:solidFill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Rectangle: Single Corner Rounded 34">
            <a:extLst>
              <a:ext uri="{FF2B5EF4-FFF2-40B4-BE49-F238E27FC236}">
                <a16:creationId xmlns:a16="http://schemas.microsoft.com/office/drawing/2014/main" id="{C5319A2F-299F-8C48-B0D2-10731304CFF3}"/>
              </a:ext>
            </a:extLst>
          </p:cNvPr>
          <p:cNvSpPr/>
          <p:nvPr/>
        </p:nvSpPr>
        <p:spPr>
          <a:xfrm flipH="1">
            <a:off x="5819965" y="826759"/>
            <a:ext cx="5842075" cy="4818867"/>
          </a:xfrm>
          <a:prstGeom prst="round1Rect">
            <a:avLst>
              <a:gd name="adj" fmla="val 30522"/>
            </a:avLst>
          </a:prstGeom>
          <a:solidFill>
            <a:srgbClr val="1D3166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8" name="Picture 57" descr="Text, logo&#10;&#10;Description automatically generated">
            <a:extLst>
              <a:ext uri="{FF2B5EF4-FFF2-40B4-BE49-F238E27FC236}">
                <a16:creationId xmlns:a16="http://schemas.microsoft.com/office/drawing/2014/main" id="{73D0FE19-DA1B-F742-A3C1-EC98B78C5EB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1366" y="5917826"/>
            <a:ext cx="2270409" cy="863646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BBBDD4DD-2A74-9D4E-A694-DECF014CE15A}"/>
              </a:ext>
            </a:extLst>
          </p:cNvPr>
          <p:cNvSpPr txBox="1"/>
          <p:nvPr/>
        </p:nvSpPr>
        <p:spPr>
          <a:xfrm>
            <a:off x="5873674" y="1856444"/>
            <a:ext cx="5660667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800" b="1" dirty="0">
                <a:solidFill>
                  <a:prstClr val="white"/>
                </a:solidFill>
                <a:latin typeface="Montserrat" pitchFamily="2" charset="77"/>
                <a:cs typeface="Segoe UI" panose="020B0502040204020203" pitchFamily="34" charset="0"/>
              </a:rPr>
              <a:t>PENGAWASAN TERTIB USAHA JASA KONSTRUKSI</a:t>
            </a:r>
          </a:p>
          <a:p>
            <a:pPr algn="r"/>
            <a:r>
              <a:rPr lang="en-US" sz="2400" b="1" dirty="0">
                <a:solidFill>
                  <a:prstClr val="white"/>
                </a:solidFill>
                <a:latin typeface="Montserrat" pitchFamily="2" charset="77"/>
                <a:cs typeface="Segoe UI" panose="020B0502040204020203" pitchFamily="34" charset="0"/>
              </a:rPr>
              <a:t>BERDASARKAN </a:t>
            </a:r>
          </a:p>
          <a:p>
            <a:pPr algn="r"/>
            <a:r>
              <a:rPr lang="en-US" sz="2000" b="1" dirty="0">
                <a:solidFill>
                  <a:prstClr val="white"/>
                </a:solidFill>
                <a:latin typeface="Montserrat" pitchFamily="2" charset="77"/>
                <a:cs typeface="Segoe UI" panose="020B0502040204020203" pitchFamily="34" charset="0"/>
              </a:rPr>
              <a:t>PERMEN PUPR NOMOR 01 TAHUN 2023</a:t>
            </a:r>
          </a:p>
          <a:p>
            <a:pPr algn="r"/>
            <a:r>
              <a:rPr lang="en-US" sz="2000" b="1" dirty="0">
                <a:solidFill>
                  <a:prstClr val="white"/>
                </a:solidFill>
                <a:latin typeface="Montserrat" pitchFamily="2" charset="77"/>
                <a:cs typeface="Segoe UI" panose="020B0502040204020203" pitchFamily="34" charset="0"/>
              </a:rPr>
              <a:t> TENTANG PENGAWASAN PENYELENGGARAAN </a:t>
            </a:r>
          </a:p>
          <a:p>
            <a:pPr algn="r"/>
            <a:r>
              <a:rPr lang="en-US" sz="2000" b="1" dirty="0">
                <a:solidFill>
                  <a:prstClr val="white"/>
                </a:solidFill>
                <a:latin typeface="Montserrat" pitchFamily="2" charset="77"/>
                <a:cs typeface="Segoe UI" panose="020B0502040204020203" pitchFamily="34" charset="0"/>
              </a:rPr>
              <a:t>JASA KONSTRUKSI YANG DILAKSANAKAN PEMERINTAH DAERAH PROVINSI, KABUPATEN, DAN KOTA </a:t>
            </a:r>
          </a:p>
        </p:txBody>
      </p:sp>
      <p:sp>
        <p:nvSpPr>
          <p:cNvPr id="79" name="Freeform: Shape 27">
            <a:extLst>
              <a:ext uri="{FF2B5EF4-FFF2-40B4-BE49-F238E27FC236}">
                <a16:creationId xmlns:a16="http://schemas.microsoft.com/office/drawing/2014/main" id="{84DCB9A6-E68D-BD42-BF7F-10CB3C3F25F7}"/>
              </a:ext>
            </a:extLst>
          </p:cNvPr>
          <p:cNvSpPr/>
          <p:nvPr/>
        </p:nvSpPr>
        <p:spPr>
          <a:xfrm rot="10800000" flipH="1">
            <a:off x="11036037" y="247256"/>
            <a:ext cx="904780" cy="1006276"/>
          </a:xfrm>
          <a:custGeom>
            <a:avLst/>
            <a:gdLst>
              <a:gd name="connsiteX0" fmla="*/ 2026476 w 4052929"/>
              <a:gd name="connsiteY0" fmla="*/ 5636345 h 5636345"/>
              <a:gd name="connsiteX1" fmla="*/ 2026457 w 4052929"/>
              <a:gd name="connsiteY1" fmla="*/ 5636344 h 5636345"/>
              <a:gd name="connsiteX2" fmla="*/ 1931388 w 4052929"/>
              <a:gd name="connsiteY2" fmla="*/ 5636344 h 5636345"/>
              <a:gd name="connsiteX3" fmla="*/ 1931388 w 4052929"/>
              <a:gd name="connsiteY3" fmla="*/ 5631785 h 5636345"/>
              <a:gd name="connsiteX4" fmla="*/ 1833395 w 4052929"/>
              <a:gd name="connsiteY4" fmla="*/ 5627145 h 5636345"/>
              <a:gd name="connsiteX5" fmla="*/ 1827450 w 4052929"/>
              <a:gd name="connsiteY5" fmla="*/ 5626294 h 5636345"/>
              <a:gd name="connsiteX6" fmla="*/ 1819528 w 4052929"/>
              <a:gd name="connsiteY6" fmla="*/ 5625895 h 5636345"/>
              <a:gd name="connsiteX7" fmla="*/ 1470865 w 4052929"/>
              <a:gd name="connsiteY7" fmla="*/ 5559133 h 5636345"/>
              <a:gd name="connsiteX8" fmla="*/ 1462662 w 4052929"/>
              <a:gd name="connsiteY8" fmla="*/ 5556407 h 5636345"/>
              <a:gd name="connsiteX9" fmla="*/ 1461248 w 4052929"/>
              <a:gd name="connsiteY9" fmla="*/ 5556066 h 5636345"/>
              <a:gd name="connsiteX10" fmla="*/ 1447176 w 4052929"/>
              <a:gd name="connsiteY10" fmla="*/ 5551256 h 5636345"/>
              <a:gd name="connsiteX11" fmla="*/ 1305187 w 4052929"/>
              <a:gd name="connsiteY11" fmla="*/ 5504049 h 5636345"/>
              <a:gd name="connsiteX12" fmla="*/ 1290613 w 4052929"/>
              <a:gd name="connsiteY12" fmla="*/ 5497757 h 5636345"/>
              <a:gd name="connsiteX13" fmla="*/ 1285074 w 4052929"/>
              <a:gd name="connsiteY13" fmla="*/ 5495865 h 5636345"/>
              <a:gd name="connsiteX14" fmla="*/ 1255130 w 4052929"/>
              <a:gd name="connsiteY14" fmla="*/ 5482439 h 5636345"/>
              <a:gd name="connsiteX15" fmla="*/ 1146200 w 4052929"/>
              <a:gd name="connsiteY15" fmla="*/ 5435416 h 5636345"/>
              <a:gd name="connsiteX16" fmla="*/ 1125869 w 4052929"/>
              <a:gd name="connsiteY16" fmla="*/ 5424488 h 5636345"/>
              <a:gd name="connsiteX17" fmla="*/ 1116617 w 4052929"/>
              <a:gd name="connsiteY17" fmla="*/ 5420340 h 5636345"/>
              <a:gd name="connsiteX18" fmla="*/ 1084126 w 4052929"/>
              <a:gd name="connsiteY18" fmla="*/ 5402050 h 5636345"/>
              <a:gd name="connsiteX19" fmla="*/ 994593 w 4052929"/>
              <a:gd name="connsiteY19" fmla="*/ 5353924 h 5636345"/>
              <a:gd name="connsiteX20" fmla="*/ 969219 w 4052929"/>
              <a:gd name="connsiteY20" fmla="*/ 5337367 h 5636345"/>
              <a:gd name="connsiteX21" fmla="*/ 956717 w 4052929"/>
              <a:gd name="connsiteY21" fmla="*/ 5330331 h 5636345"/>
              <a:gd name="connsiteX22" fmla="*/ 925779 w 4052929"/>
              <a:gd name="connsiteY22" fmla="*/ 5309023 h 5636345"/>
              <a:gd name="connsiteX23" fmla="*/ 851058 w 4052929"/>
              <a:gd name="connsiteY23" fmla="*/ 5260266 h 5636345"/>
              <a:gd name="connsiteX24" fmla="*/ 821450 w 4052929"/>
              <a:gd name="connsiteY24" fmla="*/ 5237170 h 5636345"/>
              <a:gd name="connsiteX25" fmla="*/ 806213 w 4052929"/>
              <a:gd name="connsiteY25" fmla="*/ 5226677 h 5636345"/>
              <a:gd name="connsiteX26" fmla="*/ 778467 w 4052929"/>
              <a:gd name="connsiteY26" fmla="*/ 5203639 h 5636345"/>
              <a:gd name="connsiteX27" fmla="*/ 716284 w 4052929"/>
              <a:gd name="connsiteY27" fmla="*/ 5155132 h 5636345"/>
              <a:gd name="connsiteX28" fmla="*/ 683347 w 4052929"/>
              <a:gd name="connsiteY28" fmla="*/ 5124665 h 5636345"/>
              <a:gd name="connsiteX29" fmla="*/ 665943 w 4052929"/>
              <a:gd name="connsiteY29" fmla="*/ 5110215 h 5636345"/>
              <a:gd name="connsiteX30" fmla="*/ 642071 w 4052929"/>
              <a:gd name="connsiteY30" fmla="*/ 5086485 h 5636345"/>
              <a:gd name="connsiteX31" fmla="*/ 590965 w 4052929"/>
              <a:gd name="connsiteY31" fmla="*/ 5039213 h 5636345"/>
              <a:gd name="connsiteX32" fmla="*/ 555689 w 4052929"/>
              <a:gd name="connsiteY32" fmla="*/ 5000616 h 5636345"/>
              <a:gd name="connsiteX33" fmla="*/ 536746 w 4052929"/>
              <a:gd name="connsiteY33" fmla="*/ 4981786 h 5636345"/>
              <a:gd name="connsiteX34" fmla="*/ 516962 w 4052929"/>
              <a:gd name="connsiteY34" fmla="*/ 4958245 h 5636345"/>
              <a:gd name="connsiteX35" fmla="*/ 475790 w 4052929"/>
              <a:gd name="connsiteY35" fmla="*/ 4913198 h 5636345"/>
              <a:gd name="connsiteX36" fmla="*/ 439250 w 4052929"/>
              <a:gd name="connsiteY36" fmla="*/ 4865774 h 5636345"/>
              <a:gd name="connsiteX37" fmla="*/ 419461 w 4052929"/>
              <a:gd name="connsiteY37" fmla="*/ 4842229 h 5636345"/>
              <a:gd name="connsiteX38" fmla="*/ 403714 w 4052929"/>
              <a:gd name="connsiteY38" fmla="*/ 4819654 h 5636345"/>
              <a:gd name="connsiteX39" fmla="*/ 371448 w 4052929"/>
              <a:gd name="connsiteY39" fmla="*/ 4777779 h 5636345"/>
              <a:gd name="connsiteX40" fmla="*/ 334796 w 4052929"/>
              <a:gd name="connsiteY40" fmla="*/ 4720862 h 5636345"/>
              <a:gd name="connsiteX41" fmla="*/ 314928 w 4052929"/>
              <a:gd name="connsiteY41" fmla="*/ 4692381 h 5636345"/>
              <a:gd name="connsiteX42" fmla="*/ 302989 w 4052929"/>
              <a:gd name="connsiteY42" fmla="*/ 4671470 h 5636345"/>
              <a:gd name="connsiteX43" fmla="*/ 278633 w 4052929"/>
              <a:gd name="connsiteY43" fmla="*/ 4633647 h 5636345"/>
              <a:gd name="connsiteX44" fmla="*/ 243091 w 4052929"/>
              <a:gd name="connsiteY44" fmla="*/ 4566549 h 5636345"/>
              <a:gd name="connsiteX45" fmla="*/ 223983 w 4052929"/>
              <a:gd name="connsiteY45" fmla="*/ 4533081 h 5636345"/>
              <a:gd name="connsiteX46" fmla="*/ 215499 w 4052929"/>
              <a:gd name="connsiteY46" fmla="*/ 4514462 h 5636345"/>
              <a:gd name="connsiteX47" fmla="*/ 198034 w 4052929"/>
              <a:gd name="connsiteY47" fmla="*/ 4481494 h 5636345"/>
              <a:gd name="connsiteX48" fmla="*/ 164885 w 4052929"/>
              <a:gd name="connsiteY48" fmla="*/ 4403393 h 5636345"/>
              <a:gd name="connsiteX49" fmla="*/ 147466 w 4052929"/>
              <a:gd name="connsiteY49" fmla="*/ 4365168 h 5636345"/>
              <a:gd name="connsiteX50" fmla="*/ 141973 w 4052929"/>
              <a:gd name="connsiteY50" fmla="*/ 4349412 h 5636345"/>
              <a:gd name="connsiteX51" fmla="*/ 130341 w 4052929"/>
              <a:gd name="connsiteY51" fmla="*/ 4322007 h 5636345"/>
              <a:gd name="connsiteX52" fmla="*/ 100934 w 4052929"/>
              <a:gd name="connsiteY52" fmla="*/ 4231697 h 5636345"/>
              <a:gd name="connsiteX53" fmla="*/ 86217 w 4052929"/>
              <a:gd name="connsiteY53" fmla="*/ 4189483 h 5636345"/>
              <a:gd name="connsiteX54" fmla="*/ 83156 w 4052929"/>
              <a:gd name="connsiteY54" fmla="*/ 4177100 h 5636345"/>
              <a:gd name="connsiteX55" fmla="*/ 76246 w 4052929"/>
              <a:gd name="connsiteY55" fmla="*/ 4155880 h 5636345"/>
              <a:gd name="connsiteX56" fmla="*/ 51982 w 4052929"/>
              <a:gd name="connsiteY56" fmla="*/ 4050988 h 5636345"/>
              <a:gd name="connsiteX57" fmla="*/ 41074 w 4052929"/>
              <a:gd name="connsiteY57" fmla="*/ 4006862 h 5636345"/>
              <a:gd name="connsiteX58" fmla="*/ 39797 w 4052929"/>
              <a:gd name="connsiteY58" fmla="*/ 3998315 h 5636345"/>
              <a:gd name="connsiteX59" fmla="*/ 36440 w 4052929"/>
              <a:gd name="connsiteY59" fmla="*/ 3983802 h 5636345"/>
              <a:gd name="connsiteX60" fmla="*/ 18774 w 4052929"/>
              <a:gd name="connsiteY60" fmla="*/ 3857617 h 5636345"/>
              <a:gd name="connsiteX61" fmla="*/ 12876 w 4052929"/>
              <a:gd name="connsiteY61" fmla="*/ 3818146 h 5636345"/>
              <a:gd name="connsiteX62" fmla="*/ 12666 w 4052929"/>
              <a:gd name="connsiteY62" fmla="*/ 3813991 h 5636345"/>
              <a:gd name="connsiteX63" fmla="*/ 11612 w 4052929"/>
              <a:gd name="connsiteY63" fmla="*/ 3806465 h 5636345"/>
              <a:gd name="connsiteX64" fmla="*/ 7469 w 4052929"/>
              <a:gd name="connsiteY64" fmla="*/ 3718947 h 5636345"/>
              <a:gd name="connsiteX65" fmla="*/ 2418 w 4052929"/>
              <a:gd name="connsiteY65" fmla="*/ 3718947 h 5636345"/>
              <a:gd name="connsiteX66" fmla="*/ 2418 w 4052929"/>
              <a:gd name="connsiteY66" fmla="*/ 3638260 h 5636345"/>
              <a:gd name="connsiteX67" fmla="*/ 2418 w 4052929"/>
              <a:gd name="connsiteY67" fmla="*/ 3612287 h 5636345"/>
              <a:gd name="connsiteX68" fmla="*/ 2418 w 4052929"/>
              <a:gd name="connsiteY68" fmla="*/ 3611681 h 5636345"/>
              <a:gd name="connsiteX69" fmla="*/ 2418 w 4052929"/>
              <a:gd name="connsiteY69" fmla="*/ 3611680 h 5636345"/>
              <a:gd name="connsiteX70" fmla="*/ 0 w 4052929"/>
              <a:gd name="connsiteY70" fmla="*/ 3611680 h 5636345"/>
              <a:gd name="connsiteX71" fmla="*/ 0 w 4052929"/>
              <a:gd name="connsiteY71" fmla="*/ 3224009 h 5636345"/>
              <a:gd name="connsiteX72" fmla="*/ 0 w 4052929"/>
              <a:gd name="connsiteY72" fmla="*/ 2412336 h 5636345"/>
              <a:gd name="connsiteX73" fmla="*/ 0 w 4052929"/>
              <a:gd name="connsiteY73" fmla="*/ 2024664 h 5636345"/>
              <a:gd name="connsiteX74" fmla="*/ 0 w 4052929"/>
              <a:gd name="connsiteY74" fmla="*/ 1917398 h 5636345"/>
              <a:gd name="connsiteX75" fmla="*/ 2395 w 4052929"/>
              <a:gd name="connsiteY75" fmla="*/ 1917398 h 5636345"/>
              <a:gd name="connsiteX76" fmla="*/ 2395 w 4052929"/>
              <a:gd name="connsiteY76" fmla="*/ 1 h 5636345"/>
              <a:gd name="connsiteX77" fmla="*/ 2025240 w 4052929"/>
              <a:gd name="connsiteY77" fmla="*/ 1 h 5636345"/>
              <a:gd name="connsiteX78" fmla="*/ 2026433 w 4052929"/>
              <a:gd name="connsiteY78" fmla="*/ 1 h 5636345"/>
              <a:gd name="connsiteX79" fmla="*/ 2026452 w 4052929"/>
              <a:gd name="connsiteY79" fmla="*/ 0 h 5636345"/>
              <a:gd name="connsiteX80" fmla="*/ 2026472 w 4052929"/>
              <a:gd name="connsiteY80" fmla="*/ 1 h 5636345"/>
              <a:gd name="connsiteX81" fmla="*/ 2121541 w 4052929"/>
              <a:gd name="connsiteY81" fmla="*/ 1 h 5636345"/>
              <a:gd name="connsiteX82" fmla="*/ 2121541 w 4052929"/>
              <a:gd name="connsiteY82" fmla="*/ 4560 h 5636345"/>
              <a:gd name="connsiteX83" fmla="*/ 2219534 w 4052929"/>
              <a:gd name="connsiteY83" fmla="*/ 9201 h 5636345"/>
              <a:gd name="connsiteX84" fmla="*/ 2225480 w 4052929"/>
              <a:gd name="connsiteY84" fmla="*/ 10051 h 5636345"/>
              <a:gd name="connsiteX85" fmla="*/ 2233400 w 4052929"/>
              <a:gd name="connsiteY85" fmla="*/ 10450 h 5636345"/>
              <a:gd name="connsiteX86" fmla="*/ 2582064 w 4052929"/>
              <a:gd name="connsiteY86" fmla="*/ 77212 h 5636345"/>
              <a:gd name="connsiteX87" fmla="*/ 2590267 w 4052929"/>
              <a:gd name="connsiteY87" fmla="*/ 79939 h 5636345"/>
              <a:gd name="connsiteX88" fmla="*/ 2591681 w 4052929"/>
              <a:gd name="connsiteY88" fmla="*/ 80279 h 5636345"/>
              <a:gd name="connsiteX89" fmla="*/ 2605753 w 4052929"/>
              <a:gd name="connsiteY89" fmla="*/ 85089 h 5636345"/>
              <a:gd name="connsiteX90" fmla="*/ 2747742 w 4052929"/>
              <a:gd name="connsiteY90" fmla="*/ 132296 h 5636345"/>
              <a:gd name="connsiteX91" fmla="*/ 2762316 w 4052929"/>
              <a:gd name="connsiteY91" fmla="*/ 138588 h 5636345"/>
              <a:gd name="connsiteX92" fmla="*/ 2767855 w 4052929"/>
              <a:gd name="connsiteY92" fmla="*/ 140481 h 5636345"/>
              <a:gd name="connsiteX93" fmla="*/ 2797799 w 4052929"/>
              <a:gd name="connsiteY93" fmla="*/ 153906 h 5636345"/>
              <a:gd name="connsiteX94" fmla="*/ 2906730 w 4052929"/>
              <a:gd name="connsiteY94" fmla="*/ 200929 h 5636345"/>
              <a:gd name="connsiteX95" fmla="*/ 2927060 w 4052929"/>
              <a:gd name="connsiteY95" fmla="*/ 211857 h 5636345"/>
              <a:gd name="connsiteX96" fmla="*/ 2936312 w 4052929"/>
              <a:gd name="connsiteY96" fmla="*/ 216005 h 5636345"/>
              <a:gd name="connsiteX97" fmla="*/ 2968803 w 4052929"/>
              <a:gd name="connsiteY97" fmla="*/ 234295 h 5636345"/>
              <a:gd name="connsiteX98" fmla="*/ 3058336 w 4052929"/>
              <a:gd name="connsiteY98" fmla="*/ 282421 h 5636345"/>
              <a:gd name="connsiteX99" fmla="*/ 3083710 w 4052929"/>
              <a:gd name="connsiteY99" fmla="*/ 298978 h 5636345"/>
              <a:gd name="connsiteX100" fmla="*/ 3096212 w 4052929"/>
              <a:gd name="connsiteY100" fmla="*/ 306014 h 5636345"/>
              <a:gd name="connsiteX101" fmla="*/ 3127150 w 4052929"/>
              <a:gd name="connsiteY101" fmla="*/ 327323 h 5636345"/>
              <a:gd name="connsiteX102" fmla="*/ 3201871 w 4052929"/>
              <a:gd name="connsiteY102" fmla="*/ 376079 h 5636345"/>
              <a:gd name="connsiteX103" fmla="*/ 3231478 w 4052929"/>
              <a:gd name="connsiteY103" fmla="*/ 399175 h 5636345"/>
              <a:gd name="connsiteX104" fmla="*/ 3246716 w 4052929"/>
              <a:gd name="connsiteY104" fmla="*/ 409668 h 5636345"/>
              <a:gd name="connsiteX105" fmla="*/ 3274462 w 4052929"/>
              <a:gd name="connsiteY105" fmla="*/ 432706 h 5636345"/>
              <a:gd name="connsiteX106" fmla="*/ 3336644 w 4052929"/>
              <a:gd name="connsiteY106" fmla="*/ 481214 h 5636345"/>
              <a:gd name="connsiteX107" fmla="*/ 3369582 w 4052929"/>
              <a:gd name="connsiteY107" fmla="*/ 511681 h 5636345"/>
              <a:gd name="connsiteX108" fmla="*/ 3386986 w 4052929"/>
              <a:gd name="connsiteY108" fmla="*/ 526130 h 5636345"/>
              <a:gd name="connsiteX109" fmla="*/ 3410858 w 4052929"/>
              <a:gd name="connsiteY109" fmla="*/ 549860 h 5636345"/>
              <a:gd name="connsiteX110" fmla="*/ 3461964 w 4052929"/>
              <a:gd name="connsiteY110" fmla="*/ 597133 h 5636345"/>
              <a:gd name="connsiteX111" fmla="*/ 3497240 w 4052929"/>
              <a:gd name="connsiteY111" fmla="*/ 635729 h 5636345"/>
              <a:gd name="connsiteX112" fmla="*/ 3516183 w 4052929"/>
              <a:gd name="connsiteY112" fmla="*/ 654559 h 5636345"/>
              <a:gd name="connsiteX113" fmla="*/ 3535967 w 4052929"/>
              <a:gd name="connsiteY113" fmla="*/ 678100 h 5636345"/>
              <a:gd name="connsiteX114" fmla="*/ 3577139 w 4052929"/>
              <a:gd name="connsiteY114" fmla="*/ 723147 h 5636345"/>
              <a:gd name="connsiteX115" fmla="*/ 3613679 w 4052929"/>
              <a:gd name="connsiteY115" fmla="*/ 770571 h 5636345"/>
              <a:gd name="connsiteX116" fmla="*/ 3633468 w 4052929"/>
              <a:gd name="connsiteY116" fmla="*/ 794116 h 5636345"/>
              <a:gd name="connsiteX117" fmla="*/ 3649215 w 4052929"/>
              <a:gd name="connsiteY117" fmla="*/ 816691 h 5636345"/>
              <a:gd name="connsiteX118" fmla="*/ 3681481 w 4052929"/>
              <a:gd name="connsiteY118" fmla="*/ 858566 h 5636345"/>
              <a:gd name="connsiteX119" fmla="*/ 3718133 w 4052929"/>
              <a:gd name="connsiteY119" fmla="*/ 915484 h 5636345"/>
              <a:gd name="connsiteX120" fmla="*/ 3738002 w 4052929"/>
              <a:gd name="connsiteY120" fmla="*/ 943965 h 5636345"/>
              <a:gd name="connsiteX121" fmla="*/ 3749940 w 4052929"/>
              <a:gd name="connsiteY121" fmla="*/ 964875 h 5636345"/>
              <a:gd name="connsiteX122" fmla="*/ 3774296 w 4052929"/>
              <a:gd name="connsiteY122" fmla="*/ 1002698 h 5636345"/>
              <a:gd name="connsiteX123" fmla="*/ 3809838 w 4052929"/>
              <a:gd name="connsiteY123" fmla="*/ 1069796 h 5636345"/>
              <a:gd name="connsiteX124" fmla="*/ 3828946 w 4052929"/>
              <a:gd name="connsiteY124" fmla="*/ 1103264 h 5636345"/>
              <a:gd name="connsiteX125" fmla="*/ 3837430 w 4052929"/>
              <a:gd name="connsiteY125" fmla="*/ 1121883 h 5636345"/>
              <a:gd name="connsiteX126" fmla="*/ 3854895 w 4052929"/>
              <a:gd name="connsiteY126" fmla="*/ 1154852 h 5636345"/>
              <a:gd name="connsiteX127" fmla="*/ 3888044 w 4052929"/>
              <a:gd name="connsiteY127" fmla="*/ 1232952 h 5636345"/>
              <a:gd name="connsiteX128" fmla="*/ 3905463 w 4052929"/>
              <a:gd name="connsiteY128" fmla="*/ 1271177 h 5636345"/>
              <a:gd name="connsiteX129" fmla="*/ 3910956 w 4052929"/>
              <a:gd name="connsiteY129" fmla="*/ 1286933 h 5636345"/>
              <a:gd name="connsiteX130" fmla="*/ 3922588 w 4052929"/>
              <a:gd name="connsiteY130" fmla="*/ 1314338 h 5636345"/>
              <a:gd name="connsiteX131" fmla="*/ 3951995 w 4052929"/>
              <a:gd name="connsiteY131" fmla="*/ 1404648 h 5636345"/>
              <a:gd name="connsiteX132" fmla="*/ 3966712 w 4052929"/>
              <a:gd name="connsiteY132" fmla="*/ 1446862 h 5636345"/>
              <a:gd name="connsiteX133" fmla="*/ 3969773 w 4052929"/>
              <a:gd name="connsiteY133" fmla="*/ 1459245 h 5636345"/>
              <a:gd name="connsiteX134" fmla="*/ 3976683 w 4052929"/>
              <a:gd name="connsiteY134" fmla="*/ 1480466 h 5636345"/>
              <a:gd name="connsiteX135" fmla="*/ 4000947 w 4052929"/>
              <a:gd name="connsiteY135" fmla="*/ 1585357 h 5636345"/>
              <a:gd name="connsiteX136" fmla="*/ 4011855 w 4052929"/>
              <a:gd name="connsiteY136" fmla="*/ 1629483 h 5636345"/>
              <a:gd name="connsiteX137" fmla="*/ 4013132 w 4052929"/>
              <a:gd name="connsiteY137" fmla="*/ 1638031 h 5636345"/>
              <a:gd name="connsiteX138" fmla="*/ 4016489 w 4052929"/>
              <a:gd name="connsiteY138" fmla="*/ 1652543 h 5636345"/>
              <a:gd name="connsiteX139" fmla="*/ 4034155 w 4052929"/>
              <a:gd name="connsiteY139" fmla="*/ 1778728 h 5636345"/>
              <a:gd name="connsiteX140" fmla="*/ 4040053 w 4052929"/>
              <a:gd name="connsiteY140" fmla="*/ 1818199 h 5636345"/>
              <a:gd name="connsiteX141" fmla="*/ 4040263 w 4052929"/>
              <a:gd name="connsiteY141" fmla="*/ 1822355 h 5636345"/>
              <a:gd name="connsiteX142" fmla="*/ 4041317 w 4052929"/>
              <a:gd name="connsiteY142" fmla="*/ 1829880 h 5636345"/>
              <a:gd name="connsiteX143" fmla="*/ 4045460 w 4052929"/>
              <a:gd name="connsiteY143" fmla="*/ 1917398 h 5636345"/>
              <a:gd name="connsiteX144" fmla="*/ 4050511 w 4052929"/>
              <a:gd name="connsiteY144" fmla="*/ 1917398 h 5636345"/>
              <a:gd name="connsiteX145" fmla="*/ 4050511 w 4052929"/>
              <a:gd name="connsiteY145" fmla="*/ 1998086 h 5636345"/>
              <a:gd name="connsiteX146" fmla="*/ 4050511 w 4052929"/>
              <a:gd name="connsiteY146" fmla="*/ 2024059 h 5636345"/>
              <a:gd name="connsiteX147" fmla="*/ 4050511 w 4052929"/>
              <a:gd name="connsiteY147" fmla="*/ 2024664 h 5636345"/>
              <a:gd name="connsiteX148" fmla="*/ 4050511 w 4052929"/>
              <a:gd name="connsiteY148" fmla="*/ 2024665 h 5636345"/>
              <a:gd name="connsiteX149" fmla="*/ 4052929 w 4052929"/>
              <a:gd name="connsiteY149" fmla="*/ 2024665 h 5636345"/>
              <a:gd name="connsiteX150" fmla="*/ 4052929 w 4052929"/>
              <a:gd name="connsiteY150" fmla="*/ 2412336 h 5636345"/>
              <a:gd name="connsiteX151" fmla="*/ 4052929 w 4052929"/>
              <a:gd name="connsiteY151" fmla="*/ 3224009 h 5636345"/>
              <a:gd name="connsiteX152" fmla="*/ 4052929 w 4052929"/>
              <a:gd name="connsiteY152" fmla="*/ 3611681 h 5636345"/>
              <a:gd name="connsiteX153" fmla="*/ 4052929 w 4052929"/>
              <a:gd name="connsiteY153" fmla="*/ 3718947 h 5636345"/>
              <a:gd name="connsiteX154" fmla="*/ 4050535 w 4052929"/>
              <a:gd name="connsiteY154" fmla="*/ 3718947 h 5636345"/>
              <a:gd name="connsiteX155" fmla="*/ 4050535 w 4052929"/>
              <a:gd name="connsiteY155" fmla="*/ 5636344 h 5636345"/>
              <a:gd name="connsiteX156" fmla="*/ 2027689 w 4052929"/>
              <a:gd name="connsiteY156" fmla="*/ 5636344 h 5636345"/>
              <a:gd name="connsiteX157" fmla="*/ 2026496 w 4052929"/>
              <a:gd name="connsiteY157" fmla="*/ 5636344 h 5636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4052929" h="5636345">
                <a:moveTo>
                  <a:pt x="2026476" y="5636345"/>
                </a:moveTo>
                <a:lnTo>
                  <a:pt x="2026457" y="5636344"/>
                </a:lnTo>
                <a:lnTo>
                  <a:pt x="1931388" y="5636344"/>
                </a:lnTo>
                <a:lnTo>
                  <a:pt x="1931388" y="5631785"/>
                </a:lnTo>
                <a:lnTo>
                  <a:pt x="1833395" y="5627145"/>
                </a:lnTo>
                <a:lnTo>
                  <a:pt x="1827450" y="5626294"/>
                </a:lnTo>
                <a:lnTo>
                  <a:pt x="1819528" y="5625895"/>
                </a:lnTo>
                <a:cubicBezTo>
                  <a:pt x="1699922" y="5613748"/>
                  <a:pt x="1583394" y="5591187"/>
                  <a:pt x="1470865" y="5559133"/>
                </a:cubicBezTo>
                <a:lnTo>
                  <a:pt x="1462662" y="5556407"/>
                </a:lnTo>
                <a:lnTo>
                  <a:pt x="1461248" y="5556066"/>
                </a:lnTo>
                <a:lnTo>
                  <a:pt x="1447176" y="5551256"/>
                </a:lnTo>
                <a:lnTo>
                  <a:pt x="1305187" y="5504049"/>
                </a:lnTo>
                <a:lnTo>
                  <a:pt x="1290613" y="5497757"/>
                </a:lnTo>
                <a:lnTo>
                  <a:pt x="1285074" y="5495865"/>
                </a:lnTo>
                <a:lnTo>
                  <a:pt x="1255130" y="5482439"/>
                </a:lnTo>
                <a:lnTo>
                  <a:pt x="1146200" y="5435416"/>
                </a:lnTo>
                <a:lnTo>
                  <a:pt x="1125869" y="5424488"/>
                </a:lnTo>
                <a:lnTo>
                  <a:pt x="1116617" y="5420340"/>
                </a:lnTo>
                <a:lnTo>
                  <a:pt x="1084126" y="5402050"/>
                </a:lnTo>
                <a:lnTo>
                  <a:pt x="994593" y="5353924"/>
                </a:lnTo>
                <a:lnTo>
                  <a:pt x="969219" y="5337367"/>
                </a:lnTo>
                <a:lnTo>
                  <a:pt x="956717" y="5330331"/>
                </a:lnTo>
                <a:lnTo>
                  <a:pt x="925779" y="5309023"/>
                </a:lnTo>
                <a:lnTo>
                  <a:pt x="851058" y="5260266"/>
                </a:lnTo>
                <a:lnTo>
                  <a:pt x="821450" y="5237170"/>
                </a:lnTo>
                <a:lnTo>
                  <a:pt x="806213" y="5226677"/>
                </a:lnTo>
                <a:lnTo>
                  <a:pt x="778467" y="5203639"/>
                </a:lnTo>
                <a:lnTo>
                  <a:pt x="716284" y="5155132"/>
                </a:lnTo>
                <a:lnTo>
                  <a:pt x="683347" y="5124665"/>
                </a:lnTo>
                <a:lnTo>
                  <a:pt x="665943" y="5110215"/>
                </a:lnTo>
                <a:lnTo>
                  <a:pt x="642071" y="5086485"/>
                </a:lnTo>
                <a:lnTo>
                  <a:pt x="590965" y="5039213"/>
                </a:lnTo>
                <a:lnTo>
                  <a:pt x="555689" y="5000616"/>
                </a:lnTo>
                <a:lnTo>
                  <a:pt x="536746" y="4981786"/>
                </a:lnTo>
                <a:lnTo>
                  <a:pt x="516962" y="4958245"/>
                </a:lnTo>
                <a:lnTo>
                  <a:pt x="475790" y="4913198"/>
                </a:lnTo>
                <a:lnTo>
                  <a:pt x="439250" y="4865774"/>
                </a:lnTo>
                <a:lnTo>
                  <a:pt x="419461" y="4842229"/>
                </a:lnTo>
                <a:lnTo>
                  <a:pt x="403714" y="4819654"/>
                </a:lnTo>
                <a:lnTo>
                  <a:pt x="371448" y="4777779"/>
                </a:lnTo>
                <a:lnTo>
                  <a:pt x="334796" y="4720862"/>
                </a:lnTo>
                <a:lnTo>
                  <a:pt x="314928" y="4692381"/>
                </a:lnTo>
                <a:lnTo>
                  <a:pt x="302989" y="4671470"/>
                </a:lnTo>
                <a:lnTo>
                  <a:pt x="278633" y="4633647"/>
                </a:lnTo>
                <a:lnTo>
                  <a:pt x="243091" y="4566549"/>
                </a:lnTo>
                <a:lnTo>
                  <a:pt x="223983" y="4533081"/>
                </a:lnTo>
                <a:lnTo>
                  <a:pt x="215499" y="4514462"/>
                </a:lnTo>
                <a:lnTo>
                  <a:pt x="198034" y="4481494"/>
                </a:lnTo>
                <a:lnTo>
                  <a:pt x="164885" y="4403393"/>
                </a:lnTo>
                <a:lnTo>
                  <a:pt x="147466" y="4365168"/>
                </a:lnTo>
                <a:lnTo>
                  <a:pt x="141973" y="4349412"/>
                </a:lnTo>
                <a:lnTo>
                  <a:pt x="130341" y="4322007"/>
                </a:lnTo>
                <a:lnTo>
                  <a:pt x="100934" y="4231697"/>
                </a:lnTo>
                <a:lnTo>
                  <a:pt x="86217" y="4189483"/>
                </a:lnTo>
                <a:lnTo>
                  <a:pt x="83156" y="4177100"/>
                </a:lnTo>
                <a:lnTo>
                  <a:pt x="76246" y="4155880"/>
                </a:lnTo>
                <a:lnTo>
                  <a:pt x="51982" y="4050988"/>
                </a:lnTo>
                <a:lnTo>
                  <a:pt x="41074" y="4006862"/>
                </a:lnTo>
                <a:lnTo>
                  <a:pt x="39797" y="3998315"/>
                </a:lnTo>
                <a:lnTo>
                  <a:pt x="36440" y="3983802"/>
                </a:lnTo>
                <a:lnTo>
                  <a:pt x="18774" y="3857617"/>
                </a:lnTo>
                <a:lnTo>
                  <a:pt x="12876" y="3818146"/>
                </a:lnTo>
                <a:lnTo>
                  <a:pt x="12666" y="3813991"/>
                </a:lnTo>
                <a:lnTo>
                  <a:pt x="11612" y="3806465"/>
                </a:lnTo>
                <a:lnTo>
                  <a:pt x="7469" y="3718947"/>
                </a:lnTo>
                <a:lnTo>
                  <a:pt x="2418" y="3718947"/>
                </a:lnTo>
                <a:lnTo>
                  <a:pt x="2418" y="3638260"/>
                </a:lnTo>
                <a:lnTo>
                  <a:pt x="2418" y="3612287"/>
                </a:lnTo>
                <a:lnTo>
                  <a:pt x="2418" y="3611681"/>
                </a:lnTo>
                <a:lnTo>
                  <a:pt x="2418" y="3611680"/>
                </a:lnTo>
                <a:lnTo>
                  <a:pt x="0" y="3611680"/>
                </a:lnTo>
                <a:lnTo>
                  <a:pt x="0" y="3224009"/>
                </a:lnTo>
                <a:lnTo>
                  <a:pt x="0" y="2412336"/>
                </a:lnTo>
                <a:lnTo>
                  <a:pt x="0" y="2024664"/>
                </a:lnTo>
                <a:lnTo>
                  <a:pt x="0" y="1917398"/>
                </a:lnTo>
                <a:lnTo>
                  <a:pt x="2395" y="1917398"/>
                </a:lnTo>
                <a:lnTo>
                  <a:pt x="2395" y="1"/>
                </a:lnTo>
                <a:lnTo>
                  <a:pt x="2025240" y="1"/>
                </a:lnTo>
                <a:lnTo>
                  <a:pt x="2026433" y="1"/>
                </a:lnTo>
                <a:lnTo>
                  <a:pt x="2026452" y="0"/>
                </a:lnTo>
                <a:lnTo>
                  <a:pt x="2026472" y="1"/>
                </a:lnTo>
                <a:lnTo>
                  <a:pt x="2121541" y="1"/>
                </a:lnTo>
                <a:lnTo>
                  <a:pt x="2121541" y="4560"/>
                </a:lnTo>
                <a:lnTo>
                  <a:pt x="2219534" y="9201"/>
                </a:lnTo>
                <a:lnTo>
                  <a:pt x="2225480" y="10051"/>
                </a:lnTo>
                <a:lnTo>
                  <a:pt x="2233400" y="10450"/>
                </a:lnTo>
                <a:cubicBezTo>
                  <a:pt x="2353007" y="22598"/>
                  <a:pt x="2469534" y="45158"/>
                  <a:pt x="2582064" y="77212"/>
                </a:cubicBezTo>
                <a:lnTo>
                  <a:pt x="2590267" y="79939"/>
                </a:lnTo>
                <a:lnTo>
                  <a:pt x="2591681" y="80279"/>
                </a:lnTo>
                <a:lnTo>
                  <a:pt x="2605753" y="85089"/>
                </a:lnTo>
                <a:lnTo>
                  <a:pt x="2747742" y="132296"/>
                </a:lnTo>
                <a:lnTo>
                  <a:pt x="2762316" y="138588"/>
                </a:lnTo>
                <a:lnTo>
                  <a:pt x="2767855" y="140481"/>
                </a:lnTo>
                <a:lnTo>
                  <a:pt x="2797799" y="153906"/>
                </a:lnTo>
                <a:lnTo>
                  <a:pt x="2906730" y="200929"/>
                </a:lnTo>
                <a:lnTo>
                  <a:pt x="2927060" y="211857"/>
                </a:lnTo>
                <a:lnTo>
                  <a:pt x="2936312" y="216005"/>
                </a:lnTo>
                <a:lnTo>
                  <a:pt x="2968803" y="234295"/>
                </a:lnTo>
                <a:lnTo>
                  <a:pt x="3058336" y="282421"/>
                </a:lnTo>
                <a:lnTo>
                  <a:pt x="3083710" y="298978"/>
                </a:lnTo>
                <a:lnTo>
                  <a:pt x="3096212" y="306014"/>
                </a:lnTo>
                <a:lnTo>
                  <a:pt x="3127150" y="327323"/>
                </a:lnTo>
                <a:lnTo>
                  <a:pt x="3201871" y="376079"/>
                </a:lnTo>
                <a:lnTo>
                  <a:pt x="3231478" y="399175"/>
                </a:lnTo>
                <a:lnTo>
                  <a:pt x="3246716" y="409668"/>
                </a:lnTo>
                <a:lnTo>
                  <a:pt x="3274462" y="432706"/>
                </a:lnTo>
                <a:lnTo>
                  <a:pt x="3336644" y="481214"/>
                </a:lnTo>
                <a:lnTo>
                  <a:pt x="3369582" y="511681"/>
                </a:lnTo>
                <a:lnTo>
                  <a:pt x="3386986" y="526130"/>
                </a:lnTo>
                <a:lnTo>
                  <a:pt x="3410858" y="549860"/>
                </a:lnTo>
                <a:lnTo>
                  <a:pt x="3461964" y="597133"/>
                </a:lnTo>
                <a:lnTo>
                  <a:pt x="3497240" y="635729"/>
                </a:lnTo>
                <a:lnTo>
                  <a:pt x="3516183" y="654559"/>
                </a:lnTo>
                <a:lnTo>
                  <a:pt x="3535967" y="678100"/>
                </a:lnTo>
                <a:lnTo>
                  <a:pt x="3577139" y="723147"/>
                </a:lnTo>
                <a:lnTo>
                  <a:pt x="3613679" y="770571"/>
                </a:lnTo>
                <a:lnTo>
                  <a:pt x="3633468" y="794116"/>
                </a:lnTo>
                <a:lnTo>
                  <a:pt x="3649215" y="816691"/>
                </a:lnTo>
                <a:lnTo>
                  <a:pt x="3681481" y="858566"/>
                </a:lnTo>
                <a:lnTo>
                  <a:pt x="3718133" y="915484"/>
                </a:lnTo>
                <a:lnTo>
                  <a:pt x="3738002" y="943965"/>
                </a:lnTo>
                <a:lnTo>
                  <a:pt x="3749940" y="964875"/>
                </a:lnTo>
                <a:lnTo>
                  <a:pt x="3774296" y="1002698"/>
                </a:lnTo>
                <a:lnTo>
                  <a:pt x="3809838" y="1069796"/>
                </a:lnTo>
                <a:lnTo>
                  <a:pt x="3828946" y="1103264"/>
                </a:lnTo>
                <a:lnTo>
                  <a:pt x="3837430" y="1121883"/>
                </a:lnTo>
                <a:lnTo>
                  <a:pt x="3854895" y="1154852"/>
                </a:lnTo>
                <a:lnTo>
                  <a:pt x="3888044" y="1232952"/>
                </a:lnTo>
                <a:lnTo>
                  <a:pt x="3905463" y="1271177"/>
                </a:lnTo>
                <a:lnTo>
                  <a:pt x="3910956" y="1286933"/>
                </a:lnTo>
                <a:lnTo>
                  <a:pt x="3922588" y="1314338"/>
                </a:lnTo>
                <a:lnTo>
                  <a:pt x="3951995" y="1404648"/>
                </a:lnTo>
                <a:lnTo>
                  <a:pt x="3966712" y="1446862"/>
                </a:lnTo>
                <a:lnTo>
                  <a:pt x="3969773" y="1459245"/>
                </a:lnTo>
                <a:lnTo>
                  <a:pt x="3976683" y="1480466"/>
                </a:lnTo>
                <a:lnTo>
                  <a:pt x="4000947" y="1585357"/>
                </a:lnTo>
                <a:lnTo>
                  <a:pt x="4011855" y="1629483"/>
                </a:lnTo>
                <a:lnTo>
                  <a:pt x="4013132" y="1638031"/>
                </a:lnTo>
                <a:lnTo>
                  <a:pt x="4016489" y="1652543"/>
                </a:lnTo>
                <a:lnTo>
                  <a:pt x="4034155" y="1778728"/>
                </a:lnTo>
                <a:lnTo>
                  <a:pt x="4040053" y="1818199"/>
                </a:lnTo>
                <a:lnTo>
                  <a:pt x="4040263" y="1822355"/>
                </a:lnTo>
                <a:lnTo>
                  <a:pt x="4041317" y="1829880"/>
                </a:lnTo>
                <a:lnTo>
                  <a:pt x="4045460" y="1917398"/>
                </a:lnTo>
                <a:lnTo>
                  <a:pt x="4050511" y="1917398"/>
                </a:lnTo>
                <a:lnTo>
                  <a:pt x="4050511" y="1998086"/>
                </a:lnTo>
                <a:lnTo>
                  <a:pt x="4050511" y="2024059"/>
                </a:lnTo>
                <a:lnTo>
                  <a:pt x="4050511" y="2024664"/>
                </a:lnTo>
                <a:lnTo>
                  <a:pt x="4050511" y="2024665"/>
                </a:lnTo>
                <a:lnTo>
                  <a:pt x="4052929" y="2024665"/>
                </a:lnTo>
                <a:lnTo>
                  <a:pt x="4052929" y="2412336"/>
                </a:lnTo>
                <a:lnTo>
                  <a:pt x="4052929" y="3224009"/>
                </a:lnTo>
                <a:lnTo>
                  <a:pt x="4052929" y="3611681"/>
                </a:lnTo>
                <a:lnTo>
                  <a:pt x="4052929" y="3718947"/>
                </a:lnTo>
                <a:lnTo>
                  <a:pt x="4050535" y="3718947"/>
                </a:lnTo>
                <a:lnTo>
                  <a:pt x="4050535" y="5636344"/>
                </a:lnTo>
                <a:lnTo>
                  <a:pt x="2027689" y="5636344"/>
                </a:lnTo>
                <a:lnTo>
                  <a:pt x="2026496" y="5636344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0" name="Freeform: Shape 27">
            <a:extLst>
              <a:ext uri="{FF2B5EF4-FFF2-40B4-BE49-F238E27FC236}">
                <a16:creationId xmlns:a16="http://schemas.microsoft.com/office/drawing/2014/main" id="{3C8BE58B-27EE-D441-97B2-EDAFF3B59446}"/>
              </a:ext>
            </a:extLst>
          </p:cNvPr>
          <p:cNvSpPr/>
          <p:nvPr/>
        </p:nvSpPr>
        <p:spPr>
          <a:xfrm rot="5400000" flipH="1">
            <a:off x="10187964" y="454260"/>
            <a:ext cx="677212" cy="904780"/>
          </a:xfrm>
          <a:custGeom>
            <a:avLst/>
            <a:gdLst>
              <a:gd name="connsiteX0" fmla="*/ 2026476 w 4052929"/>
              <a:gd name="connsiteY0" fmla="*/ 5636345 h 5636345"/>
              <a:gd name="connsiteX1" fmla="*/ 2026457 w 4052929"/>
              <a:gd name="connsiteY1" fmla="*/ 5636344 h 5636345"/>
              <a:gd name="connsiteX2" fmla="*/ 1931388 w 4052929"/>
              <a:gd name="connsiteY2" fmla="*/ 5636344 h 5636345"/>
              <a:gd name="connsiteX3" fmla="*/ 1931388 w 4052929"/>
              <a:gd name="connsiteY3" fmla="*/ 5631785 h 5636345"/>
              <a:gd name="connsiteX4" fmla="*/ 1833395 w 4052929"/>
              <a:gd name="connsiteY4" fmla="*/ 5627145 h 5636345"/>
              <a:gd name="connsiteX5" fmla="*/ 1827450 w 4052929"/>
              <a:gd name="connsiteY5" fmla="*/ 5626294 h 5636345"/>
              <a:gd name="connsiteX6" fmla="*/ 1819528 w 4052929"/>
              <a:gd name="connsiteY6" fmla="*/ 5625895 h 5636345"/>
              <a:gd name="connsiteX7" fmla="*/ 1470865 w 4052929"/>
              <a:gd name="connsiteY7" fmla="*/ 5559133 h 5636345"/>
              <a:gd name="connsiteX8" fmla="*/ 1462662 w 4052929"/>
              <a:gd name="connsiteY8" fmla="*/ 5556407 h 5636345"/>
              <a:gd name="connsiteX9" fmla="*/ 1461248 w 4052929"/>
              <a:gd name="connsiteY9" fmla="*/ 5556066 h 5636345"/>
              <a:gd name="connsiteX10" fmla="*/ 1447176 w 4052929"/>
              <a:gd name="connsiteY10" fmla="*/ 5551256 h 5636345"/>
              <a:gd name="connsiteX11" fmla="*/ 1305187 w 4052929"/>
              <a:gd name="connsiteY11" fmla="*/ 5504049 h 5636345"/>
              <a:gd name="connsiteX12" fmla="*/ 1290613 w 4052929"/>
              <a:gd name="connsiteY12" fmla="*/ 5497757 h 5636345"/>
              <a:gd name="connsiteX13" fmla="*/ 1285074 w 4052929"/>
              <a:gd name="connsiteY13" fmla="*/ 5495865 h 5636345"/>
              <a:gd name="connsiteX14" fmla="*/ 1255130 w 4052929"/>
              <a:gd name="connsiteY14" fmla="*/ 5482439 h 5636345"/>
              <a:gd name="connsiteX15" fmla="*/ 1146200 w 4052929"/>
              <a:gd name="connsiteY15" fmla="*/ 5435416 h 5636345"/>
              <a:gd name="connsiteX16" fmla="*/ 1125869 w 4052929"/>
              <a:gd name="connsiteY16" fmla="*/ 5424488 h 5636345"/>
              <a:gd name="connsiteX17" fmla="*/ 1116617 w 4052929"/>
              <a:gd name="connsiteY17" fmla="*/ 5420340 h 5636345"/>
              <a:gd name="connsiteX18" fmla="*/ 1084126 w 4052929"/>
              <a:gd name="connsiteY18" fmla="*/ 5402050 h 5636345"/>
              <a:gd name="connsiteX19" fmla="*/ 994593 w 4052929"/>
              <a:gd name="connsiteY19" fmla="*/ 5353924 h 5636345"/>
              <a:gd name="connsiteX20" fmla="*/ 969219 w 4052929"/>
              <a:gd name="connsiteY20" fmla="*/ 5337367 h 5636345"/>
              <a:gd name="connsiteX21" fmla="*/ 956717 w 4052929"/>
              <a:gd name="connsiteY21" fmla="*/ 5330331 h 5636345"/>
              <a:gd name="connsiteX22" fmla="*/ 925779 w 4052929"/>
              <a:gd name="connsiteY22" fmla="*/ 5309023 h 5636345"/>
              <a:gd name="connsiteX23" fmla="*/ 851058 w 4052929"/>
              <a:gd name="connsiteY23" fmla="*/ 5260266 h 5636345"/>
              <a:gd name="connsiteX24" fmla="*/ 821450 w 4052929"/>
              <a:gd name="connsiteY24" fmla="*/ 5237170 h 5636345"/>
              <a:gd name="connsiteX25" fmla="*/ 806213 w 4052929"/>
              <a:gd name="connsiteY25" fmla="*/ 5226677 h 5636345"/>
              <a:gd name="connsiteX26" fmla="*/ 778467 w 4052929"/>
              <a:gd name="connsiteY26" fmla="*/ 5203639 h 5636345"/>
              <a:gd name="connsiteX27" fmla="*/ 716284 w 4052929"/>
              <a:gd name="connsiteY27" fmla="*/ 5155132 h 5636345"/>
              <a:gd name="connsiteX28" fmla="*/ 683347 w 4052929"/>
              <a:gd name="connsiteY28" fmla="*/ 5124665 h 5636345"/>
              <a:gd name="connsiteX29" fmla="*/ 665943 w 4052929"/>
              <a:gd name="connsiteY29" fmla="*/ 5110215 h 5636345"/>
              <a:gd name="connsiteX30" fmla="*/ 642071 w 4052929"/>
              <a:gd name="connsiteY30" fmla="*/ 5086485 h 5636345"/>
              <a:gd name="connsiteX31" fmla="*/ 590965 w 4052929"/>
              <a:gd name="connsiteY31" fmla="*/ 5039213 h 5636345"/>
              <a:gd name="connsiteX32" fmla="*/ 555689 w 4052929"/>
              <a:gd name="connsiteY32" fmla="*/ 5000616 h 5636345"/>
              <a:gd name="connsiteX33" fmla="*/ 536746 w 4052929"/>
              <a:gd name="connsiteY33" fmla="*/ 4981786 h 5636345"/>
              <a:gd name="connsiteX34" fmla="*/ 516962 w 4052929"/>
              <a:gd name="connsiteY34" fmla="*/ 4958245 h 5636345"/>
              <a:gd name="connsiteX35" fmla="*/ 475790 w 4052929"/>
              <a:gd name="connsiteY35" fmla="*/ 4913198 h 5636345"/>
              <a:gd name="connsiteX36" fmla="*/ 439250 w 4052929"/>
              <a:gd name="connsiteY36" fmla="*/ 4865774 h 5636345"/>
              <a:gd name="connsiteX37" fmla="*/ 419461 w 4052929"/>
              <a:gd name="connsiteY37" fmla="*/ 4842229 h 5636345"/>
              <a:gd name="connsiteX38" fmla="*/ 403714 w 4052929"/>
              <a:gd name="connsiteY38" fmla="*/ 4819654 h 5636345"/>
              <a:gd name="connsiteX39" fmla="*/ 371448 w 4052929"/>
              <a:gd name="connsiteY39" fmla="*/ 4777779 h 5636345"/>
              <a:gd name="connsiteX40" fmla="*/ 334796 w 4052929"/>
              <a:gd name="connsiteY40" fmla="*/ 4720862 h 5636345"/>
              <a:gd name="connsiteX41" fmla="*/ 314928 w 4052929"/>
              <a:gd name="connsiteY41" fmla="*/ 4692381 h 5636345"/>
              <a:gd name="connsiteX42" fmla="*/ 302989 w 4052929"/>
              <a:gd name="connsiteY42" fmla="*/ 4671470 h 5636345"/>
              <a:gd name="connsiteX43" fmla="*/ 278633 w 4052929"/>
              <a:gd name="connsiteY43" fmla="*/ 4633647 h 5636345"/>
              <a:gd name="connsiteX44" fmla="*/ 243091 w 4052929"/>
              <a:gd name="connsiteY44" fmla="*/ 4566549 h 5636345"/>
              <a:gd name="connsiteX45" fmla="*/ 223983 w 4052929"/>
              <a:gd name="connsiteY45" fmla="*/ 4533081 h 5636345"/>
              <a:gd name="connsiteX46" fmla="*/ 215499 w 4052929"/>
              <a:gd name="connsiteY46" fmla="*/ 4514462 h 5636345"/>
              <a:gd name="connsiteX47" fmla="*/ 198034 w 4052929"/>
              <a:gd name="connsiteY47" fmla="*/ 4481494 h 5636345"/>
              <a:gd name="connsiteX48" fmla="*/ 164885 w 4052929"/>
              <a:gd name="connsiteY48" fmla="*/ 4403393 h 5636345"/>
              <a:gd name="connsiteX49" fmla="*/ 147466 w 4052929"/>
              <a:gd name="connsiteY49" fmla="*/ 4365168 h 5636345"/>
              <a:gd name="connsiteX50" fmla="*/ 141973 w 4052929"/>
              <a:gd name="connsiteY50" fmla="*/ 4349412 h 5636345"/>
              <a:gd name="connsiteX51" fmla="*/ 130341 w 4052929"/>
              <a:gd name="connsiteY51" fmla="*/ 4322007 h 5636345"/>
              <a:gd name="connsiteX52" fmla="*/ 100934 w 4052929"/>
              <a:gd name="connsiteY52" fmla="*/ 4231697 h 5636345"/>
              <a:gd name="connsiteX53" fmla="*/ 86217 w 4052929"/>
              <a:gd name="connsiteY53" fmla="*/ 4189483 h 5636345"/>
              <a:gd name="connsiteX54" fmla="*/ 83156 w 4052929"/>
              <a:gd name="connsiteY54" fmla="*/ 4177100 h 5636345"/>
              <a:gd name="connsiteX55" fmla="*/ 76246 w 4052929"/>
              <a:gd name="connsiteY55" fmla="*/ 4155880 h 5636345"/>
              <a:gd name="connsiteX56" fmla="*/ 51982 w 4052929"/>
              <a:gd name="connsiteY56" fmla="*/ 4050988 h 5636345"/>
              <a:gd name="connsiteX57" fmla="*/ 41074 w 4052929"/>
              <a:gd name="connsiteY57" fmla="*/ 4006862 h 5636345"/>
              <a:gd name="connsiteX58" fmla="*/ 39797 w 4052929"/>
              <a:gd name="connsiteY58" fmla="*/ 3998315 h 5636345"/>
              <a:gd name="connsiteX59" fmla="*/ 36440 w 4052929"/>
              <a:gd name="connsiteY59" fmla="*/ 3983802 h 5636345"/>
              <a:gd name="connsiteX60" fmla="*/ 18774 w 4052929"/>
              <a:gd name="connsiteY60" fmla="*/ 3857617 h 5636345"/>
              <a:gd name="connsiteX61" fmla="*/ 12876 w 4052929"/>
              <a:gd name="connsiteY61" fmla="*/ 3818146 h 5636345"/>
              <a:gd name="connsiteX62" fmla="*/ 12666 w 4052929"/>
              <a:gd name="connsiteY62" fmla="*/ 3813991 h 5636345"/>
              <a:gd name="connsiteX63" fmla="*/ 11612 w 4052929"/>
              <a:gd name="connsiteY63" fmla="*/ 3806465 h 5636345"/>
              <a:gd name="connsiteX64" fmla="*/ 7469 w 4052929"/>
              <a:gd name="connsiteY64" fmla="*/ 3718947 h 5636345"/>
              <a:gd name="connsiteX65" fmla="*/ 2418 w 4052929"/>
              <a:gd name="connsiteY65" fmla="*/ 3718947 h 5636345"/>
              <a:gd name="connsiteX66" fmla="*/ 2418 w 4052929"/>
              <a:gd name="connsiteY66" fmla="*/ 3638260 h 5636345"/>
              <a:gd name="connsiteX67" fmla="*/ 2418 w 4052929"/>
              <a:gd name="connsiteY67" fmla="*/ 3612287 h 5636345"/>
              <a:gd name="connsiteX68" fmla="*/ 2418 w 4052929"/>
              <a:gd name="connsiteY68" fmla="*/ 3611681 h 5636345"/>
              <a:gd name="connsiteX69" fmla="*/ 2418 w 4052929"/>
              <a:gd name="connsiteY69" fmla="*/ 3611680 h 5636345"/>
              <a:gd name="connsiteX70" fmla="*/ 0 w 4052929"/>
              <a:gd name="connsiteY70" fmla="*/ 3611680 h 5636345"/>
              <a:gd name="connsiteX71" fmla="*/ 0 w 4052929"/>
              <a:gd name="connsiteY71" fmla="*/ 3224009 h 5636345"/>
              <a:gd name="connsiteX72" fmla="*/ 0 w 4052929"/>
              <a:gd name="connsiteY72" fmla="*/ 2412336 h 5636345"/>
              <a:gd name="connsiteX73" fmla="*/ 0 w 4052929"/>
              <a:gd name="connsiteY73" fmla="*/ 2024664 h 5636345"/>
              <a:gd name="connsiteX74" fmla="*/ 0 w 4052929"/>
              <a:gd name="connsiteY74" fmla="*/ 1917398 h 5636345"/>
              <a:gd name="connsiteX75" fmla="*/ 2395 w 4052929"/>
              <a:gd name="connsiteY75" fmla="*/ 1917398 h 5636345"/>
              <a:gd name="connsiteX76" fmla="*/ 2395 w 4052929"/>
              <a:gd name="connsiteY76" fmla="*/ 1 h 5636345"/>
              <a:gd name="connsiteX77" fmla="*/ 2025240 w 4052929"/>
              <a:gd name="connsiteY77" fmla="*/ 1 h 5636345"/>
              <a:gd name="connsiteX78" fmla="*/ 2026433 w 4052929"/>
              <a:gd name="connsiteY78" fmla="*/ 1 h 5636345"/>
              <a:gd name="connsiteX79" fmla="*/ 2026452 w 4052929"/>
              <a:gd name="connsiteY79" fmla="*/ 0 h 5636345"/>
              <a:gd name="connsiteX80" fmla="*/ 2026472 w 4052929"/>
              <a:gd name="connsiteY80" fmla="*/ 1 h 5636345"/>
              <a:gd name="connsiteX81" fmla="*/ 2121541 w 4052929"/>
              <a:gd name="connsiteY81" fmla="*/ 1 h 5636345"/>
              <a:gd name="connsiteX82" fmla="*/ 2121541 w 4052929"/>
              <a:gd name="connsiteY82" fmla="*/ 4560 h 5636345"/>
              <a:gd name="connsiteX83" fmla="*/ 2219534 w 4052929"/>
              <a:gd name="connsiteY83" fmla="*/ 9201 h 5636345"/>
              <a:gd name="connsiteX84" fmla="*/ 2225480 w 4052929"/>
              <a:gd name="connsiteY84" fmla="*/ 10051 h 5636345"/>
              <a:gd name="connsiteX85" fmla="*/ 2233400 w 4052929"/>
              <a:gd name="connsiteY85" fmla="*/ 10450 h 5636345"/>
              <a:gd name="connsiteX86" fmla="*/ 2582064 w 4052929"/>
              <a:gd name="connsiteY86" fmla="*/ 77212 h 5636345"/>
              <a:gd name="connsiteX87" fmla="*/ 2590267 w 4052929"/>
              <a:gd name="connsiteY87" fmla="*/ 79939 h 5636345"/>
              <a:gd name="connsiteX88" fmla="*/ 2591681 w 4052929"/>
              <a:gd name="connsiteY88" fmla="*/ 80279 h 5636345"/>
              <a:gd name="connsiteX89" fmla="*/ 2605753 w 4052929"/>
              <a:gd name="connsiteY89" fmla="*/ 85089 h 5636345"/>
              <a:gd name="connsiteX90" fmla="*/ 2747742 w 4052929"/>
              <a:gd name="connsiteY90" fmla="*/ 132296 h 5636345"/>
              <a:gd name="connsiteX91" fmla="*/ 2762316 w 4052929"/>
              <a:gd name="connsiteY91" fmla="*/ 138588 h 5636345"/>
              <a:gd name="connsiteX92" fmla="*/ 2767855 w 4052929"/>
              <a:gd name="connsiteY92" fmla="*/ 140481 h 5636345"/>
              <a:gd name="connsiteX93" fmla="*/ 2797799 w 4052929"/>
              <a:gd name="connsiteY93" fmla="*/ 153906 h 5636345"/>
              <a:gd name="connsiteX94" fmla="*/ 2906730 w 4052929"/>
              <a:gd name="connsiteY94" fmla="*/ 200929 h 5636345"/>
              <a:gd name="connsiteX95" fmla="*/ 2927060 w 4052929"/>
              <a:gd name="connsiteY95" fmla="*/ 211857 h 5636345"/>
              <a:gd name="connsiteX96" fmla="*/ 2936312 w 4052929"/>
              <a:gd name="connsiteY96" fmla="*/ 216005 h 5636345"/>
              <a:gd name="connsiteX97" fmla="*/ 2968803 w 4052929"/>
              <a:gd name="connsiteY97" fmla="*/ 234295 h 5636345"/>
              <a:gd name="connsiteX98" fmla="*/ 3058336 w 4052929"/>
              <a:gd name="connsiteY98" fmla="*/ 282421 h 5636345"/>
              <a:gd name="connsiteX99" fmla="*/ 3083710 w 4052929"/>
              <a:gd name="connsiteY99" fmla="*/ 298978 h 5636345"/>
              <a:gd name="connsiteX100" fmla="*/ 3096212 w 4052929"/>
              <a:gd name="connsiteY100" fmla="*/ 306014 h 5636345"/>
              <a:gd name="connsiteX101" fmla="*/ 3127150 w 4052929"/>
              <a:gd name="connsiteY101" fmla="*/ 327323 h 5636345"/>
              <a:gd name="connsiteX102" fmla="*/ 3201871 w 4052929"/>
              <a:gd name="connsiteY102" fmla="*/ 376079 h 5636345"/>
              <a:gd name="connsiteX103" fmla="*/ 3231478 w 4052929"/>
              <a:gd name="connsiteY103" fmla="*/ 399175 h 5636345"/>
              <a:gd name="connsiteX104" fmla="*/ 3246716 w 4052929"/>
              <a:gd name="connsiteY104" fmla="*/ 409668 h 5636345"/>
              <a:gd name="connsiteX105" fmla="*/ 3274462 w 4052929"/>
              <a:gd name="connsiteY105" fmla="*/ 432706 h 5636345"/>
              <a:gd name="connsiteX106" fmla="*/ 3336644 w 4052929"/>
              <a:gd name="connsiteY106" fmla="*/ 481214 h 5636345"/>
              <a:gd name="connsiteX107" fmla="*/ 3369582 w 4052929"/>
              <a:gd name="connsiteY107" fmla="*/ 511681 h 5636345"/>
              <a:gd name="connsiteX108" fmla="*/ 3386986 w 4052929"/>
              <a:gd name="connsiteY108" fmla="*/ 526130 h 5636345"/>
              <a:gd name="connsiteX109" fmla="*/ 3410858 w 4052929"/>
              <a:gd name="connsiteY109" fmla="*/ 549860 h 5636345"/>
              <a:gd name="connsiteX110" fmla="*/ 3461964 w 4052929"/>
              <a:gd name="connsiteY110" fmla="*/ 597133 h 5636345"/>
              <a:gd name="connsiteX111" fmla="*/ 3497240 w 4052929"/>
              <a:gd name="connsiteY111" fmla="*/ 635729 h 5636345"/>
              <a:gd name="connsiteX112" fmla="*/ 3516183 w 4052929"/>
              <a:gd name="connsiteY112" fmla="*/ 654559 h 5636345"/>
              <a:gd name="connsiteX113" fmla="*/ 3535967 w 4052929"/>
              <a:gd name="connsiteY113" fmla="*/ 678100 h 5636345"/>
              <a:gd name="connsiteX114" fmla="*/ 3577139 w 4052929"/>
              <a:gd name="connsiteY114" fmla="*/ 723147 h 5636345"/>
              <a:gd name="connsiteX115" fmla="*/ 3613679 w 4052929"/>
              <a:gd name="connsiteY115" fmla="*/ 770571 h 5636345"/>
              <a:gd name="connsiteX116" fmla="*/ 3633468 w 4052929"/>
              <a:gd name="connsiteY116" fmla="*/ 794116 h 5636345"/>
              <a:gd name="connsiteX117" fmla="*/ 3649215 w 4052929"/>
              <a:gd name="connsiteY117" fmla="*/ 816691 h 5636345"/>
              <a:gd name="connsiteX118" fmla="*/ 3681481 w 4052929"/>
              <a:gd name="connsiteY118" fmla="*/ 858566 h 5636345"/>
              <a:gd name="connsiteX119" fmla="*/ 3718133 w 4052929"/>
              <a:gd name="connsiteY119" fmla="*/ 915484 h 5636345"/>
              <a:gd name="connsiteX120" fmla="*/ 3738002 w 4052929"/>
              <a:gd name="connsiteY120" fmla="*/ 943965 h 5636345"/>
              <a:gd name="connsiteX121" fmla="*/ 3749940 w 4052929"/>
              <a:gd name="connsiteY121" fmla="*/ 964875 h 5636345"/>
              <a:gd name="connsiteX122" fmla="*/ 3774296 w 4052929"/>
              <a:gd name="connsiteY122" fmla="*/ 1002698 h 5636345"/>
              <a:gd name="connsiteX123" fmla="*/ 3809838 w 4052929"/>
              <a:gd name="connsiteY123" fmla="*/ 1069796 h 5636345"/>
              <a:gd name="connsiteX124" fmla="*/ 3828946 w 4052929"/>
              <a:gd name="connsiteY124" fmla="*/ 1103264 h 5636345"/>
              <a:gd name="connsiteX125" fmla="*/ 3837430 w 4052929"/>
              <a:gd name="connsiteY125" fmla="*/ 1121883 h 5636345"/>
              <a:gd name="connsiteX126" fmla="*/ 3854895 w 4052929"/>
              <a:gd name="connsiteY126" fmla="*/ 1154852 h 5636345"/>
              <a:gd name="connsiteX127" fmla="*/ 3888044 w 4052929"/>
              <a:gd name="connsiteY127" fmla="*/ 1232952 h 5636345"/>
              <a:gd name="connsiteX128" fmla="*/ 3905463 w 4052929"/>
              <a:gd name="connsiteY128" fmla="*/ 1271177 h 5636345"/>
              <a:gd name="connsiteX129" fmla="*/ 3910956 w 4052929"/>
              <a:gd name="connsiteY129" fmla="*/ 1286933 h 5636345"/>
              <a:gd name="connsiteX130" fmla="*/ 3922588 w 4052929"/>
              <a:gd name="connsiteY130" fmla="*/ 1314338 h 5636345"/>
              <a:gd name="connsiteX131" fmla="*/ 3951995 w 4052929"/>
              <a:gd name="connsiteY131" fmla="*/ 1404648 h 5636345"/>
              <a:gd name="connsiteX132" fmla="*/ 3966712 w 4052929"/>
              <a:gd name="connsiteY132" fmla="*/ 1446862 h 5636345"/>
              <a:gd name="connsiteX133" fmla="*/ 3969773 w 4052929"/>
              <a:gd name="connsiteY133" fmla="*/ 1459245 h 5636345"/>
              <a:gd name="connsiteX134" fmla="*/ 3976683 w 4052929"/>
              <a:gd name="connsiteY134" fmla="*/ 1480466 h 5636345"/>
              <a:gd name="connsiteX135" fmla="*/ 4000947 w 4052929"/>
              <a:gd name="connsiteY135" fmla="*/ 1585357 h 5636345"/>
              <a:gd name="connsiteX136" fmla="*/ 4011855 w 4052929"/>
              <a:gd name="connsiteY136" fmla="*/ 1629483 h 5636345"/>
              <a:gd name="connsiteX137" fmla="*/ 4013132 w 4052929"/>
              <a:gd name="connsiteY137" fmla="*/ 1638031 h 5636345"/>
              <a:gd name="connsiteX138" fmla="*/ 4016489 w 4052929"/>
              <a:gd name="connsiteY138" fmla="*/ 1652543 h 5636345"/>
              <a:gd name="connsiteX139" fmla="*/ 4034155 w 4052929"/>
              <a:gd name="connsiteY139" fmla="*/ 1778728 h 5636345"/>
              <a:gd name="connsiteX140" fmla="*/ 4040053 w 4052929"/>
              <a:gd name="connsiteY140" fmla="*/ 1818199 h 5636345"/>
              <a:gd name="connsiteX141" fmla="*/ 4040263 w 4052929"/>
              <a:gd name="connsiteY141" fmla="*/ 1822355 h 5636345"/>
              <a:gd name="connsiteX142" fmla="*/ 4041317 w 4052929"/>
              <a:gd name="connsiteY142" fmla="*/ 1829880 h 5636345"/>
              <a:gd name="connsiteX143" fmla="*/ 4045460 w 4052929"/>
              <a:gd name="connsiteY143" fmla="*/ 1917398 h 5636345"/>
              <a:gd name="connsiteX144" fmla="*/ 4050511 w 4052929"/>
              <a:gd name="connsiteY144" fmla="*/ 1917398 h 5636345"/>
              <a:gd name="connsiteX145" fmla="*/ 4050511 w 4052929"/>
              <a:gd name="connsiteY145" fmla="*/ 1998086 h 5636345"/>
              <a:gd name="connsiteX146" fmla="*/ 4050511 w 4052929"/>
              <a:gd name="connsiteY146" fmla="*/ 2024059 h 5636345"/>
              <a:gd name="connsiteX147" fmla="*/ 4050511 w 4052929"/>
              <a:gd name="connsiteY147" fmla="*/ 2024664 h 5636345"/>
              <a:gd name="connsiteX148" fmla="*/ 4050511 w 4052929"/>
              <a:gd name="connsiteY148" fmla="*/ 2024665 h 5636345"/>
              <a:gd name="connsiteX149" fmla="*/ 4052929 w 4052929"/>
              <a:gd name="connsiteY149" fmla="*/ 2024665 h 5636345"/>
              <a:gd name="connsiteX150" fmla="*/ 4052929 w 4052929"/>
              <a:gd name="connsiteY150" fmla="*/ 2412336 h 5636345"/>
              <a:gd name="connsiteX151" fmla="*/ 4052929 w 4052929"/>
              <a:gd name="connsiteY151" fmla="*/ 3224009 h 5636345"/>
              <a:gd name="connsiteX152" fmla="*/ 4052929 w 4052929"/>
              <a:gd name="connsiteY152" fmla="*/ 3611681 h 5636345"/>
              <a:gd name="connsiteX153" fmla="*/ 4052929 w 4052929"/>
              <a:gd name="connsiteY153" fmla="*/ 3718947 h 5636345"/>
              <a:gd name="connsiteX154" fmla="*/ 4050535 w 4052929"/>
              <a:gd name="connsiteY154" fmla="*/ 3718947 h 5636345"/>
              <a:gd name="connsiteX155" fmla="*/ 4050535 w 4052929"/>
              <a:gd name="connsiteY155" fmla="*/ 5636344 h 5636345"/>
              <a:gd name="connsiteX156" fmla="*/ 2027689 w 4052929"/>
              <a:gd name="connsiteY156" fmla="*/ 5636344 h 5636345"/>
              <a:gd name="connsiteX157" fmla="*/ 2026496 w 4052929"/>
              <a:gd name="connsiteY157" fmla="*/ 5636344 h 5636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4052929" h="5636345">
                <a:moveTo>
                  <a:pt x="2026476" y="5636345"/>
                </a:moveTo>
                <a:lnTo>
                  <a:pt x="2026457" y="5636344"/>
                </a:lnTo>
                <a:lnTo>
                  <a:pt x="1931388" y="5636344"/>
                </a:lnTo>
                <a:lnTo>
                  <a:pt x="1931388" y="5631785"/>
                </a:lnTo>
                <a:lnTo>
                  <a:pt x="1833395" y="5627145"/>
                </a:lnTo>
                <a:lnTo>
                  <a:pt x="1827450" y="5626294"/>
                </a:lnTo>
                <a:lnTo>
                  <a:pt x="1819528" y="5625895"/>
                </a:lnTo>
                <a:cubicBezTo>
                  <a:pt x="1699922" y="5613748"/>
                  <a:pt x="1583394" y="5591187"/>
                  <a:pt x="1470865" y="5559133"/>
                </a:cubicBezTo>
                <a:lnTo>
                  <a:pt x="1462662" y="5556407"/>
                </a:lnTo>
                <a:lnTo>
                  <a:pt x="1461248" y="5556066"/>
                </a:lnTo>
                <a:lnTo>
                  <a:pt x="1447176" y="5551256"/>
                </a:lnTo>
                <a:lnTo>
                  <a:pt x="1305187" y="5504049"/>
                </a:lnTo>
                <a:lnTo>
                  <a:pt x="1290613" y="5497757"/>
                </a:lnTo>
                <a:lnTo>
                  <a:pt x="1285074" y="5495865"/>
                </a:lnTo>
                <a:lnTo>
                  <a:pt x="1255130" y="5482439"/>
                </a:lnTo>
                <a:lnTo>
                  <a:pt x="1146200" y="5435416"/>
                </a:lnTo>
                <a:lnTo>
                  <a:pt x="1125869" y="5424488"/>
                </a:lnTo>
                <a:lnTo>
                  <a:pt x="1116617" y="5420340"/>
                </a:lnTo>
                <a:lnTo>
                  <a:pt x="1084126" y="5402050"/>
                </a:lnTo>
                <a:lnTo>
                  <a:pt x="994593" y="5353924"/>
                </a:lnTo>
                <a:lnTo>
                  <a:pt x="969219" y="5337367"/>
                </a:lnTo>
                <a:lnTo>
                  <a:pt x="956717" y="5330331"/>
                </a:lnTo>
                <a:lnTo>
                  <a:pt x="925779" y="5309023"/>
                </a:lnTo>
                <a:lnTo>
                  <a:pt x="851058" y="5260266"/>
                </a:lnTo>
                <a:lnTo>
                  <a:pt x="821450" y="5237170"/>
                </a:lnTo>
                <a:lnTo>
                  <a:pt x="806213" y="5226677"/>
                </a:lnTo>
                <a:lnTo>
                  <a:pt x="778467" y="5203639"/>
                </a:lnTo>
                <a:lnTo>
                  <a:pt x="716284" y="5155132"/>
                </a:lnTo>
                <a:lnTo>
                  <a:pt x="683347" y="5124665"/>
                </a:lnTo>
                <a:lnTo>
                  <a:pt x="665943" y="5110215"/>
                </a:lnTo>
                <a:lnTo>
                  <a:pt x="642071" y="5086485"/>
                </a:lnTo>
                <a:lnTo>
                  <a:pt x="590965" y="5039213"/>
                </a:lnTo>
                <a:lnTo>
                  <a:pt x="555689" y="5000616"/>
                </a:lnTo>
                <a:lnTo>
                  <a:pt x="536746" y="4981786"/>
                </a:lnTo>
                <a:lnTo>
                  <a:pt x="516962" y="4958245"/>
                </a:lnTo>
                <a:lnTo>
                  <a:pt x="475790" y="4913198"/>
                </a:lnTo>
                <a:lnTo>
                  <a:pt x="439250" y="4865774"/>
                </a:lnTo>
                <a:lnTo>
                  <a:pt x="419461" y="4842229"/>
                </a:lnTo>
                <a:lnTo>
                  <a:pt x="403714" y="4819654"/>
                </a:lnTo>
                <a:lnTo>
                  <a:pt x="371448" y="4777779"/>
                </a:lnTo>
                <a:lnTo>
                  <a:pt x="334796" y="4720862"/>
                </a:lnTo>
                <a:lnTo>
                  <a:pt x="314928" y="4692381"/>
                </a:lnTo>
                <a:lnTo>
                  <a:pt x="302989" y="4671470"/>
                </a:lnTo>
                <a:lnTo>
                  <a:pt x="278633" y="4633647"/>
                </a:lnTo>
                <a:lnTo>
                  <a:pt x="243091" y="4566549"/>
                </a:lnTo>
                <a:lnTo>
                  <a:pt x="223983" y="4533081"/>
                </a:lnTo>
                <a:lnTo>
                  <a:pt x="215499" y="4514462"/>
                </a:lnTo>
                <a:lnTo>
                  <a:pt x="198034" y="4481494"/>
                </a:lnTo>
                <a:lnTo>
                  <a:pt x="164885" y="4403393"/>
                </a:lnTo>
                <a:lnTo>
                  <a:pt x="147466" y="4365168"/>
                </a:lnTo>
                <a:lnTo>
                  <a:pt x="141973" y="4349412"/>
                </a:lnTo>
                <a:lnTo>
                  <a:pt x="130341" y="4322007"/>
                </a:lnTo>
                <a:lnTo>
                  <a:pt x="100934" y="4231697"/>
                </a:lnTo>
                <a:lnTo>
                  <a:pt x="86217" y="4189483"/>
                </a:lnTo>
                <a:lnTo>
                  <a:pt x="83156" y="4177100"/>
                </a:lnTo>
                <a:lnTo>
                  <a:pt x="76246" y="4155880"/>
                </a:lnTo>
                <a:lnTo>
                  <a:pt x="51982" y="4050988"/>
                </a:lnTo>
                <a:lnTo>
                  <a:pt x="41074" y="4006862"/>
                </a:lnTo>
                <a:lnTo>
                  <a:pt x="39797" y="3998315"/>
                </a:lnTo>
                <a:lnTo>
                  <a:pt x="36440" y="3983802"/>
                </a:lnTo>
                <a:lnTo>
                  <a:pt x="18774" y="3857617"/>
                </a:lnTo>
                <a:lnTo>
                  <a:pt x="12876" y="3818146"/>
                </a:lnTo>
                <a:lnTo>
                  <a:pt x="12666" y="3813991"/>
                </a:lnTo>
                <a:lnTo>
                  <a:pt x="11612" y="3806465"/>
                </a:lnTo>
                <a:lnTo>
                  <a:pt x="7469" y="3718947"/>
                </a:lnTo>
                <a:lnTo>
                  <a:pt x="2418" y="3718947"/>
                </a:lnTo>
                <a:lnTo>
                  <a:pt x="2418" y="3638260"/>
                </a:lnTo>
                <a:lnTo>
                  <a:pt x="2418" y="3612287"/>
                </a:lnTo>
                <a:lnTo>
                  <a:pt x="2418" y="3611681"/>
                </a:lnTo>
                <a:lnTo>
                  <a:pt x="2418" y="3611680"/>
                </a:lnTo>
                <a:lnTo>
                  <a:pt x="0" y="3611680"/>
                </a:lnTo>
                <a:lnTo>
                  <a:pt x="0" y="3224009"/>
                </a:lnTo>
                <a:lnTo>
                  <a:pt x="0" y="2412336"/>
                </a:lnTo>
                <a:lnTo>
                  <a:pt x="0" y="2024664"/>
                </a:lnTo>
                <a:lnTo>
                  <a:pt x="0" y="1917398"/>
                </a:lnTo>
                <a:lnTo>
                  <a:pt x="2395" y="1917398"/>
                </a:lnTo>
                <a:lnTo>
                  <a:pt x="2395" y="1"/>
                </a:lnTo>
                <a:lnTo>
                  <a:pt x="2025240" y="1"/>
                </a:lnTo>
                <a:lnTo>
                  <a:pt x="2026433" y="1"/>
                </a:lnTo>
                <a:lnTo>
                  <a:pt x="2026452" y="0"/>
                </a:lnTo>
                <a:lnTo>
                  <a:pt x="2026472" y="1"/>
                </a:lnTo>
                <a:lnTo>
                  <a:pt x="2121541" y="1"/>
                </a:lnTo>
                <a:lnTo>
                  <a:pt x="2121541" y="4560"/>
                </a:lnTo>
                <a:lnTo>
                  <a:pt x="2219534" y="9201"/>
                </a:lnTo>
                <a:lnTo>
                  <a:pt x="2225480" y="10051"/>
                </a:lnTo>
                <a:lnTo>
                  <a:pt x="2233400" y="10450"/>
                </a:lnTo>
                <a:cubicBezTo>
                  <a:pt x="2353007" y="22598"/>
                  <a:pt x="2469534" y="45158"/>
                  <a:pt x="2582064" y="77212"/>
                </a:cubicBezTo>
                <a:lnTo>
                  <a:pt x="2590267" y="79939"/>
                </a:lnTo>
                <a:lnTo>
                  <a:pt x="2591681" y="80279"/>
                </a:lnTo>
                <a:lnTo>
                  <a:pt x="2605753" y="85089"/>
                </a:lnTo>
                <a:lnTo>
                  <a:pt x="2747742" y="132296"/>
                </a:lnTo>
                <a:lnTo>
                  <a:pt x="2762316" y="138588"/>
                </a:lnTo>
                <a:lnTo>
                  <a:pt x="2767855" y="140481"/>
                </a:lnTo>
                <a:lnTo>
                  <a:pt x="2797799" y="153906"/>
                </a:lnTo>
                <a:lnTo>
                  <a:pt x="2906730" y="200929"/>
                </a:lnTo>
                <a:lnTo>
                  <a:pt x="2927060" y="211857"/>
                </a:lnTo>
                <a:lnTo>
                  <a:pt x="2936312" y="216005"/>
                </a:lnTo>
                <a:lnTo>
                  <a:pt x="2968803" y="234295"/>
                </a:lnTo>
                <a:lnTo>
                  <a:pt x="3058336" y="282421"/>
                </a:lnTo>
                <a:lnTo>
                  <a:pt x="3083710" y="298978"/>
                </a:lnTo>
                <a:lnTo>
                  <a:pt x="3096212" y="306014"/>
                </a:lnTo>
                <a:lnTo>
                  <a:pt x="3127150" y="327323"/>
                </a:lnTo>
                <a:lnTo>
                  <a:pt x="3201871" y="376079"/>
                </a:lnTo>
                <a:lnTo>
                  <a:pt x="3231478" y="399175"/>
                </a:lnTo>
                <a:lnTo>
                  <a:pt x="3246716" y="409668"/>
                </a:lnTo>
                <a:lnTo>
                  <a:pt x="3274462" y="432706"/>
                </a:lnTo>
                <a:lnTo>
                  <a:pt x="3336644" y="481214"/>
                </a:lnTo>
                <a:lnTo>
                  <a:pt x="3369582" y="511681"/>
                </a:lnTo>
                <a:lnTo>
                  <a:pt x="3386986" y="526130"/>
                </a:lnTo>
                <a:lnTo>
                  <a:pt x="3410858" y="549860"/>
                </a:lnTo>
                <a:lnTo>
                  <a:pt x="3461964" y="597133"/>
                </a:lnTo>
                <a:lnTo>
                  <a:pt x="3497240" y="635729"/>
                </a:lnTo>
                <a:lnTo>
                  <a:pt x="3516183" y="654559"/>
                </a:lnTo>
                <a:lnTo>
                  <a:pt x="3535967" y="678100"/>
                </a:lnTo>
                <a:lnTo>
                  <a:pt x="3577139" y="723147"/>
                </a:lnTo>
                <a:lnTo>
                  <a:pt x="3613679" y="770571"/>
                </a:lnTo>
                <a:lnTo>
                  <a:pt x="3633468" y="794116"/>
                </a:lnTo>
                <a:lnTo>
                  <a:pt x="3649215" y="816691"/>
                </a:lnTo>
                <a:lnTo>
                  <a:pt x="3681481" y="858566"/>
                </a:lnTo>
                <a:lnTo>
                  <a:pt x="3718133" y="915484"/>
                </a:lnTo>
                <a:lnTo>
                  <a:pt x="3738002" y="943965"/>
                </a:lnTo>
                <a:lnTo>
                  <a:pt x="3749940" y="964875"/>
                </a:lnTo>
                <a:lnTo>
                  <a:pt x="3774296" y="1002698"/>
                </a:lnTo>
                <a:lnTo>
                  <a:pt x="3809838" y="1069796"/>
                </a:lnTo>
                <a:lnTo>
                  <a:pt x="3828946" y="1103264"/>
                </a:lnTo>
                <a:lnTo>
                  <a:pt x="3837430" y="1121883"/>
                </a:lnTo>
                <a:lnTo>
                  <a:pt x="3854895" y="1154852"/>
                </a:lnTo>
                <a:lnTo>
                  <a:pt x="3888044" y="1232952"/>
                </a:lnTo>
                <a:lnTo>
                  <a:pt x="3905463" y="1271177"/>
                </a:lnTo>
                <a:lnTo>
                  <a:pt x="3910956" y="1286933"/>
                </a:lnTo>
                <a:lnTo>
                  <a:pt x="3922588" y="1314338"/>
                </a:lnTo>
                <a:lnTo>
                  <a:pt x="3951995" y="1404648"/>
                </a:lnTo>
                <a:lnTo>
                  <a:pt x="3966712" y="1446862"/>
                </a:lnTo>
                <a:lnTo>
                  <a:pt x="3969773" y="1459245"/>
                </a:lnTo>
                <a:lnTo>
                  <a:pt x="3976683" y="1480466"/>
                </a:lnTo>
                <a:lnTo>
                  <a:pt x="4000947" y="1585357"/>
                </a:lnTo>
                <a:lnTo>
                  <a:pt x="4011855" y="1629483"/>
                </a:lnTo>
                <a:lnTo>
                  <a:pt x="4013132" y="1638031"/>
                </a:lnTo>
                <a:lnTo>
                  <a:pt x="4016489" y="1652543"/>
                </a:lnTo>
                <a:lnTo>
                  <a:pt x="4034155" y="1778728"/>
                </a:lnTo>
                <a:lnTo>
                  <a:pt x="4040053" y="1818199"/>
                </a:lnTo>
                <a:lnTo>
                  <a:pt x="4040263" y="1822355"/>
                </a:lnTo>
                <a:lnTo>
                  <a:pt x="4041317" y="1829880"/>
                </a:lnTo>
                <a:lnTo>
                  <a:pt x="4045460" y="1917398"/>
                </a:lnTo>
                <a:lnTo>
                  <a:pt x="4050511" y="1917398"/>
                </a:lnTo>
                <a:lnTo>
                  <a:pt x="4050511" y="1998086"/>
                </a:lnTo>
                <a:lnTo>
                  <a:pt x="4050511" y="2024059"/>
                </a:lnTo>
                <a:lnTo>
                  <a:pt x="4050511" y="2024664"/>
                </a:lnTo>
                <a:lnTo>
                  <a:pt x="4050511" y="2024665"/>
                </a:lnTo>
                <a:lnTo>
                  <a:pt x="4052929" y="2024665"/>
                </a:lnTo>
                <a:lnTo>
                  <a:pt x="4052929" y="2412336"/>
                </a:lnTo>
                <a:lnTo>
                  <a:pt x="4052929" y="3224009"/>
                </a:lnTo>
                <a:lnTo>
                  <a:pt x="4052929" y="3611681"/>
                </a:lnTo>
                <a:lnTo>
                  <a:pt x="4052929" y="3718947"/>
                </a:lnTo>
                <a:lnTo>
                  <a:pt x="4050535" y="3718947"/>
                </a:lnTo>
                <a:lnTo>
                  <a:pt x="4050535" y="5636344"/>
                </a:lnTo>
                <a:lnTo>
                  <a:pt x="2027689" y="5636344"/>
                </a:lnTo>
                <a:lnTo>
                  <a:pt x="2026496" y="5636344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81" name="Graphic 80">
            <a:extLst>
              <a:ext uri="{FF2B5EF4-FFF2-40B4-BE49-F238E27FC236}">
                <a16:creationId xmlns:a16="http://schemas.microsoft.com/office/drawing/2014/main" id="{6209347C-AEDD-A945-944F-B2F6781780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96083" y="5359268"/>
            <a:ext cx="3709281" cy="737628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B21E4642-8225-BB49-BBBB-D4574F85E0BE}"/>
              </a:ext>
            </a:extLst>
          </p:cNvPr>
          <p:cNvSpPr txBox="1"/>
          <p:nvPr/>
        </p:nvSpPr>
        <p:spPr>
          <a:xfrm>
            <a:off x="4517453" y="5595126"/>
            <a:ext cx="593994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90"/>
              </a:spcBef>
            </a:pPr>
            <a:r>
              <a:rPr lang="en-US">
                <a:solidFill>
                  <a:srgbClr val="002060"/>
                </a:solidFill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16 JULI 2025</a:t>
            </a:r>
            <a:endParaRPr lang="en-US" dirty="0">
              <a:solidFill>
                <a:srgbClr val="002060"/>
              </a:solidFill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60C1EB0-AEFF-C182-E39C-405F02AEAD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804" y="4292301"/>
            <a:ext cx="5504478" cy="1559859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50C5ABAC-9462-8F47-80CB-E00CBC5DF568}"/>
              </a:ext>
            </a:extLst>
          </p:cNvPr>
          <p:cNvSpPr txBox="1"/>
          <p:nvPr/>
        </p:nvSpPr>
        <p:spPr>
          <a:xfrm>
            <a:off x="1025414" y="4514080"/>
            <a:ext cx="5939947" cy="11003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390"/>
              </a:spcBef>
            </a:pPr>
            <a:r>
              <a:rPr lang="en-US" sz="1300" b="1" i="1" dirty="0">
                <a:solidFill>
                  <a:schemeClr val="bg1"/>
                </a:solidFill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Oleh:</a:t>
            </a:r>
          </a:p>
          <a:p>
            <a:pPr>
              <a:lnSpc>
                <a:spcPct val="100000"/>
              </a:lnSpc>
              <a:spcBef>
                <a:spcPts val="390"/>
              </a:spcBef>
            </a:pPr>
            <a:r>
              <a:rPr lang="en-US" sz="1300" b="1" i="1" dirty="0" err="1">
                <a:solidFill>
                  <a:schemeClr val="bg1"/>
                </a:solidFill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Akhmad</a:t>
            </a:r>
            <a:r>
              <a:rPr lang="en-US" sz="1300" b="1" i="1" dirty="0">
                <a:solidFill>
                  <a:schemeClr val="bg1"/>
                </a:solidFill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Hady Amrullah, SST., MT.</a:t>
            </a:r>
          </a:p>
          <a:p>
            <a:pPr>
              <a:lnSpc>
                <a:spcPct val="100000"/>
              </a:lnSpc>
              <a:spcBef>
                <a:spcPts val="390"/>
              </a:spcBef>
            </a:pPr>
            <a:r>
              <a:rPr lang="en-US" sz="1100" b="1" dirty="0">
                <a:solidFill>
                  <a:schemeClr val="bg1"/>
                </a:solidFill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F PJK AHLI MUDA - DIREKTORAT USAHA DAN KELEMBAGAAN</a:t>
            </a:r>
          </a:p>
          <a:p>
            <a:pPr>
              <a:lnSpc>
                <a:spcPct val="100000"/>
              </a:lnSpc>
              <a:spcBef>
                <a:spcPts val="390"/>
              </a:spcBef>
            </a:pPr>
            <a:r>
              <a:rPr lang="en-US" sz="1100" b="1" dirty="0">
                <a:solidFill>
                  <a:schemeClr val="bg1"/>
                </a:solidFill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IREKTORAT JENDERAL BINA KONSTRUKSI</a:t>
            </a:r>
          </a:p>
          <a:p>
            <a:pPr>
              <a:lnSpc>
                <a:spcPct val="100000"/>
              </a:lnSpc>
              <a:spcBef>
                <a:spcPts val="295"/>
              </a:spcBef>
            </a:pPr>
            <a:r>
              <a:rPr lang="en-US" sz="1100" b="1" dirty="0">
                <a:solidFill>
                  <a:schemeClr val="bg1"/>
                </a:solidFill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EMENTERIAN PU</a:t>
            </a:r>
          </a:p>
        </p:txBody>
      </p:sp>
    </p:spTree>
    <p:extLst>
      <p:ext uri="{BB962C8B-B14F-4D97-AF65-F5344CB8AC3E}">
        <p14:creationId xmlns:p14="http://schemas.microsoft.com/office/powerpoint/2010/main" val="3608751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Cars on a bridge&#10;&#10;Description automatically generated with low confidence">
            <a:extLst>
              <a:ext uri="{FF2B5EF4-FFF2-40B4-BE49-F238E27FC236}">
                <a16:creationId xmlns:a16="http://schemas.microsoft.com/office/drawing/2014/main" id="{09FC8181-FDD7-D54C-A20D-BB57FBFE31E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hq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654A9028-A60E-4161-BBF6-2B56FC243B3F}"/>
              </a:ext>
            </a:extLst>
          </p:cNvPr>
          <p:cNvSpPr/>
          <p:nvPr/>
        </p:nvSpPr>
        <p:spPr>
          <a:xfrm>
            <a:off x="9005" y="-582"/>
            <a:ext cx="5410554" cy="6858000"/>
          </a:xfrm>
          <a:custGeom>
            <a:avLst/>
            <a:gdLst>
              <a:gd name="connsiteX0" fmla="*/ 0 w 5410554"/>
              <a:gd name="connsiteY0" fmla="*/ 0 h 6858000"/>
              <a:gd name="connsiteX1" fmla="*/ 1627874 w 5410554"/>
              <a:gd name="connsiteY1" fmla="*/ 0 h 6858000"/>
              <a:gd name="connsiteX2" fmla="*/ 2168930 w 5410554"/>
              <a:gd name="connsiteY2" fmla="*/ 0 h 6858000"/>
              <a:gd name="connsiteX3" fmla="*/ 3241610 w 5410554"/>
              <a:gd name="connsiteY3" fmla="*/ 0 h 6858000"/>
              <a:gd name="connsiteX4" fmla="*/ 3782664 w 5410554"/>
              <a:gd name="connsiteY4" fmla="*/ 0 h 6858000"/>
              <a:gd name="connsiteX5" fmla="*/ 3825752 w 5410554"/>
              <a:gd name="connsiteY5" fmla="*/ 0 h 6858000"/>
              <a:gd name="connsiteX6" fmla="*/ 3825752 w 5410554"/>
              <a:gd name="connsiteY6" fmla="*/ 1 h 6858000"/>
              <a:gd name="connsiteX7" fmla="*/ 3859052 w 5410554"/>
              <a:gd name="connsiteY7" fmla="*/ 1 h 6858000"/>
              <a:gd name="connsiteX8" fmla="*/ 3859052 w 5410554"/>
              <a:gd name="connsiteY8" fmla="*/ 3976 h 6858000"/>
              <a:gd name="connsiteX9" fmla="*/ 3937768 w 5410554"/>
              <a:gd name="connsiteY9" fmla="*/ 8022 h 6858000"/>
              <a:gd name="connsiteX10" fmla="*/ 3942544 w 5410554"/>
              <a:gd name="connsiteY10" fmla="*/ 8764 h 6858000"/>
              <a:gd name="connsiteX11" fmla="*/ 3948908 w 5410554"/>
              <a:gd name="connsiteY11" fmla="*/ 9111 h 6858000"/>
              <a:gd name="connsiteX12" fmla="*/ 4228992 w 5410554"/>
              <a:gd name="connsiteY12" fmla="*/ 67312 h 6858000"/>
              <a:gd name="connsiteX13" fmla="*/ 4235584 w 5410554"/>
              <a:gd name="connsiteY13" fmla="*/ 69688 h 6858000"/>
              <a:gd name="connsiteX14" fmla="*/ 4236718 w 5410554"/>
              <a:gd name="connsiteY14" fmla="*/ 69985 h 6858000"/>
              <a:gd name="connsiteX15" fmla="*/ 4248024 w 5410554"/>
              <a:gd name="connsiteY15" fmla="*/ 74178 h 6858000"/>
              <a:gd name="connsiteX16" fmla="*/ 4362084 w 5410554"/>
              <a:gd name="connsiteY16" fmla="*/ 115332 h 6858000"/>
              <a:gd name="connsiteX17" fmla="*/ 4373792 w 5410554"/>
              <a:gd name="connsiteY17" fmla="*/ 120816 h 6858000"/>
              <a:gd name="connsiteX18" fmla="*/ 4378240 w 5410554"/>
              <a:gd name="connsiteY18" fmla="*/ 122467 h 6858000"/>
              <a:gd name="connsiteX19" fmla="*/ 4402296 w 5410554"/>
              <a:gd name="connsiteY19" fmla="*/ 134171 h 6858000"/>
              <a:gd name="connsiteX20" fmla="*/ 4489800 w 5410554"/>
              <a:gd name="connsiteY20" fmla="*/ 175163 h 6858000"/>
              <a:gd name="connsiteX21" fmla="*/ 4506132 w 5410554"/>
              <a:gd name="connsiteY21" fmla="*/ 184690 h 6858000"/>
              <a:gd name="connsiteX22" fmla="*/ 4513564 w 5410554"/>
              <a:gd name="connsiteY22" fmla="*/ 188306 h 6858000"/>
              <a:gd name="connsiteX23" fmla="*/ 4539666 w 5410554"/>
              <a:gd name="connsiteY23" fmla="*/ 204251 h 6858000"/>
              <a:gd name="connsiteX24" fmla="*/ 4611588 w 5410554"/>
              <a:gd name="connsiteY24" fmla="*/ 246206 h 6858000"/>
              <a:gd name="connsiteX25" fmla="*/ 4631970 w 5410554"/>
              <a:gd name="connsiteY25" fmla="*/ 260639 h 6858000"/>
              <a:gd name="connsiteX26" fmla="*/ 4642016 w 5410554"/>
              <a:gd name="connsiteY26" fmla="*/ 266773 h 6858000"/>
              <a:gd name="connsiteX27" fmla="*/ 4666866 w 5410554"/>
              <a:gd name="connsiteY27" fmla="*/ 285348 h 6858000"/>
              <a:gd name="connsiteX28" fmla="*/ 4726892 w 5410554"/>
              <a:gd name="connsiteY28" fmla="*/ 327853 h 6858000"/>
              <a:gd name="connsiteX29" fmla="*/ 4750676 w 5410554"/>
              <a:gd name="connsiteY29" fmla="*/ 347987 h 6858000"/>
              <a:gd name="connsiteX30" fmla="*/ 4762916 w 5410554"/>
              <a:gd name="connsiteY30" fmla="*/ 357135 h 6858000"/>
              <a:gd name="connsiteX31" fmla="*/ 4785204 w 5410554"/>
              <a:gd name="connsiteY31" fmla="*/ 377217 h 6858000"/>
              <a:gd name="connsiteX32" fmla="*/ 4835156 w 5410554"/>
              <a:gd name="connsiteY32" fmla="*/ 419505 h 6858000"/>
              <a:gd name="connsiteX33" fmla="*/ 4861616 w 5410554"/>
              <a:gd name="connsiteY33" fmla="*/ 446067 h 6858000"/>
              <a:gd name="connsiteX34" fmla="*/ 4875594 w 5410554"/>
              <a:gd name="connsiteY34" fmla="*/ 458661 h 6858000"/>
              <a:gd name="connsiteX35" fmla="*/ 4894772 w 5410554"/>
              <a:gd name="connsiteY35" fmla="*/ 479349 h 6858000"/>
              <a:gd name="connsiteX36" fmla="*/ 4935828 w 5410554"/>
              <a:gd name="connsiteY36" fmla="*/ 520560 h 6858000"/>
              <a:gd name="connsiteX37" fmla="*/ 4964164 w 5410554"/>
              <a:gd name="connsiteY37" fmla="*/ 554208 h 6858000"/>
              <a:gd name="connsiteX38" fmla="*/ 4979380 w 5410554"/>
              <a:gd name="connsiteY38" fmla="*/ 570622 h 6858000"/>
              <a:gd name="connsiteX39" fmla="*/ 4995274 w 5410554"/>
              <a:gd name="connsiteY39" fmla="*/ 591145 h 6858000"/>
              <a:gd name="connsiteX40" fmla="*/ 5028348 w 5410554"/>
              <a:gd name="connsiteY40" fmla="*/ 630415 h 6858000"/>
              <a:gd name="connsiteX41" fmla="*/ 5057702 w 5410554"/>
              <a:gd name="connsiteY41" fmla="*/ 671758 h 6858000"/>
              <a:gd name="connsiteX42" fmla="*/ 5073596 w 5410554"/>
              <a:gd name="connsiteY42" fmla="*/ 692284 h 6858000"/>
              <a:gd name="connsiteX43" fmla="*/ 5086248 w 5410554"/>
              <a:gd name="connsiteY43" fmla="*/ 711964 h 6858000"/>
              <a:gd name="connsiteX44" fmla="*/ 5112166 w 5410554"/>
              <a:gd name="connsiteY44" fmla="*/ 748469 h 6858000"/>
              <a:gd name="connsiteX45" fmla="*/ 5141608 w 5410554"/>
              <a:gd name="connsiteY45" fmla="*/ 798086 h 6858000"/>
              <a:gd name="connsiteX46" fmla="*/ 5157568 w 5410554"/>
              <a:gd name="connsiteY46" fmla="*/ 822915 h 6858000"/>
              <a:gd name="connsiteX47" fmla="*/ 5167160 w 5410554"/>
              <a:gd name="connsiteY47" fmla="*/ 841145 h 6858000"/>
              <a:gd name="connsiteX48" fmla="*/ 5186728 w 5410554"/>
              <a:gd name="connsiteY48" fmla="*/ 874117 h 6858000"/>
              <a:gd name="connsiteX49" fmla="*/ 5215276 w 5410554"/>
              <a:gd name="connsiteY49" fmla="*/ 932612 h 6858000"/>
              <a:gd name="connsiteX50" fmla="*/ 5230628 w 5410554"/>
              <a:gd name="connsiteY50" fmla="*/ 961788 h 6858000"/>
              <a:gd name="connsiteX51" fmla="*/ 5237440 w 5410554"/>
              <a:gd name="connsiteY51" fmla="*/ 978019 h 6858000"/>
              <a:gd name="connsiteX52" fmla="*/ 5251472 w 5410554"/>
              <a:gd name="connsiteY52" fmla="*/ 1006759 h 6858000"/>
              <a:gd name="connsiteX53" fmla="*/ 5278100 w 5410554"/>
              <a:gd name="connsiteY53" fmla="*/ 1074845 h 6858000"/>
              <a:gd name="connsiteX54" fmla="*/ 5292092 w 5410554"/>
              <a:gd name="connsiteY54" fmla="*/ 1108170 h 6858000"/>
              <a:gd name="connsiteX55" fmla="*/ 5296508 w 5410554"/>
              <a:gd name="connsiteY55" fmla="*/ 1121904 h 6858000"/>
              <a:gd name="connsiteX56" fmla="*/ 5305850 w 5410554"/>
              <a:gd name="connsiteY56" fmla="*/ 1145796 h 6858000"/>
              <a:gd name="connsiteX57" fmla="*/ 5329474 w 5410554"/>
              <a:gd name="connsiteY57" fmla="*/ 1224524 h 6858000"/>
              <a:gd name="connsiteX58" fmla="*/ 5341296 w 5410554"/>
              <a:gd name="connsiteY58" fmla="*/ 1261324 h 6858000"/>
              <a:gd name="connsiteX59" fmla="*/ 5343756 w 5410554"/>
              <a:gd name="connsiteY59" fmla="*/ 1272119 h 6858000"/>
              <a:gd name="connsiteX60" fmla="*/ 5349304 w 5410554"/>
              <a:gd name="connsiteY60" fmla="*/ 1290618 h 6858000"/>
              <a:gd name="connsiteX61" fmla="*/ 5368796 w 5410554"/>
              <a:gd name="connsiteY61" fmla="*/ 1382061 h 6858000"/>
              <a:gd name="connsiteX62" fmla="*/ 5377560 w 5410554"/>
              <a:gd name="connsiteY62" fmla="*/ 1420528 h 6858000"/>
              <a:gd name="connsiteX63" fmla="*/ 5378584 w 5410554"/>
              <a:gd name="connsiteY63" fmla="*/ 1427980 h 6858000"/>
              <a:gd name="connsiteX64" fmla="*/ 5381282 w 5410554"/>
              <a:gd name="connsiteY64" fmla="*/ 1440629 h 6858000"/>
              <a:gd name="connsiteX65" fmla="*/ 5395472 w 5410554"/>
              <a:gd name="connsiteY65" fmla="*/ 1550634 h 6858000"/>
              <a:gd name="connsiteX66" fmla="*/ 5400212 w 5410554"/>
              <a:gd name="connsiteY66" fmla="*/ 1585042 h 6858000"/>
              <a:gd name="connsiteX67" fmla="*/ 5400380 w 5410554"/>
              <a:gd name="connsiteY67" fmla="*/ 1588666 h 6858000"/>
              <a:gd name="connsiteX68" fmla="*/ 5401224 w 5410554"/>
              <a:gd name="connsiteY68" fmla="*/ 1595226 h 6858000"/>
              <a:gd name="connsiteX69" fmla="*/ 5404556 w 5410554"/>
              <a:gd name="connsiteY69" fmla="*/ 1671522 h 6858000"/>
              <a:gd name="connsiteX70" fmla="*/ 5408612 w 5410554"/>
              <a:gd name="connsiteY70" fmla="*/ 1671522 h 6858000"/>
              <a:gd name="connsiteX71" fmla="*/ 5408612 w 5410554"/>
              <a:gd name="connsiteY71" fmla="*/ 1741862 h 6858000"/>
              <a:gd name="connsiteX72" fmla="*/ 5408612 w 5410554"/>
              <a:gd name="connsiteY72" fmla="*/ 1764504 h 6858000"/>
              <a:gd name="connsiteX73" fmla="*/ 5408612 w 5410554"/>
              <a:gd name="connsiteY73" fmla="*/ 1765033 h 6858000"/>
              <a:gd name="connsiteX74" fmla="*/ 5410554 w 5410554"/>
              <a:gd name="connsiteY74" fmla="*/ 1765033 h 6858000"/>
              <a:gd name="connsiteX75" fmla="*/ 5410554 w 5410554"/>
              <a:gd name="connsiteY75" fmla="*/ 1944433 h 6858000"/>
              <a:gd name="connsiteX76" fmla="*/ 3825752 w 5410554"/>
              <a:gd name="connsiteY76" fmla="*/ 1944433 h 6858000"/>
              <a:gd name="connsiteX77" fmla="*/ 3825752 w 5410554"/>
              <a:gd name="connsiteY77" fmla="*/ 1944434 h 6858000"/>
              <a:gd name="connsiteX78" fmla="*/ 3859050 w 5410554"/>
              <a:gd name="connsiteY78" fmla="*/ 1944434 h 6858000"/>
              <a:gd name="connsiteX79" fmla="*/ 3859050 w 5410554"/>
              <a:gd name="connsiteY79" fmla="*/ 1948409 h 6858000"/>
              <a:gd name="connsiteX80" fmla="*/ 3937768 w 5410554"/>
              <a:gd name="connsiteY80" fmla="*/ 1952454 h 6858000"/>
              <a:gd name="connsiteX81" fmla="*/ 3942544 w 5410554"/>
              <a:gd name="connsiteY81" fmla="*/ 1953195 h 6858000"/>
              <a:gd name="connsiteX82" fmla="*/ 3948908 w 5410554"/>
              <a:gd name="connsiteY82" fmla="*/ 1953545 h 6858000"/>
              <a:gd name="connsiteX83" fmla="*/ 4228992 w 5410554"/>
              <a:gd name="connsiteY83" fmla="*/ 2011744 h 6858000"/>
              <a:gd name="connsiteX84" fmla="*/ 4235582 w 5410554"/>
              <a:gd name="connsiteY84" fmla="*/ 2014120 h 6858000"/>
              <a:gd name="connsiteX85" fmla="*/ 4236718 w 5410554"/>
              <a:gd name="connsiteY85" fmla="*/ 2014418 h 6858000"/>
              <a:gd name="connsiteX86" fmla="*/ 4248024 w 5410554"/>
              <a:gd name="connsiteY86" fmla="*/ 2018611 h 6858000"/>
              <a:gd name="connsiteX87" fmla="*/ 4362084 w 5410554"/>
              <a:gd name="connsiteY87" fmla="*/ 2059764 h 6858000"/>
              <a:gd name="connsiteX88" fmla="*/ 4373792 w 5410554"/>
              <a:gd name="connsiteY88" fmla="*/ 2065249 h 6858000"/>
              <a:gd name="connsiteX89" fmla="*/ 4378240 w 5410554"/>
              <a:gd name="connsiteY89" fmla="*/ 2066899 h 6858000"/>
              <a:gd name="connsiteX90" fmla="*/ 4402294 w 5410554"/>
              <a:gd name="connsiteY90" fmla="*/ 2078604 h 6858000"/>
              <a:gd name="connsiteX91" fmla="*/ 4489800 w 5410554"/>
              <a:gd name="connsiteY91" fmla="*/ 2119596 h 6858000"/>
              <a:gd name="connsiteX92" fmla="*/ 4506132 w 5410554"/>
              <a:gd name="connsiteY92" fmla="*/ 2129123 h 6858000"/>
              <a:gd name="connsiteX93" fmla="*/ 4513564 w 5410554"/>
              <a:gd name="connsiteY93" fmla="*/ 2132739 h 6858000"/>
              <a:gd name="connsiteX94" fmla="*/ 4539664 w 5410554"/>
              <a:gd name="connsiteY94" fmla="*/ 2148684 h 6858000"/>
              <a:gd name="connsiteX95" fmla="*/ 4611588 w 5410554"/>
              <a:gd name="connsiteY95" fmla="*/ 2190639 h 6858000"/>
              <a:gd name="connsiteX96" fmla="*/ 4631970 w 5410554"/>
              <a:gd name="connsiteY96" fmla="*/ 2205072 h 6858000"/>
              <a:gd name="connsiteX97" fmla="*/ 4642012 w 5410554"/>
              <a:gd name="connsiteY97" fmla="*/ 2211205 h 6858000"/>
              <a:gd name="connsiteX98" fmla="*/ 4666866 w 5410554"/>
              <a:gd name="connsiteY98" fmla="*/ 2229781 h 6858000"/>
              <a:gd name="connsiteX99" fmla="*/ 4726888 w 5410554"/>
              <a:gd name="connsiteY99" fmla="*/ 2272285 h 6858000"/>
              <a:gd name="connsiteX100" fmla="*/ 4750676 w 5410554"/>
              <a:gd name="connsiteY100" fmla="*/ 2292420 h 6858000"/>
              <a:gd name="connsiteX101" fmla="*/ 4762912 w 5410554"/>
              <a:gd name="connsiteY101" fmla="*/ 2301568 h 6858000"/>
              <a:gd name="connsiteX102" fmla="*/ 4785202 w 5410554"/>
              <a:gd name="connsiteY102" fmla="*/ 2321651 h 6858000"/>
              <a:gd name="connsiteX103" fmla="*/ 4835156 w 5410554"/>
              <a:gd name="connsiteY103" fmla="*/ 2363938 h 6858000"/>
              <a:gd name="connsiteX104" fmla="*/ 4861614 w 5410554"/>
              <a:gd name="connsiteY104" fmla="*/ 2390499 h 6858000"/>
              <a:gd name="connsiteX105" fmla="*/ 4875594 w 5410554"/>
              <a:gd name="connsiteY105" fmla="*/ 2403094 h 6858000"/>
              <a:gd name="connsiteX106" fmla="*/ 4894770 w 5410554"/>
              <a:gd name="connsiteY106" fmla="*/ 2423782 h 6858000"/>
              <a:gd name="connsiteX107" fmla="*/ 4935824 w 5410554"/>
              <a:gd name="connsiteY107" fmla="*/ 2464992 h 6858000"/>
              <a:gd name="connsiteX108" fmla="*/ 4964164 w 5410554"/>
              <a:gd name="connsiteY108" fmla="*/ 2498639 h 6858000"/>
              <a:gd name="connsiteX109" fmla="*/ 4979380 w 5410554"/>
              <a:gd name="connsiteY109" fmla="*/ 2515055 h 6858000"/>
              <a:gd name="connsiteX110" fmla="*/ 4995274 w 5410554"/>
              <a:gd name="connsiteY110" fmla="*/ 2535578 h 6858000"/>
              <a:gd name="connsiteX111" fmla="*/ 5028344 w 5410554"/>
              <a:gd name="connsiteY111" fmla="*/ 2574846 h 6858000"/>
              <a:gd name="connsiteX112" fmla="*/ 5057700 w 5410554"/>
              <a:gd name="connsiteY112" fmla="*/ 2616189 h 6858000"/>
              <a:gd name="connsiteX113" fmla="*/ 5073596 w 5410554"/>
              <a:gd name="connsiteY113" fmla="*/ 2636717 h 6858000"/>
              <a:gd name="connsiteX114" fmla="*/ 5086244 w 5410554"/>
              <a:gd name="connsiteY114" fmla="*/ 2656395 h 6858000"/>
              <a:gd name="connsiteX115" fmla="*/ 5112164 w 5410554"/>
              <a:gd name="connsiteY115" fmla="*/ 2692902 h 6858000"/>
              <a:gd name="connsiteX116" fmla="*/ 5141608 w 5410554"/>
              <a:gd name="connsiteY116" fmla="*/ 2742519 h 6858000"/>
              <a:gd name="connsiteX117" fmla="*/ 5157568 w 5410554"/>
              <a:gd name="connsiteY117" fmla="*/ 2767348 h 6858000"/>
              <a:gd name="connsiteX118" fmla="*/ 5167160 w 5410554"/>
              <a:gd name="connsiteY118" fmla="*/ 2785577 h 6858000"/>
              <a:gd name="connsiteX119" fmla="*/ 5186724 w 5410554"/>
              <a:gd name="connsiteY119" fmla="*/ 2818550 h 6858000"/>
              <a:gd name="connsiteX120" fmla="*/ 5215276 w 5410554"/>
              <a:gd name="connsiteY120" fmla="*/ 2877044 h 6858000"/>
              <a:gd name="connsiteX121" fmla="*/ 5230624 w 5410554"/>
              <a:gd name="connsiteY121" fmla="*/ 2906220 h 6858000"/>
              <a:gd name="connsiteX122" fmla="*/ 5237440 w 5410554"/>
              <a:gd name="connsiteY122" fmla="*/ 2922452 h 6858000"/>
              <a:gd name="connsiteX123" fmla="*/ 5251472 w 5410554"/>
              <a:gd name="connsiteY123" fmla="*/ 2951192 h 6858000"/>
              <a:gd name="connsiteX124" fmla="*/ 5278100 w 5410554"/>
              <a:gd name="connsiteY124" fmla="*/ 3019278 h 6858000"/>
              <a:gd name="connsiteX125" fmla="*/ 5292092 w 5410554"/>
              <a:gd name="connsiteY125" fmla="*/ 3052600 h 6858000"/>
              <a:gd name="connsiteX126" fmla="*/ 5296504 w 5410554"/>
              <a:gd name="connsiteY126" fmla="*/ 3066337 h 6858000"/>
              <a:gd name="connsiteX127" fmla="*/ 5305850 w 5410554"/>
              <a:gd name="connsiteY127" fmla="*/ 3090227 h 6858000"/>
              <a:gd name="connsiteX128" fmla="*/ 5329472 w 5410554"/>
              <a:gd name="connsiteY128" fmla="*/ 3168956 h 6858000"/>
              <a:gd name="connsiteX129" fmla="*/ 5341294 w 5410554"/>
              <a:gd name="connsiteY129" fmla="*/ 3205756 h 6858000"/>
              <a:gd name="connsiteX130" fmla="*/ 5343752 w 5410554"/>
              <a:gd name="connsiteY130" fmla="*/ 3216552 h 6858000"/>
              <a:gd name="connsiteX131" fmla="*/ 5349304 w 5410554"/>
              <a:gd name="connsiteY131" fmla="*/ 3235051 h 6858000"/>
              <a:gd name="connsiteX132" fmla="*/ 5368796 w 5410554"/>
              <a:gd name="connsiteY132" fmla="*/ 3326492 h 6858000"/>
              <a:gd name="connsiteX133" fmla="*/ 5377558 w 5410554"/>
              <a:gd name="connsiteY133" fmla="*/ 3364959 h 6858000"/>
              <a:gd name="connsiteX134" fmla="*/ 5378584 w 5410554"/>
              <a:gd name="connsiteY134" fmla="*/ 3372411 h 6858000"/>
              <a:gd name="connsiteX135" fmla="*/ 5381282 w 5410554"/>
              <a:gd name="connsiteY135" fmla="*/ 3385062 h 6858000"/>
              <a:gd name="connsiteX136" fmla="*/ 5395472 w 5410554"/>
              <a:gd name="connsiteY136" fmla="*/ 3495066 h 6858000"/>
              <a:gd name="connsiteX137" fmla="*/ 5400212 w 5410554"/>
              <a:gd name="connsiteY137" fmla="*/ 3529474 h 6858000"/>
              <a:gd name="connsiteX138" fmla="*/ 5400378 w 5410554"/>
              <a:gd name="connsiteY138" fmla="*/ 3533097 h 6858000"/>
              <a:gd name="connsiteX139" fmla="*/ 5401224 w 5410554"/>
              <a:gd name="connsiteY139" fmla="*/ 3539659 h 6858000"/>
              <a:gd name="connsiteX140" fmla="*/ 5404556 w 5410554"/>
              <a:gd name="connsiteY140" fmla="*/ 3615954 h 6858000"/>
              <a:gd name="connsiteX141" fmla="*/ 5408612 w 5410554"/>
              <a:gd name="connsiteY141" fmla="*/ 3615954 h 6858000"/>
              <a:gd name="connsiteX142" fmla="*/ 5408612 w 5410554"/>
              <a:gd name="connsiteY142" fmla="*/ 3686294 h 6858000"/>
              <a:gd name="connsiteX143" fmla="*/ 5408612 w 5410554"/>
              <a:gd name="connsiteY143" fmla="*/ 3708935 h 6858000"/>
              <a:gd name="connsiteX144" fmla="*/ 5408612 w 5410554"/>
              <a:gd name="connsiteY144" fmla="*/ 3709464 h 6858000"/>
              <a:gd name="connsiteX145" fmla="*/ 5410552 w 5410554"/>
              <a:gd name="connsiteY145" fmla="*/ 3709464 h 6858000"/>
              <a:gd name="connsiteX146" fmla="*/ 5410552 w 5410554"/>
              <a:gd name="connsiteY146" fmla="*/ 4047423 h 6858000"/>
              <a:gd name="connsiteX147" fmla="*/ 5410552 w 5410554"/>
              <a:gd name="connsiteY147" fmla="*/ 4755011 h 6858000"/>
              <a:gd name="connsiteX148" fmla="*/ 5410552 w 5410554"/>
              <a:gd name="connsiteY148" fmla="*/ 5092971 h 6858000"/>
              <a:gd name="connsiteX149" fmla="*/ 5410552 w 5410554"/>
              <a:gd name="connsiteY149" fmla="*/ 5186483 h 6858000"/>
              <a:gd name="connsiteX150" fmla="*/ 5408630 w 5410554"/>
              <a:gd name="connsiteY150" fmla="*/ 5186483 h 6858000"/>
              <a:gd name="connsiteX151" fmla="*/ 5408630 w 5410554"/>
              <a:gd name="connsiteY151" fmla="*/ 6857999 h 6858000"/>
              <a:gd name="connsiteX152" fmla="*/ 4867572 w 5410554"/>
              <a:gd name="connsiteY152" fmla="*/ 6857999 h 6858000"/>
              <a:gd name="connsiteX153" fmla="*/ 3794896 w 5410554"/>
              <a:gd name="connsiteY153" fmla="*/ 6857999 h 6858000"/>
              <a:gd name="connsiteX154" fmla="*/ 3783656 w 5410554"/>
              <a:gd name="connsiteY154" fmla="*/ 6857999 h 6858000"/>
              <a:gd name="connsiteX155" fmla="*/ 3782700 w 5410554"/>
              <a:gd name="connsiteY155" fmla="*/ 6857999 h 6858000"/>
              <a:gd name="connsiteX156" fmla="*/ 3782684 w 5410554"/>
              <a:gd name="connsiteY156" fmla="*/ 6858000 h 6858000"/>
              <a:gd name="connsiteX157" fmla="*/ 3782668 w 5410554"/>
              <a:gd name="connsiteY157" fmla="*/ 6857999 h 6858000"/>
              <a:gd name="connsiteX158" fmla="*/ 3706296 w 5410554"/>
              <a:gd name="connsiteY158" fmla="*/ 6857999 h 6858000"/>
              <a:gd name="connsiteX159" fmla="*/ 3253838 w 5410554"/>
              <a:gd name="connsiteY159" fmla="*/ 6857999 h 6858000"/>
              <a:gd name="connsiteX160" fmla="*/ 3242600 w 5410554"/>
              <a:gd name="connsiteY160" fmla="*/ 6857999 h 6858000"/>
              <a:gd name="connsiteX161" fmla="*/ 3241642 w 5410554"/>
              <a:gd name="connsiteY161" fmla="*/ 6857999 h 6858000"/>
              <a:gd name="connsiteX162" fmla="*/ 3241628 w 5410554"/>
              <a:gd name="connsiteY162" fmla="*/ 6858000 h 6858000"/>
              <a:gd name="connsiteX163" fmla="*/ 3241610 w 5410554"/>
              <a:gd name="connsiteY163" fmla="*/ 6857999 h 6858000"/>
              <a:gd name="connsiteX164" fmla="*/ 3165240 w 5410554"/>
              <a:gd name="connsiteY164" fmla="*/ 6857999 h 6858000"/>
              <a:gd name="connsiteX165" fmla="*/ 2169924 w 5410554"/>
              <a:gd name="connsiteY165" fmla="*/ 6857999 h 6858000"/>
              <a:gd name="connsiteX166" fmla="*/ 2168964 w 5410554"/>
              <a:gd name="connsiteY166" fmla="*/ 6857999 h 6858000"/>
              <a:gd name="connsiteX167" fmla="*/ 2168948 w 5410554"/>
              <a:gd name="connsiteY167" fmla="*/ 6858000 h 6858000"/>
              <a:gd name="connsiteX168" fmla="*/ 2168932 w 5410554"/>
              <a:gd name="connsiteY168" fmla="*/ 6857999 h 6858000"/>
              <a:gd name="connsiteX169" fmla="*/ 2092562 w 5410554"/>
              <a:gd name="connsiteY169" fmla="*/ 6857999 h 6858000"/>
              <a:gd name="connsiteX170" fmla="*/ 1628866 w 5410554"/>
              <a:gd name="connsiteY170" fmla="*/ 6857999 h 6858000"/>
              <a:gd name="connsiteX171" fmla="*/ 1627908 w 5410554"/>
              <a:gd name="connsiteY171" fmla="*/ 6857999 h 6858000"/>
              <a:gd name="connsiteX172" fmla="*/ 1627892 w 5410554"/>
              <a:gd name="connsiteY172" fmla="*/ 6858000 h 6858000"/>
              <a:gd name="connsiteX173" fmla="*/ 1627876 w 5410554"/>
              <a:gd name="connsiteY173" fmla="*/ 6857999 h 6858000"/>
              <a:gd name="connsiteX174" fmla="*/ 1551508 w 5410554"/>
              <a:gd name="connsiteY174" fmla="*/ 6857999 h 6858000"/>
              <a:gd name="connsiteX175" fmla="*/ 1551508 w 5410554"/>
              <a:gd name="connsiteY175" fmla="*/ 6854025 h 6858000"/>
              <a:gd name="connsiteX176" fmla="*/ 1472788 w 5410554"/>
              <a:gd name="connsiteY176" fmla="*/ 6849979 h 6858000"/>
              <a:gd name="connsiteX177" fmla="*/ 1468012 w 5410554"/>
              <a:gd name="connsiteY177" fmla="*/ 6849239 h 6858000"/>
              <a:gd name="connsiteX178" fmla="*/ 1461648 w 5410554"/>
              <a:gd name="connsiteY178" fmla="*/ 6848892 h 6858000"/>
              <a:gd name="connsiteX179" fmla="*/ 1181564 w 5410554"/>
              <a:gd name="connsiteY179" fmla="*/ 6790692 h 6858000"/>
              <a:gd name="connsiteX180" fmla="*/ 1174972 w 5410554"/>
              <a:gd name="connsiteY180" fmla="*/ 6788314 h 6858000"/>
              <a:gd name="connsiteX181" fmla="*/ 1173836 w 5410554"/>
              <a:gd name="connsiteY181" fmla="*/ 6788017 h 6858000"/>
              <a:gd name="connsiteX182" fmla="*/ 1162534 w 5410554"/>
              <a:gd name="connsiteY182" fmla="*/ 6783825 h 6858000"/>
              <a:gd name="connsiteX183" fmla="*/ 1048472 w 5410554"/>
              <a:gd name="connsiteY183" fmla="*/ 6742670 h 6858000"/>
              <a:gd name="connsiteX184" fmla="*/ 1036764 w 5410554"/>
              <a:gd name="connsiteY184" fmla="*/ 6737186 h 6858000"/>
              <a:gd name="connsiteX185" fmla="*/ 1032316 w 5410554"/>
              <a:gd name="connsiteY185" fmla="*/ 6735535 h 6858000"/>
              <a:gd name="connsiteX186" fmla="*/ 1008260 w 5410554"/>
              <a:gd name="connsiteY186" fmla="*/ 6723832 h 6858000"/>
              <a:gd name="connsiteX187" fmla="*/ 920756 w 5410554"/>
              <a:gd name="connsiteY187" fmla="*/ 6682839 h 6858000"/>
              <a:gd name="connsiteX188" fmla="*/ 904424 w 5410554"/>
              <a:gd name="connsiteY188" fmla="*/ 6673313 h 6858000"/>
              <a:gd name="connsiteX189" fmla="*/ 896992 w 5410554"/>
              <a:gd name="connsiteY189" fmla="*/ 6669695 h 6858000"/>
              <a:gd name="connsiteX190" fmla="*/ 870892 w 5410554"/>
              <a:gd name="connsiteY190" fmla="*/ 6653750 h 6858000"/>
              <a:gd name="connsiteX191" fmla="*/ 798968 w 5410554"/>
              <a:gd name="connsiteY191" fmla="*/ 6611797 h 6858000"/>
              <a:gd name="connsiteX192" fmla="*/ 778586 w 5410554"/>
              <a:gd name="connsiteY192" fmla="*/ 6597363 h 6858000"/>
              <a:gd name="connsiteX193" fmla="*/ 768544 w 5410554"/>
              <a:gd name="connsiteY193" fmla="*/ 6591229 h 6858000"/>
              <a:gd name="connsiteX194" fmla="*/ 743688 w 5410554"/>
              <a:gd name="connsiteY194" fmla="*/ 6572653 h 6858000"/>
              <a:gd name="connsiteX195" fmla="*/ 683668 w 5410554"/>
              <a:gd name="connsiteY195" fmla="*/ 6530149 h 6858000"/>
              <a:gd name="connsiteX196" fmla="*/ 659882 w 5410554"/>
              <a:gd name="connsiteY196" fmla="*/ 6510014 h 6858000"/>
              <a:gd name="connsiteX197" fmla="*/ 647642 w 5410554"/>
              <a:gd name="connsiteY197" fmla="*/ 6500867 h 6858000"/>
              <a:gd name="connsiteX198" fmla="*/ 625352 w 5410554"/>
              <a:gd name="connsiteY198" fmla="*/ 6480784 h 6858000"/>
              <a:gd name="connsiteX199" fmla="*/ 575400 w 5410554"/>
              <a:gd name="connsiteY199" fmla="*/ 6438495 h 6858000"/>
              <a:gd name="connsiteX200" fmla="*/ 548942 w 5410554"/>
              <a:gd name="connsiteY200" fmla="*/ 6411937 h 6858000"/>
              <a:gd name="connsiteX201" fmla="*/ 534962 w 5410554"/>
              <a:gd name="connsiteY201" fmla="*/ 6399339 h 6858000"/>
              <a:gd name="connsiteX202" fmla="*/ 515784 w 5410554"/>
              <a:gd name="connsiteY202" fmla="*/ 6378653 h 6858000"/>
              <a:gd name="connsiteX203" fmla="*/ 474730 w 5410554"/>
              <a:gd name="connsiteY203" fmla="*/ 6337442 h 6858000"/>
              <a:gd name="connsiteX204" fmla="*/ 446392 w 5410554"/>
              <a:gd name="connsiteY204" fmla="*/ 6303796 h 6858000"/>
              <a:gd name="connsiteX205" fmla="*/ 431176 w 5410554"/>
              <a:gd name="connsiteY205" fmla="*/ 6287381 h 6858000"/>
              <a:gd name="connsiteX206" fmla="*/ 415282 w 5410554"/>
              <a:gd name="connsiteY206" fmla="*/ 6266857 h 6858000"/>
              <a:gd name="connsiteX207" fmla="*/ 382208 w 5410554"/>
              <a:gd name="connsiteY207" fmla="*/ 6227587 h 6858000"/>
              <a:gd name="connsiteX208" fmla="*/ 352856 w 5410554"/>
              <a:gd name="connsiteY208" fmla="*/ 6186245 h 6858000"/>
              <a:gd name="connsiteX209" fmla="*/ 336960 w 5410554"/>
              <a:gd name="connsiteY209" fmla="*/ 6165720 h 6858000"/>
              <a:gd name="connsiteX210" fmla="*/ 324308 w 5410554"/>
              <a:gd name="connsiteY210" fmla="*/ 6146039 h 6858000"/>
              <a:gd name="connsiteX211" fmla="*/ 298390 w 5410554"/>
              <a:gd name="connsiteY211" fmla="*/ 6109535 h 6858000"/>
              <a:gd name="connsiteX212" fmla="*/ 268948 w 5410554"/>
              <a:gd name="connsiteY212" fmla="*/ 6059915 h 6858000"/>
              <a:gd name="connsiteX213" fmla="*/ 252986 w 5410554"/>
              <a:gd name="connsiteY213" fmla="*/ 6035087 h 6858000"/>
              <a:gd name="connsiteX214" fmla="*/ 243396 w 5410554"/>
              <a:gd name="connsiteY214" fmla="*/ 6016858 h 6858000"/>
              <a:gd name="connsiteX215" fmla="*/ 223832 w 5410554"/>
              <a:gd name="connsiteY215" fmla="*/ 5983884 h 6858000"/>
              <a:gd name="connsiteX216" fmla="*/ 195280 w 5410554"/>
              <a:gd name="connsiteY216" fmla="*/ 5925391 h 6858000"/>
              <a:gd name="connsiteX217" fmla="*/ 179930 w 5410554"/>
              <a:gd name="connsiteY217" fmla="*/ 5896215 h 6858000"/>
              <a:gd name="connsiteX218" fmla="*/ 173114 w 5410554"/>
              <a:gd name="connsiteY218" fmla="*/ 5879984 h 6858000"/>
              <a:gd name="connsiteX219" fmla="*/ 159084 w 5410554"/>
              <a:gd name="connsiteY219" fmla="*/ 5851242 h 6858000"/>
              <a:gd name="connsiteX220" fmla="*/ 132456 w 5410554"/>
              <a:gd name="connsiteY220" fmla="*/ 5783157 h 6858000"/>
              <a:gd name="connsiteX221" fmla="*/ 118464 w 5410554"/>
              <a:gd name="connsiteY221" fmla="*/ 5749835 h 6858000"/>
              <a:gd name="connsiteX222" fmla="*/ 114052 w 5410554"/>
              <a:gd name="connsiteY222" fmla="*/ 5736099 h 6858000"/>
              <a:gd name="connsiteX223" fmla="*/ 104706 w 5410554"/>
              <a:gd name="connsiteY223" fmla="*/ 5712207 h 6858000"/>
              <a:gd name="connsiteX224" fmla="*/ 81084 w 5410554"/>
              <a:gd name="connsiteY224" fmla="*/ 5633480 h 6858000"/>
              <a:gd name="connsiteX225" fmla="*/ 69262 w 5410554"/>
              <a:gd name="connsiteY225" fmla="*/ 5596679 h 6858000"/>
              <a:gd name="connsiteX226" fmla="*/ 66804 w 5410554"/>
              <a:gd name="connsiteY226" fmla="*/ 5585881 h 6858000"/>
              <a:gd name="connsiteX227" fmla="*/ 61252 w 5410554"/>
              <a:gd name="connsiteY227" fmla="*/ 5567383 h 6858000"/>
              <a:gd name="connsiteX228" fmla="*/ 41760 w 5410554"/>
              <a:gd name="connsiteY228" fmla="*/ 5475944 h 6858000"/>
              <a:gd name="connsiteX229" fmla="*/ 32996 w 5410554"/>
              <a:gd name="connsiteY229" fmla="*/ 5437475 h 6858000"/>
              <a:gd name="connsiteX230" fmla="*/ 31972 w 5410554"/>
              <a:gd name="connsiteY230" fmla="*/ 5430024 h 6858000"/>
              <a:gd name="connsiteX231" fmla="*/ 29276 w 5410554"/>
              <a:gd name="connsiteY231" fmla="*/ 5417372 h 6858000"/>
              <a:gd name="connsiteX232" fmla="*/ 15084 w 5410554"/>
              <a:gd name="connsiteY232" fmla="*/ 5307371 h 6858000"/>
              <a:gd name="connsiteX233" fmla="*/ 10346 w 5410554"/>
              <a:gd name="connsiteY233" fmla="*/ 5272959 h 6858000"/>
              <a:gd name="connsiteX234" fmla="*/ 10178 w 5410554"/>
              <a:gd name="connsiteY234" fmla="*/ 5269337 h 6858000"/>
              <a:gd name="connsiteX235" fmla="*/ 9330 w 5410554"/>
              <a:gd name="connsiteY235" fmla="*/ 5262777 h 6858000"/>
              <a:gd name="connsiteX236" fmla="*/ 6004 w 5410554"/>
              <a:gd name="connsiteY236" fmla="*/ 5186483 h 6858000"/>
              <a:gd name="connsiteX237" fmla="*/ 1944 w 5410554"/>
              <a:gd name="connsiteY237" fmla="*/ 5186483 h 6858000"/>
              <a:gd name="connsiteX238" fmla="*/ 1944 w 5410554"/>
              <a:gd name="connsiteY238" fmla="*/ 5116140 h 6858000"/>
              <a:gd name="connsiteX239" fmla="*/ 1944 w 5410554"/>
              <a:gd name="connsiteY239" fmla="*/ 5093499 h 6858000"/>
              <a:gd name="connsiteX240" fmla="*/ 1944 w 5410554"/>
              <a:gd name="connsiteY240" fmla="*/ 5092971 h 6858000"/>
              <a:gd name="connsiteX241" fmla="*/ 0 w 5410554"/>
              <a:gd name="connsiteY241" fmla="*/ 5092971 h 6858000"/>
              <a:gd name="connsiteX242" fmla="*/ 0 w 5410554"/>
              <a:gd name="connsiteY242" fmla="*/ 4755011 h 6858000"/>
              <a:gd name="connsiteX243" fmla="*/ 0 w 5410554"/>
              <a:gd name="connsiteY243" fmla="*/ 4047423 h 6858000"/>
              <a:gd name="connsiteX244" fmla="*/ 0 w 5410554"/>
              <a:gd name="connsiteY244" fmla="*/ 3709464 h 6858000"/>
              <a:gd name="connsiteX245" fmla="*/ 0 w 5410554"/>
              <a:gd name="connsiteY245" fmla="*/ 3615954 h 6858000"/>
              <a:gd name="connsiteX246" fmla="*/ 1926 w 5410554"/>
              <a:gd name="connsiteY246" fmla="*/ 3615954 h 6858000"/>
              <a:gd name="connsiteX247" fmla="*/ 1926 w 5410554"/>
              <a:gd name="connsiteY247" fmla="*/ 3603350 h 6858000"/>
              <a:gd name="connsiteX248" fmla="*/ 0 w 5410554"/>
              <a:gd name="connsiteY248" fmla="*/ 3603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5410554" h="6858000">
                <a:moveTo>
                  <a:pt x="0" y="0"/>
                </a:moveTo>
                <a:lnTo>
                  <a:pt x="1627874" y="0"/>
                </a:lnTo>
                <a:lnTo>
                  <a:pt x="2168930" y="0"/>
                </a:lnTo>
                <a:lnTo>
                  <a:pt x="3241610" y="0"/>
                </a:lnTo>
                <a:lnTo>
                  <a:pt x="3782664" y="0"/>
                </a:lnTo>
                <a:lnTo>
                  <a:pt x="3825752" y="0"/>
                </a:lnTo>
                <a:lnTo>
                  <a:pt x="3825752" y="1"/>
                </a:lnTo>
                <a:lnTo>
                  <a:pt x="3859052" y="1"/>
                </a:lnTo>
                <a:lnTo>
                  <a:pt x="3859052" y="3976"/>
                </a:lnTo>
                <a:lnTo>
                  <a:pt x="3937768" y="8022"/>
                </a:lnTo>
                <a:lnTo>
                  <a:pt x="3942544" y="8764"/>
                </a:lnTo>
                <a:lnTo>
                  <a:pt x="3948908" y="9111"/>
                </a:lnTo>
                <a:cubicBezTo>
                  <a:pt x="4044990" y="19700"/>
                  <a:pt x="4138598" y="39368"/>
                  <a:pt x="4228992" y="67312"/>
                </a:cubicBezTo>
                <a:lnTo>
                  <a:pt x="4235584" y="69688"/>
                </a:lnTo>
                <a:lnTo>
                  <a:pt x="4236718" y="69985"/>
                </a:lnTo>
                <a:lnTo>
                  <a:pt x="4248024" y="74178"/>
                </a:lnTo>
                <a:lnTo>
                  <a:pt x="4362084" y="115332"/>
                </a:lnTo>
                <a:lnTo>
                  <a:pt x="4373792" y="120816"/>
                </a:lnTo>
                <a:lnTo>
                  <a:pt x="4378240" y="122467"/>
                </a:lnTo>
                <a:lnTo>
                  <a:pt x="4402296" y="134171"/>
                </a:lnTo>
                <a:lnTo>
                  <a:pt x="4489800" y="175163"/>
                </a:lnTo>
                <a:lnTo>
                  <a:pt x="4506132" y="184690"/>
                </a:lnTo>
                <a:lnTo>
                  <a:pt x="4513564" y="188306"/>
                </a:lnTo>
                <a:lnTo>
                  <a:pt x="4539666" y="204251"/>
                </a:lnTo>
                <a:lnTo>
                  <a:pt x="4611588" y="246206"/>
                </a:lnTo>
                <a:lnTo>
                  <a:pt x="4631970" y="260639"/>
                </a:lnTo>
                <a:lnTo>
                  <a:pt x="4642016" y="266773"/>
                </a:lnTo>
                <a:lnTo>
                  <a:pt x="4666866" y="285348"/>
                </a:lnTo>
                <a:lnTo>
                  <a:pt x="4726892" y="327853"/>
                </a:lnTo>
                <a:lnTo>
                  <a:pt x="4750676" y="347987"/>
                </a:lnTo>
                <a:lnTo>
                  <a:pt x="4762916" y="357135"/>
                </a:lnTo>
                <a:lnTo>
                  <a:pt x="4785204" y="377217"/>
                </a:lnTo>
                <a:lnTo>
                  <a:pt x="4835156" y="419505"/>
                </a:lnTo>
                <a:lnTo>
                  <a:pt x="4861616" y="446067"/>
                </a:lnTo>
                <a:lnTo>
                  <a:pt x="4875594" y="458661"/>
                </a:lnTo>
                <a:lnTo>
                  <a:pt x="4894772" y="479349"/>
                </a:lnTo>
                <a:lnTo>
                  <a:pt x="4935828" y="520560"/>
                </a:lnTo>
                <a:lnTo>
                  <a:pt x="4964164" y="554208"/>
                </a:lnTo>
                <a:lnTo>
                  <a:pt x="4979380" y="570622"/>
                </a:lnTo>
                <a:lnTo>
                  <a:pt x="4995274" y="591145"/>
                </a:lnTo>
                <a:lnTo>
                  <a:pt x="5028348" y="630415"/>
                </a:lnTo>
                <a:lnTo>
                  <a:pt x="5057702" y="671758"/>
                </a:lnTo>
                <a:lnTo>
                  <a:pt x="5073596" y="692284"/>
                </a:lnTo>
                <a:lnTo>
                  <a:pt x="5086248" y="711964"/>
                </a:lnTo>
                <a:lnTo>
                  <a:pt x="5112166" y="748469"/>
                </a:lnTo>
                <a:lnTo>
                  <a:pt x="5141608" y="798086"/>
                </a:lnTo>
                <a:lnTo>
                  <a:pt x="5157568" y="822915"/>
                </a:lnTo>
                <a:lnTo>
                  <a:pt x="5167160" y="841145"/>
                </a:lnTo>
                <a:lnTo>
                  <a:pt x="5186728" y="874117"/>
                </a:lnTo>
                <a:lnTo>
                  <a:pt x="5215276" y="932612"/>
                </a:lnTo>
                <a:lnTo>
                  <a:pt x="5230628" y="961788"/>
                </a:lnTo>
                <a:lnTo>
                  <a:pt x="5237440" y="978019"/>
                </a:lnTo>
                <a:lnTo>
                  <a:pt x="5251472" y="1006759"/>
                </a:lnTo>
                <a:lnTo>
                  <a:pt x="5278100" y="1074845"/>
                </a:lnTo>
                <a:lnTo>
                  <a:pt x="5292092" y="1108170"/>
                </a:lnTo>
                <a:lnTo>
                  <a:pt x="5296508" y="1121904"/>
                </a:lnTo>
                <a:lnTo>
                  <a:pt x="5305850" y="1145796"/>
                </a:lnTo>
                <a:lnTo>
                  <a:pt x="5329474" y="1224524"/>
                </a:lnTo>
                <a:lnTo>
                  <a:pt x="5341296" y="1261324"/>
                </a:lnTo>
                <a:lnTo>
                  <a:pt x="5343756" y="1272119"/>
                </a:lnTo>
                <a:lnTo>
                  <a:pt x="5349304" y="1290618"/>
                </a:lnTo>
                <a:lnTo>
                  <a:pt x="5368796" y="1382061"/>
                </a:lnTo>
                <a:lnTo>
                  <a:pt x="5377560" y="1420528"/>
                </a:lnTo>
                <a:lnTo>
                  <a:pt x="5378584" y="1427980"/>
                </a:lnTo>
                <a:lnTo>
                  <a:pt x="5381282" y="1440629"/>
                </a:lnTo>
                <a:lnTo>
                  <a:pt x="5395472" y="1550634"/>
                </a:lnTo>
                <a:lnTo>
                  <a:pt x="5400212" y="1585042"/>
                </a:lnTo>
                <a:lnTo>
                  <a:pt x="5400380" y="1588666"/>
                </a:lnTo>
                <a:lnTo>
                  <a:pt x="5401224" y="1595226"/>
                </a:lnTo>
                <a:lnTo>
                  <a:pt x="5404556" y="1671522"/>
                </a:lnTo>
                <a:lnTo>
                  <a:pt x="5408612" y="1671522"/>
                </a:lnTo>
                <a:lnTo>
                  <a:pt x="5408612" y="1741862"/>
                </a:lnTo>
                <a:lnTo>
                  <a:pt x="5408612" y="1764504"/>
                </a:lnTo>
                <a:lnTo>
                  <a:pt x="5408612" y="1765033"/>
                </a:lnTo>
                <a:lnTo>
                  <a:pt x="5410554" y="1765033"/>
                </a:lnTo>
                <a:lnTo>
                  <a:pt x="5410554" y="1944433"/>
                </a:lnTo>
                <a:lnTo>
                  <a:pt x="3825752" y="1944433"/>
                </a:lnTo>
                <a:lnTo>
                  <a:pt x="3825752" y="1944434"/>
                </a:lnTo>
                <a:lnTo>
                  <a:pt x="3859050" y="1944434"/>
                </a:lnTo>
                <a:lnTo>
                  <a:pt x="3859050" y="1948409"/>
                </a:lnTo>
                <a:lnTo>
                  <a:pt x="3937768" y="1952454"/>
                </a:lnTo>
                <a:lnTo>
                  <a:pt x="3942544" y="1953195"/>
                </a:lnTo>
                <a:lnTo>
                  <a:pt x="3948908" y="1953545"/>
                </a:lnTo>
                <a:cubicBezTo>
                  <a:pt x="4044988" y="1964132"/>
                  <a:pt x="4138598" y="1983799"/>
                  <a:pt x="4228992" y="2011744"/>
                </a:cubicBezTo>
                <a:lnTo>
                  <a:pt x="4235582" y="2014120"/>
                </a:lnTo>
                <a:lnTo>
                  <a:pt x="4236718" y="2014418"/>
                </a:lnTo>
                <a:lnTo>
                  <a:pt x="4248024" y="2018611"/>
                </a:lnTo>
                <a:lnTo>
                  <a:pt x="4362084" y="2059764"/>
                </a:lnTo>
                <a:lnTo>
                  <a:pt x="4373792" y="2065249"/>
                </a:lnTo>
                <a:lnTo>
                  <a:pt x="4378240" y="2066899"/>
                </a:lnTo>
                <a:lnTo>
                  <a:pt x="4402294" y="2078604"/>
                </a:lnTo>
                <a:lnTo>
                  <a:pt x="4489800" y="2119596"/>
                </a:lnTo>
                <a:lnTo>
                  <a:pt x="4506132" y="2129123"/>
                </a:lnTo>
                <a:lnTo>
                  <a:pt x="4513564" y="2132739"/>
                </a:lnTo>
                <a:lnTo>
                  <a:pt x="4539664" y="2148684"/>
                </a:lnTo>
                <a:lnTo>
                  <a:pt x="4611588" y="2190639"/>
                </a:lnTo>
                <a:lnTo>
                  <a:pt x="4631970" y="2205072"/>
                </a:lnTo>
                <a:lnTo>
                  <a:pt x="4642012" y="2211205"/>
                </a:lnTo>
                <a:lnTo>
                  <a:pt x="4666866" y="2229781"/>
                </a:lnTo>
                <a:lnTo>
                  <a:pt x="4726888" y="2272285"/>
                </a:lnTo>
                <a:lnTo>
                  <a:pt x="4750676" y="2292420"/>
                </a:lnTo>
                <a:lnTo>
                  <a:pt x="4762912" y="2301568"/>
                </a:lnTo>
                <a:lnTo>
                  <a:pt x="4785202" y="2321651"/>
                </a:lnTo>
                <a:lnTo>
                  <a:pt x="4835156" y="2363938"/>
                </a:lnTo>
                <a:lnTo>
                  <a:pt x="4861614" y="2390499"/>
                </a:lnTo>
                <a:lnTo>
                  <a:pt x="4875594" y="2403094"/>
                </a:lnTo>
                <a:lnTo>
                  <a:pt x="4894770" y="2423782"/>
                </a:lnTo>
                <a:lnTo>
                  <a:pt x="4935824" y="2464992"/>
                </a:lnTo>
                <a:lnTo>
                  <a:pt x="4964164" y="2498639"/>
                </a:lnTo>
                <a:lnTo>
                  <a:pt x="4979380" y="2515055"/>
                </a:lnTo>
                <a:lnTo>
                  <a:pt x="4995274" y="2535578"/>
                </a:lnTo>
                <a:lnTo>
                  <a:pt x="5028344" y="2574846"/>
                </a:lnTo>
                <a:lnTo>
                  <a:pt x="5057700" y="2616189"/>
                </a:lnTo>
                <a:lnTo>
                  <a:pt x="5073596" y="2636717"/>
                </a:lnTo>
                <a:lnTo>
                  <a:pt x="5086244" y="2656395"/>
                </a:lnTo>
                <a:lnTo>
                  <a:pt x="5112164" y="2692902"/>
                </a:lnTo>
                <a:lnTo>
                  <a:pt x="5141608" y="2742519"/>
                </a:lnTo>
                <a:lnTo>
                  <a:pt x="5157568" y="2767348"/>
                </a:lnTo>
                <a:lnTo>
                  <a:pt x="5167160" y="2785577"/>
                </a:lnTo>
                <a:lnTo>
                  <a:pt x="5186724" y="2818550"/>
                </a:lnTo>
                <a:lnTo>
                  <a:pt x="5215276" y="2877044"/>
                </a:lnTo>
                <a:lnTo>
                  <a:pt x="5230624" y="2906220"/>
                </a:lnTo>
                <a:lnTo>
                  <a:pt x="5237440" y="2922452"/>
                </a:lnTo>
                <a:lnTo>
                  <a:pt x="5251472" y="2951192"/>
                </a:lnTo>
                <a:lnTo>
                  <a:pt x="5278100" y="3019278"/>
                </a:lnTo>
                <a:lnTo>
                  <a:pt x="5292092" y="3052600"/>
                </a:lnTo>
                <a:lnTo>
                  <a:pt x="5296504" y="3066337"/>
                </a:lnTo>
                <a:lnTo>
                  <a:pt x="5305850" y="3090227"/>
                </a:lnTo>
                <a:lnTo>
                  <a:pt x="5329472" y="3168956"/>
                </a:lnTo>
                <a:lnTo>
                  <a:pt x="5341294" y="3205756"/>
                </a:lnTo>
                <a:lnTo>
                  <a:pt x="5343752" y="3216552"/>
                </a:lnTo>
                <a:lnTo>
                  <a:pt x="5349304" y="3235051"/>
                </a:lnTo>
                <a:lnTo>
                  <a:pt x="5368796" y="3326492"/>
                </a:lnTo>
                <a:lnTo>
                  <a:pt x="5377558" y="3364959"/>
                </a:lnTo>
                <a:lnTo>
                  <a:pt x="5378584" y="3372411"/>
                </a:lnTo>
                <a:lnTo>
                  <a:pt x="5381282" y="3385062"/>
                </a:lnTo>
                <a:lnTo>
                  <a:pt x="5395472" y="3495066"/>
                </a:lnTo>
                <a:lnTo>
                  <a:pt x="5400212" y="3529474"/>
                </a:lnTo>
                <a:lnTo>
                  <a:pt x="5400378" y="3533097"/>
                </a:lnTo>
                <a:lnTo>
                  <a:pt x="5401224" y="3539659"/>
                </a:lnTo>
                <a:lnTo>
                  <a:pt x="5404556" y="3615954"/>
                </a:lnTo>
                <a:lnTo>
                  <a:pt x="5408612" y="3615954"/>
                </a:lnTo>
                <a:lnTo>
                  <a:pt x="5408612" y="3686294"/>
                </a:lnTo>
                <a:lnTo>
                  <a:pt x="5408612" y="3708935"/>
                </a:lnTo>
                <a:lnTo>
                  <a:pt x="5408612" y="3709464"/>
                </a:lnTo>
                <a:lnTo>
                  <a:pt x="5410552" y="3709464"/>
                </a:lnTo>
                <a:lnTo>
                  <a:pt x="5410552" y="4047423"/>
                </a:lnTo>
                <a:lnTo>
                  <a:pt x="5410552" y="4755011"/>
                </a:lnTo>
                <a:lnTo>
                  <a:pt x="5410552" y="5092971"/>
                </a:lnTo>
                <a:lnTo>
                  <a:pt x="5410552" y="5186483"/>
                </a:lnTo>
                <a:lnTo>
                  <a:pt x="5408630" y="5186483"/>
                </a:lnTo>
                <a:lnTo>
                  <a:pt x="5408630" y="6857999"/>
                </a:lnTo>
                <a:lnTo>
                  <a:pt x="4867572" y="6857999"/>
                </a:lnTo>
                <a:lnTo>
                  <a:pt x="3794896" y="6857999"/>
                </a:lnTo>
                <a:lnTo>
                  <a:pt x="3783656" y="6857999"/>
                </a:lnTo>
                <a:lnTo>
                  <a:pt x="3782700" y="6857999"/>
                </a:lnTo>
                <a:lnTo>
                  <a:pt x="3782684" y="6858000"/>
                </a:lnTo>
                <a:lnTo>
                  <a:pt x="3782668" y="6857999"/>
                </a:lnTo>
                <a:lnTo>
                  <a:pt x="3706296" y="6857999"/>
                </a:lnTo>
                <a:lnTo>
                  <a:pt x="3253838" y="6857999"/>
                </a:lnTo>
                <a:lnTo>
                  <a:pt x="3242600" y="6857999"/>
                </a:lnTo>
                <a:lnTo>
                  <a:pt x="3241642" y="6857999"/>
                </a:lnTo>
                <a:lnTo>
                  <a:pt x="3241628" y="6858000"/>
                </a:lnTo>
                <a:lnTo>
                  <a:pt x="3241610" y="6857999"/>
                </a:lnTo>
                <a:lnTo>
                  <a:pt x="3165240" y="6857999"/>
                </a:lnTo>
                <a:lnTo>
                  <a:pt x="2169924" y="6857999"/>
                </a:lnTo>
                <a:lnTo>
                  <a:pt x="2168964" y="6857999"/>
                </a:lnTo>
                <a:lnTo>
                  <a:pt x="2168948" y="6858000"/>
                </a:lnTo>
                <a:lnTo>
                  <a:pt x="2168932" y="6857999"/>
                </a:lnTo>
                <a:lnTo>
                  <a:pt x="2092562" y="6857999"/>
                </a:lnTo>
                <a:lnTo>
                  <a:pt x="1628866" y="6857999"/>
                </a:lnTo>
                <a:lnTo>
                  <a:pt x="1627908" y="6857999"/>
                </a:lnTo>
                <a:lnTo>
                  <a:pt x="1627892" y="6858000"/>
                </a:lnTo>
                <a:lnTo>
                  <a:pt x="1627876" y="6857999"/>
                </a:lnTo>
                <a:lnTo>
                  <a:pt x="1551508" y="6857999"/>
                </a:lnTo>
                <a:lnTo>
                  <a:pt x="1551508" y="6854025"/>
                </a:lnTo>
                <a:lnTo>
                  <a:pt x="1472788" y="6849979"/>
                </a:lnTo>
                <a:lnTo>
                  <a:pt x="1468012" y="6849239"/>
                </a:lnTo>
                <a:lnTo>
                  <a:pt x="1461648" y="6848892"/>
                </a:lnTo>
                <a:cubicBezTo>
                  <a:pt x="1365568" y="6838301"/>
                  <a:pt x="1271960" y="6818634"/>
                  <a:pt x="1181564" y="6790692"/>
                </a:cubicBezTo>
                <a:lnTo>
                  <a:pt x="1174972" y="6788314"/>
                </a:lnTo>
                <a:lnTo>
                  <a:pt x="1173836" y="6788017"/>
                </a:lnTo>
                <a:lnTo>
                  <a:pt x="1162534" y="6783825"/>
                </a:lnTo>
                <a:lnTo>
                  <a:pt x="1048472" y="6742670"/>
                </a:lnTo>
                <a:lnTo>
                  <a:pt x="1036764" y="6737186"/>
                </a:lnTo>
                <a:lnTo>
                  <a:pt x="1032316" y="6735535"/>
                </a:lnTo>
                <a:lnTo>
                  <a:pt x="1008260" y="6723832"/>
                </a:lnTo>
                <a:lnTo>
                  <a:pt x="920756" y="6682839"/>
                </a:lnTo>
                <a:lnTo>
                  <a:pt x="904424" y="6673313"/>
                </a:lnTo>
                <a:lnTo>
                  <a:pt x="896992" y="6669695"/>
                </a:lnTo>
                <a:lnTo>
                  <a:pt x="870892" y="6653750"/>
                </a:lnTo>
                <a:lnTo>
                  <a:pt x="798968" y="6611797"/>
                </a:lnTo>
                <a:lnTo>
                  <a:pt x="778586" y="6597363"/>
                </a:lnTo>
                <a:lnTo>
                  <a:pt x="768544" y="6591229"/>
                </a:lnTo>
                <a:lnTo>
                  <a:pt x="743688" y="6572653"/>
                </a:lnTo>
                <a:lnTo>
                  <a:pt x="683668" y="6530149"/>
                </a:lnTo>
                <a:lnTo>
                  <a:pt x="659882" y="6510014"/>
                </a:lnTo>
                <a:lnTo>
                  <a:pt x="647642" y="6500867"/>
                </a:lnTo>
                <a:lnTo>
                  <a:pt x="625352" y="6480784"/>
                </a:lnTo>
                <a:lnTo>
                  <a:pt x="575400" y="6438495"/>
                </a:lnTo>
                <a:lnTo>
                  <a:pt x="548942" y="6411937"/>
                </a:lnTo>
                <a:lnTo>
                  <a:pt x="534962" y="6399339"/>
                </a:lnTo>
                <a:lnTo>
                  <a:pt x="515784" y="6378653"/>
                </a:lnTo>
                <a:lnTo>
                  <a:pt x="474730" y="6337442"/>
                </a:lnTo>
                <a:lnTo>
                  <a:pt x="446392" y="6303796"/>
                </a:lnTo>
                <a:lnTo>
                  <a:pt x="431176" y="6287381"/>
                </a:lnTo>
                <a:lnTo>
                  <a:pt x="415282" y="6266857"/>
                </a:lnTo>
                <a:lnTo>
                  <a:pt x="382208" y="6227587"/>
                </a:lnTo>
                <a:lnTo>
                  <a:pt x="352856" y="6186245"/>
                </a:lnTo>
                <a:lnTo>
                  <a:pt x="336960" y="6165720"/>
                </a:lnTo>
                <a:lnTo>
                  <a:pt x="324308" y="6146039"/>
                </a:lnTo>
                <a:lnTo>
                  <a:pt x="298390" y="6109535"/>
                </a:lnTo>
                <a:lnTo>
                  <a:pt x="268948" y="6059915"/>
                </a:lnTo>
                <a:lnTo>
                  <a:pt x="252986" y="6035087"/>
                </a:lnTo>
                <a:lnTo>
                  <a:pt x="243396" y="6016858"/>
                </a:lnTo>
                <a:lnTo>
                  <a:pt x="223832" y="5983884"/>
                </a:lnTo>
                <a:lnTo>
                  <a:pt x="195280" y="5925391"/>
                </a:lnTo>
                <a:lnTo>
                  <a:pt x="179930" y="5896215"/>
                </a:lnTo>
                <a:lnTo>
                  <a:pt x="173114" y="5879984"/>
                </a:lnTo>
                <a:lnTo>
                  <a:pt x="159084" y="5851242"/>
                </a:lnTo>
                <a:lnTo>
                  <a:pt x="132456" y="5783157"/>
                </a:lnTo>
                <a:lnTo>
                  <a:pt x="118464" y="5749835"/>
                </a:lnTo>
                <a:lnTo>
                  <a:pt x="114052" y="5736099"/>
                </a:lnTo>
                <a:lnTo>
                  <a:pt x="104706" y="5712207"/>
                </a:lnTo>
                <a:lnTo>
                  <a:pt x="81084" y="5633480"/>
                </a:lnTo>
                <a:lnTo>
                  <a:pt x="69262" y="5596679"/>
                </a:lnTo>
                <a:lnTo>
                  <a:pt x="66804" y="5585881"/>
                </a:lnTo>
                <a:lnTo>
                  <a:pt x="61252" y="5567383"/>
                </a:lnTo>
                <a:lnTo>
                  <a:pt x="41760" y="5475944"/>
                </a:lnTo>
                <a:lnTo>
                  <a:pt x="32996" y="5437475"/>
                </a:lnTo>
                <a:lnTo>
                  <a:pt x="31972" y="5430024"/>
                </a:lnTo>
                <a:lnTo>
                  <a:pt x="29276" y="5417372"/>
                </a:lnTo>
                <a:lnTo>
                  <a:pt x="15084" y="5307371"/>
                </a:lnTo>
                <a:lnTo>
                  <a:pt x="10346" y="5272959"/>
                </a:lnTo>
                <a:lnTo>
                  <a:pt x="10178" y="5269337"/>
                </a:lnTo>
                <a:lnTo>
                  <a:pt x="9330" y="5262777"/>
                </a:lnTo>
                <a:lnTo>
                  <a:pt x="6004" y="5186483"/>
                </a:lnTo>
                <a:lnTo>
                  <a:pt x="1944" y="5186483"/>
                </a:lnTo>
                <a:lnTo>
                  <a:pt x="1944" y="5116140"/>
                </a:lnTo>
                <a:lnTo>
                  <a:pt x="1944" y="5093499"/>
                </a:lnTo>
                <a:lnTo>
                  <a:pt x="1944" y="5092971"/>
                </a:lnTo>
                <a:lnTo>
                  <a:pt x="0" y="5092971"/>
                </a:lnTo>
                <a:lnTo>
                  <a:pt x="0" y="4755011"/>
                </a:lnTo>
                <a:lnTo>
                  <a:pt x="0" y="4047423"/>
                </a:lnTo>
                <a:lnTo>
                  <a:pt x="0" y="3709464"/>
                </a:lnTo>
                <a:lnTo>
                  <a:pt x="0" y="3615954"/>
                </a:lnTo>
                <a:lnTo>
                  <a:pt x="1926" y="3615954"/>
                </a:lnTo>
                <a:lnTo>
                  <a:pt x="1926" y="3603350"/>
                </a:lnTo>
                <a:lnTo>
                  <a:pt x="0" y="3603350"/>
                </a:lnTo>
                <a:close/>
              </a:path>
            </a:pathLst>
          </a:custGeom>
          <a:solidFill>
            <a:srgbClr val="1D3166">
              <a:alpha val="29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B8BD76A3-8D3A-496A-A386-B004213315D9}"/>
              </a:ext>
            </a:extLst>
          </p:cNvPr>
          <p:cNvSpPr/>
          <p:nvPr/>
        </p:nvSpPr>
        <p:spPr>
          <a:xfrm>
            <a:off x="5410554" y="872882"/>
            <a:ext cx="6781446" cy="6350878"/>
          </a:xfrm>
          <a:custGeom>
            <a:avLst/>
            <a:gdLst>
              <a:gd name="connsiteX0" fmla="*/ 1 w 6781449"/>
              <a:gd name="connsiteY0" fmla="*/ 0 h 6858000"/>
              <a:gd name="connsiteX1" fmla="*/ 6781449 w 6781449"/>
              <a:gd name="connsiteY1" fmla="*/ 0 h 6858000"/>
              <a:gd name="connsiteX2" fmla="*/ 6781449 w 6781449"/>
              <a:gd name="connsiteY2" fmla="*/ 6858000 h 6858000"/>
              <a:gd name="connsiteX3" fmla="*/ 2980288 w 6781449"/>
              <a:gd name="connsiteY3" fmla="*/ 6858000 h 6858000"/>
              <a:gd name="connsiteX4" fmla="*/ 2980288 w 6781449"/>
              <a:gd name="connsiteY4" fmla="*/ 6854387 h 6858000"/>
              <a:gd name="connsiteX5" fmla="*/ 2979394 w 6781449"/>
              <a:gd name="connsiteY5" fmla="*/ 6854387 h 6858000"/>
              <a:gd name="connsiteX6" fmla="*/ 2941164 w 6781449"/>
              <a:gd name="connsiteY6" fmla="*/ 6854387 h 6858000"/>
              <a:gd name="connsiteX7" fmla="*/ 2822391 w 6781449"/>
              <a:gd name="connsiteY7" fmla="*/ 6854387 h 6858000"/>
              <a:gd name="connsiteX8" fmla="*/ 2822391 w 6781449"/>
              <a:gd name="connsiteY8" fmla="*/ 6846841 h 6858000"/>
              <a:gd name="connsiteX9" fmla="*/ 2693566 w 6781449"/>
              <a:gd name="connsiteY9" fmla="*/ 6840651 h 6858000"/>
              <a:gd name="connsiteX10" fmla="*/ 2682486 w 6781449"/>
              <a:gd name="connsiteY10" fmla="*/ 6839076 h 6858000"/>
              <a:gd name="connsiteX11" fmla="*/ 2676373 w 6781449"/>
              <a:gd name="connsiteY11" fmla="*/ 6838763 h 6858000"/>
              <a:gd name="connsiteX12" fmla="*/ 2618270 w 6781449"/>
              <a:gd name="connsiteY12" fmla="*/ 6829951 h 6858000"/>
              <a:gd name="connsiteX13" fmla="*/ 2432527 w 6781449"/>
              <a:gd name="connsiteY13" fmla="*/ 6803558 h 6858000"/>
              <a:gd name="connsiteX14" fmla="*/ 2411164 w 6781449"/>
              <a:gd name="connsiteY14" fmla="*/ 6798541 h 6858000"/>
              <a:gd name="connsiteX15" fmla="*/ 2398583 w 6781449"/>
              <a:gd name="connsiteY15" fmla="*/ 6796633 h 6858000"/>
              <a:gd name="connsiteX16" fmla="*/ 2333630 w 6781449"/>
              <a:gd name="connsiteY16" fmla="*/ 6780337 h 6858000"/>
              <a:gd name="connsiteX17" fmla="*/ 2179231 w 6781449"/>
              <a:gd name="connsiteY17" fmla="*/ 6744084 h 6858000"/>
              <a:gd name="connsiteX18" fmla="*/ 2147995 w 6781449"/>
              <a:gd name="connsiteY18" fmla="*/ 6733760 h 6858000"/>
              <a:gd name="connsiteX19" fmla="*/ 2129767 w 6781449"/>
              <a:gd name="connsiteY19" fmla="*/ 6729187 h 6858000"/>
              <a:gd name="connsiteX20" fmla="*/ 2067629 w 6781449"/>
              <a:gd name="connsiteY20" fmla="*/ 6707198 h 6858000"/>
              <a:gd name="connsiteX21" fmla="*/ 1934694 w 6781449"/>
              <a:gd name="connsiteY21" fmla="*/ 6663262 h 6858000"/>
              <a:gd name="connsiteX22" fmla="*/ 1894354 w 6781449"/>
              <a:gd name="connsiteY22" fmla="*/ 6645884 h 6858000"/>
              <a:gd name="connsiteX23" fmla="*/ 1871160 w 6781449"/>
              <a:gd name="connsiteY23" fmla="*/ 6637676 h 6858000"/>
              <a:gd name="connsiteX24" fmla="*/ 1814890 w 6781449"/>
              <a:gd name="connsiteY24" fmla="*/ 6611651 h 6858000"/>
              <a:gd name="connsiteX25" fmla="*/ 1699930 w 6781449"/>
              <a:gd name="connsiteY25" fmla="*/ 6562126 h 6858000"/>
              <a:gd name="connsiteX26" fmla="*/ 1651401 w 6781449"/>
              <a:gd name="connsiteY26" fmla="*/ 6536034 h 6858000"/>
              <a:gd name="connsiteX27" fmla="*/ 1623994 w 6781449"/>
              <a:gd name="connsiteY27" fmla="*/ 6523357 h 6858000"/>
              <a:gd name="connsiteX28" fmla="*/ 1574727 w 6781449"/>
              <a:gd name="connsiteY28" fmla="*/ 6494809 h 6858000"/>
              <a:gd name="connsiteX29" fmla="*/ 1475961 w 6781449"/>
              <a:gd name="connsiteY29" fmla="*/ 6441706 h 6858000"/>
              <a:gd name="connsiteX30" fmla="*/ 1420287 w 6781449"/>
              <a:gd name="connsiteY30" fmla="*/ 6405318 h 6858000"/>
              <a:gd name="connsiteX31" fmla="*/ 1389506 w 6781449"/>
              <a:gd name="connsiteY31" fmla="*/ 6387481 h 6858000"/>
              <a:gd name="connsiteX32" fmla="*/ 1347580 w 6781449"/>
              <a:gd name="connsiteY32" fmla="*/ 6357795 h 6858000"/>
              <a:gd name="connsiteX33" fmla="*/ 1263801 w 6781449"/>
              <a:gd name="connsiteY33" fmla="*/ 6303033 h 6858000"/>
              <a:gd name="connsiteX34" fmla="*/ 1202163 w 6781449"/>
              <a:gd name="connsiteY34" fmla="*/ 6254829 h 6858000"/>
              <a:gd name="connsiteX35" fmla="*/ 1168932 w 6781449"/>
              <a:gd name="connsiteY35" fmla="*/ 6231300 h 6858000"/>
              <a:gd name="connsiteX36" fmla="*/ 1134271 w 6781449"/>
              <a:gd name="connsiteY36" fmla="*/ 6201735 h 6858000"/>
              <a:gd name="connsiteX37" fmla="*/ 1064465 w 6781449"/>
              <a:gd name="connsiteY37" fmla="*/ 6147143 h 6858000"/>
              <a:gd name="connsiteX38" fmla="*/ 998157 w 6781449"/>
              <a:gd name="connsiteY38" fmla="*/ 6085629 h 6858000"/>
              <a:gd name="connsiteX39" fmla="*/ 963503 w 6781449"/>
              <a:gd name="connsiteY39" fmla="*/ 6056070 h 6858000"/>
              <a:gd name="connsiteX40" fmla="*/ 935786 w 6781449"/>
              <a:gd name="connsiteY40" fmla="*/ 6027768 h 6858000"/>
              <a:gd name="connsiteX41" fmla="*/ 878972 w 6781449"/>
              <a:gd name="connsiteY41" fmla="*/ 5975062 h 6858000"/>
              <a:gd name="connsiteX42" fmla="*/ 809388 w 6781449"/>
              <a:gd name="connsiteY42" fmla="*/ 5898707 h 6858000"/>
              <a:gd name="connsiteX43" fmla="*/ 774460 w 6781449"/>
              <a:gd name="connsiteY43" fmla="*/ 5863042 h 6858000"/>
              <a:gd name="connsiteX44" fmla="*/ 753188 w 6781449"/>
              <a:gd name="connsiteY44" fmla="*/ 5837040 h 6858000"/>
              <a:gd name="connsiteX45" fmla="*/ 708340 w 6781449"/>
              <a:gd name="connsiteY45" fmla="*/ 5787828 h 6858000"/>
              <a:gd name="connsiteX46" fmla="*/ 636937 w 6781449"/>
              <a:gd name="connsiteY46" fmla="*/ 5694924 h 6858000"/>
              <a:gd name="connsiteX47" fmla="*/ 603029 w 6781449"/>
              <a:gd name="connsiteY47" fmla="*/ 5653469 h 6858000"/>
              <a:gd name="connsiteX48" fmla="*/ 587581 w 6781449"/>
              <a:gd name="connsiteY48" fmla="*/ 5630705 h 6858000"/>
              <a:gd name="connsiteX49" fmla="*/ 553584 w 6781449"/>
              <a:gd name="connsiteY49" fmla="*/ 5586470 h 6858000"/>
              <a:gd name="connsiteX50" fmla="*/ 481813 w 6781449"/>
              <a:gd name="connsiteY50" fmla="*/ 5474831 h 6858000"/>
              <a:gd name="connsiteX51" fmla="*/ 450449 w 6781449"/>
              <a:gd name="connsiteY51" fmla="*/ 5428608 h 6858000"/>
              <a:gd name="connsiteX52" fmla="*/ 440091 w 6781449"/>
              <a:gd name="connsiteY52" fmla="*/ 5409929 h 6858000"/>
              <a:gd name="connsiteX53" fmla="*/ 415720 w 6781449"/>
              <a:gd name="connsiteY53" fmla="*/ 5372020 h 6858000"/>
              <a:gd name="connsiteX54" fmla="*/ 344879 w 6781449"/>
              <a:gd name="connsiteY54" fmla="*/ 5238249 h 6858000"/>
              <a:gd name="connsiteX55" fmla="*/ 317958 w 6781449"/>
              <a:gd name="connsiteY55" fmla="*/ 5189707 h 6858000"/>
              <a:gd name="connsiteX56" fmla="*/ 311851 w 6781449"/>
              <a:gd name="connsiteY56" fmla="*/ 5175886 h 6858000"/>
              <a:gd name="connsiteX57" fmla="*/ 295767 w 6781449"/>
              <a:gd name="connsiteY57" fmla="*/ 5145510 h 6858000"/>
              <a:gd name="connsiteX58" fmla="*/ 226547 w 6781449"/>
              <a:gd name="connsiteY58" fmla="*/ 4982762 h 6858000"/>
              <a:gd name="connsiteX59" fmla="*/ 206786 w 6781449"/>
              <a:gd name="connsiteY59" fmla="*/ 4938024 h 6858000"/>
              <a:gd name="connsiteX60" fmla="*/ 203998 w 6781449"/>
              <a:gd name="connsiteY60" fmla="*/ 4929748 h 6858000"/>
              <a:gd name="connsiteX61" fmla="*/ 194738 w 6781449"/>
              <a:gd name="connsiteY61" fmla="*/ 4907974 h 6858000"/>
              <a:gd name="connsiteX62" fmla="*/ 125249 w 6781449"/>
              <a:gd name="connsiteY62" fmla="*/ 4695835 h 6858000"/>
              <a:gd name="connsiteX63" fmla="*/ 118169 w 6781449"/>
              <a:gd name="connsiteY63" fmla="*/ 4674809 h 6858000"/>
              <a:gd name="connsiteX64" fmla="*/ 117669 w 6781449"/>
              <a:gd name="connsiteY64" fmla="*/ 4672696 h 6858000"/>
              <a:gd name="connsiteX65" fmla="*/ 113654 w 6781449"/>
              <a:gd name="connsiteY65" fmla="*/ 4660441 h 6858000"/>
              <a:gd name="connsiteX66" fmla="*/ 15383 w 6781449"/>
              <a:gd name="connsiteY66" fmla="*/ 4139516 h 6858000"/>
              <a:gd name="connsiteX67" fmla="*/ 14794 w 6781449"/>
              <a:gd name="connsiteY67" fmla="*/ 4127681 h 6858000"/>
              <a:gd name="connsiteX68" fmla="*/ 13543 w 6781449"/>
              <a:gd name="connsiteY68" fmla="*/ 4118799 h 6858000"/>
              <a:gd name="connsiteX69" fmla="*/ 6713 w 6781449"/>
              <a:gd name="connsiteY69" fmla="*/ 3972392 h 6858000"/>
              <a:gd name="connsiteX70" fmla="*/ 1 w 6781449"/>
              <a:gd name="connsiteY70" fmla="*/ 3972392 h 6858000"/>
              <a:gd name="connsiteX71" fmla="*/ 1 w 6781449"/>
              <a:gd name="connsiteY71" fmla="*/ 3830352 h 6858000"/>
              <a:gd name="connsiteX72" fmla="*/ 0 w 6781449"/>
              <a:gd name="connsiteY72" fmla="*/ 3830324 h 6858000"/>
              <a:gd name="connsiteX73" fmla="*/ 1 w 6781449"/>
              <a:gd name="connsiteY73" fmla="*/ 3830295 h 6858000"/>
              <a:gd name="connsiteX74" fmla="*/ 1 w 6781449"/>
              <a:gd name="connsiteY74" fmla="*/ 3828511 h 6858000"/>
              <a:gd name="connsiteX75" fmla="*/ 1 w 6781449"/>
              <a:gd name="connsiteY75" fmla="*/ 3125260 h 6858000"/>
              <a:gd name="connsiteX76" fmla="*/ 1 w 6781449"/>
              <a:gd name="connsiteY76" fmla="*/ 2983221 h 6858000"/>
              <a:gd name="connsiteX77" fmla="*/ 0 w 6781449"/>
              <a:gd name="connsiteY77" fmla="*/ 2983192 h 6858000"/>
              <a:gd name="connsiteX78" fmla="*/ 1 w 6781449"/>
              <a:gd name="connsiteY78" fmla="*/ 2983164 h 6858000"/>
              <a:gd name="connsiteX79" fmla="*/ 1 w 6781449"/>
              <a:gd name="connsiteY79" fmla="*/ 2981380 h 6858000"/>
              <a:gd name="connsiteX80" fmla="*/ 1 w 6781449"/>
              <a:gd name="connsiteY80" fmla="*/ 806259 h 6858000"/>
              <a:gd name="connsiteX81" fmla="*/ 1 w 6781449"/>
              <a:gd name="connsiteY8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6781449" h="6858000">
                <a:moveTo>
                  <a:pt x="1" y="0"/>
                </a:moveTo>
                <a:lnTo>
                  <a:pt x="6781449" y="0"/>
                </a:lnTo>
                <a:lnTo>
                  <a:pt x="6781449" y="6858000"/>
                </a:lnTo>
                <a:lnTo>
                  <a:pt x="2980288" y="6858000"/>
                </a:lnTo>
                <a:lnTo>
                  <a:pt x="2980288" y="6854387"/>
                </a:lnTo>
                <a:lnTo>
                  <a:pt x="2979394" y="6854387"/>
                </a:lnTo>
                <a:lnTo>
                  <a:pt x="2941164" y="6854387"/>
                </a:lnTo>
                <a:lnTo>
                  <a:pt x="2822391" y="6854387"/>
                </a:lnTo>
                <a:lnTo>
                  <a:pt x="2822391" y="6846841"/>
                </a:lnTo>
                <a:lnTo>
                  <a:pt x="2693566" y="6840651"/>
                </a:lnTo>
                <a:lnTo>
                  <a:pt x="2682486" y="6839076"/>
                </a:lnTo>
                <a:lnTo>
                  <a:pt x="2676373" y="6838763"/>
                </a:lnTo>
                <a:lnTo>
                  <a:pt x="2618270" y="6829951"/>
                </a:lnTo>
                <a:lnTo>
                  <a:pt x="2432527" y="6803558"/>
                </a:lnTo>
                <a:lnTo>
                  <a:pt x="2411164" y="6798541"/>
                </a:lnTo>
                <a:lnTo>
                  <a:pt x="2398583" y="6796633"/>
                </a:lnTo>
                <a:lnTo>
                  <a:pt x="2333630" y="6780337"/>
                </a:lnTo>
                <a:lnTo>
                  <a:pt x="2179231" y="6744084"/>
                </a:lnTo>
                <a:lnTo>
                  <a:pt x="2147995" y="6733760"/>
                </a:lnTo>
                <a:lnTo>
                  <a:pt x="2129767" y="6729187"/>
                </a:lnTo>
                <a:lnTo>
                  <a:pt x="2067629" y="6707198"/>
                </a:lnTo>
                <a:lnTo>
                  <a:pt x="1934694" y="6663262"/>
                </a:lnTo>
                <a:lnTo>
                  <a:pt x="1894354" y="6645884"/>
                </a:lnTo>
                <a:lnTo>
                  <a:pt x="1871160" y="6637676"/>
                </a:lnTo>
                <a:lnTo>
                  <a:pt x="1814890" y="6611651"/>
                </a:lnTo>
                <a:lnTo>
                  <a:pt x="1699930" y="6562126"/>
                </a:lnTo>
                <a:lnTo>
                  <a:pt x="1651401" y="6536034"/>
                </a:lnTo>
                <a:lnTo>
                  <a:pt x="1623994" y="6523357"/>
                </a:lnTo>
                <a:lnTo>
                  <a:pt x="1574727" y="6494809"/>
                </a:lnTo>
                <a:lnTo>
                  <a:pt x="1475961" y="6441706"/>
                </a:lnTo>
                <a:lnTo>
                  <a:pt x="1420287" y="6405318"/>
                </a:lnTo>
                <a:lnTo>
                  <a:pt x="1389506" y="6387481"/>
                </a:lnTo>
                <a:lnTo>
                  <a:pt x="1347580" y="6357795"/>
                </a:lnTo>
                <a:lnTo>
                  <a:pt x="1263801" y="6303033"/>
                </a:lnTo>
                <a:lnTo>
                  <a:pt x="1202163" y="6254829"/>
                </a:lnTo>
                <a:lnTo>
                  <a:pt x="1168932" y="6231300"/>
                </a:lnTo>
                <a:lnTo>
                  <a:pt x="1134271" y="6201735"/>
                </a:lnTo>
                <a:lnTo>
                  <a:pt x="1064465" y="6147143"/>
                </a:lnTo>
                <a:lnTo>
                  <a:pt x="998157" y="6085629"/>
                </a:lnTo>
                <a:lnTo>
                  <a:pt x="963503" y="6056070"/>
                </a:lnTo>
                <a:lnTo>
                  <a:pt x="935786" y="6027768"/>
                </a:lnTo>
                <a:lnTo>
                  <a:pt x="878972" y="5975062"/>
                </a:lnTo>
                <a:lnTo>
                  <a:pt x="809388" y="5898707"/>
                </a:lnTo>
                <a:lnTo>
                  <a:pt x="774460" y="5863042"/>
                </a:lnTo>
                <a:lnTo>
                  <a:pt x="753188" y="5837040"/>
                </a:lnTo>
                <a:lnTo>
                  <a:pt x="708340" y="5787828"/>
                </a:lnTo>
                <a:lnTo>
                  <a:pt x="636937" y="5694924"/>
                </a:lnTo>
                <a:lnTo>
                  <a:pt x="603029" y="5653469"/>
                </a:lnTo>
                <a:lnTo>
                  <a:pt x="587581" y="5630705"/>
                </a:lnTo>
                <a:lnTo>
                  <a:pt x="553584" y="5586470"/>
                </a:lnTo>
                <a:lnTo>
                  <a:pt x="481813" y="5474831"/>
                </a:lnTo>
                <a:lnTo>
                  <a:pt x="450449" y="5428608"/>
                </a:lnTo>
                <a:lnTo>
                  <a:pt x="440091" y="5409929"/>
                </a:lnTo>
                <a:lnTo>
                  <a:pt x="415720" y="5372020"/>
                </a:lnTo>
                <a:lnTo>
                  <a:pt x="344879" y="5238249"/>
                </a:lnTo>
                <a:lnTo>
                  <a:pt x="317958" y="5189707"/>
                </a:lnTo>
                <a:lnTo>
                  <a:pt x="311851" y="5175886"/>
                </a:lnTo>
                <a:lnTo>
                  <a:pt x="295767" y="5145510"/>
                </a:lnTo>
                <a:lnTo>
                  <a:pt x="226547" y="4982762"/>
                </a:lnTo>
                <a:lnTo>
                  <a:pt x="206786" y="4938024"/>
                </a:lnTo>
                <a:lnTo>
                  <a:pt x="203998" y="4929748"/>
                </a:lnTo>
                <a:lnTo>
                  <a:pt x="194738" y="4907974"/>
                </a:lnTo>
                <a:lnTo>
                  <a:pt x="125249" y="4695835"/>
                </a:lnTo>
                <a:lnTo>
                  <a:pt x="118169" y="4674809"/>
                </a:lnTo>
                <a:lnTo>
                  <a:pt x="117669" y="4672696"/>
                </a:lnTo>
                <a:lnTo>
                  <a:pt x="113654" y="4660441"/>
                </a:lnTo>
                <a:cubicBezTo>
                  <a:pt x="66472" y="4492317"/>
                  <a:pt x="33263" y="4318216"/>
                  <a:pt x="15383" y="4139516"/>
                </a:cubicBezTo>
                <a:lnTo>
                  <a:pt x="14794" y="4127681"/>
                </a:lnTo>
                <a:lnTo>
                  <a:pt x="13543" y="4118799"/>
                </a:lnTo>
                <a:lnTo>
                  <a:pt x="6713" y="3972392"/>
                </a:lnTo>
                <a:lnTo>
                  <a:pt x="1" y="3972392"/>
                </a:lnTo>
                <a:lnTo>
                  <a:pt x="1" y="3830352"/>
                </a:lnTo>
                <a:lnTo>
                  <a:pt x="0" y="3830324"/>
                </a:lnTo>
                <a:lnTo>
                  <a:pt x="1" y="3830295"/>
                </a:lnTo>
                <a:lnTo>
                  <a:pt x="1" y="3828511"/>
                </a:lnTo>
                <a:lnTo>
                  <a:pt x="1" y="3125260"/>
                </a:lnTo>
                <a:lnTo>
                  <a:pt x="1" y="2983221"/>
                </a:lnTo>
                <a:lnTo>
                  <a:pt x="0" y="2983192"/>
                </a:lnTo>
                <a:lnTo>
                  <a:pt x="1" y="2983164"/>
                </a:lnTo>
                <a:lnTo>
                  <a:pt x="1" y="2981380"/>
                </a:lnTo>
                <a:lnTo>
                  <a:pt x="1" y="806259"/>
                </a:lnTo>
                <a:lnTo>
                  <a:pt x="1" y="0"/>
                </a:lnTo>
                <a:close/>
              </a:path>
            </a:pathLst>
          </a:custGeom>
          <a:solidFill>
            <a:srgbClr val="1D316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A8258DC4-351D-47D9-BDC7-876DB4FE43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 flipH="1">
            <a:off x="314970" y="292163"/>
            <a:ext cx="1029177" cy="1029177"/>
          </a:xfrm>
          <a:prstGeom prst="rect">
            <a:avLst/>
          </a:prstGeom>
        </p:spPr>
      </p:pic>
      <p:sp>
        <p:nvSpPr>
          <p:cNvPr id="27" name="Freeform: Shape 27">
            <a:extLst>
              <a:ext uri="{FF2B5EF4-FFF2-40B4-BE49-F238E27FC236}">
                <a16:creationId xmlns:a16="http://schemas.microsoft.com/office/drawing/2014/main" id="{8E104B7B-D726-374C-BEF6-645DC3640345}"/>
              </a:ext>
            </a:extLst>
          </p:cNvPr>
          <p:cNvSpPr/>
          <p:nvPr/>
        </p:nvSpPr>
        <p:spPr>
          <a:xfrm rot="10800000" flipH="1">
            <a:off x="6533719" y="1626477"/>
            <a:ext cx="1231988" cy="1231988"/>
          </a:xfrm>
          <a:custGeom>
            <a:avLst/>
            <a:gdLst>
              <a:gd name="connsiteX0" fmla="*/ 2133600 w 4325258"/>
              <a:gd name="connsiteY0" fmla="*/ 0 h 4325258"/>
              <a:gd name="connsiteX1" fmla="*/ 2162629 w 4325258"/>
              <a:gd name="connsiteY1" fmla="*/ 0 h 4325258"/>
              <a:gd name="connsiteX2" fmla="*/ 4325257 w 4325258"/>
              <a:gd name="connsiteY2" fmla="*/ 0 h 4325258"/>
              <a:gd name="connsiteX3" fmla="*/ 4325257 w 4325258"/>
              <a:gd name="connsiteY3" fmla="*/ 2162609 h 4325258"/>
              <a:gd name="connsiteX4" fmla="*/ 4325258 w 4325258"/>
              <a:gd name="connsiteY4" fmla="*/ 2162629 h 4325258"/>
              <a:gd name="connsiteX5" fmla="*/ 4325257 w 4325258"/>
              <a:gd name="connsiteY5" fmla="*/ 2162650 h 4325258"/>
              <a:gd name="connsiteX6" fmla="*/ 4325257 w 4325258"/>
              <a:gd name="connsiteY6" fmla="*/ 2264228 h 4325258"/>
              <a:gd name="connsiteX7" fmla="*/ 4320128 w 4325258"/>
              <a:gd name="connsiteY7" fmla="*/ 2264228 h 4325258"/>
              <a:gd name="connsiteX8" fmla="*/ 4314093 w 4325258"/>
              <a:gd name="connsiteY8" fmla="*/ 2383745 h 4325258"/>
              <a:gd name="connsiteX9" fmla="*/ 2162629 w 4325258"/>
              <a:gd name="connsiteY9" fmla="*/ 4325258 h 4325258"/>
              <a:gd name="connsiteX10" fmla="*/ 0 w 4325258"/>
              <a:gd name="connsiteY10" fmla="*/ 2162629 h 4325258"/>
              <a:gd name="connsiteX11" fmla="*/ 1941513 w 4325258"/>
              <a:gd name="connsiteY11" fmla="*/ 11166 h 4325258"/>
              <a:gd name="connsiteX12" fmla="*/ 2133600 w 4325258"/>
              <a:gd name="connsiteY12" fmla="*/ 1466 h 4325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325258" h="4325258">
                <a:moveTo>
                  <a:pt x="2133600" y="0"/>
                </a:moveTo>
                <a:lnTo>
                  <a:pt x="2162629" y="0"/>
                </a:lnTo>
                <a:lnTo>
                  <a:pt x="4325257" y="0"/>
                </a:lnTo>
                <a:lnTo>
                  <a:pt x="4325257" y="2162609"/>
                </a:lnTo>
                <a:lnTo>
                  <a:pt x="4325258" y="2162629"/>
                </a:lnTo>
                <a:lnTo>
                  <a:pt x="4325257" y="2162650"/>
                </a:lnTo>
                <a:lnTo>
                  <a:pt x="4325257" y="2264228"/>
                </a:lnTo>
                <a:lnTo>
                  <a:pt x="4320128" y="2264228"/>
                </a:lnTo>
                <a:lnTo>
                  <a:pt x="4314093" y="2383745"/>
                </a:lnTo>
                <a:cubicBezTo>
                  <a:pt x="4203344" y="3474264"/>
                  <a:pt x="3282367" y="4325258"/>
                  <a:pt x="2162629" y="4325258"/>
                </a:cubicBezTo>
                <a:cubicBezTo>
                  <a:pt x="968242" y="4325258"/>
                  <a:pt x="0" y="3357016"/>
                  <a:pt x="0" y="2162629"/>
                </a:cubicBezTo>
                <a:cubicBezTo>
                  <a:pt x="0" y="1042891"/>
                  <a:pt x="850994" y="121914"/>
                  <a:pt x="1941513" y="11166"/>
                </a:cubicBezTo>
                <a:lnTo>
                  <a:pt x="2133600" y="1466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AD2CB1E-D678-9947-A705-FCEB2C9FA562}"/>
              </a:ext>
            </a:extLst>
          </p:cNvPr>
          <p:cNvGrpSpPr/>
          <p:nvPr/>
        </p:nvGrpSpPr>
        <p:grpSpPr>
          <a:xfrm>
            <a:off x="6964284" y="1945183"/>
            <a:ext cx="493556" cy="500675"/>
            <a:chOff x="7731125" y="2905125"/>
            <a:chExt cx="330200" cy="334963"/>
          </a:xfrm>
        </p:grpSpPr>
        <p:sp>
          <p:nvSpPr>
            <p:cNvPr id="46" name="Line 28">
              <a:extLst>
                <a:ext uri="{FF2B5EF4-FFF2-40B4-BE49-F238E27FC236}">
                  <a16:creationId xmlns:a16="http://schemas.microsoft.com/office/drawing/2014/main" id="{A29B89BB-A6F5-E144-B355-154DDD52EA1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896225" y="3022600"/>
              <a:ext cx="0" cy="114300"/>
            </a:xfrm>
            <a:prstGeom prst="line">
              <a:avLst/>
            </a:prstGeom>
            <a:noFill/>
            <a:ln w="15875" cap="rnd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9A0A1D7D-577D-CB4A-831E-ABAE1AE16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1125" y="2905125"/>
              <a:ext cx="330200" cy="334963"/>
            </a:xfrm>
            <a:custGeom>
              <a:avLst/>
              <a:gdLst>
                <a:gd name="T0" fmla="*/ 208 w 208"/>
                <a:gd name="T1" fmla="*/ 211 h 211"/>
                <a:gd name="T2" fmla="*/ 0 w 208"/>
                <a:gd name="T3" fmla="*/ 211 h 211"/>
                <a:gd name="T4" fmla="*/ 104 w 208"/>
                <a:gd name="T5" fmla="*/ 0 h 211"/>
                <a:gd name="T6" fmla="*/ 208 w 208"/>
                <a:gd name="T7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8" h="211">
                  <a:moveTo>
                    <a:pt x="208" y="211"/>
                  </a:moveTo>
                  <a:lnTo>
                    <a:pt x="0" y="211"/>
                  </a:lnTo>
                  <a:lnTo>
                    <a:pt x="104" y="0"/>
                  </a:lnTo>
                  <a:lnTo>
                    <a:pt x="208" y="211"/>
                  </a:lnTo>
                  <a:close/>
                </a:path>
              </a:pathLst>
            </a:custGeom>
            <a:noFill/>
            <a:ln w="15875" cap="rnd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F6E23290-0F28-D24C-8351-05862650D1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9875" y="3178175"/>
              <a:ext cx="14288" cy="15875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4 h 4"/>
                <a:gd name="T4" fmla="*/ 2 w 4"/>
                <a:gd name="T5" fmla="*/ 4 h 4"/>
                <a:gd name="T6" fmla="*/ 0 w 4"/>
                <a:gd name="T7" fmla="*/ 2 h 4"/>
                <a:gd name="T8" fmla="*/ 0 w 4"/>
                <a:gd name="T9" fmla="*/ 2 h 4"/>
                <a:gd name="T10" fmla="*/ 2 w 4"/>
                <a:gd name="T11" fmla="*/ 0 h 4"/>
                <a:gd name="T12" fmla="*/ 2 w 4"/>
                <a:gd name="T13" fmla="*/ 0 h 4"/>
                <a:gd name="T14" fmla="*/ 4 w 4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3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noFill/>
            <a:ln w="15875" cap="flat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48B3D8C-E2FC-2046-8A7A-788BEE00C99C}"/>
              </a:ext>
            </a:extLst>
          </p:cNvPr>
          <p:cNvGrpSpPr/>
          <p:nvPr/>
        </p:nvGrpSpPr>
        <p:grpSpPr>
          <a:xfrm>
            <a:off x="1556715" y="1923391"/>
            <a:ext cx="466508" cy="552036"/>
            <a:chOff x="3013075" y="3624263"/>
            <a:chExt cx="285750" cy="338137"/>
          </a:xfrm>
        </p:grpSpPr>
        <p:sp>
          <p:nvSpPr>
            <p:cNvPr id="50" name="Freeform 338">
              <a:extLst>
                <a:ext uri="{FF2B5EF4-FFF2-40B4-BE49-F238E27FC236}">
                  <a16:creationId xmlns:a16="http://schemas.microsoft.com/office/drawing/2014/main" id="{A5D5B893-C183-5B40-9343-CA2CDDAD9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3400" y="3797300"/>
              <a:ext cx="165100" cy="104775"/>
            </a:xfrm>
            <a:custGeom>
              <a:avLst/>
              <a:gdLst>
                <a:gd name="T0" fmla="*/ 43 w 44"/>
                <a:gd name="T1" fmla="*/ 0 h 28"/>
                <a:gd name="T2" fmla="*/ 44 w 44"/>
                <a:gd name="T3" fmla="*/ 6 h 28"/>
                <a:gd name="T4" fmla="*/ 22 w 44"/>
                <a:gd name="T5" fmla="*/ 28 h 28"/>
                <a:gd name="T6" fmla="*/ 0 w 44"/>
                <a:gd name="T7" fmla="*/ 6 h 28"/>
                <a:gd name="T8" fmla="*/ 1 w 44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3" y="0"/>
                  </a:moveTo>
                  <a:cubicBezTo>
                    <a:pt x="44" y="2"/>
                    <a:pt x="44" y="4"/>
                    <a:pt x="44" y="6"/>
                  </a:cubicBezTo>
                  <a:cubicBezTo>
                    <a:pt x="44" y="18"/>
                    <a:pt x="34" y="28"/>
                    <a:pt x="22" y="28"/>
                  </a:cubicBezTo>
                  <a:cubicBezTo>
                    <a:pt x="10" y="28"/>
                    <a:pt x="0" y="18"/>
                    <a:pt x="0" y="6"/>
                  </a:cubicBezTo>
                  <a:cubicBezTo>
                    <a:pt x="0" y="4"/>
                    <a:pt x="0" y="2"/>
                    <a:pt x="1" y="0"/>
                  </a:cubicBezTo>
                </a:path>
              </a:pathLst>
            </a:custGeom>
            <a:noFill/>
            <a:ln w="15875" cap="rnd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51" name="Freeform 339">
              <a:extLst>
                <a:ext uri="{FF2B5EF4-FFF2-40B4-BE49-F238E27FC236}">
                  <a16:creationId xmlns:a16="http://schemas.microsoft.com/office/drawing/2014/main" id="{CA016367-A3C2-1E4B-B9E9-560E9224C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3075" y="3714750"/>
              <a:ext cx="285750" cy="247650"/>
            </a:xfrm>
            <a:custGeom>
              <a:avLst/>
              <a:gdLst>
                <a:gd name="T0" fmla="*/ 64 w 76"/>
                <a:gd name="T1" fmla="*/ 0 h 66"/>
                <a:gd name="T2" fmla="*/ 76 w 76"/>
                <a:gd name="T3" fmla="*/ 28 h 66"/>
                <a:gd name="T4" fmla="*/ 38 w 76"/>
                <a:gd name="T5" fmla="*/ 66 h 66"/>
                <a:gd name="T6" fmla="*/ 0 w 76"/>
                <a:gd name="T7" fmla="*/ 28 h 66"/>
                <a:gd name="T8" fmla="*/ 12 w 76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6">
                  <a:moveTo>
                    <a:pt x="64" y="0"/>
                  </a:moveTo>
                  <a:cubicBezTo>
                    <a:pt x="71" y="7"/>
                    <a:pt x="76" y="17"/>
                    <a:pt x="76" y="28"/>
                  </a:cubicBezTo>
                  <a:cubicBezTo>
                    <a:pt x="76" y="49"/>
                    <a:pt x="59" y="66"/>
                    <a:pt x="38" y="66"/>
                  </a:cubicBezTo>
                  <a:cubicBezTo>
                    <a:pt x="17" y="66"/>
                    <a:pt x="0" y="49"/>
                    <a:pt x="0" y="28"/>
                  </a:cubicBezTo>
                  <a:cubicBezTo>
                    <a:pt x="0" y="17"/>
                    <a:pt x="5" y="7"/>
                    <a:pt x="12" y="0"/>
                  </a:cubicBezTo>
                </a:path>
              </a:pathLst>
            </a:custGeom>
            <a:noFill/>
            <a:ln w="15875" cap="rnd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53" name="Freeform 340">
              <a:extLst>
                <a:ext uri="{FF2B5EF4-FFF2-40B4-BE49-F238E27FC236}">
                  <a16:creationId xmlns:a16="http://schemas.microsoft.com/office/drawing/2014/main" id="{0803EF87-0557-B147-BC30-0E0526C86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3624263"/>
              <a:ext cx="150813" cy="153988"/>
            </a:xfrm>
            <a:custGeom>
              <a:avLst/>
              <a:gdLst>
                <a:gd name="T0" fmla="*/ 47 w 95"/>
                <a:gd name="T1" fmla="*/ 0 h 97"/>
                <a:gd name="T2" fmla="*/ 61 w 95"/>
                <a:gd name="T3" fmla="*/ 33 h 97"/>
                <a:gd name="T4" fmla="*/ 95 w 95"/>
                <a:gd name="T5" fmla="*/ 33 h 97"/>
                <a:gd name="T6" fmla="*/ 69 w 95"/>
                <a:gd name="T7" fmla="*/ 57 h 97"/>
                <a:gd name="T8" fmla="*/ 78 w 95"/>
                <a:gd name="T9" fmla="*/ 95 h 97"/>
                <a:gd name="T10" fmla="*/ 47 w 95"/>
                <a:gd name="T11" fmla="*/ 73 h 97"/>
                <a:gd name="T12" fmla="*/ 17 w 95"/>
                <a:gd name="T13" fmla="*/ 97 h 97"/>
                <a:gd name="T14" fmla="*/ 26 w 95"/>
                <a:gd name="T15" fmla="*/ 57 h 97"/>
                <a:gd name="T16" fmla="*/ 0 w 95"/>
                <a:gd name="T17" fmla="*/ 33 h 97"/>
                <a:gd name="T18" fmla="*/ 33 w 95"/>
                <a:gd name="T19" fmla="*/ 33 h 97"/>
                <a:gd name="T20" fmla="*/ 47 w 95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" h="97">
                  <a:moveTo>
                    <a:pt x="47" y="0"/>
                  </a:moveTo>
                  <a:lnTo>
                    <a:pt x="61" y="33"/>
                  </a:lnTo>
                  <a:lnTo>
                    <a:pt x="95" y="33"/>
                  </a:lnTo>
                  <a:lnTo>
                    <a:pt x="69" y="57"/>
                  </a:lnTo>
                  <a:lnTo>
                    <a:pt x="78" y="95"/>
                  </a:lnTo>
                  <a:lnTo>
                    <a:pt x="47" y="73"/>
                  </a:lnTo>
                  <a:lnTo>
                    <a:pt x="17" y="97"/>
                  </a:lnTo>
                  <a:lnTo>
                    <a:pt x="26" y="57"/>
                  </a:lnTo>
                  <a:lnTo>
                    <a:pt x="0" y="33"/>
                  </a:lnTo>
                  <a:lnTo>
                    <a:pt x="33" y="33"/>
                  </a:lnTo>
                  <a:lnTo>
                    <a:pt x="47" y="0"/>
                  </a:lnTo>
                  <a:close/>
                </a:path>
              </a:pathLst>
            </a:custGeom>
            <a:noFill/>
            <a:ln w="15875" cap="flat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54" name="Line 341">
              <a:extLst>
                <a:ext uri="{FF2B5EF4-FFF2-40B4-BE49-F238E27FC236}">
                  <a16:creationId xmlns:a16="http://schemas.microsoft.com/office/drawing/2014/main" id="{6C3B3879-9B9E-534F-85E1-D1386F96466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19438" y="3740150"/>
              <a:ext cx="36513" cy="101600"/>
            </a:xfrm>
            <a:prstGeom prst="line">
              <a:avLst/>
            </a:prstGeom>
            <a:noFill/>
            <a:ln w="15875" cap="rnd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55" name="Line 342">
              <a:extLst>
                <a:ext uri="{FF2B5EF4-FFF2-40B4-BE49-F238E27FC236}">
                  <a16:creationId xmlns:a16="http://schemas.microsoft.com/office/drawing/2014/main" id="{163EA7A0-C044-A94A-A01D-E5927CFE1D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5950" y="3740150"/>
              <a:ext cx="38100" cy="101600"/>
            </a:xfrm>
            <a:prstGeom prst="line">
              <a:avLst/>
            </a:prstGeom>
            <a:noFill/>
            <a:ln w="15875" cap="rnd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137C70B7-2C3A-E64C-8A41-771063FA0A01}"/>
              </a:ext>
            </a:extLst>
          </p:cNvPr>
          <p:cNvSpPr/>
          <p:nvPr/>
        </p:nvSpPr>
        <p:spPr>
          <a:xfrm>
            <a:off x="2782572" y="2351905"/>
            <a:ext cx="39468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ID" sz="2000" b="1" dirty="0">
                <a:solidFill>
                  <a:srgbClr val="1D3166"/>
                </a:solidFill>
                <a:latin typeface="Montserrat" pitchFamily="2" charset="77"/>
                <a:cs typeface="Segoe UI" panose="020B0502040204020203" pitchFamily="34" charset="0"/>
              </a:rPr>
              <a:t>PENGAWASAN </a:t>
            </a:r>
          </a:p>
          <a:p>
            <a:pPr lvl="0">
              <a:defRPr/>
            </a:pPr>
            <a:r>
              <a:rPr lang="en-ID" sz="2000" b="1" dirty="0">
                <a:solidFill>
                  <a:srgbClr val="1D3166"/>
                </a:solidFill>
                <a:latin typeface="Montserrat" pitchFamily="2" charset="77"/>
                <a:cs typeface="Segoe UI" panose="020B0502040204020203" pitchFamily="34" charset="0"/>
              </a:rPr>
              <a:t>RUTI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70B2A15-7DD5-304F-AB3C-B923BA12C7C6}"/>
              </a:ext>
            </a:extLst>
          </p:cNvPr>
          <p:cNvSpPr txBox="1"/>
          <p:nvPr/>
        </p:nvSpPr>
        <p:spPr>
          <a:xfrm>
            <a:off x="1760164" y="3040873"/>
            <a:ext cx="47532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Pemeriksa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terhadap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lapor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sesuai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deng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ketentu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peratur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perundang-undang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. </a:t>
            </a:r>
          </a:p>
          <a:p>
            <a:pPr algn="l">
              <a:defRPr/>
            </a:pPr>
            <a:endParaRPr lang="en-ID" sz="1800" b="0" dirty="0">
              <a:solidFill>
                <a:srgbClr val="1D3166"/>
              </a:solidFill>
              <a:latin typeface="Montserrat" pitchFamily="2" charset="77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6E10C83-6AA9-2641-93D6-434E84943899}"/>
              </a:ext>
            </a:extLst>
          </p:cNvPr>
          <p:cNvGrpSpPr/>
          <p:nvPr/>
        </p:nvGrpSpPr>
        <p:grpSpPr>
          <a:xfrm>
            <a:off x="1416246" y="2184063"/>
            <a:ext cx="4935392" cy="4455496"/>
            <a:chOff x="1654195" y="2184063"/>
            <a:chExt cx="4935392" cy="4455496"/>
          </a:xfrm>
        </p:grpSpPr>
        <p:sp>
          <p:nvSpPr>
            <p:cNvPr id="25" name="Freeform: Shape 59">
              <a:extLst>
                <a:ext uri="{FF2B5EF4-FFF2-40B4-BE49-F238E27FC236}">
                  <a16:creationId xmlns:a16="http://schemas.microsoft.com/office/drawing/2014/main" id="{4A4D8B41-AD6C-CF40-BD7F-D9D03D8C1EF9}"/>
                </a:ext>
              </a:extLst>
            </p:cNvPr>
            <p:cNvSpPr/>
            <p:nvPr/>
          </p:nvSpPr>
          <p:spPr>
            <a:xfrm>
              <a:off x="1654196" y="2184063"/>
              <a:ext cx="4935391" cy="2635690"/>
            </a:xfrm>
            <a:custGeom>
              <a:avLst/>
              <a:gdLst>
                <a:gd name="connsiteX0" fmla="*/ 0 w 3626241"/>
                <a:gd name="connsiteY0" fmla="*/ 0 h 1607594"/>
                <a:gd name="connsiteX1" fmla="*/ 810554 w 3626241"/>
                <a:gd name="connsiteY1" fmla="*/ 0 h 1607594"/>
                <a:gd name="connsiteX2" fmla="*/ 851604 w 3626241"/>
                <a:gd name="connsiteY2" fmla="*/ 0 h 1607594"/>
                <a:gd name="connsiteX3" fmla="*/ 1190566 w 3626241"/>
                <a:gd name="connsiteY3" fmla="*/ 0 h 1607594"/>
                <a:gd name="connsiteX4" fmla="*/ 1231616 w 3626241"/>
                <a:gd name="connsiteY4" fmla="*/ 0 h 1607594"/>
                <a:gd name="connsiteX5" fmla="*/ 1790092 w 3626241"/>
                <a:gd name="connsiteY5" fmla="*/ 0 h 1607594"/>
                <a:gd name="connsiteX6" fmla="*/ 2471417 w 3626241"/>
                <a:gd name="connsiteY6" fmla="*/ 0 h 1607594"/>
                <a:gd name="connsiteX7" fmla="*/ 2851429 w 3626241"/>
                <a:gd name="connsiteY7" fmla="*/ 0 h 1607594"/>
                <a:gd name="connsiteX8" fmla="*/ 2851429 w 3626241"/>
                <a:gd name="connsiteY8" fmla="*/ 842 h 1607594"/>
                <a:gd name="connsiteX9" fmla="*/ 2851661 w 3626241"/>
                <a:gd name="connsiteY9" fmla="*/ 842 h 1607594"/>
                <a:gd name="connsiteX10" fmla="*/ 2861601 w 3626241"/>
                <a:gd name="connsiteY10" fmla="*/ 842 h 1607594"/>
                <a:gd name="connsiteX11" fmla="*/ 2892478 w 3626241"/>
                <a:gd name="connsiteY11" fmla="*/ 842 h 1607594"/>
                <a:gd name="connsiteX12" fmla="*/ 2892478 w 3626241"/>
                <a:gd name="connsiteY12" fmla="*/ 2599 h 1607594"/>
                <a:gd name="connsiteX13" fmla="*/ 2925970 w 3626241"/>
                <a:gd name="connsiteY13" fmla="*/ 4041 h 1607594"/>
                <a:gd name="connsiteX14" fmla="*/ 2928851 w 3626241"/>
                <a:gd name="connsiteY14" fmla="*/ 4408 h 1607594"/>
                <a:gd name="connsiteX15" fmla="*/ 2930440 w 3626241"/>
                <a:gd name="connsiteY15" fmla="*/ 4481 h 1607594"/>
                <a:gd name="connsiteX16" fmla="*/ 2945546 w 3626241"/>
                <a:gd name="connsiteY16" fmla="*/ 6533 h 1607594"/>
                <a:gd name="connsiteX17" fmla="*/ 2993835 w 3626241"/>
                <a:gd name="connsiteY17" fmla="*/ 12680 h 1607594"/>
                <a:gd name="connsiteX18" fmla="*/ 2999389 w 3626241"/>
                <a:gd name="connsiteY18" fmla="*/ 13848 h 1607594"/>
                <a:gd name="connsiteX19" fmla="*/ 3002660 w 3626241"/>
                <a:gd name="connsiteY19" fmla="*/ 14293 h 1607594"/>
                <a:gd name="connsiteX20" fmla="*/ 3019546 w 3626241"/>
                <a:gd name="connsiteY20" fmla="*/ 18089 h 1607594"/>
                <a:gd name="connsiteX21" fmla="*/ 3059687 w 3626241"/>
                <a:gd name="connsiteY21" fmla="*/ 26532 h 1607594"/>
                <a:gd name="connsiteX22" fmla="*/ 3067808 w 3626241"/>
                <a:gd name="connsiteY22" fmla="*/ 28936 h 1607594"/>
                <a:gd name="connsiteX23" fmla="*/ 3072546 w 3626241"/>
                <a:gd name="connsiteY23" fmla="*/ 30002 h 1607594"/>
                <a:gd name="connsiteX24" fmla="*/ 3088701 w 3626241"/>
                <a:gd name="connsiteY24" fmla="*/ 35122 h 1607594"/>
                <a:gd name="connsiteX25" fmla="*/ 3123262 w 3626241"/>
                <a:gd name="connsiteY25" fmla="*/ 45355 h 1607594"/>
                <a:gd name="connsiteX26" fmla="*/ 3133749 w 3626241"/>
                <a:gd name="connsiteY26" fmla="*/ 49402 h 1607594"/>
                <a:gd name="connsiteX27" fmla="*/ 3139779 w 3626241"/>
                <a:gd name="connsiteY27" fmla="*/ 51314 h 1607594"/>
                <a:gd name="connsiteX28" fmla="*/ 3154407 w 3626241"/>
                <a:gd name="connsiteY28" fmla="*/ 57375 h 1607594"/>
                <a:gd name="connsiteX29" fmla="*/ 3184295 w 3626241"/>
                <a:gd name="connsiteY29" fmla="*/ 68910 h 1607594"/>
                <a:gd name="connsiteX30" fmla="*/ 3196911 w 3626241"/>
                <a:gd name="connsiteY30" fmla="*/ 74987 h 1607594"/>
                <a:gd name="connsiteX31" fmla="*/ 3204036 w 3626241"/>
                <a:gd name="connsiteY31" fmla="*/ 77940 h 1607594"/>
                <a:gd name="connsiteX32" fmla="*/ 3216845 w 3626241"/>
                <a:gd name="connsiteY32" fmla="*/ 84589 h 1607594"/>
                <a:gd name="connsiteX33" fmla="*/ 3242522 w 3626241"/>
                <a:gd name="connsiteY33" fmla="*/ 96956 h 1607594"/>
                <a:gd name="connsiteX34" fmla="*/ 3256996 w 3626241"/>
                <a:gd name="connsiteY34" fmla="*/ 105431 h 1607594"/>
                <a:gd name="connsiteX35" fmla="*/ 3264998 w 3626241"/>
                <a:gd name="connsiteY35" fmla="*/ 109585 h 1607594"/>
                <a:gd name="connsiteX36" fmla="*/ 3275898 w 3626241"/>
                <a:gd name="connsiteY36" fmla="*/ 116499 h 1607594"/>
                <a:gd name="connsiteX37" fmla="*/ 3297679 w 3626241"/>
                <a:gd name="connsiteY37" fmla="*/ 129253 h 1607594"/>
                <a:gd name="connsiteX38" fmla="*/ 3313704 w 3626241"/>
                <a:gd name="connsiteY38" fmla="*/ 140480 h 1607594"/>
                <a:gd name="connsiteX39" fmla="*/ 3322343 w 3626241"/>
                <a:gd name="connsiteY39" fmla="*/ 145960 h 1607594"/>
                <a:gd name="connsiteX40" fmla="*/ 3331354 w 3626241"/>
                <a:gd name="connsiteY40" fmla="*/ 152846 h 1607594"/>
                <a:gd name="connsiteX41" fmla="*/ 3349502 w 3626241"/>
                <a:gd name="connsiteY41" fmla="*/ 165561 h 1607594"/>
                <a:gd name="connsiteX42" fmla="*/ 3366741 w 3626241"/>
                <a:gd name="connsiteY42" fmla="*/ 179887 h 1607594"/>
                <a:gd name="connsiteX43" fmla="*/ 3375750 w 3626241"/>
                <a:gd name="connsiteY43" fmla="*/ 186772 h 1607594"/>
                <a:gd name="connsiteX44" fmla="*/ 3382956 w 3626241"/>
                <a:gd name="connsiteY44" fmla="*/ 193363 h 1607594"/>
                <a:gd name="connsiteX45" fmla="*/ 3397726 w 3626241"/>
                <a:gd name="connsiteY45" fmla="*/ 205638 h 1607594"/>
                <a:gd name="connsiteX46" fmla="*/ 3415817 w 3626241"/>
                <a:gd name="connsiteY46" fmla="*/ 223422 h 1607594"/>
                <a:gd name="connsiteX47" fmla="*/ 3424898 w 3626241"/>
                <a:gd name="connsiteY47" fmla="*/ 231728 h 1607594"/>
                <a:gd name="connsiteX48" fmla="*/ 3430428 w 3626241"/>
                <a:gd name="connsiteY48" fmla="*/ 237784 h 1607594"/>
                <a:gd name="connsiteX49" fmla="*/ 3442087 w 3626241"/>
                <a:gd name="connsiteY49" fmla="*/ 249246 h 1607594"/>
                <a:gd name="connsiteX50" fmla="*/ 3460650 w 3626241"/>
                <a:gd name="connsiteY50" fmla="*/ 270883 h 1607594"/>
                <a:gd name="connsiteX51" fmla="*/ 3469466 w 3626241"/>
                <a:gd name="connsiteY51" fmla="*/ 280538 h 1607594"/>
                <a:gd name="connsiteX52" fmla="*/ 3473482 w 3626241"/>
                <a:gd name="connsiteY52" fmla="*/ 285840 h 1607594"/>
                <a:gd name="connsiteX53" fmla="*/ 3482320 w 3626241"/>
                <a:gd name="connsiteY53" fmla="*/ 296142 h 1607594"/>
                <a:gd name="connsiteX54" fmla="*/ 3500979 w 3626241"/>
                <a:gd name="connsiteY54" fmla="*/ 322143 h 1607594"/>
                <a:gd name="connsiteX55" fmla="*/ 3509133 w 3626241"/>
                <a:gd name="connsiteY55" fmla="*/ 332909 h 1607594"/>
                <a:gd name="connsiteX56" fmla="*/ 3511826 w 3626241"/>
                <a:gd name="connsiteY56" fmla="*/ 337259 h 1607594"/>
                <a:gd name="connsiteX57" fmla="*/ 3518162 w 3626241"/>
                <a:gd name="connsiteY57" fmla="*/ 346088 h 1607594"/>
                <a:gd name="connsiteX58" fmla="*/ 3536579 w 3626241"/>
                <a:gd name="connsiteY58" fmla="*/ 377243 h 1607594"/>
                <a:gd name="connsiteX59" fmla="*/ 3543579 w 3626241"/>
                <a:gd name="connsiteY59" fmla="*/ 388549 h 1607594"/>
                <a:gd name="connsiteX60" fmla="*/ 3545166 w 3626241"/>
                <a:gd name="connsiteY60" fmla="*/ 391768 h 1607594"/>
                <a:gd name="connsiteX61" fmla="*/ 3549348 w 3626241"/>
                <a:gd name="connsiteY61" fmla="*/ 398843 h 1607594"/>
                <a:gd name="connsiteX62" fmla="*/ 3567343 w 3626241"/>
                <a:gd name="connsiteY62" fmla="*/ 436747 h 1607594"/>
                <a:gd name="connsiteX63" fmla="*/ 3572481 w 3626241"/>
                <a:gd name="connsiteY63" fmla="*/ 447167 h 1607594"/>
                <a:gd name="connsiteX64" fmla="*/ 3573205 w 3626241"/>
                <a:gd name="connsiteY64" fmla="*/ 449094 h 1607594"/>
                <a:gd name="connsiteX65" fmla="*/ 3575613 w 3626241"/>
                <a:gd name="connsiteY65" fmla="*/ 454166 h 1607594"/>
                <a:gd name="connsiteX66" fmla="*/ 3593679 w 3626241"/>
                <a:gd name="connsiteY66" fmla="*/ 503573 h 1607594"/>
                <a:gd name="connsiteX67" fmla="*/ 3595519 w 3626241"/>
                <a:gd name="connsiteY67" fmla="*/ 508470 h 1607594"/>
                <a:gd name="connsiteX68" fmla="*/ 3595649 w 3626241"/>
                <a:gd name="connsiteY68" fmla="*/ 508962 h 1607594"/>
                <a:gd name="connsiteX69" fmla="*/ 3596693 w 3626241"/>
                <a:gd name="connsiteY69" fmla="*/ 511816 h 1607594"/>
                <a:gd name="connsiteX70" fmla="*/ 3622242 w 3626241"/>
                <a:gd name="connsiteY70" fmla="*/ 633141 h 1607594"/>
                <a:gd name="connsiteX71" fmla="*/ 3622395 w 3626241"/>
                <a:gd name="connsiteY71" fmla="*/ 635897 h 1607594"/>
                <a:gd name="connsiteX72" fmla="*/ 3622720 w 3626241"/>
                <a:gd name="connsiteY72" fmla="*/ 637966 h 1607594"/>
                <a:gd name="connsiteX73" fmla="*/ 3624495 w 3626241"/>
                <a:gd name="connsiteY73" fmla="*/ 672064 h 1607594"/>
                <a:gd name="connsiteX74" fmla="*/ 3626240 w 3626241"/>
                <a:gd name="connsiteY74" fmla="*/ 672064 h 1607594"/>
                <a:gd name="connsiteX75" fmla="*/ 3626240 w 3626241"/>
                <a:gd name="connsiteY75" fmla="*/ 705146 h 1607594"/>
                <a:gd name="connsiteX76" fmla="*/ 3626241 w 3626241"/>
                <a:gd name="connsiteY76" fmla="*/ 705152 h 1607594"/>
                <a:gd name="connsiteX77" fmla="*/ 3626240 w 3626241"/>
                <a:gd name="connsiteY77" fmla="*/ 705159 h 1607594"/>
                <a:gd name="connsiteX78" fmla="*/ 3626240 w 3626241"/>
                <a:gd name="connsiteY78" fmla="*/ 705574 h 1607594"/>
                <a:gd name="connsiteX79" fmla="*/ 3626240 w 3626241"/>
                <a:gd name="connsiteY79" fmla="*/ 869363 h 1607594"/>
                <a:gd name="connsiteX80" fmla="*/ 3626240 w 3626241"/>
                <a:gd name="connsiteY80" fmla="*/ 902444 h 1607594"/>
                <a:gd name="connsiteX81" fmla="*/ 3626241 w 3626241"/>
                <a:gd name="connsiteY81" fmla="*/ 902451 h 1607594"/>
                <a:gd name="connsiteX82" fmla="*/ 3626240 w 3626241"/>
                <a:gd name="connsiteY82" fmla="*/ 902457 h 1607594"/>
                <a:gd name="connsiteX83" fmla="*/ 3626240 w 3626241"/>
                <a:gd name="connsiteY83" fmla="*/ 902873 h 1607594"/>
                <a:gd name="connsiteX84" fmla="*/ 3626240 w 3626241"/>
                <a:gd name="connsiteY84" fmla="*/ 1409462 h 1607594"/>
                <a:gd name="connsiteX85" fmla="*/ 3626240 w 3626241"/>
                <a:gd name="connsiteY85" fmla="*/ 1606761 h 1607594"/>
                <a:gd name="connsiteX86" fmla="*/ 3246228 w 3626241"/>
                <a:gd name="connsiteY86" fmla="*/ 1606761 h 1607594"/>
                <a:gd name="connsiteX87" fmla="*/ 2892478 w 3626241"/>
                <a:gd name="connsiteY87" fmla="*/ 1606761 h 1607594"/>
                <a:gd name="connsiteX88" fmla="*/ 2892478 w 3626241"/>
                <a:gd name="connsiteY88" fmla="*/ 1607594 h 1607594"/>
                <a:gd name="connsiteX89" fmla="*/ 2851429 w 3626241"/>
                <a:gd name="connsiteY89" fmla="*/ 1607594 h 1607594"/>
                <a:gd name="connsiteX90" fmla="*/ 2512466 w 3626241"/>
                <a:gd name="connsiteY90" fmla="*/ 1607594 h 1607594"/>
                <a:gd name="connsiteX91" fmla="*/ 2471417 w 3626241"/>
                <a:gd name="connsiteY91" fmla="*/ 1607594 h 1607594"/>
                <a:gd name="connsiteX92" fmla="*/ 1790092 w 3626241"/>
                <a:gd name="connsiteY92" fmla="*/ 1607594 h 1607594"/>
                <a:gd name="connsiteX93" fmla="*/ 1231616 w 3626241"/>
                <a:gd name="connsiteY93" fmla="*/ 1607594 h 1607594"/>
                <a:gd name="connsiteX94" fmla="*/ 851604 w 3626241"/>
                <a:gd name="connsiteY94" fmla="*/ 1607594 h 1607594"/>
                <a:gd name="connsiteX95" fmla="*/ 0 w 3626241"/>
                <a:gd name="connsiteY95" fmla="*/ 1607594 h 160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626241" h="1607594">
                  <a:moveTo>
                    <a:pt x="0" y="0"/>
                  </a:moveTo>
                  <a:lnTo>
                    <a:pt x="810554" y="0"/>
                  </a:lnTo>
                  <a:lnTo>
                    <a:pt x="851604" y="0"/>
                  </a:lnTo>
                  <a:lnTo>
                    <a:pt x="1190566" y="0"/>
                  </a:lnTo>
                  <a:lnTo>
                    <a:pt x="1231616" y="0"/>
                  </a:lnTo>
                  <a:lnTo>
                    <a:pt x="1790092" y="0"/>
                  </a:lnTo>
                  <a:lnTo>
                    <a:pt x="2471417" y="0"/>
                  </a:lnTo>
                  <a:lnTo>
                    <a:pt x="2851429" y="0"/>
                  </a:lnTo>
                  <a:lnTo>
                    <a:pt x="2851429" y="842"/>
                  </a:lnTo>
                  <a:lnTo>
                    <a:pt x="2851661" y="842"/>
                  </a:lnTo>
                  <a:lnTo>
                    <a:pt x="2861601" y="842"/>
                  </a:lnTo>
                  <a:lnTo>
                    <a:pt x="2892478" y="842"/>
                  </a:lnTo>
                  <a:lnTo>
                    <a:pt x="2892478" y="2599"/>
                  </a:lnTo>
                  <a:lnTo>
                    <a:pt x="2925970" y="4041"/>
                  </a:lnTo>
                  <a:lnTo>
                    <a:pt x="2928851" y="4408"/>
                  </a:lnTo>
                  <a:lnTo>
                    <a:pt x="2930440" y="4481"/>
                  </a:lnTo>
                  <a:lnTo>
                    <a:pt x="2945546" y="6533"/>
                  </a:lnTo>
                  <a:lnTo>
                    <a:pt x="2993835" y="12680"/>
                  </a:lnTo>
                  <a:lnTo>
                    <a:pt x="2999389" y="13848"/>
                  </a:lnTo>
                  <a:lnTo>
                    <a:pt x="3002660" y="14293"/>
                  </a:lnTo>
                  <a:lnTo>
                    <a:pt x="3019546" y="18089"/>
                  </a:lnTo>
                  <a:lnTo>
                    <a:pt x="3059687" y="26532"/>
                  </a:lnTo>
                  <a:lnTo>
                    <a:pt x="3067808" y="28936"/>
                  </a:lnTo>
                  <a:lnTo>
                    <a:pt x="3072546" y="30002"/>
                  </a:lnTo>
                  <a:lnTo>
                    <a:pt x="3088701" y="35122"/>
                  </a:lnTo>
                  <a:lnTo>
                    <a:pt x="3123262" y="45355"/>
                  </a:lnTo>
                  <a:lnTo>
                    <a:pt x="3133749" y="49402"/>
                  </a:lnTo>
                  <a:lnTo>
                    <a:pt x="3139779" y="51314"/>
                  </a:lnTo>
                  <a:lnTo>
                    <a:pt x="3154407" y="57375"/>
                  </a:lnTo>
                  <a:lnTo>
                    <a:pt x="3184295" y="68910"/>
                  </a:lnTo>
                  <a:lnTo>
                    <a:pt x="3196911" y="74987"/>
                  </a:lnTo>
                  <a:lnTo>
                    <a:pt x="3204036" y="77940"/>
                  </a:lnTo>
                  <a:lnTo>
                    <a:pt x="3216845" y="84589"/>
                  </a:lnTo>
                  <a:lnTo>
                    <a:pt x="3242522" y="96956"/>
                  </a:lnTo>
                  <a:lnTo>
                    <a:pt x="3256996" y="105431"/>
                  </a:lnTo>
                  <a:lnTo>
                    <a:pt x="3264998" y="109585"/>
                  </a:lnTo>
                  <a:lnTo>
                    <a:pt x="3275898" y="116499"/>
                  </a:lnTo>
                  <a:lnTo>
                    <a:pt x="3297679" y="129253"/>
                  </a:lnTo>
                  <a:lnTo>
                    <a:pt x="3313704" y="140480"/>
                  </a:lnTo>
                  <a:lnTo>
                    <a:pt x="3322343" y="145960"/>
                  </a:lnTo>
                  <a:lnTo>
                    <a:pt x="3331354" y="152846"/>
                  </a:lnTo>
                  <a:lnTo>
                    <a:pt x="3349502" y="165561"/>
                  </a:lnTo>
                  <a:lnTo>
                    <a:pt x="3366741" y="179887"/>
                  </a:lnTo>
                  <a:lnTo>
                    <a:pt x="3375750" y="186772"/>
                  </a:lnTo>
                  <a:lnTo>
                    <a:pt x="3382956" y="193363"/>
                  </a:lnTo>
                  <a:lnTo>
                    <a:pt x="3397726" y="205638"/>
                  </a:lnTo>
                  <a:lnTo>
                    <a:pt x="3415817" y="223422"/>
                  </a:lnTo>
                  <a:lnTo>
                    <a:pt x="3424898" y="231728"/>
                  </a:lnTo>
                  <a:lnTo>
                    <a:pt x="3430428" y="237784"/>
                  </a:lnTo>
                  <a:lnTo>
                    <a:pt x="3442087" y="249246"/>
                  </a:lnTo>
                  <a:lnTo>
                    <a:pt x="3460650" y="270883"/>
                  </a:lnTo>
                  <a:lnTo>
                    <a:pt x="3469466" y="280538"/>
                  </a:lnTo>
                  <a:lnTo>
                    <a:pt x="3473482" y="285840"/>
                  </a:lnTo>
                  <a:lnTo>
                    <a:pt x="3482320" y="296142"/>
                  </a:lnTo>
                  <a:lnTo>
                    <a:pt x="3500979" y="322143"/>
                  </a:lnTo>
                  <a:lnTo>
                    <a:pt x="3509133" y="332909"/>
                  </a:lnTo>
                  <a:lnTo>
                    <a:pt x="3511826" y="337259"/>
                  </a:lnTo>
                  <a:lnTo>
                    <a:pt x="3518162" y="346088"/>
                  </a:lnTo>
                  <a:lnTo>
                    <a:pt x="3536579" y="377243"/>
                  </a:lnTo>
                  <a:lnTo>
                    <a:pt x="3543579" y="388549"/>
                  </a:lnTo>
                  <a:lnTo>
                    <a:pt x="3545166" y="391768"/>
                  </a:lnTo>
                  <a:lnTo>
                    <a:pt x="3549348" y="398843"/>
                  </a:lnTo>
                  <a:lnTo>
                    <a:pt x="3567343" y="436747"/>
                  </a:lnTo>
                  <a:lnTo>
                    <a:pt x="3572481" y="447167"/>
                  </a:lnTo>
                  <a:lnTo>
                    <a:pt x="3573205" y="449094"/>
                  </a:lnTo>
                  <a:lnTo>
                    <a:pt x="3575613" y="454166"/>
                  </a:lnTo>
                  <a:lnTo>
                    <a:pt x="3593679" y="503573"/>
                  </a:lnTo>
                  <a:lnTo>
                    <a:pt x="3595519" y="508470"/>
                  </a:lnTo>
                  <a:lnTo>
                    <a:pt x="3595649" y="508962"/>
                  </a:lnTo>
                  <a:lnTo>
                    <a:pt x="3596693" y="511816"/>
                  </a:lnTo>
                  <a:cubicBezTo>
                    <a:pt x="3608960" y="550973"/>
                    <a:pt x="3617593" y="591521"/>
                    <a:pt x="3622242" y="633141"/>
                  </a:cubicBezTo>
                  <a:lnTo>
                    <a:pt x="3622395" y="635897"/>
                  </a:lnTo>
                  <a:lnTo>
                    <a:pt x="3622720" y="637966"/>
                  </a:lnTo>
                  <a:lnTo>
                    <a:pt x="3624495" y="672064"/>
                  </a:lnTo>
                  <a:lnTo>
                    <a:pt x="3626240" y="672064"/>
                  </a:lnTo>
                  <a:lnTo>
                    <a:pt x="3626240" y="705146"/>
                  </a:lnTo>
                  <a:lnTo>
                    <a:pt x="3626241" y="705152"/>
                  </a:lnTo>
                  <a:lnTo>
                    <a:pt x="3626240" y="705159"/>
                  </a:lnTo>
                  <a:lnTo>
                    <a:pt x="3626240" y="705574"/>
                  </a:lnTo>
                  <a:lnTo>
                    <a:pt x="3626240" y="869363"/>
                  </a:lnTo>
                  <a:lnTo>
                    <a:pt x="3626240" y="902444"/>
                  </a:lnTo>
                  <a:lnTo>
                    <a:pt x="3626241" y="902451"/>
                  </a:lnTo>
                  <a:lnTo>
                    <a:pt x="3626240" y="902457"/>
                  </a:lnTo>
                  <a:lnTo>
                    <a:pt x="3626240" y="902873"/>
                  </a:lnTo>
                  <a:lnTo>
                    <a:pt x="3626240" y="1409462"/>
                  </a:lnTo>
                  <a:lnTo>
                    <a:pt x="3626240" y="1606761"/>
                  </a:lnTo>
                  <a:lnTo>
                    <a:pt x="3246228" y="1606761"/>
                  </a:lnTo>
                  <a:lnTo>
                    <a:pt x="2892478" y="1606761"/>
                  </a:lnTo>
                  <a:lnTo>
                    <a:pt x="2892478" y="1607594"/>
                  </a:lnTo>
                  <a:lnTo>
                    <a:pt x="2851429" y="1607594"/>
                  </a:lnTo>
                  <a:lnTo>
                    <a:pt x="2512466" y="1607594"/>
                  </a:lnTo>
                  <a:lnTo>
                    <a:pt x="2471417" y="1607594"/>
                  </a:lnTo>
                  <a:lnTo>
                    <a:pt x="1790092" y="1607594"/>
                  </a:lnTo>
                  <a:lnTo>
                    <a:pt x="1231616" y="1607594"/>
                  </a:lnTo>
                  <a:lnTo>
                    <a:pt x="851604" y="1607594"/>
                  </a:lnTo>
                  <a:lnTo>
                    <a:pt x="0" y="1607594"/>
                  </a:lnTo>
                  <a:close/>
                </a:path>
              </a:pathLst>
            </a:custGeom>
            <a:solidFill>
              <a:srgbClr val="FEB81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A28A548-C565-0044-B8E7-14D32DAABEC6}"/>
                </a:ext>
              </a:extLst>
            </p:cNvPr>
            <p:cNvSpPr/>
            <p:nvPr/>
          </p:nvSpPr>
          <p:spPr>
            <a:xfrm>
              <a:off x="1654195" y="4783325"/>
              <a:ext cx="4928410" cy="1856234"/>
            </a:xfrm>
            <a:prstGeom prst="rect">
              <a:avLst/>
            </a:prstGeom>
            <a:solidFill>
              <a:srgbClr val="FFB91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784601E3-6B92-6446-943A-C1B388C5F971}"/>
              </a:ext>
            </a:extLst>
          </p:cNvPr>
          <p:cNvSpPr/>
          <p:nvPr/>
        </p:nvSpPr>
        <p:spPr>
          <a:xfrm>
            <a:off x="8245199" y="2275838"/>
            <a:ext cx="39468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ID" sz="2000" b="1" dirty="0">
                <a:solidFill>
                  <a:srgbClr val="1D3166"/>
                </a:solidFill>
                <a:latin typeface="Montserrat" pitchFamily="2" charset="77"/>
                <a:cs typeface="Segoe UI" panose="020B0502040204020203" pitchFamily="34" charset="0"/>
              </a:rPr>
              <a:t>PENGAWASAN </a:t>
            </a:r>
          </a:p>
          <a:p>
            <a:pPr lvl="0">
              <a:defRPr/>
            </a:pPr>
            <a:r>
              <a:rPr lang="en-ID" sz="2000" b="1" dirty="0">
                <a:solidFill>
                  <a:srgbClr val="1D3166"/>
                </a:solidFill>
                <a:latin typeface="Montserrat" pitchFamily="2" charset="77"/>
                <a:cs typeface="Segoe UI" panose="020B0502040204020203" pitchFamily="34" charset="0"/>
              </a:rPr>
              <a:t>INSIDENTAL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993621C-428B-7C45-8F6D-AEB18D6A0804}"/>
              </a:ext>
            </a:extLst>
          </p:cNvPr>
          <p:cNvSpPr txBox="1">
            <a:spLocks/>
          </p:cNvSpPr>
          <p:nvPr/>
        </p:nvSpPr>
        <p:spPr>
          <a:xfrm>
            <a:off x="4824891" y="195686"/>
            <a:ext cx="3198222" cy="443061"/>
          </a:xfrm>
          <a:prstGeom prst="rect">
            <a:avLst/>
          </a:prstGeom>
        </p:spPr>
        <p:txBody>
          <a:bodyPr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PASAL 1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E9BFEF7-36F3-1648-872C-B535A7A17E4C}"/>
              </a:ext>
            </a:extLst>
          </p:cNvPr>
          <p:cNvSpPr/>
          <p:nvPr/>
        </p:nvSpPr>
        <p:spPr>
          <a:xfrm>
            <a:off x="5563270" y="948073"/>
            <a:ext cx="5752430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ID" sz="3600" b="1" dirty="0">
                <a:solidFill>
                  <a:schemeClr val="bg1"/>
                </a:solidFill>
                <a:latin typeface="Montserrat" pitchFamily="2" charset="77"/>
                <a:cs typeface="Segoe UI" panose="020B0502040204020203" pitchFamily="34" charset="0"/>
              </a:rPr>
              <a:t>JENIS PENGAWASAN</a:t>
            </a:r>
          </a:p>
        </p:txBody>
      </p:sp>
      <p:sp>
        <p:nvSpPr>
          <p:cNvPr id="31" name="Freeform: Shape 27">
            <a:extLst>
              <a:ext uri="{FF2B5EF4-FFF2-40B4-BE49-F238E27FC236}">
                <a16:creationId xmlns:a16="http://schemas.microsoft.com/office/drawing/2014/main" id="{8DA27006-C35C-2A42-9277-65269E22C143}"/>
              </a:ext>
            </a:extLst>
          </p:cNvPr>
          <p:cNvSpPr/>
          <p:nvPr/>
        </p:nvSpPr>
        <p:spPr>
          <a:xfrm rot="10800000" flipH="1">
            <a:off x="1114366" y="1579526"/>
            <a:ext cx="1231988" cy="1231988"/>
          </a:xfrm>
          <a:custGeom>
            <a:avLst/>
            <a:gdLst>
              <a:gd name="connsiteX0" fmla="*/ 2133600 w 4325258"/>
              <a:gd name="connsiteY0" fmla="*/ 0 h 4325258"/>
              <a:gd name="connsiteX1" fmla="*/ 2162629 w 4325258"/>
              <a:gd name="connsiteY1" fmla="*/ 0 h 4325258"/>
              <a:gd name="connsiteX2" fmla="*/ 4325257 w 4325258"/>
              <a:gd name="connsiteY2" fmla="*/ 0 h 4325258"/>
              <a:gd name="connsiteX3" fmla="*/ 4325257 w 4325258"/>
              <a:gd name="connsiteY3" fmla="*/ 2162609 h 4325258"/>
              <a:gd name="connsiteX4" fmla="*/ 4325258 w 4325258"/>
              <a:gd name="connsiteY4" fmla="*/ 2162629 h 4325258"/>
              <a:gd name="connsiteX5" fmla="*/ 4325257 w 4325258"/>
              <a:gd name="connsiteY5" fmla="*/ 2162650 h 4325258"/>
              <a:gd name="connsiteX6" fmla="*/ 4325257 w 4325258"/>
              <a:gd name="connsiteY6" fmla="*/ 2264228 h 4325258"/>
              <a:gd name="connsiteX7" fmla="*/ 4320128 w 4325258"/>
              <a:gd name="connsiteY7" fmla="*/ 2264228 h 4325258"/>
              <a:gd name="connsiteX8" fmla="*/ 4314093 w 4325258"/>
              <a:gd name="connsiteY8" fmla="*/ 2383745 h 4325258"/>
              <a:gd name="connsiteX9" fmla="*/ 2162629 w 4325258"/>
              <a:gd name="connsiteY9" fmla="*/ 4325258 h 4325258"/>
              <a:gd name="connsiteX10" fmla="*/ 0 w 4325258"/>
              <a:gd name="connsiteY10" fmla="*/ 2162629 h 4325258"/>
              <a:gd name="connsiteX11" fmla="*/ 1941513 w 4325258"/>
              <a:gd name="connsiteY11" fmla="*/ 11166 h 4325258"/>
              <a:gd name="connsiteX12" fmla="*/ 2133600 w 4325258"/>
              <a:gd name="connsiteY12" fmla="*/ 1466 h 4325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325258" h="4325258">
                <a:moveTo>
                  <a:pt x="2133600" y="0"/>
                </a:moveTo>
                <a:lnTo>
                  <a:pt x="2162629" y="0"/>
                </a:lnTo>
                <a:lnTo>
                  <a:pt x="4325257" y="0"/>
                </a:lnTo>
                <a:lnTo>
                  <a:pt x="4325257" y="2162609"/>
                </a:lnTo>
                <a:lnTo>
                  <a:pt x="4325258" y="2162629"/>
                </a:lnTo>
                <a:lnTo>
                  <a:pt x="4325257" y="2162650"/>
                </a:lnTo>
                <a:lnTo>
                  <a:pt x="4325257" y="2264228"/>
                </a:lnTo>
                <a:lnTo>
                  <a:pt x="4320128" y="2264228"/>
                </a:lnTo>
                <a:lnTo>
                  <a:pt x="4314093" y="2383745"/>
                </a:lnTo>
                <a:cubicBezTo>
                  <a:pt x="4203344" y="3474264"/>
                  <a:pt x="3282367" y="4325258"/>
                  <a:pt x="2162629" y="4325258"/>
                </a:cubicBezTo>
                <a:cubicBezTo>
                  <a:pt x="968242" y="4325258"/>
                  <a:pt x="0" y="3357016"/>
                  <a:pt x="0" y="2162629"/>
                </a:cubicBezTo>
                <a:cubicBezTo>
                  <a:pt x="0" y="1042891"/>
                  <a:pt x="850994" y="121914"/>
                  <a:pt x="1941513" y="11166"/>
                </a:cubicBezTo>
                <a:lnTo>
                  <a:pt x="2133600" y="146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856E6D9-5A2D-9A4B-8343-8673010F9B44}"/>
              </a:ext>
            </a:extLst>
          </p:cNvPr>
          <p:cNvGrpSpPr/>
          <p:nvPr/>
        </p:nvGrpSpPr>
        <p:grpSpPr>
          <a:xfrm>
            <a:off x="6899887" y="2184063"/>
            <a:ext cx="4935391" cy="4455496"/>
            <a:chOff x="6899887" y="2184063"/>
            <a:chExt cx="4935391" cy="4455496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6A8BAAC-2F80-4B6E-B89A-93C26A792873}"/>
                </a:ext>
              </a:extLst>
            </p:cNvPr>
            <p:cNvSpPr/>
            <p:nvPr/>
          </p:nvSpPr>
          <p:spPr>
            <a:xfrm>
              <a:off x="6899887" y="2184063"/>
              <a:ext cx="4935391" cy="2635690"/>
            </a:xfrm>
            <a:custGeom>
              <a:avLst/>
              <a:gdLst>
                <a:gd name="connsiteX0" fmla="*/ 0 w 3626241"/>
                <a:gd name="connsiteY0" fmla="*/ 0 h 1607594"/>
                <a:gd name="connsiteX1" fmla="*/ 810554 w 3626241"/>
                <a:gd name="connsiteY1" fmla="*/ 0 h 1607594"/>
                <a:gd name="connsiteX2" fmla="*/ 851604 w 3626241"/>
                <a:gd name="connsiteY2" fmla="*/ 0 h 1607594"/>
                <a:gd name="connsiteX3" fmla="*/ 1190566 w 3626241"/>
                <a:gd name="connsiteY3" fmla="*/ 0 h 1607594"/>
                <a:gd name="connsiteX4" fmla="*/ 1231616 w 3626241"/>
                <a:gd name="connsiteY4" fmla="*/ 0 h 1607594"/>
                <a:gd name="connsiteX5" fmla="*/ 1790092 w 3626241"/>
                <a:gd name="connsiteY5" fmla="*/ 0 h 1607594"/>
                <a:gd name="connsiteX6" fmla="*/ 2471417 w 3626241"/>
                <a:gd name="connsiteY6" fmla="*/ 0 h 1607594"/>
                <a:gd name="connsiteX7" fmla="*/ 2851429 w 3626241"/>
                <a:gd name="connsiteY7" fmla="*/ 0 h 1607594"/>
                <a:gd name="connsiteX8" fmla="*/ 2851429 w 3626241"/>
                <a:gd name="connsiteY8" fmla="*/ 842 h 1607594"/>
                <a:gd name="connsiteX9" fmla="*/ 2851661 w 3626241"/>
                <a:gd name="connsiteY9" fmla="*/ 842 h 1607594"/>
                <a:gd name="connsiteX10" fmla="*/ 2861601 w 3626241"/>
                <a:gd name="connsiteY10" fmla="*/ 842 h 1607594"/>
                <a:gd name="connsiteX11" fmla="*/ 2892478 w 3626241"/>
                <a:gd name="connsiteY11" fmla="*/ 842 h 1607594"/>
                <a:gd name="connsiteX12" fmla="*/ 2892478 w 3626241"/>
                <a:gd name="connsiteY12" fmla="*/ 2599 h 1607594"/>
                <a:gd name="connsiteX13" fmla="*/ 2925970 w 3626241"/>
                <a:gd name="connsiteY13" fmla="*/ 4041 h 1607594"/>
                <a:gd name="connsiteX14" fmla="*/ 2928851 w 3626241"/>
                <a:gd name="connsiteY14" fmla="*/ 4408 h 1607594"/>
                <a:gd name="connsiteX15" fmla="*/ 2930440 w 3626241"/>
                <a:gd name="connsiteY15" fmla="*/ 4481 h 1607594"/>
                <a:gd name="connsiteX16" fmla="*/ 2945546 w 3626241"/>
                <a:gd name="connsiteY16" fmla="*/ 6533 h 1607594"/>
                <a:gd name="connsiteX17" fmla="*/ 2993835 w 3626241"/>
                <a:gd name="connsiteY17" fmla="*/ 12680 h 1607594"/>
                <a:gd name="connsiteX18" fmla="*/ 2999389 w 3626241"/>
                <a:gd name="connsiteY18" fmla="*/ 13848 h 1607594"/>
                <a:gd name="connsiteX19" fmla="*/ 3002660 w 3626241"/>
                <a:gd name="connsiteY19" fmla="*/ 14293 h 1607594"/>
                <a:gd name="connsiteX20" fmla="*/ 3019546 w 3626241"/>
                <a:gd name="connsiteY20" fmla="*/ 18089 h 1607594"/>
                <a:gd name="connsiteX21" fmla="*/ 3059687 w 3626241"/>
                <a:gd name="connsiteY21" fmla="*/ 26532 h 1607594"/>
                <a:gd name="connsiteX22" fmla="*/ 3067808 w 3626241"/>
                <a:gd name="connsiteY22" fmla="*/ 28936 h 1607594"/>
                <a:gd name="connsiteX23" fmla="*/ 3072546 w 3626241"/>
                <a:gd name="connsiteY23" fmla="*/ 30002 h 1607594"/>
                <a:gd name="connsiteX24" fmla="*/ 3088701 w 3626241"/>
                <a:gd name="connsiteY24" fmla="*/ 35122 h 1607594"/>
                <a:gd name="connsiteX25" fmla="*/ 3123262 w 3626241"/>
                <a:gd name="connsiteY25" fmla="*/ 45355 h 1607594"/>
                <a:gd name="connsiteX26" fmla="*/ 3133749 w 3626241"/>
                <a:gd name="connsiteY26" fmla="*/ 49402 h 1607594"/>
                <a:gd name="connsiteX27" fmla="*/ 3139779 w 3626241"/>
                <a:gd name="connsiteY27" fmla="*/ 51314 h 1607594"/>
                <a:gd name="connsiteX28" fmla="*/ 3154407 w 3626241"/>
                <a:gd name="connsiteY28" fmla="*/ 57375 h 1607594"/>
                <a:gd name="connsiteX29" fmla="*/ 3184295 w 3626241"/>
                <a:gd name="connsiteY29" fmla="*/ 68910 h 1607594"/>
                <a:gd name="connsiteX30" fmla="*/ 3196911 w 3626241"/>
                <a:gd name="connsiteY30" fmla="*/ 74987 h 1607594"/>
                <a:gd name="connsiteX31" fmla="*/ 3204036 w 3626241"/>
                <a:gd name="connsiteY31" fmla="*/ 77940 h 1607594"/>
                <a:gd name="connsiteX32" fmla="*/ 3216845 w 3626241"/>
                <a:gd name="connsiteY32" fmla="*/ 84589 h 1607594"/>
                <a:gd name="connsiteX33" fmla="*/ 3242522 w 3626241"/>
                <a:gd name="connsiteY33" fmla="*/ 96956 h 1607594"/>
                <a:gd name="connsiteX34" fmla="*/ 3256996 w 3626241"/>
                <a:gd name="connsiteY34" fmla="*/ 105431 h 1607594"/>
                <a:gd name="connsiteX35" fmla="*/ 3264998 w 3626241"/>
                <a:gd name="connsiteY35" fmla="*/ 109585 h 1607594"/>
                <a:gd name="connsiteX36" fmla="*/ 3275898 w 3626241"/>
                <a:gd name="connsiteY36" fmla="*/ 116499 h 1607594"/>
                <a:gd name="connsiteX37" fmla="*/ 3297679 w 3626241"/>
                <a:gd name="connsiteY37" fmla="*/ 129253 h 1607594"/>
                <a:gd name="connsiteX38" fmla="*/ 3313704 w 3626241"/>
                <a:gd name="connsiteY38" fmla="*/ 140480 h 1607594"/>
                <a:gd name="connsiteX39" fmla="*/ 3322343 w 3626241"/>
                <a:gd name="connsiteY39" fmla="*/ 145960 h 1607594"/>
                <a:gd name="connsiteX40" fmla="*/ 3331354 w 3626241"/>
                <a:gd name="connsiteY40" fmla="*/ 152846 h 1607594"/>
                <a:gd name="connsiteX41" fmla="*/ 3349502 w 3626241"/>
                <a:gd name="connsiteY41" fmla="*/ 165561 h 1607594"/>
                <a:gd name="connsiteX42" fmla="*/ 3366741 w 3626241"/>
                <a:gd name="connsiteY42" fmla="*/ 179887 h 1607594"/>
                <a:gd name="connsiteX43" fmla="*/ 3375750 w 3626241"/>
                <a:gd name="connsiteY43" fmla="*/ 186772 h 1607594"/>
                <a:gd name="connsiteX44" fmla="*/ 3382956 w 3626241"/>
                <a:gd name="connsiteY44" fmla="*/ 193363 h 1607594"/>
                <a:gd name="connsiteX45" fmla="*/ 3397726 w 3626241"/>
                <a:gd name="connsiteY45" fmla="*/ 205638 h 1607594"/>
                <a:gd name="connsiteX46" fmla="*/ 3415817 w 3626241"/>
                <a:gd name="connsiteY46" fmla="*/ 223422 h 1607594"/>
                <a:gd name="connsiteX47" fmla="*/ 3424898 w 3626241"/>
                <a:gd name="connsiteY47" fmla="*/ 231728 h 1607594"/>
                <a:gd name="connsiteX48" fmla="*/ 3430428 w 3626241"/>
                <a:gd name="connsiteY48" fmla="*/ 237784 h 1607594"/>
                <a:gd name="connsiteX49" fmla="*/ 3442087 w 3626241"/>
                <a:gd name="connsiteY49" fmla="*/ 249246 h 1607594"/>
                <a:gd name="connsiteX50" fmla="*/ 3460650 w 3626241"/>
                <a:gd name="connsiteY50" fmla="*/ 270883 h 1607594"/>
                <a:gd name="connsiteX51" fmla="*/ 3469466 w 3626241"/>
                <a:gd name="connsiteY51" fmla="*/ 280538 h 1607594"/>
                <a:gd name="connsiteX52" fmla="*/ 3473482 w 3626241"/>
                <a:gd name="connsiteY52" fmla="*/ 285840 h 1607594"/>
                <a:gd name="connsiteX53" fmla="*/ 3482320 w 3626241"/>
                <a:gd name="connsiteY53" fmla="*/ 296142 h 1607594"/>
                <a:gd name="connsiteX54" fmla="*/ 3500979 w 3626241"/>
                <a:gd name="connsiteY54" fmla="*/ 322143 h 1607594"/>
                <a:gd name="connsiteX55" fmla="*/ 3509133 w 3626241"/>
                <a:gd name="connsiteY55" fmla="*/ 332909 h 1607594"/>
                <a:gd name="connsiteX56" fmla="*/ 3511826 w 3626241"/>
                <a:gd name="connsiteY56" fmla="*/ 337259 h 1607594"/>
                <a:gd name="connsiteX57" fmla="*/ 3518162 w 3626241"/>
                <a:gd name="connsiteY57" fmla="*/ 346088 h 1607594"/>
                <a:gd name="connsiteX58" fmla="*/ 3536579 w 3626241"/>
                <a:gd name="connsiteY58" fmla="*/ 377243 h 1607594"/>
                <a:gd name="connsiteX59" fmla="*/ 3543579 w 3626241"/>
                <a:gd name="connsiteY59" fmla="*/ 388549 h 1607594"/>
                <a:gd name="connsiteX60" fmla="*/ 3545166 w 3626241"/>
                <a:gd name="connsiteY60" fmla="*/ 391768 h 1607594"/>
                <a:gd name="connsiteX61" fmla="*/ 3549348 w 3626241"/>
                <a:gd name="connsiteY61" fmla="*/ 398843 h 1607594"/>
                <a:gd name="connsiteX62" fmla="*/ 3567343 w 3626241"/>
                <a:gd name="connsiteY62" fmla="*/ 436747 h 1607594"/>
                <a:gd name="connsiteX63" fmla="*/ 3572481 w 3626241"/>
                <a:gd name="connsiteY63" fmla="*/ 447167 h 1607594"/>
                <a:gd name="connsiteX64" fmla="*/ 3573205 w 3626241"/>
                <a:gd name="connsiteY64" fmla="*/ 449094 h 1607594"/>
                <a:gd name="connsiteX65" fmla="*/ 3575613 w 3626241"/>
                <a:gd name="connsiteY65" fmla="*/ 454166 h 1607594"/>
                <a:gd name="connsiteX66" fmla="*/ 3593679 w 3626241"/>
                <a:gd name="connsiteY66" fmla="*/ 503573 h 1607594"/>
                <a:gd name="connsiteX67" fmla="*/ 3595519 w 3626241"/>
                <a:gd name="connsiteY67" fmla="*/ 508470 h 1607594"/>
                <a:gd name="connsiteX68" fmla="*/ 3595649 w 3626241"/>
                <a:gd name="connsiteY68" fmla="*/ 508962 h 1607594"/>
                <a:gd name="connsiteX69" fmla="*/ 3596693 w 3626241"/>
                <a:gd name="connsiteY69" fmla="*/ 511816 h 1607594"/>
                <a:gd name="connsiteX70" fmla="*/ 3622242 w 3626241"/>
                <a:gd name="connsiteY70" fmla="*/ 633141 h 1607594"/>
                <a:gd name="connsiteX71" fmla="*/ 3622395 w 3626241"/>
                <a:gd name="connsiteY71" fmla="*/ 635897 h 1607594"/>
                <a:gd name="connsiteX72" fmla="*/ 3622720 w 3626241"/>
                <a:gd name="connsiteY72" fmla="*/ 637966 h 1607594"/>
                <a:gd name="connsiteX73" fmla="*/ 3624495 w 3626241"/>
                <a:gd name="connsiteY73" fmla="*/ 672064 h 1607594"/>
                <a:gd name="connsiteX74" fmla="*/ 3626240 w 3626241"/>
                <a:gd name="connsiteY74" fmla="*/ 672064 h 1607594"/>
                <a:gd name="connsiteX75" fmla="*/ 3626240 w 3626241"/>
                <a:gd name="connsiteY75" fmla="*/ 705146 h 1607594"/>
                <a:gd name="connsiteX76" fmla="*/ 3626241 w 3626241"/>
                <a:gd name="connsiteY76" fmla="*/ 705152 h 1607594"/>
                <a:gd name="connsiteX77" fmla="*/ 3626240 w 3626241"/>
                <a:gd name="connsiteY77" fmla="*/ 705159 h 1607594"/>
                <a:gd name="connsiteX78" fmla="*/ 3626240 w 3626241"/>
                <a:gd name="connsiteY78" fmla="*/ 705574 h 1607594"/>
                <a:gd name="connsiteX79" fmla="*/ 3626240 w 3626241"/>
                <a:gd name="connsiteY79" fmla="*/ 869363 h 1607594"/>
                <a:gd name="connsiteX80" fmla="*/ 3626240 w 3626241"/>
                <a:gd name="connsiteY80" fmla="*/ 902444 h 1607594"/>
                <a:gd name="connsiteX81" fmla="*/ 3626241 w 3626241"/>
                <a:gd name="connsiteY81" fmla="*/ 902451 h 1607594"/>
                <a:gd name="connsiteX82" fmla="*/ 3626240 w 3626241"/>
                <a:gd name="connsiteY82" fmla="*/ 902457 h 1607594"/>
                <a:gd name="connsiteX83" fmla="*/ 3626240 w 3626241"/>
                <a:gd name="connsiteY83" fmla="*/ 902873 h 1607594"/>
                <a:gd name="connsiteX84" fmla="*/ 3626240 w 3626241"/>
                <a:gd name="connsiteY84" fmla="*/ 1409462 h 1607594"/>
                <a:gd name="connsiteX85" fmla="*/ 3626240 w 3626241"/>
                <a:gd name="connsiteY85" fmla="*/ 1606761 h 1607594"/>
                <a:gd name="connsiteX86" fmla="*/ 3246228 w 3626241"/>
                <a:gd name="connsiteY86" fmla="*/ 1606761 h 1607594"/>
                <a:gd name="connsiteX87" fmla="*/ 2892478 w 3626241"/>
                <a:gd name="connsiteY87" fmla="*/ 1606761 h 1607594"/>
                <a:gd name="connsiteX88" fmla="*/ 2892478 w 3626241"/>
                <a:gd name="connsiteY88" fmla="*/ 1607594 h 1607594"/>
                <a:gd name="connsiteX89" fmla="*/ 2851429 w 3626241"/>
                <a:gd name="connsiteY89" fmla="*/ 1607594 h 1607594"/>
                <a:gd name="connsiteX90" fmla="*/ 2512466 w 3626241"/>
                <a:gd name="connsiteY90" fmla="*/ 1607594 h 1607594"/>
                <a:gd name="connsiteX91" fmla="*/ 2471417 w 3626241"/>
                <a:gd name="connsiteY91" fmla="*/ 1607594 h 1607594"/>
                <a:gd name="connsiteX92" fmla="*/ 1790092 w 3626241"/>
                <a:gd name="connsiteY92" fmla="*/ 1607594 h 1607594"/>
                <a:gd name="connsiteX93" fmla="*/ 1231616 w 3626241"/>
                <a:gd name="connsiteY93" fmla="*/ 1607594 h 1607594"/>
                <a:gd name="connsiteX94" fmla="*/ 851604 w 3626241"/>
                <a:gd name="connsiteY94" fmla="*/ 1607594 h 1607594"/>
                <a:gd name="connsiteX95" fmla="*/ 0 w 3626241"/>
                <a:gd name="connsiteY95" fmla="*/ 1607594 h 160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626241" h="1607594">
                  <a:moveTo>
                    <a:pt x="0" y="0"/>
                  </a:moveTo>
                  <a:lnTo>
                    <a:pt x="810554" y="0"/>
                  </a:lnTo>
                  <a:lnTo>
                    <a:pt x="851604" y="0"/>
                  </a:lnTo>
                  <a:lnTo>
                    <a:pt x="1190566" y="0"/>
                  </a:lnTo>
                  <a:lnTo>
                    <a:pt x="1231616" y="0"/>
                  </a:lnTo>
                  <a:lnTo>
                    <a:pt x="1790092" y="0"/>
                  </a:lnTo>
                  <a:lnTo>
                    <a:pt x="2471417" y="0"/>
                  </a:lnTo>
                  <a:lnTo>
                    <a:pt x="2851429" y="0"/>
                  </a:lnTo>
                  <a:lnTo>
                    <a:pt x="2851429" y="842"/>
                  </a:lnTo>
                  <a:lnTo>
                    <a:pt x="2851661" y="842"/>
                  </a:lnTo>
                  <a:lnTo>
                    <a:pt x="2861601" y="842"/>
                  </a:lnTo>
                  <a:lnTo>
                    <a:pt x="2892478" y="842"/>
                  </a:lnTo>
                  <a:lnTo>
                    <a:pt x="2892478" y="2599"/>
                  </a:lnTo>
                  <a:lnTo>
                    <a:pt x="2925970" y="4041"/>
                  </a:lnTo>
                  <a:lnTo>
                    <a:pt x="2928851" y="4408"/>
                  </a:lnTo>
                  <a:lnTo>
                    <a:pt x="2930440" y="4481"/>
                  </a:lnTo>
                  <a:lnTo>
                    <a:pt x="2945546" y="6533"/>
                  </a:lnTo>
                  <a:lnTo>
                    <a:pt x="2993835" y="12680"/>
                  </a:lnTo>
                  <a:lnTo>
                    <a:pt x="2999389" y="13848"/>
                  </a:lnTo>
                  <a:lnTo>
                    <a:pt x="3002660" y="14293"/>
                  </a:lnTo>
                  <a:lnTo>
                    <a:pt x="3019546" y="18089"/>
                  </a:lnTo>
                  <a:lnTo>
                    <a:pt x="3059687" y="26532"/>
                  </a:lnTo>
                  <a:lnTo>
                    <a:pt x="3067808" y="28936"/>
                  </a:lnTo>
                  <a:lnTo>
                    <a:pt x="3072546" y="30002"/>
                  </a:lnTo>
                  <a:lnTo>
                    <a:pt x="3088701" y="35122"/>
                  </a:lnTo>
                  <a:lnTo>
                    <a:pt x="3123262" y="45355"/>
                  </a:lnTo>
                  <a:lnTo>
                    <a:pt x="3133749" y="49402"/>
                  </a:lnTo>
                  <a:lnTo>
                    <a:pt x="3139779" y="51314"/>
                  </a:lnTo>
                  <a:lnTo>
                    <a:pt x="3154407" y="57375"/>
                  </a:lnTo>
                  <a:lnTo>
                    <a:pt x="3184295" y="68910"/>
                  </a:lnTo>
                  <a:lnTo>
                    <a:pt x="3196911" y="74987"/>
                  </a:lnTo>
                  <a:lnTo>
                    <a:pt x="3204036" y="77940"/>
                  </a:lnTo>
                  <a:lnTo>
                    <a:pt x="3216845" y="84589"/>
                  </a:lnTo>
                  <a:lnTo>
                    <a:pt x="3242522" y="96956"/>
                  </a:lnTo>
                  <a:lnTo>
                    <a:pt x="3256996" y="105431"/>
                  </a:lnTo>
                  <a:lnTo>
                    <a:pt x="3264998" y="109585"/>
                  </a:lnTo>
                  <a:lnTo>
                    <a:pt x="3275898" y="116499"/>
                  </a:lnTo>
                  <a:lnTo>
                    <a:pt x="3297679" y="129253"/>
                  </a:lnTo>
                  <a:lnTo>
                    <a:pt x="3313704" y="140480"/>
                  </a:lnTo>
                  <a:lnTo>
                    <a:pt x="3322343" y="145960"/>
                  </a:lnTo>
                  <a:lnTo>
                    <a:pt x="3331354" y="152846"/>
                  </a:lnTo>
                  <a:lnTo>
                    <a:pt x="3349502" y="165561"/>
                  </a:lnTo>
                  <a:lnTo>
                    <a:pt x="3366741" y="179887"/>
                  </a:lnTo>
                  <a:lnTo>
                    <a:pt x="3375750" y="186772"/>
                  </a:lnTo>
                  <a:lnTo>
                    <a:pt x="3382956" y="193363"/>
                  </a:lnTo>
                  <a:lnTo>
                    <a:pt x="3397726" y="205638"/>
                  </a:lnTo>
                  <a:lnTo>
                    <a:pt x="3415817" y="223422"/>
                  </a:lnTo>
                  <a:lnTo>
                    <a:pt x="3424898" y="231728"/>
                  </a:lnTo>
                  <a:lnTo>
                    <a:pt x="3430428" y="237784"/>
                  </a:lnTo>
                  <a:lnTo>
                    <a:pt x="3442087" y="249246"/>
                  </a:lnTo>
                  <a:lnTo>
                    <a:pt x="3460650" y="270883"/>
                  </a:lnTo>
                  <a:lnTo>
                    <a:pt x="3469466" y="280538"/>
                  </a:lnTo>
                  <a:lnTo>
                    <a:pt x="3473482" y="285840"/>
                  </a:lnTo>
                  <a:lnTo>
                    <a:pt x="3482320" y="296142"/>
                  </a:lnTo>
                  <a:lnTo>
                    <a:pt x="3500979" y="322143"/>
                  </a:lnTo>
                  <a:lnTo>
                    <a:pt x="3509133" y="332909"/>
                  </a:lnTo>
                  <a:lnTo>
                    <a:pt x="3511826" y="337259"/>
                  </a:lnTo>
                  <a:lnTo>
                    <a:pt x="3518162" y="346088"/>
                  </a:lnTo>
                  <a:lnTo>
                    <a:pt x="3536579" y="377243"/>
                  </a:lnTo>
                  <a:lnTo>
                    <a:pt x="3543579" y="388549"/>
                  </a:lnTo>
                  <a:lnTo>
                    <a:pt x="3545166" y="391768"/>
                  </a:lnTo>
                  <a:lnTo>
                    <a:pt x="3549348" y="398843"/>
                  </a:lnTo>
                  <a:lnTo>
                    <a:pt x="3567343" y="436747"/>
                  </a:lnTo>
                  <a:lnTo>
                    <a:pt x="3572481" y="447167"/>
                  </a:lnTo>
                  <a:lnTo>
                    <a:pt x="3573205" y="449094"/>
                  </a:lnTo>
                  <a:lnTo>
                    <a:pt x="3575613" y="454166"/>
                  </a:lnTo>
                  <a:lnTo>
                    <a:pt x="3593679" y="503573"/>
                  </a:lnTo>
                  <a:lnTo>
                    <a:pt x="3595519" y="508470"/>
                  </a:lnTo>
                  <a:lnTo>
                    <a:pt x="3595649" y="508962"/>
                  </a:lnTo>
                  <a:lnTo>
                    <a:pt x="3596693" y="511816"/>
                  </a:lnTo>
                  <a:cubicBezTo>
                    <a:pt x="3608960" y="550973"/>
                    <a:pt x="3617593" y="591521"/>
                    <a:pt x="3622242" y="633141"/>
                  </a:cubicBezTo>
                  <a:lnTo>
                    <a:pt x="3622395" y="635897"/>
                  </a:lnTo>
                  <a:lnTo>
                    <a:pt x="3622720" y="637966"/>
                  </a:lnTo>
                  <a:lnTo>
                    <a:pt x="3624495" y="672064"/>
                  </a:lnTo>
                  <a:lnTo>
                    <a:pt x="3626240" y="672064"/>
                  </a:lnTo>
                  <a:lnTo>
                    <a:pt x="3626240" y="705146"/>
                  </a:lnTo>
                  <a:lnTo>
                    <a:pt x="3626241" y="705152"/>
                  </a:lnTo>
                  <a:lnTo>
                    <a:pt x="3626240" y="705159"/>
                  </a:lnTo>
                  <a:lnTo>
                    <a:pt x="3626240" y="705574"/>
                  </a:lnTo>
                  <a:lnTo>
                    <a:pt x="3626240" y="869363"/>
                  </a:lnTo>
                  <a:lnTo>
                    <a:pt x="3626240" y="902444"/>
                  </a:lnTo>
                  <a:lnTo>
                    <a:pt x="3626241" y="902451"/>
                  </a:lnTo>
                  <a:lnTo>
                    <a:pt x="3626240" y="902457"/>
                  </a:lnTo>
                  <a:lnTo>
                    <a:pt x="3626240" y="902873"/>
                  </a:lnTo>
                  <a:lnTo>
                    <a:pt x="3626240" y="1409462"/>
                  </a:lnTo>
                  <a:lnTo>
                    <a:pt x="3626240" y="1606761"/>
                  </a:lnTo>
                  <a:lnTo>
                    <a:pt x="3246228" y="1606761"/>
                  </a:lnTo>
                  <a:lnTo>
                    <a:pt x="2892478" y="1606761"/>
                  </a:lnTo>
                  <a:lnTo>
                    <a:pt x="2892478" y="1607594"/>
                  </a:lnTo>
                  <a:lnTo>
                    <a:pt x="2851429" y="1607594"/>
                  </a:lnTo>
                  <a:lnTo>
                    <a:pt x="2512466" y="1607594"/>
                  </a:lnTo>
                  <a:lnTo>
                    <a:pt x="2471417" y="1607594"/>
                  </a:lnTo>
                  <a:lnTo>
                    <a:pt x="1790092" y="1607594"/>
                  </a:lnTo>
                  <a:lnTo>
                    <a:pt x="1231616" y="1607594"/>
                  </a:lnTo>
                  <a:lnTo>
                    <a:pt x="851604" y="1607594"/>
                  </a:lnTo>
                  <a:lnTo>
                    <a:pt x="0" y="16075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743FF65-7DB4-BE46-9363-4E9911BA400E}"/>
                </a:ext>
              </a:extLst>
            </p:cNvPr>
            <p:cNvSpPr/>
            <p:nvPr/>
          </p:nvSpPr>
          <p:spPr>
            <a:xfrm>
              <a:off x="6899887" y="4819752"/>
              <a:ext cx="4935390" cy="181980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49308D0-8E06-AE4A-8F97-E9CAAC68CDAD}"/>
              </a:ext>
            </a:extLst>
          </p:cNvPr>
          <p:cNvGrpSpPr/>
          <p:nvPr/>
        </p:nvGrpSpPr>
        <p:grpSpPr>
          <a:xfrm>
            <a:off x="1501822" y="1966618"/>
            <a:ext cx="466508" cy="552036"/>
            <a:chOff x="3013075" y="3624263"/>
            <a:chExt cx="285750" cy="338137"/>
          </a:xfrm>
        </p:grpSpPr>
        <p:sp>
          <p:nvSpPr>
            <p:cNvPr id="33" name="Freeform 338">
              <a:extLst>
                <a:ext uri="{FF2B5EF4-FFF2-40B4-BE49-F238E27FC236}">
                  <a16:creationId xmlns:a16="http://schemas.microsoft.com/office/drawing/2014/main" id="{58CC85F8-6830-C741-80A8-A68499A041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3400" y="3797300"/>
              <a:ext cx="165100" cy="104775"/>
            </a:xfrm>
            <a:custGeom>
              <a:avLst/>
              <a:gdLst>
                <a:gd name="T0" fmla="*/ 43 w 44"/>
                <a:gd name="T1" fmla="*/ 0 h 28"/>
                <a:gd name="T2" fmla="*/ 44 w 44"/>
                <a:gd name="T3" fmla="*/ 6 h 28"/>
                <a:gd name="T4" fmla="*/ 22 w 44"/>
                <a:gd name="T5" fmla="*/ 28 h 28"/>
                <a:gd name="T6" fmla="*/ 0 w 44"/>
                <a:gd name="T7" fmla="*/ 6 h 28"/>
                <a:gd name="T8" fmla="*/ 1 w 44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3" y="0"/>
                  </a:moveTo>
                  <a:cubicBezTo>
                    <a:pt x="44" y="2"/>
                    <a:pt x="44" y="4"/>
                    <a:pt x="44" y="6"/>
                  </a:cubicBezTo>
                  <a:cubicBezTo>
                    <a:pt x="44" y="18"/>
                    <a:pt x="34" y="28"/>
                    <a:pt x="22" y="28"/>
                  </a:cubicBezTo>
                  <a:cubicBezTo>
                    <a:pt x="10" y="28"/>
                    <a:pt x="0" y="18"/>
                    <a:pt x="0" y="6"/>
                  </a:cubicBezTo>
                  <a:cubicBezTo>
                    <a:pt x="0" y="4"/>
                    <a:pt x="0" y="2"/>
                    <a:pt x="1" y="0"/>
                  </a:cubicBezTo>
                </a:path>
              </a:pathLst>
            </a:custGeom>
            <a:noFill/>
            <a:ln w="15875" cap="rnd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34" name="Freeform 339">
              <a:extLst>
                <a:ext uri="{FF2B5EF4-FFF2-40B4-BE49-F238E27FC236}">
                  <a16:creationId xmlns:a16="http://schemas.microsoft.com/office/drawing/2014/main" id="{BDBDFBE6-6353-7547-803D-03D54BF41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3075" y="3714750"/>
              <a:ext cx="285750" cy="247650"/>
            </a:xfrm>
            <a:custGeom>
              <a:avLst/>
              <a:gdLst>
                <a:gd name="T0" fmla="*/ 64 w 76"/>
                <a:gd name="T1" fmla="*/ 0 h 66"/>
                <a:gd name="T2" fmla="*/ 76 w 76"/>
                <a:gd name="T3" fmla="*/ 28 h 66"/>
                <a:gd name="T4" fmla="*/ 38 w 76"/>
                <a:gd name="T5" fmla="*/ 66 h 66"/>
                <a:gd name="T6" fmla="*/ 0 w 76"/>
                <a:gd name="T7" fmla="*/ 28 h 66"/>
                <a:gd name="T8" fmla="*/ 12 w 76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6">
                  <a:moveTo>
                    <a:pt x="64" y="0"/>
                  </a:moveTo>
                  <a:cubicBezTo>
                    <a:pt x="71" y="7"/>
                    <a:pt x="76" y="17"/>
                    <a:pt x="76" y="28"/>
                  </a:cubicBezTo>
                  <a:cubicBezTo>
                    <a:pt x="76" y="49"/>
                    <a:pt x="59" y="66"/>
                    <a:pt x="38" y="66"/>
                  </a:cubicBezTo>
                  <a:cubicBezTo>
                    <a:pt x="17" y="66"/>
                    <a:pt x="0" y="49"/>
                    <a:pt x="0" y="28"/>
                  </a:cubicBezTo>
                  <a:cubicBezTo>
                    <a:pt x="0" y="17"/>
                    <a:pt x="5" y="7"/>
                    <a:pt x="12" y="0"/>
                  </a:cubicBezTo>
                </a:path>
              </a:pathLst>
            </a:custGeom>
            <a:noFill/>
            <a:ln w="15875" cap="rnd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35" name="Freeform 340">
              <a:extLst>
                <a:ext uri="{FF2B5EF4-FFF2-40B4-BE49-F238E27FC236}">
                  <a16:creationId xmlns:a16="http://schemas.microsoft.com/office/drawing/2014/main" id="{A54741B7-2465-1347-AE71-08E394022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3624263"/>
              <a:ext cx="150813" cy="153988"/>
            </a:xfrm>
            <a:custGeom>
              <a:avLst/>
              <a:gdLst>
                <a:gd name="T0" fmla="*/ 47 w 95"/>
                <a:gd name="T1" fmla="*/ 0 h 97"/>
                <a:gd name="T2" fmla="*/ 61 w 95"/>
                <a:gd name="T3" fmla="*/ 33 h 97"/>
                <a:gd name="T4" fmla="*/ 95 w 95"/>
                <a:gd name="T5" fmla="*/ 33 h 97"/>
                <a:gd name="T6" fmla="*/ 69 w 95"/>
                <a:gd name="T7" fmla="*/ 57 h 97"/>
                <a:gd name="T8" fmla="*/ 78 w 95"/>
                <a:gd name="T9" fmla="*/ 95 h 97"/>
                <a:gd name="T10" fmla="*/ 47 w 95"/>
                <a:gd name="T11" fmla="*/ 73 h 97"/>
                <a:gd name="T12" fmla="*/ 17 w 95"/>
                <a:gd name="T13" fmla="*/ 97 h 97"/>
                <a:gd name="T14" fmla="*/ 26 w 95"/>
                <a:gd name="T15" fmla="*/ 57 h 97"/>
                <a:gd name="T16" fmla="*/ 0 w 95"/>
                <a:gd name="T17" fmla="*/ 33 h 97"/>
                <a:gd name="T18" fmla="*/ 33 w 95"/>
                <a:gd name="T19" fmla="*/ 33 h 97"/>
                <a:gd name="T20" fmla="*/ 47 w 95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" h="97">
                  <a:moveTo>
                    <a:pt x="47" y="0"/>
                  </a:moveTo>
                  <a:lnTo>
                    <a:pt x="61" y="33"/>
                  </a:lnTo>
                  <a:lnTo>
                    <a:pt x="95" y="33"/>
                  </a:lnTo>
                  <a:lnTo>
                    <a:pt x="69" y="57"/>
                  </a:lnTo>
                  <a:lnTo>
                    <a:pt x="78" y="95"/>
                  </a:lnTo>
                  <a:lnTo>
                    <a:pt x="47" y="73"/>
                  </a:lnTo>
                  <a:lnTo>
                    <a:pt x="17" y="97"/>
                  </a:lnTo>
                  <a:lnTo>
                    <a:pt x="26" y="57"/>
                  </a:lnTo>
                  <a:lnTo>
                    <a:pt x="0" y="33"/>
                  </a:lnTo>
                  <a:lnTo>
                    <a:pt x="33" y="33"/>
                  </a:lnTo>
                  <a:lnTo>
                    <a:pt x="47" y="0"/>
                  </a:lnTo>
                  <a:close/>
                </a:path>
              </a:pathLst>
            </a:custGeom>
            <a:noFill/>
            <a:ln w="15875" cap="flat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36" name="Line 341">
              <a:extLst>
                <a:ext uri="{FF2B5EF4-FFF2-40B4-BE49-F238E27FC236}">
                  <a16:creationId xmlns:a16="http://schemas.microsoft.com/office/drawing/2014/main" id="{21C0E8DF-4C85-B949-BC07-02A01018C36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19438" y="3740150"/>
              <a:ext cx="36513" cy="101600"/>
            </a:xfrm>
            <a:prstGeom prst="line">
              <a:avLst/>
            </a:prstGeom>
            <a:noFill/>
            <a:ln w="15875" cap="rnd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37" name="Line 342">
              <a:extLst>
                <a:ext uri="{FF2B5EF4-FFF2-40B4-BE49-F238E27FC236}">
                  <a16:creationId xmlns:a16="http://schemas.microsoft.com/office/drawing/2014/main" id="{389AD904-25AC-D740-8B77-C7E7D52D6D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5950" y="3740150"/>
              <a:ext cx="38100" cy="101600"/>
            </a:xfrm>
            <a:prstGeom prst="line">
              <a:avLst/>
            </a:prstGeom>
            <a:noFill/>
            <a:ln w="15875" cap="rnd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4548C3CF-E3A5-DF46-989E-8DA8887CE9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5652" y="4102872"/>
            <a:ext cx="3879850" cy="2400300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0DB58215-BA08-584A-B73F-0EDC073CEAFD}"/>
              </a:ext>
            </a:extLst>
          </p:cNvPr>
          <p:cNvSpPr txBox="1"/>
          <p:nvPr/>
        </p:nvSpPr>
        <p:spPr>
          <a:xfrm>
            <a:off x="6947438" y="3059271"/>
            <a:ext cx="4977988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 algn="l">
              <a:spcBef>
                <a:spcPts val="600"/>
              </a:spcBef>
              <a:defRPr/>
            </a:pP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Dilakuk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dalam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hal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:</a:t>
            </a:r>
          </a:p>
          <a:p>
            <a:pPr marL="342900" lvl="0" indent="-342900" algn="l">
              <a:spcBef>
                <a:spcPts val="600"/>
              </a:spcBef>
              <a:buFont typeface="+mj-lt"/>
              <a:buAutoNum type="alphaLcPeriod"/>
              <a:defRPr/>
            </a:pPr>
            <a:r>
              <a:rPr lang="en-ID" sz="1800" dirty="0" err="1">
                <a:solidFill>
                  <a:srgbClr val="1D3166"/>
                </a:solidFill>
                <a:latin typeface="Montserrat" pitchFamily="2" charset="77"/>
              </a:rPr>
              <a:t>hal-hal</a:t>
            </a:r>
            <a:r>
              <a:rPr lang="en-ID" sz="1800" dirty="0">
                <a:solidFill>
                  <a:srgbClr val="1D3166"/>
                </a:solidFill>
                <a:latin typeface="Montserrat" pitchFamily="2" charset="77"/>
              </a:rPr>
              <a:t> yang </a:t>
            </a:r>
            <a:r>
              <a:rPr lang="en-ID" sz="1800" dirty="0" err="1">
                <a:solidFill>
                  <a:srgbClr val="1D3166"/>
                </a:solidFill>
                <a:latin typeface="Montserrat" pitchFamily="2" charset="77"/>
              </a:rPr>
              <a:t>bersifat</a:t>
            </a:r>
            <a:r>
              <a:rPr lang="en-ID" sz="180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dirty="0" err="1">
                <a:solidFill>
                  <a:srgbClr val="1D3166"/>
                </a:solidFill>
                <a:latin typeface="Montserrat" pitchFamily="2" charset="77"/>
              </a:rPr>
              <a:t>khusus</a:t>
            </a:r>
            <a:r>
              <a:rPr lang="en-ID" sz="180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dirty="0" err="1">
                <a:solidFill>
                  <a:srgbClr val="1D3166"/>
                </a:solidFill>
                <a:latin typeface="Montserrat" pitchFamily="2" charset="77"/>
              </a:rPr>
              <a:t>atau</a:t>
            </a:r>
            <a:r>
              <a:rPr lang="en-ID" sz="180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dirty="0" err="1">
                <a:solidFill>
                  <a:srgbClr val="1D3166"/>
                </a:solidFill>
                <a:latin typeface="Montserrat" pitchFamily="2" charset="77"/>
              </a:rPr>
              <a:t>kondisi</a:t>
            </a:r>
            <a:r>
              <a:rPr lang="en-ID" sz="180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dirty="0" err="1">
                <a:solidFill>
                  <a:srgbClr val="1D3166"/>
                </a:solidFill>
                <a:latin typeface="Montserrat" pitchFamily="2" charset="77"/>
              </a:rPr>
              <a:t>tertentu</a:t>
            </a:r>
            <a:r>
              <a:rPr lang="en-ID" sz="1800" dirty="0">
                <a:solidFill>
                  <a:srgbClr val="1D3166"/>
                </a:solidFill>
                <a:latin typeface="Montserrat" pitchFamily="2" charset="77"/>
              </a:rPr>
              <a:t>; </a:t>
            </a:r>
          </a:p>
          <a:p>
            <a:pPr marL="285750" lvl="0" indent="-285750" algn="l">
              <a:buFont typeface="Arial" panose="020B0604020202020204" pitchFamily="34" charset="0"/>
              <a:buChar char="•"/>
              <a:defRPr/>
            </a:pP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terjadinya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kecelaka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konstruksi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;</a:t>
            </a:r>
          </a:p>
          <a:p>
            <a:pPr marL="285750" lvl="0" indent="-285750" algn="l">
              <a:buFont typeface="Arial" panose="020B0604020202020204" pitchFamily="34" charset="0"/>
              <a:buChar char="•"/>
              <a:defRPr/>
            </a:pP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terjadinya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kegagal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bangun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; dan/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atau</a:t>
            </a:r>
            <a:endParaRPr lang="en-ID" sz="1800" b="0" dirty="0">
              <a:solidFill>
                <a:srgbClr val="1D3166"/>
              </a:solidFill>
              <a:latin typeface="Montserrat" pitchFamily="2" charset="77"/>
            </a:endParaRPr>
          </a:p>
          <a:p>
            <a:pPr marL="285750" lvl="0" indent="-285750" algn="l">
              <a:buFont typeface="Arial" panose="020B0604020202020204" pitchFamily="34" charset="0"/>
              <a:buChar char="•"/>
              <a:defRPr/>
            </a:pP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terjadinya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masalah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sosial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dan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atau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lingkung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di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lokasi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kegiat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konstruksi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dan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lokasi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bangun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.</a:t>
            </a:r>
          </a:p>
          <a:p>
            <a:pPr lvl="0" algn="l">
              <a:defRPr/>
            </a:pPr>
            <a:endParaRPr lang="en-ID" sz="1800" b="0" dirty="0">
              <a:solidFill>
                <a:srgbClr val="1D3166"/>
              </a:solidFill>
              <a:latin typeface="Montserrat" pitchFamily="2" charset="77"/>
            </a:endParaRPr>
          </a:p>
          <a:p>
            <a:pPr marL="342900" lvl="0" indent="-342900" algn="l">
              <a:buFont typeface="+mj-lt"/>
              <a:buAutoNum type="alphaLcPeriod" startAt="2"/>
              <a:defRPr/>
            </a:pPr>
            <a:r>
              <a:rPr lang="en-ID" sz="1800" dirty="0" err="1">
                <a:solidFill>
                  <a:srgbClr val="1D3166"/>
                </a:solidFill>
                <a:latin typeface="Montserrat" pitchFamily="2" charset="77"/>
              </a:rPr>
              <a:t>Pengaduan</a:t>
            </a:r>
            <a:r>
              <a:rPr lang="en-ID" sz="180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dirty="0" err="1">
                <a:solidFill>
                  <a:srgbClr val="1D3166"/>
                </a:solidFill>
                <a:latin typeface="Montserrat" pitchFamily="2" charset="77"/>
              </a:rPr>
              <a:t>masyarakat</a:t>
            </a:r>
            <a:r>
              <a:rPr lang="en-ID" sz="1800" dirty="0">
                <a:solidFill>
                  <a:srgbClr val="1D3166"/>
                </a:solidFill>
                <a:latin typeface="Montserrat" pitchFamily="2" charset="77"/>
              </a:rPr>
              <a:t>: dan/</a:t>
            </a:r>
            <a:r>
              <a:rPr lang="en-ID" sz="1800" dirty="0" err="1">
                <a:solidFill>
                  <a:srgbClr val="1D3166"/>
                </a:solidFill>
                <a:latin typeface="Montserrat" pitchFamily="2" charset="77"/>
              </a:rPr>
              <a:t>atau</a:t>
            </a:r>
            <a:endParaRPr lang="en-ID" sz="1800" dirty="0">
              <a:solidFill>
                <a:srgbClr val="1D3166"/>
              </a:solidFill>
              <a:latin typeface="Montserrat" pitchFamily="2" charset="77"/>
            </a:endParaRPr>
          </a:p>
          <a:p>
            <a:pPr marL="342900" indent="-342900" algn="l">
              <a:buFont typeface="+mj-lt"/>
              <a:buAutoNum type="alphaLcPeriod" startAt="2"/>
              <a:defRPr/>
            </a:pPr>
            <a:r>
              <a:rPr lang="en-ID" sz="1800" dirty="0" err="1">
                <a:solidFill>
                  <a:srgbClr val="1D3166"/>
                </a:solidFill>
                <a:latin typeface="Montserrat" pitchFamily="2" charset="77"/>
              </a:rPr>
              <a:t>rekomendasi</a:t>
            </a:r>
            <a:r>
              <a:rPr lang="en-ID" sz="180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dirty="0" err="1">
                <a:solidFill>
                  <a:srgbClr val="1D3166"/>
                </a:solidFill>
                <a:latin typeface="Montserrat" pitchFamily="2" charset="77"/>
              </a:rPr>
              <a:t>dari</a:t>
            </a:r>
            <a:r>
              <a:rPr lang="en-ID" sz="180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dirty="0" err="1">
                <a:solidFill>
                  <a:srgbClr val="1D3166"/>
                </a:solidFill>
                <a:latin typeface="Montserrat" pitchFamily="2" charset="77"/>
              </a:rPr>
              <a:t>pengawasan</a:t>
            </a:r>
            <a:r>
              <a:rPr lang="en-ID" sz="180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dirty="0" err="1">
                <a:solidFill>
                  <a:srgbClr val="1D3166"/>
                </a:solidFill>
                <a:latin typeface="Montserrat" pitchFamily="2" charset="77"/>
              </a:rPr>
              <a:t>rutin</a:t>
            </a:r>
            <a:r>
              <a:rPr lang="en-ID" sz="180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.</a:t>
            </a:r>
          </a:p>
        </p:txBody>
      </p:sp>
      <p:sp>
        <p:nvSpPr>
          <p:cNvPr id="62" name="Freeform: Shape 27">
            <a:extLst>
              <a:ext uri="{FF2B5EF4-FFF2-40B4-BE49-F238E27FC236}">
                <a16:creationId xmlns:a16="http://schemas.microsoft.com/office/drawing/2014/main" id="{21F9C11A-60B8-434D-8830-53F6A40DDCDA}"/>
              </a:ext>
            </a:extLst>
          </p:cNvPr>
          <p:cNvSpPr/>
          <p:nvPr/>
        </p:nvSpPr>
        <p:spPr>
          <a:xfrm rot="10800000" flipH="1">
            <a:off x="6513424" y="1626476"/>
            <a:ext cx="1231988" cy="1231988"/>
          </a:xfrm>
          <a:custGeom>
            <a:avLst/>
            <a:gdLst>
              <a:gd name="connsiteX0" fmla="*/ 2133600 w 4325258"/>
              <a:gd name="connsiteY0" fmla="*/ 0 h 4325258"/>
              <a:gd name="connsiteX1" fmla="*/ 2162629 w 4325258"/>
              <a:gd name="connsiteY1" fmla="*/ 0 h 4325258"/>
              <a:gd name="connsiteX2" fmla="*/ 4325257 w 4325258"/>
              <a:gd name="connsiteY2" fmla="*/ 0 h 4325258"/>
              <a:gd name="connsiteX3" fmla="*/ 4325257 w 4325258"/>
              <a:gd name="connsiteY3" fmla="*/ 2162609 h 4325258"/>
              <a:gd name="connsiteX4" fmla="*/ 4325258 w 4325258"/>
              <a:gd name="connsiteY4" fmla="*/ 2162629 h 4325258"/>
              <a:gd name="connsiteX5" fmla="*/ 4325257 w 4325258"/>
              <a:gd name="connsiteY5" fmla="*/ 2162650 h 4325258"/>
              <a:gd name="connsiteX6" fmla="*/ 4325257 w 4325258"/>
              <a:gd name="connsiteY6" fmla="*/ 2264228 h 4325258"/>
              <a:gd name="connsiteX7" fmla="*/ 4320128 w 4325258"/>
              <a:gd name="connsiteY7" fmla="*/ 2264228 h 4325258"/>
              <a:gd name="connsiteX8" fmla="*/ 4314093 w 4325258"/>
              <a:gd name="connsiteY8" fmla="*/ 2383745 h 4325258"/>
              <a:gd name="connsiteX9" fmla="*/ 2162629 w 4325258"/>
              <a:gd name="connsiteY9" fmla="*/ 4325258 h 4325258"/>
              <a:gd name="connsiteX10" fmla="*/ 0 w 4325258"/>
              <a:gd name="connsiteY10" fmla="*/ 2162629 h 4325258"/>
              <a:gd name="connsiteX11" fmla="*/ 1941513 w 4325258"/>
              <a:gd name="connsiteY11" fmla="*/ 11166 h 4325258"/>
              <a:gd name="connsiteX12" fmla="*/ 2133600 w 4325258"/>
              <a:gd name="connsiteY12" fmla="*/ 1466 h 4325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325258" h="4325258">
                <a:moveTo>
                  <a:pt x="2133600" y="0"/>
                </a:moveTo>
                <a:lnTo>
                  <a:pt x="2162629" y="0"/>
                </a:lnTo>
                <a:lnTo>
                  <a:pt x="4325257" y="0"/>
                </a:lnTo>
                <a:lnTo>
                  <a:pt x="4325257" y="2162609"/>
                </a:lnTo>
                <a:lnTo>
                  <a:pt x="4325258" y="2162629"/>
                </a:lnTo>
                <a:lnTo>
                  <a:pt x="4325257" y="2162650"/>
                </a:lnTo>
                <a:lnTo>
                  <a:pt x="4325257" y="2264228"/>
                </a:lnTo>
                <a:lnTo>
                  <a:pt x="4320128" y="2264228"/>
                </a:lnTo>
                <a:lnTo>
                  <a:pt x="4314093" y="2383745"/>
                </a:lnTo>
                <a:cubicBezTo>
                  <a:pt x="4203344" y="3474264"/>
                  <a:pt x="3282367" y="4325258"/>
                  <a:pt x="2162629" y="4325258"/>
                </a:cubicBezTo>
                <a:cubicBezTo>
                  <a:pt x="968242" y="4325258"/>
                  <a:pt x="0" y="3357016"/>
                  <a:pt x="0" y="2162629"/>
                </a:cubicBezTo>
                <a:cubicBezTo>
                  <a:pt x="0" y="1042891"/>
                  <a:pt x="850994" y="121914"/>
                  <a:pt x="1941513" y="11166"/>
                </a:cubicBezTo>
                <a:lnTo>
                  <a:pt x="2133600" y="1466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0417547-EC83-1C4A-86B8-28ACBD775D7B}"/>
              </a:ext>
            </a:extLst>
          </p:cNvPr>
          <p:cNvGrpSpPr/>
          <p:nvPr/>
        </p:nvGrpSpPr>
        <p:grpSpPr>
          <a:xfrm>
            <a:off x="6857291" y="1924451"/>
            <a:ext cx="493556" cy="500675"/>
            <a:chOff x="7731125" y="2905125"/>
            <a:chExt cx="330200" cy="334963"/>
          </a:xfrm>
        </p:grpSpPr>
        <p:sp>
          <p:nvSpPr>
            <p:cNvPr id="64" name="Line 28">
              <a:extLst>
                <a:ext uri="{FF2B5EF4-FFF2-40B4-BE49-F238E27FC236}">
                  <a16:creationId xmlns:a16="http://schemas.microsoft.com/office/drawing/2014/main" id="{BB374BB0-6ECE-9749-80E0-BCE5B8E76A1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896225" y="3022600"/>
              <a:ext cx="0" cy="114300"/>
            </a:xfrm>
            <a:prstGeom prst="line">
              <a:avLst/>
            </a:prstGeom>
            <a:noFill/>
            <a:ln w="15875" cap="rnd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86356A3B-1172-A348-A422-F4A0423309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1125" y="2905125"/>
              <a:ext cx="330200" cy="334963"/>
            </a:xfrm>
            <a:custGeom>
              <a:avLst/>
              <a:gdLst>
                <a:gd name="T0" fmla="*/ 208 w 208"/>
                <a:gd name="T1" fmla="*/ 211 h 211"/>
                <a:gd name="T2" fmla="*/ 0 w 208"/>
                <a:gd name="T3" fmla="*/ 211 h 211"/>
                <a:gd name="T4" fmla="*/ 104 w 208"/>
                <a:gd name="T5" fmla="*/ 0 h 211"/>
                <a:gd name="T6" fmla="*/ 208 w 208"/>
                <a:gd name="T7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8" h="211">
                  <a:moveTo>
                    <a:pt x="208" y="211"/>
                  </a:moveTo>
                  <a:lnTo>
                    <a:pt x="0" y="211"/>
                  </a:lnTo>
                  <a:lnTo>
                    <a:pt x="104" y="0"/>
                  </a:lnTo>
                  <a:lnTo>
                    <a:pt x="208" y="211"/>
                  </a:lnTo>
                  <a:close/>
                </a:path>
              </a:pathLst>
            </a:custGeom>
            <a:noFill/>
            <a:ln w="15875" cap="rnd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5EF8A640-051C-5440-B51E-3C1365E00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9875" y="3178175"/>
              <a:ext cx="14288" cy="15875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4 h 4"/>
                <a:gd name="T4" fmla="*/ 2 w 4"/>
                <a:gd name="T5" fmla="*/ 4 h 4"/>
                <a:gd name="T6" fmla="*/ 0 w 4"/>
                <a:gd name="T7" fmla="*/ 2 h 4"/>
                <a:gd name="T8" fmla="*/ 0 w 4"/>
                <a:gd name="T9" fmla="*/ 2 h 4"/>
                <a:gd name="T10" fmla="*/ 2 w 4"/>
                <a:gd name="T11" fmla="*/ 0 h 4"/>
                <a:gd name="T12" fmla="*/ 2 w 4"/>
                <a:gd name="T13" fmla="*/ 0 h 4"/>
                <a:gd name="T14" fmla="*/ 4 w 4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3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noFill/>
            <a:ln w="15875" cap="flat">
              <a:solidFill>
                <a:srgbClr val="1D31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28DD517C-7E93-A445-98D2-E9075ACCD892}"/>
              </a:ext>
            </a:extLst>
          </p:cNvPr>
          <p:cNvSpPr/>
          <p:nvPr/>
        </p:nvSpPr>
        <p:spPr>
          <a:xfrm>
            <a:off x="2530712" y="2234634"/>
            <a:ext cx="394680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ID" sz="2200" b="1" dirty="0">
                <a:solidFill>
                  <a:srgbClr val="1D3166"/>
                </a:solidFill>
                <a:latin typeface="Montserrat" pitchFamily="2" charset="77"/>
                <a:cs typeface="Segoe UI" panose="020B0502040204020203" pitchFamily="34" charset="0"/>
              </a:rPr>
              <a:t>PENGAWASAN </a:t>
            </a:r>
          </a:p>
          <a:p>
            <a:pPr lvl="0">
              <a:defRPr/>
            </a:pPr>
            <a:r>
              <a:rPr lang="en-ID" sz="2200" b="1" dirty="0">
                <a:solidFill>
                  <a:srgbClr val="1D3166"/>
                </a:solidFill>
                <a:latin typeface="Montserrat" pitchFamily="2" charset="77"/>
                <a:cs typeface="Segoe UI" panose="020B0502040204020203" pitchFamily="34" charset="0"/>
              </a:rPr>
              <a:t>RUTIN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779D789-C98D-944F-B873-1320FC1EE518}"/>
              </a:ext>
            </a:extLst>
          </p:cNvPr>
          <p:cNvSpPr txBox="1"/>
          <p:nvPr/>
        </p:nvSpPr>
        <p:spPr>
          <a:xfrm>
            <a:off x="1638948" y="3099727"/>
            <a:ext cx="47532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Pemeriksa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terhadap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lapor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sesuai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deng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ketentu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peratur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 </a:t>
            </a:r>
            <a:r>
              <a:rPr lang="en-ID" sz="1800" b="0" dirty="0" err="1">
                <a:solidFill>
                  <a:srgbClr val="1D3166"/>
                </a:solidFill>
                <a:latin typeface="Montserrat" pitchFamily="2" charset="77"/>
              </a:rPr>
              <a:t>perundang-undangan</a:t>
            </a:r>
            <a:r>
              <a:rPr lang="en-ID" sz="1800" b="0" dirty="0">
                <a:solidFill>
                  <a:srgbClr val="1D3166"/>
                </a:solidFill>
                <a:latin typeface="Montserrat" pitchFamily="2" charset="77"/>
              </a:rPr>
              <a:t>. </a:t>
            </a:r>
          </a:p>
          <a:p>
            <a:pPr algn="l">
              <a:defRPr/>
            </a:pPr>
            <a:endParaRPr lang="en-ID" sz="1800" b="0" dirty="0">
              <a:solidFill>
                <a:srgbClr val="1D3166"/>
              </a:solidFill>
              <a:latin typeface="Montserrat" pitchFamily="2" charset="77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845BF6E-3792-234C-B64D-17B59C1C4598}"/>
              </a:ext>
            </a:extLst>
          </p:cNvPr>
          <p:cNvSpPr/>
          <p:nvPr/>
        </p:nvSpPr>
        <p:spPr>
          <a:xfrm>
            <a:off x="7980808" y="2253803"/>
            <a:ext cx="394680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ID" sz="2200" b="1" dirty="0">
                <a:solidFill>
                  <a:srgbClr val="1D3166"/>
                </a:solidFill>
                <a:latin typeface="Montserrat" pitchFamily="2" charset="77"/>
                <a:cs typeface="Segoe UI" panose="020B0502040204020203" pitchFamily="34" charset="0"/>
              </a:rPr>
              <a:t>PENGAWASAN </a:t>
            </a:r>
          </a:p>
          <a:p>
            <a:pPr lvl="0">
              <a:defRPr/>
            </a:pPr>
            <a:r>
              <a:rPr lang="en-ID" sz="2200" b="1" dirty="0">
                <a:solidFill>
                  <a:srgbClr val="1D3166"/>
                </a:solidFill>
                <a:latin typeface="Montserrat" pitchFamily="2" charset="77"/>
                <a:cs typeface="Segoe UI" panose="020B0502040204020203" pitchFamily="34" charset="0"/>
              </a:rPr>
              <a:t>INSIDENTAL</a:t>
            </a:r>
          </a:p>
        </p:txBody>
      </p:sp>
      <p:pic>
        <p:nvPicPr>
          <p:cNvPr id="5" name="Picture 4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EE802A0C-312D-0BB6-275F-07B780D5F7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889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5" cstate="print">
            <a:alphaModFix amt="19000"/>
            <a:lum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E43DCD-F115-4EC7-90AE-5F5E6C4738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E43DCD-F115-4EC7-90AE-5F5E6C4738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C140B3F-4BDA-4FDA-A9EE-3C673CDF237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28F05DE-3F4C-47E4-BE23-267566121C5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06953" cy="6345238"/>
          </a:xfrm>
          <a:custGeom>
            <a:avLst/>
            <a:gdLst>
              <a:gd name="connsiteX0" fmla="*/ 0 w 7906953"/>
              <a:gd name="connsiteY0" fmla="*/ 0 h 6345238"/>
              <a:gd name="connsiteX1" fmla="*/ 7906953 w 7906953"/>
              <a:gd name="connsiteY1" fmla="*/ 0 h 6345238"/>
              <a:gd name="connsiteX2" fmla="*/ 7906953 w 7906953"/>
              <a:gd name="connsiteY2" fmla="*/ 5796 h 6345238"/>
              <a:gd name="connsiteX3" fmla="*/ 4260316 w 7906953"/>
              <a:gd name="connsiteY3" fmla="*/ 6345238 h 6345238"/>
              <a:gd name="connsiteX4" fmla="*/ 0 w 7906953"/>
              <a:gd name="connsiteY4" fmla="*/ 6345238 h 634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6953" h="6345238">
                <a:moveTo>
                  <a:pt x="0" y="0"/>
                </a:moveTo>
                <a:lnTo>
                  <a:pt x="7906953" y="0"/>
                </a:lnTo>
                <a:lnTo>
                  <a:pt x="7906953" y="5796"/>
                </a:lnTo>
                <a:lnTo>
                  <a:pt x="4260316" y="6345238"/>
                </a:lnTo>
                <a:lnTo>
                  <a:pt x="0" y="6345238"/>
                </a:lnTo>
                <a:close/>
              </a:path>
            </a:pathLst>
          </a:custGeom>
        </p:spPr>
      </p:pic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EC18B9D-571D-4E38-91C5-51FFC7C03ADC}"/>
              </a:ext>
            </a:extLst>
          </p:cNvPr>
          <p:cNvSpPr/>
          <p:nvPr/>
        </p:nvSpPr>
        <p:spPr>
          <a:xfrm>
            <a:off x="-14805" y="0"/>
            <a:ext cx="7910287" cy="6345238"/>
          </a:xfrm>
          <a:custGeom>
            <a:avLst/>
            <a:gdLst>
              <a:gd name="connsiteX0" fmla="*/ 0 w 7910287"/>
              <a:gd name="connsiteY0" fmla="*/ 0 h 6345238"/>
              <a:gd name="connsiteX1" fmla="*/ 7910287 w 7910287"/>
              <a:gd name="connsiteY1" fmla="*/ 0 h 6345238"/>
              <a:gd name="connsiteX2" fmla="*/ 4260316 w 7910287"/>
              <a:gd name="connsiteY2" fmla="*/ 6345238 h 6345238"/>
              <a:gd name="connsiteX3" fmla="*/ 0 w 7910287"/>
              <a:gd name="connsiteY3" fmla="*/ 6345238 h 634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10287" h="6345238">
                <a:moveTo>
                  <a:pt x="0" y="0"/>
                </a:moveTo>
                <a:lnTo>
                  <a:pt x="7910287" y="0"/>
                </a:lnTo>
                <a:lnTo>
                  <a:pt x="4260316" y="6345238"/>
                </a:lnTo>
                <a:lnTo>
                  <a:pt x="0" y="6345238"/>
                </a:lnTo>
                <a:close/>
              </a:path>
            </a:pathLst>
          </a:custGeom>
          <a:gradFill flip="none" rotWithShape="1">
            <a:gsLst>
              <a:gs pos="1000">
                <a:srgbClr val="1D3166">
                  <a:alpha val="67785"/>
                </a:srgbClr>
              </a:gs>
              <a:gs pos="0">
                <a:schemeClr val="accent2">
                  <a:alpha val="88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CB1DF-AB7E-4220-9C07-5A95CD99AED5}"/>
              </a:ext>
            </a:extLst>
          </p:cNvPr>
          <p:cNvCxnSpPr>
            <a:cxnSpLocks/>
          </p:cNvCxnSpPr>
          <p:nvPr/>
        </p:nvCxnSpPr>
        <p:spPr>
          <a:xfrm flipH="1">
            <a:off x="352337" y="6054529"/>
            <a:ext cx="563824" cy="8131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0544301-48A2-4C9C-9CBF-01A720F732C0}"/>
              </a:ext>
            </a:extLst>
          </p:cNvPr>
          <p:cNvCxnSpPr>
            <a:cxnSpLocks/>
          </p:cNvCxnSpPr>
          <p:nvPr/>
        </p:nvCxnSpPr>
        <p:spPr>
          <a:xfrm flipH="1">
            <a:off x="967890" y="0"/>
            <a:ext cx="668925" cy="9280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2EE72FF-1540-4B32-9A9F-576194C5D675}"/>
              </a:ext>
            </a:extLst>
          </p:cNvPr>
          <p:cNvGrpSpPr/>
          <p:nvPr/>
        </p:nvGrpSpPr>
        <p:grpSpPr>
          <a:xfrm>
            <a:off x="979099" y="4189766"/>
            <a:ext cx="1506534" cy="1513474"/>
            <a:chOff x="4841875" y="2895601"/>
            <a:chExt cx="344488" cy="346075"/>
          </a:xfrm>
        </p:grpSpPr>
        <p:sp>
          <p:nvSpPr>
            <p:cNvPr id="15" name="Freeform 258">
              <a:extLst>
                <a:ext uri="{FF2B5EF4-FFF2-40B4-BE49-F238E27FC236}">
                  <a16:creationId xmlns:a16="http://schemas.microsoft.com/office/drawing/2014/main" id="{F35C41F3-ED82-45A0-AA25-791F6F56F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2895601"/>
              <a:ext cx="195263" cy="195263"/>
            </a:xfrm>
            <a:custGeom>
              <a:avLst/>
              <a:gdLst>
                <a:gd name="T0" fmla="*/ 52 w 52"/>
                <a:gd name="T1" fmla="*/ 26 h 52"/>
                <a:gd name="T2" fmla="*/ 26 w 52"/>
                <a:gd name="T3" fmla="*/ 52 h 52"/>
                <a:gd name="T4" fmla="*/ 0 w 52"/>
                <a:gd name="T5" fmla="*/ 25 h 52"/>
                <a:gd name="T6" fmla="*/ 25 w 52"/>
                <a:gd name="T7" fmla="*/ 0 h 52"/>
                <a:gd name="T8" fmla="*/ 26 w 52"/>
                <a:gd name="T9" fmla="*/ 0 h 52"/>
                <a:gd name="T10" fmla="*/ 52 w 52"/>
                <a:gd name="T11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52" y="26"/>
                  </a:moveTo>
                  <a:cubicBezTo>
                    <a:pt x="52" y="40"/>
                    <a:pt x="40" y="52"/>
                    <a:pt x="26" y="52"/>
                  </a:cubicBezTo>
                  <a:cubicBezTo>
                    <a:pt x="12" y="52"/>
                    <a:pt x="0" y="40"/>
                    <a:pt x="0" y="25"/>
                  </a:cubicBezTo>
                  <a:cubicBezTo>
                    <a:pt x="0" y="11"/>
                    <a:pt x="11" y="1"/>
                    <a:pt x="25" y="0"/>
                  </a:cubicBezTo>
                  <a:cubicBezTo>
                    <a:pt x="25" y="0"/>
                    <a:pt x="26" y="0"/>
                    <a:pt x="26" y="0"/>
                  </a:cubicBezTo>
                  <a:cubicBezTo>
                    <a:pt x="40" y="0"/>
                    <a:pt x="52" y="11"/>
                    <a:pt x="52" y="26"/>
                  </a:cubicBezTo>
                  <a:close/>
                </a:path>
              </a:pathLst>
            </a:cu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259">
              <a:extLst>
                <a:ext uri="{FF2B5EF4-FFF2-40B4-BE49-F238E27FC236}">
                  <a16:creationId xmlns:a16="http://schemas.microsoft.com/office/drawing/2014/main" id="{8978A4D6-CC38-4035-BEDD-81EE34F6D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7763" y="2895601"/>
              <a:ext cx="52388" cy="195263"/>
            </a:xfrm>
            <a:custGeom>
              <a:avLst/>
              <a:gdLst>
                <a:gd name="T0" fmla="*/ 14 w 14"/>
                <a:gd name="T1" fmla="*/ 0 h 52"/>
                <a:gd name="T2" fmla="*/ 14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14" y="0"/>
                  </a:moveTo>
                  <a:cubicBezTo>
                    <a:pt x="0" y="15"/>
                    <a:pt x="0" y="34"/>
                    <a:pt x="14" y="52"/>
                  </a:cubicBezTo>
                </a:path>
              </a:pathLst>
            </a:cu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260">
              <a:extLst>
                <a:ext uri="{FF2B5EF4-FFF2-40B4-BE49-F238E27FC236}">
                  <a16:creationId xmlns:a16="http://schemas.microsoft.com/office/drawing/2014/main" id="{CE5ADC75-4C1D-46E3-82DC-B8FC15CDE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088" y="2895601"/>
              <a:ext cx="52388" cy="195263"/>
            </a:xfrm>
            <a:custGeom>
              <a:avLst/>
              <a:gdLst>
                <a:gd name="T0" fmla="*/ 0 w 14"/>
                <a:gd name="T1" fmla="*/ 0 h 52"/>
                <a:gd name="T2" fmla="*/ 0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0" y="0"/>
                  </a:moveTo>
                  <a:cubicBezTo>
                    <a:pt x="14" y="15"/>
                    <a:pt x="14" y="34"/>
                    <a:pt x="0" y="52"/>
                  </a:cubicBezTo>
                </a:path>
              </a:pathLst>
            </a:cu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Line 261">
              <a:extLst>
                <a:ext uri="{FF2B5EF4-FFF2-40B4-BE49-F238E27FC236}">
                  <a16:creationId xmlns:a16="http://schemas.microsoft.com/office/drawing/2014/main" id="{D964EAD4-587F-494C-AF2A-2CDA07D07A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3044826"/>
              <a:ext cx="165100" cy="0"/>
            </a:xfrm>
            <a:prstGeom prst="line">
              <a:avLst/>
            </a:pr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Line 262">
              <a:extLst>
                <a:ext uri="{FF2B5EF4-FFF2-40B4-BE49-F238E27FC236}">
                  <a16:creationId xmlns:a16="http://schemas.microsoft.com/office/drawing/2014/main" id="{A62B70A2-0F90-4236-A971-2CA1DE4181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2940051"/>
              <a:ext cx="165100" cy="0"/>
            </a:xfrm>
            <a:prstGeom prst="line">
              <a:avLst/>
            </a:pr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Line 263">
              <a:extLst>
                <a:ext uri="{FF2B5EF4-FFF2-40B4-BE49-F238E27FC236}">
                  <a16:creationId xmlns:a16="http://schemas.microsoft.com/office/drawing/2014/main" id="{757DDC25-6E66-4D43-AB39-3EAF984A99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16488" y="2992438"/>
              <a:ext cx="195263" cy="0"/>
            </a:xfrm>
            <a:prstGeom prst="line">
              <a:avLst/>
            </a:pr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Oval 264">
              <a:extLst>
                <a:ext uri="{FF2B5EF4-FFF2-40B4-BE49-F238E27FC236}">
                  <a16:creationId xmlns:a16="http://schemas.microsoft.com/office/drawing/2014/main" id="{0A4C088F-FA14-4C3E-940D-6A600447C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4100" y="3105151"/>
              <a:ext cx="74613" cy="76200"/>
            </a:xfrm>
            <a:prstGeom prst="ellips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265">
              <a:extLst>
                <a:ext uri="{FF2B5EF4-FFF2-40B4-BE49-F238E27FC236}">
                  <a16:creationId xmlns:a16="http://schemas.microsoft.com/office/drawing/2014/main" id="{05E931D5-7599-482A-BD8B-48593F9AB8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6813" y="3105151"/>
              <a:ext cx="74613" cy="76200"/>
            </a:xfrm>
            <a:prstGeom prst="ellips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266">
              <a:extLst>
                <a:ext uri="{FF2B5EF4-FFF2-40B4-BE49-F238E27FC236}">
                  <a16:creationId xmlns:a16="http://schemas.microsoft.com/office/drawing/2014/main" id="{7F1CB5C0-2D85-4B91-B731-02B0DBA7C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525" y="3105151"/>
              <a:ext cx="74613" cy="76200"/>
            </a:xfrm>
            <a:prstGeom prst="ellips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267">
              <a:extLst>
                <a:ext uri="{FF2B5EF4-FFF2-40B4-BE49-F238E27FC236}">
                  <a16:creationId xmlns:a16="http://schemas.microsoft.com/office/drawing/2014/main" id="{B83933C5-7518-4E26-AD4A-B4BF5A004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3181351"/>
              <a:ext cx="344488" cy="60325"/>
            </a:xfrm>
            <a:custGeom>
              <a:avLst/>
              <a:gdLst>
                <a:gd name="T0" fmla="*/ 76 w 92"/>
                <a:gd name="T1" fmla="*/ 0 h 16"/>
                <a:gd name="T2" fmla="*/ 61 w 92"/>
                <a:gd name="T3" fmla="*/ 11 h 16"/>
                <a:gd name="T4" fmla="*/ 46 w 92"/>
                <a:gd name="T5" fmla="*/ 0 h 16"/>
                <a:gd name="T6" fmla="*/ 31 w 92"/>
                <a:gd name="T7" fmla="*/ 11 h 16"/>
                <a:gd name="T8" fmla="*/ 16 w 92"/>
                <a:gd name="T9" fmla="*/ 0 h 16"/>
                <a:gd name="T10" fmla="*/ 0 w 92"/>
                <a:gd name="T11" fmla="*/ 16 h 16"/>
                <a:gd name="T12" fmla="*/ 92 w 92"/>
                <a:gd name="T13" fmla="*/ 16 h 16"/>
                <a:gd name="T14" fmla="*/ 76 w 92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6">
                  <a:moveTo>
                    <a:pt x="76" y="0"/>
                  </a:moveTo>
                  <a:cubicBezTo>
                    <a:pt x="69" y="0"/>
                    <a:pt x="63" y="4"/>
                    <a:pt x="61" y="11"/>
                  </a:cubicBezTo>
                  <a:cubicBezTo>
                    <a:pt x="59" y="4"/>
                    <a:pt x="53" y="0"/>
                    <a:pt x="46" y="0"/>
                  </a:cubicBezTo>
                  <a:cubicBezTo>
                    <a:pt x="39" y="0"/>
                    <a:pt x="33" y="4"/>
                    <a:pt x="31" y="11"/>
                  </a:cubicBezTo>
                  <a:cubicBezTo>
                    <a:pt x="29" y="4"/>
                    <a:pt x="23" y="0"/>
                    <a:pt x="16" y="0"/>
                  </a:cubicBezTo>
                  <a:cubicBezTo>
                    <a:pt x="7" y="0"/>
                    <a:pt x="0" y="8"/>
                    <a:pt x="0" y="16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8"/>
                    <a:pt x="85" y="0"/>
                    <a:pt x="76" y="0"/>
                  </a:cubicBezTo>
                  <a:close/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" name="Parallelogram 30">
            <a:extLst>
              <a:ext uri="{FF2B5EF4-FFF2-40B4-BE49-F238E27FC236}">
                <a16:creationId xmlns:a16="http://schemas.microsoft.com/office/drawing/2014/main" id="{B57A3740-E06F-1446-9EBB-F8CB05A1701E}"/>
              </a:ext>
            </a:extLst>
          </p:cNvPr>
          <p:cNvSpPr/>
          <p:nvPr/>
        </p:nvSpPr>
        <p:spPr>
          <a:xfrm>
            <a:off x="2973314" y="4037448"/>
            <a:ext cx="9218686" cy="2222731"/>
          </a:xfrm>
          <a:prstGeom prst="parallelogram">
            <a:avLst>
              <a:gd name="adj" fmla="val 75148"/>
            </a:avLst>
          </a:prstGeom>
          <a:gradFill flip="none" rotWithShape="1">
            <a:gsLst>
              <a:gs pos="100000">
                <a:srgbClr val="FEB813"/>
              </a:gs>
              <a:gs pos="100000">
                <a:schemeClr val="accent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6F0BCF1-20F6-F149-93F9-EC1CA42CF604}"/>
              </a:ext>
            </a:extLst>
          </p:cNvPr>
          <p:cNvSpPr/>
          <p:nvPr/>
        </p:nvSpPr>
        <p:spPr>
          <a:xfrm>
            <a:off x="313251" y="746995"/>
            <a:ext cx="8995849" cy="1084668"/>
          </a:xfrm>
          <a:prstGeom prst="rect">
            <a:avLst/>
          </a:prstGeom>
          <a:solidFill>
            <a:srgbClr val="1D31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CC05FCC-0B15-2545-9768-E0EDD767D3DD}"/>
              </a:ext>
            </a:extLst>
          </p:cNvPr>
          <p:cNvSpPr/>
          <p:nvPr/>
        </p:nvSpPr>
        <p:spPr>
          <a:xfrm>
            <a:off x="313251" y="1947684"/>
            <a:ext cx="8995849" cy="1936744"/>
          </a:xfrm>
          <a:prstGeom prst="rect">
            <a:avLst/>
          </a:prstGeom>
          <a:solidFill>
            <a:srgbClr val="1D31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020635D-33A4-CE48-B99C-9B52F582C976}"/>
              </a:ext>
            </a:extLst>
          </p:cNvPr>
          <p:cNvSpPr/>
          <p:nvPr/>
        </p:nvSpPr>
        <p:spPr>
          <a:xfrm>
            <a:off x="2938509" y="856901"/>
            <a:ext cx="5624089" cy="83099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Aparatur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Sipil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Negara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lingkung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Organisa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Perangkat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Daerah yang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membidang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Jasa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Konstruk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0655F39-DCC5-DE46-B0CD-BF5E434FC520}"/>
              </a:ext>
            </a:extLst>
          </p:cNvPr>
          <p:cNvSpPr/>
          <p:nvPr/>
        </p:nvSpPr>
        <p:spPr>
          <a:xfrm>
            <a:off x="517628" y="1011845"/>
            <a:ext cx="2291617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PENGAWASA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RUTIN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D186B81-85AA-154D-A7F2-5B867AE4AADC}"/>
              </a:ext>
            </a:extLst>
          </p:cNvPr>
          <p:cNvSpPr/>
          <p:nvPr/>
        </p:nvSpPr>
        <p:spPr>
          <a:xfrm>
            <a:off x="517629" y="2608279"/>
            <a:ext cx="2291617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PENGAWASA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INSIDENTAL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047C61E-B160-FC49-8975-F347AC3DF1D3}"/>
              </a:ext>
            </a:extLst>
          </p:cNvPr>
          <p:cNvSpPr/>
          <p:nvPr/>
        </p:nvSpPr>
        <p:spPr>
          <a:xfrm>
            <a:off x="2973314" y="1790930"/>
            <a:ext cx="6113234" cy="196977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Roboto"/>
              <a:cs typeface="Roboto"/>
              <a:sym typeface="Roboto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Tim </a:t>
            </a:r>
            <a:r>
              <a:rPr kumimoji="0" lang="en-ID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Pengawas</a:t>
            </a: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Insidental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Roboto"/>
              <a:cs typeface="Roboto"/>
              <a:sym typeface="Roboto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ASN di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lingkung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Organisa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Perangkat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Daerah yang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membidang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Jasa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Konstruk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; </a:t>
            </a:r>
            <a:r>
              <a: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dan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atau</a:t>
            </a: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Roboto"/>
              <a:cs typeface="Roboto"/>
              <a:sym typeface="Roboto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ASN di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lingkungan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Organisa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Perangkat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Daerah lain yang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terkait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Jasa </a:t>
            </a:r>
            <a:r>
              <a:rPr kumimoji="0" lang="en-ID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Konstruksi</a:t>
            </a:r>
            <a:r>
              <a: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;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7F84CDD-744B-3C49-B638-E056753026FF}"/>
              </a:ext>
            </a:extLst>
          </p:cNvPr>
          <p:cNvSpPr/>
          <p:nvPr/>
        </p:nvSpPr>
        <p:spPr>
          <a:xfrm>
            <a:off x="4993823" y="4233162"/>
            <a:ext cx="6581796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Diutamak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berasal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dar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 PEJABAT FUNGSIONAL PEMBINA JASA KONSTRUKSI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0B4294F-66BD-EC42-A13C-74E60BF7B986}"/>
              </a:ext>
            </a:extLst>
          </p:cNvPr>
          <p:cNvSpPr/>
          <p:nvPr/>
        </p:nvSpPr>
        <p:spPr>
          <a:xfrm>
            <a:off x="4993823" y="4797108"/>
            <a:ext cx="593471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Dapat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bekerjasam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deng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pakar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atau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tenag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ahl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dan/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atau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akademis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30DD7D7-BA31-6547-9307-CB034704D0CC}"/>
              </a:ext>
            </a:extLst>
          </p:cNvPr>
          <p:cNvSpPr/>
          <p:nvPr/>
        </p:nvSpPr>
        <p:spPr>
          <a:xfrm>
            <a:off x="4967727" y="5405571"/>
            <a:ext cx="6031834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Pelaksan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pengawas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dalam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melaksanak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tugasny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mengikut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ketentu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yang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diatur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dalam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Peratur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Roboto"/>
                <a:cs typeface="Roboto"/>
                <a:sym typeface="Roboto"/>
              </a:rPr>
              <a:t> Menteri 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4275D0B-C9D9-D747-930A-D309558198DD}"/>
              </a:ext>
            </a:extLst>
          </p:cNvPr>
          <p:cNvSpPr/>
          <p:nvPr/>
        </p:nvSpPr>
        <p:spPr>
          <a:xfrm>
            <a:off x="4517422" y="4285770"/>
            <a:ext cx="354159" cy="351152"/>
          </a:xfrm>
          <a:prstGeom prst="ellipse">
            <a:avLst/>
          </a:prstGeom>
          <a:solidFill>
            <a:srgbClr val="1D3166"/>
          </a:solidFill>
          <a:ln>
            <a:solidFill>
              <a:srgbClr val="1E3267"/>
            </a:solidFill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Freeform 30">
            <a:extLst>
              <a:ext uri="{FF2B5EF4-FFF2-40B4-BE49-F238E27FC236}">
                <a16:creationId xmlns:a16="http://schemas.microsoft.com/office/drawing/2014/main" id="{9A376783-1465-5D41-9ACB-863928A489FC}"/>
              </a:ext>
            </a:extLst>
          </p:cNvPr>
          <p:cNvSpPr>
            <a:spLocks/>
          </p:cNvSpPr>
          <p:nvPr/>
        </p:nvSpPr>
        <p:spPr bwMode="auto">
          <a:xfrm>
            <a:off x="4604760" y="4388802"/>
            <a:ext cx="170588" cy="145088"/>
          </a:xfrm>
          <a:custGeom>
            <a:avLst/>
            <a:gdLst>
              <a:gd name="T0" fmla="*/ 185 w 218"/>
              <a:gd name="T1" fmla="*/ 0 h 187"/>
              <a:gd name="T2" fmla="*/ 66 w 218"/>
              <a:gd name="T3" fmla="*/ 120 h 187"/>
              <a:gd name="T4" fmla="*/ 33 w 218"/>
              <a:gd name="T5" fmla="*/ 86 h 187"/>
              <a:gd name="T6" fmla="*/ 0 w 218"/>
              <a:gd name="T7" fmla="*/ 120 h 187"/>
              <a:gd name="T8" fmla="*/ 66 w 218"/>
              <a:gd name="T9" fmla="*/ 187 h 187"/>
              <a:gd name="T10" fmla="*/ 218 w 218"/>
              <a:gd name="T11" fmla="*/ 34 h 187"/>
              <a:gd name="T12" fmla="*/ 185 w 218"/>
              <a:gd name="T13" fmla="*/ 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8" h="187">
                <a:moveTo>
                  <a:pt x="185" y="0"/>
                </a:moveTo>
                <a:lnTo>
                  <a:pt x="66" y="120"/>
                </a:lnTo>
                <a:lnTo>
                  <a:pt x="33" y="86"/>
                </a:lnTo>
                <a:lnTo>
                  <a:pt x="0" y="120"/>
                </a:lnTo>
                <a:lnTo>
                  <a:pt x="66" y="187"/>
                </a:lnTo>
                <a:lnTo>
                  <a:pt x="218" y="34"/>
                </a:lnTo>
                <a:lnTo>
                  <a:pt x="185" y="0"/>
                </a:lnTo>
                <a:close/>
              </a:path>
            </a:pathLst>
          </a:custGeom>
          <a:solidFill>
            <a:schemeClr val="bg1"/>
          </a:solidFill>
          <a:ln w="158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5A142DC-FB1E-1746-A7BC-9D40FCED9192}"/>
              </a:ext>
            </a:extLst>
          </p:cNvPr>
          <p:cNvSpPr/>
          <p:nvPr/>
        </p:nvSpPr>
        <p:spPr>
          <a:xfrm>
            <a:off x="4517422" y="4856057"/>
            <a:ext cx="354159" cy="351152"/>
          </a:xfrm>
          <a:prstGeom prst="ellipse">
            <a:avLst/>
          </a:prstGeom>
          <a:solidFill>
            <a:srgbClr val="1D3166"/>
          </a:solidFill>
          <a:ln>
            <a:solidFill>
              <a:srgbClr val="1E3267"/>
            </a:solidFill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Freeform 30">
            <a:extLst>
              <a:ext uri="{FF2B5EF4-FFF2-40B4-BE49-F238E27FC236}">
                <a16:creationId xmlns:a16="http://schemas.microsoft.com/office/drawing/2014/main" id="{0237B3BE-219C-674C-BA7B-AF251F2170A9}"/>
              </a:ext>
            </a:extLst>
          </p:cNvPr>
          <p:cNvSpPr>
            <a:spLocks/>
          </p:cNvSpPr>
          <p:nvPr/>
        </p:nvSpPr>
        <p:spPr bwMode="auto">
          <a:xfrm>
            <a:off x="4604760" y="4959089"/>
            <a:ext cx="170588" cy="145088"/>
          </a:xfrm>
          <a:custGeom>
            <a:avLst/>
            <a:gdLst>
              <a:gd name="T0" fmla="*/ 185 w 218"/>
              <a:gd name="T1" fmla="*/ 0 h 187"/>
              <a:gd name="T2" fmla="*/ 66 w 218"/>
              <a:gd name="T3" fmla="*/ 120 h 187"/>
              <a:gd name="T4" fmla="*/ 33 w 218"/>
              <a:gd name="T5" fmla="*/ 86 h 187"/>
              <a:gd name="T6" fmla="*/ 0 w 218"/>
              <a:gd name="T7" fmla="*/ 120 h 187"/>
              <a:gd name="T8" fmla="*/ 66 w 218"/>
              <a:gd name="T9" fmla="*/ 187 h 187"/>
              <a:gd name="T10" fmla="*/ 218 w 218"/>
              <a:gd name="T11" fmla="*/ 34 h 187"/>
              <a:gd name="T12" fmla="*/ 185 w 218"/>
              <a:gd name="T13" fmla="*/ 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8" h="187">
                <a:moveTo>
                  <a:pt x="185" y="0"/>
                </a:moveTo>
                <a:lnTo>
                  <a:pt x="66" y="120"/>
                </a:lnTo>
                <a:lnTo>
                  <a:pt x="33" y="86"/>
                </a:lnTo>
                <a:lnTo>
                  <a:pt x="0" y="120"/>
                </a:lnTo>
                <a:lnTo>
                  <a:pt x="66" y="187"/>
                </a:lnTo>
                <a:lnTo>
                  <a:pt x="218" y="34"/>
                </a:lnTo>
                <a:lnTo>
                  <a:pt x="185" y="0"/>
                </a:lnTo>
                <a:close/>
              </a:path>
            </a:pathLst>
          </a:custGeom>
          <a:solidFill>
            <a:schemeClr val="bg1"/>
          </a:solidFill>
          <a:ln w="158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6325F3CA-3A65-B74E-AB7E-4DC7C14B91C1}"/>
              </a:ext>
            </a:extLst>
          </p:cNvPr>
          <p:cNvSpPr/>
          <p:nvPr/>
        </p:nvSpPr>
        <p:spPr>
          <a:xfrm>
            <a:off x="4523806" y="5428153"/>
            <a:ext cx="354159" cy="351152"/>
          </a:xfrm>
          <a:prstGeom prst="ellipse">
            <a:avLst/>
          </a:prstGeom>
          <a:solidFill>
            <a:srgbClr val="1D3166"/>
          </a:solidFill>
          <a:ln>
            <a:solidFill>
              <a:srgbClr val="1E3267"/>
            </a:solidFill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Freeform 30">
            <a:extLst>
              <a:ext uri="{FF2B5EF4-FFF2-40B4-BE49-F238E27FC236}">
                <a16:creationId xmlns:a16="http://schemas.microsoft.com/office/drawing/2014/main" id="{10C3F640-EDC9-A24E-B46F-1DC822F705FB}"/>
              </a:ext>
            </a:extLst>
          </p:cNvPr>
          <p:cNvSpPr>
            <a:spLocks/>
          </p:cNvSpPr>
          <p:nvPr/>
        </p:nvSpPr>
        <p:spPr bwMode="auto">
          <a:xfrm>
            <a:off x="4611144" y="5531185"/>
            <a:ext cx="170588" cy="145088"/>
          </a:xfrm>
          <a:custGeom>
            <a:avLst/>
            <a:gdLst>
              <a:gd name="T0" fmla="*/ 185 w 218"/>
              <a:gd name="T1" fmla="*/ 0 h 187"/>
              <a:gd name="T2" fmla="*/ 66 w 218"/>
              <a:gd name="T3" fmla="*/ 120 h 187"/>
              <a:gd name="T4" fmla="*/ 33 w 218"/>
              <a:gd name="T5" fmla="*/ 86 h 187"/>
              <a:gd name="T6" fmla="*/ 0 w 218"/>
              <a:gd name="T7" fmla="*/ 120 h 187"/>
              <a:gd name="T8" fmla="*/ 66 w 218"/>
              <a:gd name="T9" fmla="*/ 187 h 187"/>
              <a:gd name="T10" fmla="*/ 218 w 218"/>
              <a:gd name="T11" fmla="*/ 34 h 187"/>
              <a:gd name="T12" fmla="*/ 185 w 218"/>
              <a:gd name="T13" fmla="*/ 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8" h="187">
                <a:moveTo>
                  <a:pt x="185" y="0"/>
                </a:moveTo>
                <a:lnTo>
                  <a:pt x="66" y="120"/>
                </a:lnTo>
                <a:lnTo>
                  <a:pt x="33" y="86"/>
                </a:lnTo>
                <a:lnTo>
                  <a:pt x="0" y="120"/>
                </a:lnTo>
                <a:lnTo>
                  <a:pt x="66" y="187"/>
                </a:lnTo>
                <a:lnTo>
                  <a:pt x="218" y="34"/>
                </a:lnTo>
                <a:lnTo>
                  <a:pt x="185" y="0"/>
                </a:lnTo>
                <a:close/>
              </a:path>
            </a:pathLst>
          </a:custGeom>
          <a:solidFill>
            <a:schemeClr val="bg1"/>
          </a:solidFill>
          <a:ln w="158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521AE7CC-DF0E-7244-9632-F46EEB5E5037}"/>
              </a:ext>
            </a:extLst>
          </p:cNvPr>
          <p:cNvSpPr txBox="1">
            <a:spLocks/>
          </p:cNvSpPr>
          <p:nvPr/>
        </p:nvSpPr>
        <p:spPr>
          <a:xfrm>
            <a:off x="838626" y="138371"/>
            <a:ext cx="6937362" cy="443061"/>
          </a:xfrm>
          <a:prstGeom prst="rect">
            <a:avLst/>
          </a:prstGeom>
        </p:spPr>
        <p:txBody>
          <a:bodyPr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 w="0"/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PASAL 20 : PELAKSANA PENGAWASAN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903CB4D-3F60-524B-A382-3E420B9A65FF}"/>
              </a:ext>
            </a:extLst>
          </p:cNvPr>
          <p:cNvSpPr/>
          <p:nvPr/>
        </p:nvSpPr>
        <p:spPr>
          <a:xfrm>
            <a:off x="9508501" y="1267188"/>
            <a:ext cx="2551361" cy="2471371"/>
          </a:xfrm>
          <a:prstGeom prst="ellipse">
            <a:avLst/>
          </a:prstGeom>
          <a:solidFill>
            <a:srgbClr val="1D31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latin typeface="Montserrat" pitchFamily="2" charset="77"/>
              </a:rPr>
              <a:t>Saat</a:t>
            </a:r>
            <a:r>
              <a:rPr lang="en-US" sz="1600" dirty="0">
                <a:latin typeface="Montserrat" pitchFamily="2" charset="77"/>
              </a:rPr>
              <a:t> </a:t>
            </a:r>
            <a:r>
              <a:rPr lang="en-US" sz="1600" dirty="0" err="1">
                <a:latin typeface="Montserrat" pitchFamily="2" charset="77"/>
              </a:rPr>
              <a:t>ini</a:t>
            </a:r>
            <a:r>
              <a:rPr lang="en-US" sz="1600" dirty="0">
                <a:latin typeface="Montserrat" pitchFamily="2" charset="77"/>
              </a:rPr>
              <a:t> </a:t>
            </a:r>
            <a:r>
              <a:rPr lang="en-US" sz="1600" dirty="0" err="1">
                <a:latin typeface="Montserrat" pitchFamily="2" charset="77"/>
              </a:rPr>
              <a:t>sedang</a:t>
            </a:r>
            <a:r>
              <a:rPr lang="en-US" sz="1600" dirty="0">
                <a:latin typeface="Montserrat" pitchFamily="2" charset="77"/>
              </a:rPr>
              <a:t> </a:t>
            </a:r>
            <a:r>
              <a:rPr lang="en-US" sz="1600" dirty="0" err="1">
                <a:latin typeface="Montserrat" pitchFamily="2" charset="77"/>
              </a:rPr>
              <a:t>disiapkan</a:t>
            </a:r>
            <a:r>
              <a:rPr lang="en-US" sz="1600" dirty="0">
                <a:latin typeface="Montserrat" pitchFamily="2" charset="77"/>
              </a:rPr>
              <a:t> </a:t>
            </a:r>
            <a:r>
              <a:rPr lang="en-US" sz="1600" b="1" dirty="0">
                <a:latin typeface="Montserrat" pitchFamily="2" charset="77"/>
              </a:rPr>
              <a:t>Modul </a:t>
            </a:r>
            <a:r>
              <a:rPr lang="en-US" sz="1600" b="1" dirty="0" err="1">
                <a:latin typeface="Montserrat" pitchFamily="2" charset="77"/>
              </a:rPr>
              <a:t>Bimtek</a:t>
            </a:r>
            <a:r>
              <a:rPr lang="en-US" sz="1600" b="1" dirty="0">
                <a:latin typeface="Montserrat" pitchFamily="2" charset="77"/>
              </a:rPr>
              <a:t> </a:t>
            </a:r>
            <a:r>
              <a:rPr lang="en-US" sz="1600" b="1" dirty="0" err="1">
                <a:latin typeface="Montserrat" pitchFamily="2" charset="77"/>
              </a:rPr>
              <a:t>Peningkatan</a:t>
            </a:r>
            <a:r>
              <a:rPr lang="en-US" sz="1600" b="1" dirty="0">
                <a:latin typeface="Montserrat" pitchFamily="2" charset="77"/>
              </a:rPr>
              <a:t> </a:t>
            </a:r>
            <a:r>
              <a:rPr lang="en-US" sz="1600" b="1" dirty="0" err="1">
                <a:latin typeface="Montserrat" pitchFamily="2" charset="77"/>
              </a:rPr>
              <a:t>kompetensi</a:t>
            </a:r>
            <a:r>
              <a:rPr lang="en-US" sz="1600" b="1" dirty="0">
                <a:latin typeface="Montserrat" pitchFamily="2" charset="77"/>
              </a:rPr>
              <a:t> </a:t>
            </a:r>
            <a:r>
              <a:rPr lang="en-US" sz="1600" dirty="0">
                <a:latin typeface="Montserrat" pitchFamily="2" charset="77"/>
              </a:rPr>
              <a:t> </a:t>
            </a:r>
            <a:r>
              <a:rPr lang="en-US" sz="1600" dirty="0" err="1">
                <a:latin typeface="Montserrat" pitchFamily="2" charset="77"/>
              </a:rPr>
              <a:t>Pelaksana</a:t>
            </a:r>
            <a:r>
              <a:rPr lang="en-US" sz="1600" dirty="0">
                <a:latin typeface="Montserrat" pitchFamily="2" charset="77"/>
              </a:rPr>
              <a:t> </a:t>
            </a:r>
            <a:r>
              <a:rPr lang="en-US" sz="1600" dirty="0" err="1">
                <a:latin typeface="Montserrat" pitchFamily="2" charset="77"/>
              </a:rPr>
              <a:t>Pengawasan</a:t>
            </a:r>
            <a:endParaRPr lang="en-US" sz="1600" dirty="0">
              <a:latin typeface="Montserrat" pitchFamily="2" charset="77"/>
            </a:endParaRPr>
          </a:p>
        </p:txBody>
      </p:sp>
      <p:pic>
        <p:nvPicPr>
          <p:cNvPr id="3" name="Picture 2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E3F3176B-961A-155E-CD14-51DDB471990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1535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alphaModFix amt="16721"/>
            <a:lum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oogle Shape;2750;p61">
            <a:extLst>
              <a:ext uri="{FF2B5EF4-FFF2-40B4-BE49-F238E27FC236}">
                <a16:creationId xmlns:a16="http://schemas.microsoft.com/office/drawing/2014/main" id="{13795844-05CC-0E4D-8650-2AA0AE65EE6B}"/>
              </a:ext>
            </a:extLst>
          </p:cNvPr>
          <p:cNvGrpSpPr/>
          <p:nvPr/>
        </p:nvGrpSpPr>
        <p:grpSpPr>
          <a:xfrm>
            <a:off x="8249929" y="1306530"/>
            <a:ext cx="4545660" cy="5723689"/>
            <a:chOff x="4722841" y="238125"/>
            <a:chExt cx="191559" cy="234966"/>
          </a:xfrm>
        </p:grpSpPr>
        <p:grpSp>
          <p:nvGrpSpPr>
            <p:cNvPr id="21" name="Google Shape;2751;p61">
              <a:extLst>
                <a:ext uri="{FF2B5EF4-FFF2-40B4-BE49-F238E27FC236}">
                  <a16:creationId xmlns:a16="http://schemas.microsoft.com/office/drawing/2014/main" id="{AC425543-7E3B-FB42-BC4F-CF9FD8703BDC}"/>
                </a:ext>
              </a:extLst>
            </p:cNvPr>
            <p:cNvGrpSpPr/>
            <p:nvPr/>
          </p:nvGrpSpPr>
          <p:grpSpPr>
            <a:xfrm>
              <a:off x="4818100" y="238125"/>
              <a:ext cx="96300" cy="179775"/>
              <a:chOff x="2798800" y="238125"/>
              <a:chExt cx="96300" cy="179775"/>
            </a:xfrm>
          </p:grpSpPr>
          <p:sp>
            <p:nvSpPr>
              <p:cNvPr id="46" name="Google Shape;2752;p61">
                <a:extLst>
                  <a:ext uri="{FF2B5EF4-FFF2-40B4-BE49-F238E27FC236}">
                    <a16:creationId xmlns:a16="http://schemas.microsoft.com/office/drawing/2014/main" id="{0C0916BC-E1BC-5D45-B282-47E50C7F2711}"/>
                  </a:ext>
                </a:extLst>
              </p:cNvPr>
              <p:cNvSpPr/>
              <p:nvPr/>
            </p:nvSpPr>
            <p:spPr>
              <a:xfrm>
                <a:off x="2798800" y="238125"/>
                <a:ext cx="96300" cy="55725"/>
              </a:xfrm>
              <a:custGeom>
                <a:avLst/>
                <a:gdLst/>
                <a:ahLst/>
                <a:cxnLst/>
                <a:rect l="l" t="t" r="r" b="b"/>
                <a:pathLst>
                  <a:path w="3852" h="2229" extrusionOk="0">
                    <a:moveTo>
                      <a:pt x="1926" y="0"/>
                    </a:moveTo>
                    <a:lnTo>
                      <a:pt x="0" y="1111"/>
                    </a:lnTo>
                    <a:lnTo>
                      <a:pt x="1926" y="2229"/>
                    </a:lnTo>
                    <a:lnTo>
                      <a:pt x="3852" y="1111"/>
                    </a:lnTo>
                    <a:lnTo>
                      <a:pt x="192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116594" tIns="116594" rIns="116594" bIns="116594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40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itchFamily="2" charset="77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47" name="Google Shape;2753;p61">
                <a:extLst>
                  <a:ext uri="{FF2B5EF4-FFF2-40B4-BE49-F238E27FC236}">
                    <a16:creationId xmlns:a16="http://schemas.microsoft.com/office/drawing/2014/main" id="{7C5748B0-FFA3-374C-A0C5-5681AD5C17CC}"/>
                  </a:ext>
                </a:extLst>
              </p:cNvPr>
              <p:cNvSpPr/>
              <p:nvPr/>
            </p:nvSpPr>
            <p:spPr>
              <a:xfrm>
                <a:off x="2798800" y="265875"/>
                <a:ext cx="48175" cy="152025"/>
              </a:xfrm>
              <a:custGeom>
                <a:avLst/>
                <a:gdLst/>
                <a:ahLst/>
                <a:cxnLst/>
                <a:rect l="l" t="t" r="r" b="b"/>
                <a:pathLst>
                  <a:path w="1927" h="6081" extrusionOk="0">
                    <a:moveTo>
                      <a:pt x="0" y="1"/>
                    </a:moveTo>
                    <a:lnTo>
                      <a:pt x="0" y="4970"/>
                    </a:lnTo>
                    <a:lnTo>
                      <a:pt x="1926" y="6081"/>
                    </a:lnTo>
                    <a:lnTo>
                      <a:pt x="1926" y="1119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BAC8D3"/>
              </a:solidFill>
              <a:ln>
                <a:noFill/>
              </a:ln>
            </p:spPr>
            <p:txBody>
              <a:bodyPr spcFirstLastPara="1" wrap="square" lIns="116594" tIns="116594" rIns="116594" bIns="116594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40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itchFamily="2" charset="77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48" name="Google Shape;2754;p61">
                <a:extLst>
                  <a:ext uri="{FF2B5EF4-FFF2-40B4-BE49-F238E27FC236}">
                    <a16:creationId xmlns:a16="http://schemas.microsoft.com/office/drawing/2014/main" id="{FE3227F9-6988-A649-81B6-110984C98F38}"/>
                  </a:ext>
                </a:extLst>
              </p:cNvPr>
              <p:cNvSpPr/>
              <p:nvPr/>
            </p:nvSpPr>
            <p:spPr>
              <a:xfrm>
                <a:off x="2846950" y="265875"/>
                <a:ext cx="48150" cy="15202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6081" extrusionOk="0">
                    <a:moveTo>
                      <a:pt x="1926" y="1"/>
                    </a:moveTo>
                    <a:lnTo>
                      <a:pt x="0" y="1119"/>
                    </a:lnTo>
                    <a:lnTo>
                      <a:pt x="0" y="6081"/>
                    </a:lnTo>
                    <a:lnTo>
                      <a:pt x="1926" y="4970"/>
                    </a:lnTo>
                    <a:lnTo>
                      <a:pt x="1926" y="1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116594" tIns="116594" rIns="116594" bIns="116594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40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itchFamily="2" charset="77"/>
                  <a:ea typeface="Century Gothic" charset="0"/>
                  <a:cs typeface="Century Gothic" charset="0"/>
                </a:endParaRPr>
              </a:p>
            </p:txBody>
          </p:sp>
        </p:grpSp>
        <p:grpSp>
          <p:nvGrpSpPr>
            <p:cNvPr id="22" name="Google Shape;2755;p61">
              <a:extLst>
                <a:ext uri="{FF2B5EF4-FFF2-40B4-BE49-F238E27FC236}">
                  <a16:creationId xmlns:a16="http://schemas.microsoft.com/office/drawing/2014/main" id="{088A5568-C751-7945-BA6F-707475309D59}"/>
                </a:ext>
              </a:extLst>
            </p:cNvPr>
            <p:cNvGrpSpPr/>
            <p:nvPr/>
          </p:nvGrpSpPr>
          <p:grpSpPr>
            <a:xfrm>
              <a:off x="4769812" y="311347"/>
              <a:ext cx="96300" cy="134375"/>
              <a:chOff x="2698550" y="350800"/>
              <a:chExt cx="96300" cy="134375"/>
            </a:xfrm>
          </p:grpSpPr>
          <p:sp>
            <p:nvSpPr>
              <p:cNvPr id="43" name="Google Shape;2756;p61">
                <a:extLst>
                  <a:ext uri="{FF2B5EF4-FFF2-40B4-BE49-F238E27FC236}">
                    <a16:creationId xmlns:a16="http://schemas.microsoft.com/office/drawing/2014/main" id="{97326C42-C4D5-0A44-AC49-05A0BDE0A994}"/>
                  </a:ext>
                </a:extLst>
              </p:cNvPr>
              <p:cNvSpPr/>
              <p:nvPr/>
            </p:nvSpPr>
            <p:spPr>
              <a:xfrm>
                <a:off x="2698550" y="350800"/>
                <a:ext cx="96300" cy="55575"/>
              </a:xfrm>
              <a:custGeom>
                <a:avLst/>
                <a:gdLst/>
                <a:ahLst/>
                <a:cxnLst/>
                <a:rect l="l" t="t" r="r" b="b"/>
                <a:pathLst>
                  <a:path w="3852" h="2223" extrusionOk="0">
                    <a:moveTo>
                      <a:pt x="1926" y="1"/>
                    </a:moveTo>
                    <a:lnTo>
                      <a:pt x="0" y="1111"/>
                    </a:lnTo>
                    <a:lnTo>
                      <a:pt x="1926" y="2222"/>
                    </a:lnTo>
                    <a:lnTo>
                      <a:pt x="3852" y="1111"/>
                    </a:lnTo>
                    <a:lnTo>
                      <a:pt x="1926" y="1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116594" tIns="116594" rIns="116594" bIns="116594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40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itchFamily="2" charset="77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44" name="Google Shape;2757;p61">
                <a:extLst>
                  <a:ext uri="{FF2B5EF4-FFF2-40B4-BE49-F238E27FC236}">
                    <a16:creationId xmlns:a16="http://schemas.microsoft.com/office/drawing/2014/main" id="{1A494DD8-BB97-A649-A501-33B2222D16A9}"/>
                  </a:ext>
                </a:extLst>
              </p:cNvPr>
              <p:cNvSpPr/>
              <p:nvPr/>
            </p:nvSpPr>
            <p:spPr>
              <a:xfrm>
                <a:off x="2698550" y="378575"/>
                <a:ext cx="48150" cy="106600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4264" extrusionOk="0">
                    <a:moveTo>
                      <a:pt x="0" y="0"/>
                    </a:moveTo>
                    <a:lnTo>
                      <a:pt x="0" y="3152"/>
                    </a:lnTo>
                    <a:lnTo>
                      <a:pt x="1926" y="4263"/>
                    </a:lnTo>
                    <a:lnTo>
                      <a:pt x="1926" y="1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8D3"/>
              </a:solidFill>
              <a:ln>
                <a:noFill/>
              </a:ln>
            </p:spPr>
            <p:txBody>
              <a:bodyPr spcFirstLastPara="1" wrap="square" lIns="116594" tIns="116594" rIns="116594" bIns="116594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40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itchFamily="2" charset="77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45" name="Google Shape;2758;p61">
                <a:extLst>
                  <a:ext uri="{FF2B5EF4-FFF2-40B4-BE49-F238E27FC236}">
                    <a16:creationId xmlns:a16="http://schemas.microsoft.com/office/drawing/2014/main" id="{F7452D6D-D63C-6E41-AC36-1D8AD09E3225}"/>
                  </a:ext>
                </a:extLst>
              </p:cNvPr>
              <p:cNvSpPr/>
              <p:nvPr/>
            </p:nvSpPr>
            <p:spPr>
              <a:xfrm>
                <a:off x="2746675" y="378575"/>
                <a:ext cx="48175" cy="106600"/>
              </a:xfrm>
              <a:custGeom>
                <a:avLst/>
                <a:gdLst/>
                <a:ahLst/>
                <a:cxnLst/>
                <a:rect l="l" t="t" r="r" b="b"/>
                <a:pathLst>
                  <a:path w="1927" h="4264" extrusionOk="0">
                    <a:moveTo>
                      <a:pt x="1927" y="0"/>
                    </a:moveTo>
                    <a:lnTo>
                      <a:pt x="1" y="1111"/>
                    </a:lnTo>
                    <a:lnTo>
                      <a:pt x="1" y="4263"/>
                    </a:lnTo>
                    <a:lnTo>
                      <a:pt x="1927" y="3152"/>
                    </a:lnTo>
                    <a:lnTo>
                      <a:pt x="1927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116594" tIns="116594" rIns="116594" bIns="116594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40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itchFamily="2" charset="77"/>
                  <a:ea typeface="Century Gothic" charset="0"/>
                  <a:cs typeface="Century Gothic" charset="0"/>
                </a:endParaRPr>
              </a:p>
            </p:txBody>
          </p:sp>
        </p:grpSp>
        <p:grpSp>
          <p:nvGrpSpPr>
            <p:cNvPr id="23" name="Google Shape;2759;p61">
              <a:extLst>
                <a:ext uri="{FF2B5EF4-FFF2-40B4-BE49-F238E27FC236}">
                  <a16:creationId xmlns:a16="http://schemas.microsoft.com/office/drawing/2014/main" id="{8C500A08-DD1B-E243-B81D-F72CA0525E22}"/>
                </a:ext>
              </a:extLst>
            </p:cNvPr>
            <p:cNvGrpSpPr/>
            <p:nvPr/>
          </p:nvGrpSpPr>
          <p:grpSpPr>
            <a:xfrm>
              <a:off x="4722841" y="379141"/>
              <a:ext cx="96125" cy="93950"/>
              <a:chOff x="2615975" y="444575"/>
              <a:chExt cx="96125" cy="93950"/>
            </a:xfrm>
          </p:grpSpPr>
          <p:sp>
            <p:nvSpPr>
              <p:cNvPr id="36" name="Google Shape;2760;p61">
                <a:extLst>
                  <a:ext uri="{FF2B5EF4-FFF2-40B4-BE49-F238E27FC236}">
                    <a16:creationId xmlns:a16="http://schemas.microsoft.com/office/drawing/2014/main" id="{B945FC8D-82D9-344E-9E22-033ADA2F745E}"/>
                  </a:ext>
                </a:extLst>
              </p:cNvPr>
              <p:cNvSpPr/>
              <p:nvPr/>
            </p:nvSpPr>
            <p:spPr>
              <a:xfrm>
                <a:off x="2615975" y="444575"/>
                <a:ext cx="96125" cy="55725"/>
              </a:xfrm>
              <a:custGeom>
                <a:avLst/>
                <a:gdLst/>
                <a:ahLst/>
                <a:cxnLst/>
                <a:rect l="l" t="t" r="r" b="b"/>
                <a:pathLst>
                  <a:path w="3845" h="2229" extrusionOk="0">
                    <a:moveTo>
                      <a:pt x="1926" y="0"/>
                    </a:moveTo>
                    <a:lnTo>
                      <a:pt x="0" y="1118"/>
                    </a:lnTo>
                    <a:lnTo>
                      <a:pt x="1926" y="2229"/>
                    </a:lnTo>
                    <a:lnTo>
                      <a:pt x="3844" y="1118"/>
                    </a:lnTo>
                    <a:lnTo>
                      <a:pt x="192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116594" tIns="116594" rIns="116594" bIns="116594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40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itchFamily="2" charset="77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41" name="Google Shape;2761;p61">
                <a:extLst>
                  <a:ext uri="{FF2B5EF4-FFF2-40B4-BE49-F238E27FC236}">
                    <a16:creationId xmlns:a16="http://schemas.microsoft.com/office/drawing/2014/main" id="{962158F6-F63D-E74B-BF36-C71567F32747}"/>
                  </a:ext>
                </a:extLst>
              </p:cNvPr>
              <p:cNvSpPr/>
              <p:nvPr/>
            </p:nvSpPr>
            <p:spPr>
              <a:xfrm>
                <a:off x="2615975" y="472525"/>
                <a:ext cx="48150" cy="66000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2640" extrusionOk="0">
                    <a:moveTo>
                      <a:pt x="0" y="0"/>
                    </a:moveTo>
                    <a:lnTo>
                      <a:pt x="0" y="1529"/>
                    </a:lnTo>
                    <a:lnTo>
                      <a:pt x="1926" y="2640"/>
                    </a:lnTo>
                    <a:lnTo>
                      <a:pt x="1926" y="1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C8D3"/>
              </a:solidFill>
              <a:ln>
                <a:noFill/>
              </a:ln>
            </p:spPr>
            <p:txBody>
              <a:bodyPr spcFirstLastPara="1" wrap="square" lIns="116594" tIns="116594" rIns="116594" bIns="116594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40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itchFamily="2" charset="77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42" name="Google Shape;2762;p61">
                <a:extLst>
                  <a:ext uri="{FF2B5EF4-FFF2-40B4-BE49-F238E27FC236}">
                    <a16:creationId xmlns:a16="http://schemas.microsoft.com/office/drawing/2014/main" id="{D0F03007-A31A-8541-A2DB-1159902283C0}"/>
                  </a:ext>
                </a:extLst>
              </p:cNvPr>
              <p:cNvSpPr/>
              <p:nvPr/>
            </p:nvSpPr>
            <p:spPr>
              <a:xfrm>
                <a:off x="2664100" y="472525"/>
                <a:ext cx="48000" cy="66000"/>
              </a:xfrm>
              <a:custGeom>
                <a:avLst/>
                <a:gdLst/>
                <a:ahLst/>
                <a:cxnLst/>
                <a:rect l="l" t="t" r="r" b="b"/>
                <a:pathLst>
                  <a:path w="1920" h="2640" extrusionOk="0">
                    <a:moveTo>
                      <a:pt x="1919" y="0"/>
                    </a:moveTo>
                    <a:lnTo>
                      <a:pt x="1" y="1111"/>
                    </a:lnTo>
                    <a:lnTo>
                      <a:pt x="1" y="2640"/>
                    </a:lnTo>
                    <a:lnTo>
                      <a:pt x="1919" y="1529"/>
                    </a:lnTo>
                    <a:lnTo>
                      <a:pt x="1919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116594" tIns="116594" rIns="116594" bIns="116594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40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itchFamily="2" charset="77"/>
                  <a:ea typeface="Century Gothic" charset="0"/>
                  <a:cs typeface="Century Gothic" charset="0"/>
                </a:endParaRPr>
              </a:p>
            </p:txBody>
          </p:sp>
        </p:grpSp>
      </p:grpSp>
      <p:sp>
        <p:nvSpPr>
          <p:cNvPr id="49" name="Google Shape;642;p21">
            <a:extLst>
              <a:ext uri="{FF2B5EF4-FFF2-40B4-BE49-F238E27FC236}">
                <a16:creationId xmlns:a16="http://schemas.microsoft.com/office/drawing/2014/main" id="{F0D72084-1A3C-C346-ADD4-2733401023BD}"/>
              </a:ext>
            </a:extLst>
          </p:cNvPr>
          <p:cNvSpPr txBox="1">
            <a:spLocks/>
          </p:cNvSpPr>
          <p:nvPr/>
        </p:nvSpPr>
        <p:spPr>
          <a:xfrm>
            <a:off x="470160" y="2551458"/>
            <a:ext cx="5260657" cy="17550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6594" tIns="116594" rIns="116594" bIns="11659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Arvo"/>
              <a:buChar char="●"/>
              <a:defRPr sz="18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●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●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pPr marL="0" marR="0" lvl="0" indent="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Arvo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TERTIB PENYELENGGARAAN</a:t>
            </a: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1D3166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roses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milih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nyedi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Jasa;</a:t>
            </a: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1D3166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nyusun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dan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laksana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ontrak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erj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onstruk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;</a:t>
            </a: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1D3166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nerap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Standar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K4;</a:t>
            </a: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1D3166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nerap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manajeme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mutu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onstruk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; dan</a:t>
            </a: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1D3166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ngelola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dan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ngguna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material,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ralat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, dan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teknolog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onstruk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.</a:t>
            </a:r>
          </a:p>
          <a:p>
            <a:pPr marL="342900" defTabSz="1166200">
              <a:lnSpc>
                <a:spcPct val="100000"/>
              </a:lnSpc>
              <a:spcAft>
                <a:spcPts val="383"/>
              </a:spcAft>
              <a:buClr>
                <a:srgbClr val="1D3166"/>
              </a:buClr>
              <a:buSzPct val="100000"/>
              <a:buFont typeface="+mj-lt"/>
              <a:buAutoNum type="arabicPeriod"/>
              <a:defRPr/>
            </a:pP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ngelolaan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dan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manfaatan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sumber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material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onstruksi</a:t>
            </a:r>
            <a:r>
              <a:rPr lang="en-US" sz="1400" b="1" kern="0" dirty="0">
                <a:solidFill>
                  <a:srgbClr val="C00000"/>
                </a:solidFill>
                <a:latin typeface="Montserrat Medium" pitchFamily="2" charset="77"/>
                <a:ea typeface="Century Gothic" charset="0"/>
                <a:cs typeface="Century Gothic" charset="0"/>
              </a:rPr>
              <a:t>*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ontserrat Medium" pitchFamily="2" charset="77"/>
              <a:ea typeface="Century Gothic" charset="0"/>
              <a:cs typeface="Century Gothic" charset="0"/>
              <a:sym typeface="Arvo"/>
            </a:endParaRP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1D3166"/>
              </a:buClr>
              <a:buSzPct val="100000"/>
              <a:buFont typeface="+mj-lt"/>
              <a:buAutoNum type="arabicPeriod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 Medium" pitchFamily="2" charset="77"/>
              <a:ea typeface="Century Gothic" charset="0"/>
              <a:cs typeface="Century Gothic" charset="0"/>
              <a:sym typeface="Arvo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4ED2A755-D9DB-FD46-B8CF-22161A37A229}"/>
              </a:ext>
            </a:extLst>
          </p:cNvPr>
          <p:cNvSpPr/>
          <p:nvPr/>
        </p:nvSpPr>
        <p:spPr>
          <a:xfrm>
            <a:off x="10797290" y="2005202"/>
            <a:ext cx="966428" cy="966428"/>
          </a:xfrm>
          <a:prstGeom prst="ellipse">
            <a:avLst/>
          </a:prstGeom>
          <a:solidFill>
            <a:srgbClr val="1D31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79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1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</a:rPr>
              <a:t>1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A11D9E5-CA7B-0749-939B-25D2B4A62E8C}"/>
              </a:ext>
            </a:extLst>
          </p:cNvPr>
          <p:cNvGrpSpPr/>
          <p:nvPr/>
        </p:nvGrpSpPr>
        <p:grpSpPr>
          <a:xfrm>
            <a:off x="10372720" y="1302338"/>
            <a:ext cx="591965" cy="1290524"/>
            <a:chOff x="9597104" y="1306710"/>
            <a:chExt cx="512465" cy="1117209"/>
          </a:xfrm>
        </p:grpSpPr>
        <p:sp>
          <p:nvSpPr>
            <p:cNvPr id="52" name="Google Shape;253;p12">
              <a:extLst>
                <a:ext uri="{FF2B5EF4-FFF2-40B4-BE49-F238E27FC236}">
                  <a16:creationId xmlns:a16="http://schemas.microsoft.com/office/drawing/2014/main" id="{36C5F650-3790-974F-8AF6-C372E598B450}"/>
                </a:ext>
              </a:extLst>
            </p:cNvPr>
            <p:cNvSpPr/>
            <p:nvPr/>
          </p:nvSpPr>
          <p:spPr>
            <a:xfrm>
              <a:off x="9730070" y="1493257"/>
              <a:ext cx="180812" cy="355207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55459" tIns="77708" rIns="155459" bIns="77708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306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254;p12">
              <a:extLst>
                <a:ext uri="{FF2B5EF4-FFF2-40B4-BE49-F238E27FC236}">
                  <a16:creationId xmlns:a16="http://schemas.microsoft.com/office/drawing/2014/main" id="{FCBAD167-983A-CD41-9802-FCB43D5DDD18}"/>
                </a:ext>
              </a:extLst>
            </p:cNvPr>
            <p:cNvSpPr/>
            <p:nvPr/>
          </p:nvSpPr>
          <p:spPr>
            <a:xfrm>
              <a:off x="9746383" y="2327542"/>
              <a:ext cx="124393" cy="96377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55459" tIns="77708" rIns="155459" bIns="77708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306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255;p12">
              <a:extLst>
                <a:ext uri="{FF2B5EF4-FFF2-40B4-BE49-F238E27FC236}">
                  <a16:creationId xmlns:a16="http://schemas.microsoft.com/office/drawing/2014/main" id="{99B82DD4-5A16-B943-B1D0-19C53B4836B8}"/>
                </a:ext>
              </a:extLst>
            </p:cNvPr>
            <p:cNvSpPr/>
            <p:nvPr/>
          </p:nvSpPr>
          <p:spPr>
            <a:xfrm>
              <a:off x="9747490" y="2359223"/>
              <a:ext cx="123865" cy="64608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55459" tIns="77708" rIns="155459" bIns="77708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306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256;p12">
              <a:extLst>
                <a:ext uri="{FF2B5EF4-FFF2-40B4-BE49-F238E27FC236}">
                  <a16:creationId xmlns:a16="http://schemas.microsoft.com/office/drawing/2014/main" id="{4F54758F-0B8C-6340-ABC9-77C449EA4B54}"/>
                </a:ext>
              </a:extLst>
            </p:cNvPr>
            <p:cNvSpPr/>
            <p:nvPr/>
          </p:nvSpPr>
          <p:spPr>
            <a:xfrm>
              <a:off x="9597104" y="2240865"/>
              <a:ext cx="124365" cy="92813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55459" tIns="77708" rIns="155459" bIns="77708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306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257;p12">
              <a:extLst>
                <a:ext uri="{FF2B5EF4-FFF2-40B4-BE49-F238E27FC236}">
                  <a16:creationId xmlns:a16="http://schemas.microsoft.com/office/drawing/2014/main" id="{57871867-D9D3-BE40-B8F7-A66A5803B82E}"/>
                </a:ext>
              </a:extLst>
            </p:cNvPr>
            <p:cNvSpPr/>
            <p:nvPr/>
          </p:nvSpPr>
          <p:spPr>
            <a:xfrm>
              <a:off x="9597419" y="2270277"/>
              <a:ext cx="123800" cy="64608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55459" tIns="77708" rIns="155459" bIns="77708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306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258;p12">
              <a:extLst>
                <a:ext uri="{FF2B5EF4-FFF2-40B4-BE49-F238E27FC236}">
                  <a16:creationId xmlns:a16="http://schemas.microsoft.com/office/drawing/2014/main" id="{97AF16C4-98F4-C847-B92A-D0E7AB836214}"/>
                </a:ext>
              </a:extLst>
            </p:cNvPr>
            <p:cNvSpPr/>
            <p:nvPr/>
          </p:nvSpPr>
          <p:spPr>
            <a:xfrm>
              <a:off x="9628339" y="1813846"/>
              <a:ext cx="435600" cy="526591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55459" tIns="77708" rIns="155459" bIns="77708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306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259;p12">
              <a:extLst>
                <a:ext uri="{FF2B5EF4-FFF2-40B4-BE49-F238E27FC236}">
                  <a16:creationId xmlns:a16="http://schemas.microsoft.com/office/drawing/2014/main" id="{B5CC3D10-0E4F-8B4B-BFB7-0E3AFC5F8E07}"/>
                </a:ext>
              </a:extLst>
            </p:cNvPr>
            <p:cNvSpPr/>
            <p:nvPr/>
          </p:nvSpPr>
          <p:spPr>
            <a:xfrm>
              <a:off x="9890538" y="1460726"/>
              <a:ext cx="137041" cy="133329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55459" tIns="77708" rIns="155459" bIns="77708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306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260;p12">
              <a:extLst>
                <a:ext uri="{FF2B5EF4-FFF2-40B4-BE49-F238E27FC236}">
                  <a16:creationId xmlns:a16="http://schemas.microsoft.com/office/drawing/2014/main" id="{DA89613D-A253-BF49-B8C6-F07C25CBC59F}"/>
                </a:ext>
              </a:extLst>
            </p:cNvPr>
            <p:cNvSpPr/>
            <p:nvPr/>
          </p:nvSpPr>
          <p:spPr>
            <a:xfrm>
              <a:off x="9842294" y="1479409"/>
              <a:ext cx="222367" cy="434017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55459" tIns="77708" rIns="155459" bIns="77708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306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61;p12">
              <a:extLst>
                <a:ext uri="{FF2B5EF4-FFF2-40B4-BE49-F238E27FC236}">
                  <a16:creationId xmlns:a16="http://schemas.microsoft.com/office/drawing/2014/main" id="{2E8FA6B9-919E-FA43-9128-C725290F5F21}"/>
                </a:ext>
              </a:extLst>
            </p:cNvPr>
            <p:cNvSpPr/>
            <p:nvPr/>
          </p:nvSpPr>
          <p:spPr>
            <a:xfrm>
              <a:off x="9885063" y="1322425"/>
              <a:ext cx="147680" cy="179819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55459" tIns="77708" rIns="155459" bIns="77708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306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262;p12">
              <a:extLst>
                <a:ext uri="{FF2B5EF4-FFF2-40B4-BE49-F238E27FC236}">
                  <a16:creationId xmlns:a16="http://schemas.microsoft.com/office/drawing/2014/main" id="{41CFD916-AD3C-BA43-A166-E7668AF94B53}"/>
                </a:ext>
              </a:extLst>
            </p:cNvPr>
            <p:cNvSpPr/>
            <p:nvPr/>
          </p:nvSpPr>
          <p:spPr>
            <a:xfrm>
              <a:off x="9890580" y="1306710"/>
              <a:ext cx="155848" cy="154016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155459" tIns="77708" rIns="155459" bIns="77708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306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263;p12">
              <a:extLst>
                <a:ext uri="{FF2B5EF4-FFF2-40B4-BE49-F238E27FC236}">
                  <a16:creationId xmlns:a16="http://schemas.microsoft.com/office/drawing/2014/main" id="{96E53DE5-643D-2942-9B60-E266DA5593C6}"/>
                </a:ext>
              </a:extLst>
            </p:cNvPr>
            <p:cNvSpPr/>
            <p:nvPr/>
          </p:nvSpPr>
          <p:spPr>
            <a:xfrm>
              <a:off x="9818667" y="1479816"/>
              <a:ext cx="71785" cy="10448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55459" tIns="77708" rIns="155459" bIns="77708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306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63" name="Google Shape;295;p12">
              <a:extLst>
                <a:ext uri="{FF2B5EF4-FFF2-40B4-BE49-F238E27FC236}">
                  <a16:creationId xmlns:a16="http://schemas.microsoft.com/office/drawing/2014/main" id="{1244A95A-EE28-DC46-A435-A5D65C7BDF7B}"/>
                </a:ext>
              </a:extLst>
            </p:cNvPr>
            <p:cNvGrpSpPr/>
            <p:nvPr/>
          </p:nvGrpSpPr>
          <p:grpSpPr>
            <a:xfrm>
              <a:off x="9613818" y="1752300"/>
              <a:ext cx="352733" cy="267337"/>
              <a:chOff x="6621095" y="1452181"/>
              <a:chExt cx="330894" cy="250785"/>
            </a:xfrm>
          </p:grpSpPr>
          <p:sp>
            <p:nvSpPr>
              <p:cNvPr id="66" name="Google Shape;296;p12">
                <a:extLst>
                  <a:ext uri="{FF2B5EF4-FFF2-40B4-BE49-F238E27FC236}">
                    <a16:creationId xmlns:a16="http://schemas.microsoft.com/office/drawing/2014/main" id="{A67B7825-6EFE-E04B-838A-97DDBB3ED23E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55459" tIns="77708" rIns="155459" bIns="77708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3061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297;p12">
                <a:extLst>
                  <a:ext uri="{FF2B5EF4-FFF2-40B4-BE49-F238E27FC236}">
                    <a16:creationId xmlns:a16="http://schemas.microsoft.com/office/drawing/2014/main" id="{0A08525B-A96A-3A43-9682-8DC0E4F85A47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55459" tIns="77708" rIns="155459" bIns="77708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3061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298;p12">
                <a:extLst>
                  <a:ext uri="{FF2B5EF4-FFF2-40B4-BE49-F238E27FC236}">
                    <a16:creationId xmlns:a16="http://schemas.microsoft.com/office/drawing/2014/main" id="{233A0FCA-DE5D-4345-A9A7-9C43E267F396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55459" tIns="77708" rIns="155459" bIns="77708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3061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299;p12">
                <a:extLst>
                  <a:ext uri="{FF2B5EF4-FFF2-40B4-BE49-F238E27FC236}">
                    <a16:creationId xmlns:a16="http://schemas.microsoft.com/office/drawing/2014/main" id="{C5EC783C-0624-5946-B5B8-85E852AAFE9A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55459" tIns="77708" rIns="155459" bIns="77708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3061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300;p12">
                <a:extLst>
                  <a:ext uri="{FF2B5EF4-FFF2-40B4-BE49-F238E27FC236}">
                    <a16:creationId xmlns:a16="http://schemas.microsoft.com/office/drawing/2014/main" id="{7F98EA58-21F2-E54E-9417-B84391BE3C9D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55459" tIns="77708" rIns="155459" bIns="77708" anchor="ctr" anchorCtr="0">
                <a:noAutofit/>
              </a:bodyPr>
              <a:lstStyle/>
              <a:p>
                <a:pPr marL="0" marR="0" lvl="0" indent="0" algn="l" defTabSz="7679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3061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64" name="Google Shape;301;p12">
              <a:extLst>
                <a:ext uri="{FF2B5EF4-FFF2-40B4-BE49-F238E27FC236}">
                  <a16:creationId xmlns:a16="http://schemas.microsoft.com/office/drawing/2014/main" id="{A37512BD-D536-094E-AD3A-B1D9240F8A69}"/>
                </a:ext>
              </a:extLst>
            </p:cNvPr>
            <p:cNvSpPr/>
            <p:nvPr/>
          </p:nvSpPr>
          <p:spPr>
            <a:xfrm>
              <a:off x="9934712" y="1550916"/>
              <a:ext cx="168373" cy="470813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55459" tIns="77708" rIns="155459" bIns="77708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306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302;p12">
              <a:extLst>
                <a:ext uri="{FF2B5EF4-FFF2-40B4-BE49-F238E27FC236}">
                  <a16:creationId xmlns:a16="http://schemas.microsoft.com/office/drawing/2014/main" id="{1DEB80AB-8218-DB42-A0C9-BE4501B9C34A}"/>
                </a:ext>
              </a:extLst>
            </p:cNvPr>
            <p:cNvSpPr/>
            <p:nvPr/>
          </p:nvSpPr>
          <p:spPr>
            <a:xfrm>
              <a:off x="10012602" y="1547216"/>
              <a:ext cx="96967" cy="131500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55459" tIns="77708" rIns="155459" bIns="77708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306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71" name="Picture 70">
            <a:extLst>
              <a:ext uri="{FF2B5EF4-FFF2-40B4-BE49-F238E27FC236}">
                <a16:creationId xmlns:a16="http://schemas.microsoft.com/office/drawing/2014/main" id="{839855EA-FD9A-944E-8917-0DBFDD58AD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99436" y="4960179"/>
            <a:ext cx="1268944" cy="828153"/>
          </a:xfrm>
          <a:prstGeom prst="rect">
            <a:avLst/>
          </a:prstGeom>
        </p:spPr>
      </p:pic>
      <p:sp>
        <p:nvSpPr>
          <p:cNvPr id="72" name="Oval 71">
            <a:extLst>
              <a:ext uri="{FF2B5EF4-FFF2-40B4-BE49-F238E27FC236}">
                <a16:creationId xmlns:a16="http://schemas.microsoft.com/office/drawing/2014/main" id="{1F07359A-A25D-414B-AD00-455FB01D0BDB}"/>
              </a:ext>
            </a:extLst>
          </p:cNvPr>
          <p:cNvSpPr/>
          <p:nvPr/>
        </p:nvSpPr>
        <p:spPr>
          <a:xfrm>
            <a:off x="8843298" y="5788332"/>
            <a:ext cx="966428" cy="966428"/>
          </a:xfrm>
          <a:prstGeom prst="ellipse">
            <a:avLst/>
          </a:prstGeom>
          <a:solidFill>
            <a:srgbClr val="1D31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79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1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</a:rPr>
              <a:t>3</a:t>
            </a:r>
          </a:p>
        </p:txBody>
      </p:sp>
      <p:grpSp>
        <p:nvGrpSpPr>
          <p:cNvPr id="73" name="Google Shape;6523;p41">
            <a:extLst>
              <a:ext uri="{FF2B5EF4-FFF2-40B4-BE49-F238E27FC236}">
                <a16:creationId xmlns:a16="http://schemas.microsoft.com/office/drawing/2014/main" id="{4945742B-789E-2543-98C4-8CE433A9A3D6}"/>
              </a:ext>
            </a:extLst>
          </p:cNvPr>
          <p:cNvGrpSpPr/>
          <p:nvPr/>
        </p:nvGrpSpPr>
        <p:grpSpPr>
          <a:xfrm>
            <a:off x="9399119" y="3028944"/>
            <a:ext cx="1304391" cy="1137346"/>
            <a:chOff x="4002200" y="2278875"/>
            <a:chExt cx="1936725" cy="1688700"/>
          </a:xfrm>
        </p:grpSpPr>
        <p:sp>
          <p:nvSpPr>
            <p:cNvPr id="74" name="Google Shape;6524;p41">
              <a:extLst>
                <a:ext uri="{FF2B5EF4-FFF2-40B4-BE49-F238E27FC236}">
                  <a16:creationId xmlns:a16="http://schemas.microsoft.com/office/drawing/2014/main" id="{E6FCC8FA-4905-5A41-98FF-D7696E81AB64}"/>
                </a:ext>
              </a:extLst>
            </p:cNvPr>
            <p:cNvSpPr/>
            <p:nvPr/>
          </p:nvSpPr>
          <p:spPr>
            <a:xfrm>
              <a:off x="4512375" y="3258625"/>
              <a:ext cx="1232625" cy="708950"/>
            </a:xfrm>
            <a:custGeom>
              <a:avLst/>
              <a:gdLst/>
              <a:ahLst/>
              <a:cxnLst/>
              <a:rect l="l" t="t" r="r" b="b"/>
              <a:pathLst>
                <a:path w="49305" h="28358" extrusionOk="0">
                  <a:moveTo>
                    <a:pt x="32081" y="0"/>
                  </a:moveTo>
                  <a:cubicBezTo>
                    <a:pt x="31878" y="0"/>
                    <a:pt x="31676" y="45"/>
                    <a:pt x="31522" y="133"/>
                  </a:cubicBezTo>
                  <a:lnTo>
                    <a:pt x="307" y="18154"/>
                  </a:lnTo>
                  <a:cubicBezTo>
                    <a:pt x="0" y="18331"/>
                    <a:pt x="0" y="18621"/>
                    <a:pt x="307" y="18799"/>
                  </a:cubicBezTo>
                  <a:lnTo>
                    <a:pt x="16635" y="28222"/>
                  </a:lnTo>
                  <a:cubicBezTo>
                    <a:pt x="16789" y="28313"/>
                    <a:pt x="16993" y="28358"/>
                    <a:pt x="17196" y="28358"/>
                  </a:cubicBezTo>
                  <a:cubicBezTo>
                    <a:pt x="17397" y="28358"/>
                    <a:pt x="17598" y="28314"/>
                    <a:pt x="17751" y="28225"/>
                  </a:cubicBezTo>
                  <a:lnTo>
                    <a:pt x="48997" y="10222"/>
                  </a:lnTo>
                  <a:cubicBezTo>
                    <a:pt x="49305" y="10045"/>
                    <a:pt x="49305" y="9754"/>
                    <a:pt x="48997" y="9577"/>
                  </a:cubicBezTo>
                  <a:lnTo>
                    <a:pt x="32639" y="133"/>
                  </a:lnTo>
                  <a:cubicBezTo>
                    <a:pt x="32485" y="45"/>
                    <a:pt x="32283" y="0"/>
                    <a:pt x="3208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6525;p41">
              <a:extLst>
                <a:ext uri="{FF2B5EF4-FFF2-40B4-BE49-F238E27FC236}">
                  <a16:creationId xmlns:a16="http://schemas.microsoft.com/office/drawing/2014/main" id="{8187F406-0104-0142-82BD-F6F69BFC5029}"/>
                </a:ext>
              </a:extLst>
            </p:cNvPr>
            <p:cNvSpPr/>
            <p:nvPr/>
          </p:nvSpPr>
          <p:spPr>
            <a:xfrm>
              <a:off x="5715175" y="3173825"/>
              <a:ext cx="165400" cy="173800"/>
            </a:xfrm>
            <a:custGeom>
              <a:avLst/>
              <a:gdLst/>
              <a:ahLst/>
              <a:cxnLst/>
              <a:rect l="l" t="t" r="r" b="b"/>
              <a:pathLst>
                <a:path w="6616" h="6952" extrusionOk="0">
                  <a:moveTo>
                    <a:pt x="4477" y="0"/>
                  </a:moveTo>
                  <a:cubicBezTo>
                    <a:pt x="3506" y="0"/>
                    <a:pt x="2365" y="493"/>
                    <a:pt x="1377" y="1849"/>
                  </a:cubicBezTo>
                  <a:cubicBezTo>
                    <a:pt x="1" y="3733"/>
                    <a:pt x="151" y="6935"/>
                    <a:pt x="196" y="6952"/>
                  </a:cubicBezTo>
                  <a:lnTo>
                    <a:pt x="1612" y="6470"/>
                  </a:lnTo>
                  <a:cubicBezTo>
                    <a:pt x="2012" y="4320"/>
                    <a:pt x="3691" y="3140"/>
                    <a:pt x="5042" y="2464"/>
                  </a:cubicBezTo>
                  <a:cubicBezTo>
                    <a:pt x="6390" y="1791"/>
                    <a:pt x="6615" y="665"/>
                    <a:pt x="5520" y="204"/>
                  </a:cubicBezTo>
                  <a:cubicBezTo>
                    <a:pt x="5211" y="75"/>
                    <a:pt x="4857" y="0"/>
                    <a:pt x="4477" y="0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6526;p41">
              <a:extLst>
                <a:ext uri="{FF2B5EF4-FFF2-40B4-BE49-F238E27FC236}">
                  <a16:creationId xmlns:a16="http://schemas.microsoft.com/office/drawing/2014/main" id="{BAA5097E-552B-174D-83FB-59BD3CA54D87}"/>
                </a:ext>
              </a:extLst>
            </p:cNvPr>
            <p:cNvSpPr/>
            <p:nvPr/>
          </p:nvSpPr>
          <p:spPr>
            <a:xfrm>
              <a:off x="5719375" y="3173800"/>
              <a:ext cx="151225" cy="173825"/>
            </a:xfrm>
            <a:custGeom>
              <a:avLst/>
              <a:gdLst/>
              <a:ahLst/>
              <a:cxnLst/>
              <a:rect l="l" t="t" r="r" b="b"/>
              <a:pathLst>
                <a:path w="6049" h="6953" extrusionOk="0">
                  <a:moveTo>
                    <a:pt x="4308" y="0"/>
                  </a:moveTo>
                  <a:cubicBezTo>
                    <a:pt x="3339" y="0"/>
                    <a:pt x="2198" y="496"/>
                    <a:pt x="1209" y="1850"/>
                  </a:cubicBezTo>
                  <a:cubicBezTo>
                    <a:pt x="168" y="3273"/>
                    <a:pt x="1" y="5451"/>
                    <a:pt x="1" y="6438"/>
                  </a:cubicBezTo>
                  <a:cubicBezTo>
                    <a:pt x="1" y="6755"/>
                    <a:pt x="17" y="6949"/>
                    <a:pt x="28" y="6953"/>
                  </a:cubicBezTo>
                  <a:lnTo>
                    <a:pt x="1444" y="6471"/>
                  </a:lnTo>
                  <a:cubicBezTo>
                    <a:pt x="1844" y="4321"/>
                    <a:pt x="3523" y="3141"/>
                    <a:pt x="4874" y="2465"/>
                  </a:cubicBezTo>
                  <a:cubicBezTo>
                    <a:pt x="5645" y="2079"/>
                    <a:pt x="6048" y="1547"/>
                    <a:pt x="6048" y="1076"/>
                  </a:cubicBezTo>
                  <a:cubicBezTo>
                    <a:pt x="6048" y="721"/>
                    <a:pt x="5820" y="403"/>
                    <a:pt x="5352" y="205"/>
                  </a:cubicBezTo>
                  <a:cubicBezTo>
                    <a:pt x="5041" y="75"/>
                    <a:pt x="4686" y="0"/>
                    <a:pt x="4308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Google Shape;6527;p41">
              <a:extLst>
                <a:ext uri="{FF2B5EF4-FFF2-40B4-BE49-F238E27FC236}">
                  <a16:creationId xmlns:a16="http://schemas.microsoft.com/office/drawing/2014/main" id="{1D9FEBF5-1526-BD4D-9DEC-8B164A102D63}"/>
                </a:ext>
              </a:extLst>
            </p:cNvPr>
            <p:cNvSpPr/>
            <p:nvPr/>
          </p:nvSpPr>
          <p:spPr>
            <a:xfrm>
              <a:off x="5730025" y="3185750"/>
              <a:ext cx="109075" cy="138500"/>
            </a:xfrm>
            <a:custGeom>
              <a:avLst/>
              <a:gdLst/>
              <a:ahLst/>
              <a:cxnLst/>
              <a:rect l="l" t="t" r="r" b="b"/>
              <a:pathLst>
                <a:path w="4363" h="5540" extrusionOk="0">
                  <a:moveTo>
                    <a:pt x="4249" y="1"/>
                  </a:moveTo>
                  <a:cubicBezTo>
                    <a:pt x="4240" y="1"/>
                    <a:pt x="4232" y="2"/>
                    <a:pt x="4223" y="4"/>
                  </a:cubicBezTo>
                  <a:cubicBezTo>
                    <a:pt x="2537" y="427"/>
                    <a:pt x="540" y="2072"/>
                    <a:pt x="8" y="5420"/>
                  </a:cubicBezTo>
                  <a:cubicBezTo>
                    <a:pt x="1" y="5475"/>
                    <a:pt x="38" y="5530"/>
                    <a:pt x="93" y="5536"/>
                  </a:cubicBezTo>
                  <a:cubicBezTo>
                    <a:pt x="100" y="5539"/>
                    <a:pt x="103" y="5539"/>
                    <a:pt x="110" y="5539"/>
                  </a:cubicBezTo>
                  <a:cubicBezTo>
                    <a:pt x="158" y="5539"/>
                    <a:pt x="202" y="5502"/>
                    <a:pt x="213" y="5451"/>
                  </a:cubicBezTo>
                  <a:cubicBezTo>
                    <a:pt x="728" y="2201"/>
                    <a:pt x="2650" y="612"/>
                    <a:pt x="4274" y="205"/>
                  </a:cubicBezTo>
                  <a:cubicBezTo>
                    <a:pt x="4329" y="191"/>
                    <a:pt x="4362" y="133"/>
                    <a:pt x="4349" y="79"/>
                  </a:cubicBezTo>
                  <a:cubicBezTo>
                    <a:pt x="4337" y="32"/>
                    <a:pt x="4296" y="1"/>
                    <a:pt x="424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78" name="Google Shape;6528;p41">
              <a:extLst>
                <a:ext uri="{FF2B5EF4-FFF2-40B4-BE49-F238E27FC236}">
                  <a16:creationId xmlns:a16="http://schemas.microsoft.com/office/drawing/2014/main" id="{F01CC900-F7AC-EE40-B0D3-B6BA73CE5C69}"/>
                </a:ext>
              </a:extLst>
            </p:cNvPr>
            <p:cNvSpPr/>
            <p:nvPr/>
          </p:nvSpPr>
          <p:spPr>
            <a:xfrm>
              <a:off x="5720050" y="3268975"/>
              <a:ext cx="218875" cy="227200"/>
            </a:xfrm>
            <a:custGeom>
              <a:avLst/>
              <a:gdLst/>
              <a:ahLst/>
              <a:cxnLst/>
              <a:rect l="l" t="t" r="r" b="b"/>
              <a:pathLst>
                <a:path w="8755" h="9088" extrusionOk="0">
                  <a:moveTo>
                    <a:pt x="6171" y="0"/>
                  </a:moveTo>
                  <a:cubicBezTo>
                    <a:pt x="5424" y="0"/>
                    <a:pt x="4735" y="212"/>
                    <a:pt x="4205" y="449"/>
                  </a:cubicBezTo>
                  <a:cubicBezTo>
                    <a:pt x="3455" y="785"/>
                    <a:pt x="3342" y="1137"/>
                    <a:pt x="2484" y="1137"/>
                  </a:cubicBezTo>
                  <a:cubicBezTo>
                    <a:pt x="2382" y="1137"/>
                    <a:pt x="2269" y="1132"/>
                    <a:pt x="2144" y="1122"/>
                  </a:cubicBezTo>
                  <a:cubicBezTo>
                    <a:pt x="2070" y="1115"/>
                    <a:pt x="1998" y="1112"/>
                    <a:pt x="1926" y="1112"/>
                  </a:cubicBezTo>
                  <a:cubicBezTo>
                    <a:pt x="855" y="1112"/>
                    <a:pt x="71" y="1808"/>
                    <a:pt x="1" y="2480"/>
                  </a:cubicBezTo>
                  <a:lnTo>
                    <a:pt x="250" y="9088"/>
                  </a:lnTo>
                  <a:cubicBezTo>
                    <a:pt x="461" y="8245"/>
                    <a:pt x="1308" y="7689"/>
                    <a:pt x="2311" y="7596"/>
                  </a:cubicBezTo>
                  <a:cubicBezTo>
                    <a:pt x="3352" y="7504"/>
                    <a:pt x="4564" y="7402"/>
                    <a:pt x="4888" y="6521"/>
                  </a:cubicBezTo>
                  <a:cubicBezTo>
                    <a:pt x="5209" y="5641"/>
                    <a:pt x="4884" y="4450"/>
                    <a:pt x="5032" y="3866"/>
                  </a:cubicBezTo>
                  <a:cubicBezTo>
                    <a:pt x="5212" y="3160"/>
                    <a:pt x="5482" y="2736"/>
                    <a:pt x="6850" y="2306"/>
                  </a:cubicBezTo>
                  <a:cubicBezTo>
                    <a:pt x="8075" y="1924"/>
                    <a:pt x="8755" y="750"/>
                    <a:pt x="7519" y="255"/>
                  </a:cubicBezTo>
                  <a:cubicBezTo>
                    <a:pt x="7064" y="73"/>
                    <a:pt x="6608" y="0"/>
                    <a:pt x="6171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79" name="Google Shape;6529;p41">
              <a:extLst>
                <a:ext uri="{FF2B5EF4-FFF2-40B4-BE49-F238E27FC236}">
                  <a16:creationId xmlns:a16="http://schemas.microsoft.com/office/drawing/2014/main" id="{ED58F977-F6F2-6147-BF0D-896DC0ECE502}"/>
                </a:ext>
              </a:extLst>
            </p:cNvPr>
            <p:cNvSpPr/>
            <p:nvPr/>
          </p:nvSpPr>
          <p:spPr>
            <a:xfrm>
              <a:off x="5723375" y="3284775"/>
              <a:ext cx="164625" cy="139900"/>
            </a:xfrm>
            <a:custGeom>
              <a:avLst/>
              <a:gdLst/>
              <a:ahLst/>
              <a:cxnLst/>
              <a:rect l="l" t="t" r="r" b="b"/>
              <a:pathLst>
                <a:path w="6585" h="5596" extrusionOk="0">
                  <a:moveTo>
                    <a:pt x="6477" y="1"/>
                  </a:moveTo>
                  <a:cubicBezTo>
                    <a:pt x="6473" y="1"/>
                    <a:pt x="6469" y="1"/>
                    <a:pt x="6465" y="2"/>
                  </a:cubicBezTo>
                  <a:cubicBezTo>
                    <a:pt x="5107" y="165"/>
                    <a:pt x="1018" y="2678"/>
                    <a:pt x="21" y="5459"/>
                  </a:cubicBezTo>
                  <a:cubicBezTo>
                    <a:pt x="0" y="5510"/>
                    <a:pt x="28" y="5572"/>
                    <a:pt x="82" y="5589"/>
                  </a:cubicBezTo>
                  <a:cubicBezTo>
                    <a:pt x="93" y="5592"/>
                    <a:pt x="107" y="5595"/>
                    <a:pt x="117" y="5595"/>
                  </a:cubicBezTo>
                  <a:cubicBezTo>
                    <a:pt x="161" y="5595"/>
                    <a:pt x="199" y="5568"/>
                    <a:pt x="216" y="5527"/>
                  </a:cubicBezTo>
                  <a:cubicBezTo>
                    <a:pt x="1188" y="2818"/>
                    <a:pt x="5168" y="364"/>
                    <a:pt x="6489" y="206"/>
                  </a:cubicBezTo>
                  <a:cubicBezTo>
                    <a:pt x="6543" y="200"/>
                    <a:pt x="6584" y="148"/>
                    <a:pt x="6578" y="94"/>
                  </a:cubicBezTo>
                  <a:cubicBezTo>
                    <a:pt x="6571" y="40"/>
                    <a:pt x="6529" y="1"/>
                    <a:pt x="64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80" name="Google Shape;6530;p41">
              <a:extLst>
                <a:ext uri="{FF2B5EF4-FFF2-40B4-BE49-F238E27FC236}">
                  <a16:creationId xmlns:a16="http://schemas.microsoft.com/office/drawing/2014/main" id="{A71FA5B7-4612-B444-B83E-004EC7FF479C}"/>
                </a:ext>
              </a:extLst>
            </p:cNvPr>
            <p:cNvSpPr/>
            <p:nvPr/>
          </p:nvSpPr>
          <p:spPr>
            <a:xfrm>
              <a:off x="5738575" y="3319075"/>
              <a:ext cx="13925" cy="64900"/>
            </a:xfrm>
            <a:custGeom>
              <a:avLst/>
              <a:gdLst/>
              <a:ahLst/>
              <a:cxnLst/>
              <a:rect l="l" t="t" r="r" b="b"/>
              <a:pathLst>
                <a:path w="557" h="2596" extrusionOk="0">
                  <a:moveTo>
                    <a:pt x="444" y="0"/>
                  </a:moveTo>
                  <a:cubicBezTo>
                    <a:pt x="402" y="0"/>
                    <a:pt x="361" y="26"/>
                    <a:pt x="345" y="66"/>
                  </a:cubicBezTo>
                  <a:cubicBezTo>
                    <a:pt x="331" y="107"/>
                    <a:pt x="0" y="1039"/>
                    <a:pt x="342" y="2517"/>
                  </a:cubicBezTo>
                  <a:cubicBezTo>
                    <a:pt x="352" y="2561"/>
                    <a:pt x="392" y="2596"/>
                    <a:pt x="441" y="2596"/>
                  </a:cubicBezTo>
                  <a:cubicBezTo>
                    <a:pt x="447" y="2596"/>
                    <a:pt x="457" y="2596"/>
                    <a:pt x="465" y="2592"/>
                  </a:cubicBezTo>
                  <a:cubicBezTo>
                    <a:pt x="519" y="2579"/>
                    <a:pt x="553" y="2524"/>
                    <a:pt x="539" y="2470"/>
                  </a:cubicBezTo>
                  <a:cubicBezTo>
                    <a:pt x="216" y="1057"/>
                    <a:pt x="533" y="145"/>
                    <a:pt x="536" y="138"/>
                  </a:cubicBezTo>
                  <a:cubicBezTo>
                    <a:pt x="556" y="83"/>
                    <a:pt x="529" y="25"/>
                    <a:pt x="474" y="5"/>
                  </a:cubicBezTo>
                  <a:cubicBezTo>
                    <a:pt x="464" y="2"/>
                    <a:pt x="454" y="0"/>
                    <a:pt x="44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81" name="Google Shape;6531;p41">
              <a:extLst>
                <a:ext uri="{FF2B5EF4-FFF2-40B4-BE49-F238E27FC236}">
                  <a16:creationId xmlns:a16="http://schemas.microsoft.com/office/drawing/2014/main" id="{FBF58FB5-7E2C-EA44-AAED-1BE618F74EBD}"/>
                </a:ext>
              </a:extLst>
            </p:cNvPr>
            <p:cNvSpPr/>
            <p:nvPr/>
          </p:nvSpPr>
          <p:spPr>
            <a:xfrm>
              <a:off x="5729775" y="3398700"/>
              <a:ext cx="71200" cy="11300"/>
            </a:xfrm>
            <a:custGeom>
              <a:avLst/>
              <a:gdLst/>
              <a:ahLst/>
              <a:cxnLst/>
              <a:rect l="l" t="t" r="r" b="b"/>
              <a:pathLst>
                <a:path w="2848" h="452" extrusionOk="0">
                  <a:moveTo>
                    <a:pt x="1448" y="1"/>
                  </a:moveTo>
                  <a:cubicBezTo>
                    <a:pt x="960" y="1"/>
                    <a:pt x="436" y="59"/>
                    <a:pt x="72" y="257"/>
                  </a:cubicBezTo>
                  <a:cubicBezTo>
                    <a:pt x="21" y="285"/>
                    <a:pt x="1" y="346"/>
                    <a:pt x="28" y="397"/>
                  </a:cubicBezTo>
                  <a:cubicBezTo>
                    <a:pt x="48" y="431"/>
                    <a:pt x="83" y="452"/>
                    <a:pt x="120" y="452"/>
                  </a:cubicBezTo>
                  <a:cubicBezTo>
                    <a:pt x="138" y="452"/>
                    <a:pt x="154" y="449"/>
                    <a:pt x="168" y="438"/>
                  </a:cubicBezTo>
                  <a:cubicBezTo>
                    <a:pt x="495" y="260"/>
                    <a:pt x="980" y="208"/>
                    <a:pt x="1440" y="208"/>
                  </a:cubicBezTo>
                  <a:cubicBezTo>
                    <a:pt x="2100" y="208"/>
                    <a:pt x="2708" y="316"/>
                    <a:pt x="2718" y="318"/>
                  </a:cubicBezTo>
                  <a:cubicBezTo>
                    <a:pt x="2724" y="320"/>
                    <a:pt x="2730" y="320"/>
                    <a:pt x="2736" y="320"/>
                  </a:cubicBezTo>
                  <a:cubicBezTo>
                    <a:pt x="2784" y="320"/>
                    <a:pt x="2828" y="285"/>
                    <a:pt x="2837" y="236"/>
                  </a:cubicBezTo>
                  <a:cubicBezTo>
                    <a:pt x="2847" y="178"/>
                    <a:pt x="2809" y="124"/>
                    <a:pt x="2755" y="114"/>
                  </a:cubicBezTo>
                  <a:cubicBezTo>
                    <a:pt x="2712" y="108"/>
                    <a:pt x="2113" y="1"/>
                    <a:pt x="144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82" name="Google Shape;6532;p41">
              <a:extLst>
                <a:ext uri="{FF2B5EF4-FFF2-40B4-BE49-F238E27FC236}">
                  <a16:creationId xmlns:a16="http://schemas.microsoft.com/office/drawing/2014/main" id="{1F81D233-3D13-7A4E-8B09-1F475AF2C3FF}"/>
                </a:ext>
              </a:extLst>
            </p:cNvPr>
            <p:cNvSpPr/>
            <p:nvPr/>
          </p:nvSpPr>
          <p:spPr>
            <a:xfrm>
              <a:off x="4446675" y="3190600"/>
              <a:ext cx="40475" cy="35025"/>
            </a:xfrm>
            <a:custGeom>
              <a:avLst/>
              <a:gdLst/>
              <a:ahLst/>
              <a:cxnLst/>
              <a:rect l="l" t="t" r="r" b="b"/>
              <a:pathLst>
                <a:path w="1619" h="1401" extrusionOk="0">
                  <a:moveTo>
                    <a:pt x="1618" y="1"/>
                  </a:moveTo>
                  <a:lnTo>
                    <a:pt x="0" y="468"/>
                  </a:lnTo>
                  <a:lnTo>
                    <a:pt x="1618" y="1400"/>
                  </a:lnTo>
                  <a:lnTo>
                    <a:pt x="1618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Google Shape;6533;p41">
              <a:extLst>
                <a:ext uri="{FF2B5EF4-FFF2-40B4-BE49-F238E27FC236}">
                  <a16:creationId xmlns:a16="http://schemas.microsoft.com/office/drawing/2014/main" id="{534D81C8-1E60-AC42-9196-40001993737A}"/>
                </a:ext>
              </a:extLst>
            </p:cNvPr>
            <p:cNvSpPr/>
            <p:nvPr/>
          </p:nvSpPr>
          <p:spPr>
            <a:xfrm>
              <a:off x="4022425" y="3202300"/>
              <a:ext cx="222225" cy="165450"/>
            </a:xfrm>
            <a:custGeom>
              <a:avLst/>
              <a:gdLst/>
              <a:ahLst/>
              <a:cxnLst/>
              <a:rect l="l" t="t" r="r" b="b"/>
              <a:pathLst>
                <a:path w="8889" h="6618" extrusionOk="0">
                  <a:moveTo>
                    <a:pt x="1" y="0"/>
                  </a:moveTo>
                  <a:lnTo>
                    <a:pt x="1" y="1489"/>
                  </a:lnTo>
                  <a:lnTo>
                    <a:pt x="8888" y="6618"/>
                  </a:lnTo>
                  <a:lnTo>
                    <a:pt x="8888" y="513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84" name="Google Shape;6534;p41">
              <a:extLst>
                <a:ext uri="{FF2B5EF4-FFF2-40B4-BE49-F238E27FC236}">
                  <a16:creationId xmlns:a16="http://schemas.microsoft.com/office/drawing/2014/main" id="{7046C914-5E59-A343-912C-917AE2EFF86F}"/>
                </a:ext>
              </a:extLst>
            </p:cNvPr>
            <p:cNvSpPr/>
            <p:nvPr/>
          </p:nvSpPr>
          <p:spPr>
            <a:xfrm>
              <a:off x="4002200" y="2910650"/>
              <a:ext cx="222325" cy="431600"/>
            </a:xfrm>
            <a:custGeom>
              <a:avLst/>
              <a:gdLst/>
              <a:ahLst/>
              <a:cxnLst/>
              <a:rect l="l" t="t" r="r" b="b"/>
              <a:pathLst>
                <a:path w="8893" h="17264" extrusionOk="0">
                  <a:moveTo>
                    <a:pt x="1" y="0"/>
                  </a:moveTo>
                  <a:lnTo>
                    <a:pt x="1" y="12131"/>
                  </a:lnTo>
                  <a:lnTo>
                    <a:pt x="8892" y="17263"/>
                  </a:lnTo>
                  <a:lnTo>
                    <a:pt x="8892" y="513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85" name="Google Shape;6535;p41">
              <a:extLst>
                <a:ext uri="{FF2B5EF4-FFF2-40B4-BE49-F238E27FC236}">
                  <a16:creationId xmlns:a16="http://schemas.microsoft.com/office/drawing/2014/main" id="{FD5958DC-E4A6-2444-A54D-2CDB6A5A95B4}"/>
                </a:ext>
              </a:extLst>
            </p:cNvPr>
            <p:cNvSpPr/>
            <p:nvPr/>
          </p:nvSpPr>
          <p:spPr>
            <a:xfrm>
              <a:off x="4224500" y="2863975"/>
              <a:ext cx="302975" cy="478275"/>
            </a:xfrm>
            <a:custGeom>
              <a:avLst/>
              <a:gdLst/>
              <a:ahLst/>
              <a:cxnLst/>
              <a:rect l="l" t="t" r="r" b="b"/>
              <a:pathLst>
                <a:path w="12119" h="19131" extrusionOk="0">
                  <a:moveTo>
                    <a:pt x="12119" y="1"/>
                  </a:moveTo>
                  <a:lnTo>
                    <a:pt x="0" y="7001"/>
                  </a:lnTo>
                  <a:lnTo>
                    <a:pt x="0" y="19130"/>
                  </a:lnTo>
                  <a:lnTo>
                    <a:pt x="12119" y="12134"/>
                  </a:lnTo>
                  <a:lnTo>
                    <a:pt x="12119" y="1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86" name="Google Shape;6536;p41">
              <a:extLst>
                <a:ext uri="{FF2B5EF4-FFF2-40B4-BE49-F238E27FC236}">
                  <a16:creationId xmlns:a16="http://schemas.microsoft.com/office/drawing/2014/main" id="{99DEF089-43AC-3C43-B584-019B5545C26D}"/>
                </a:ext>
              </a:extLst>
            </p:cNvPr>
            <p:cNvSpPr/>
            <p:nvPr/>
          </p:nvSpPr>
          <p:spPr>
            <a:xfrm>
              <a:off x="4002200" y="2735675"/>
              <a:ext cx="525275" cy="303325"/>
            </a:xfrm>
            <a:custGeom>
              <a:avLst/>
              <a:gdLst/>
              <a:ahLst/>
              <a:cxnLst/>
              <a:rect l="l" t="t" r="r" b="b"/>
              <a:pathLst>
                <a:path w="21011" h="12133" extrusionOk="0">
                  <a:moveTo>
                    <a:pt x="12123" y="0"/>
                  </a:moveTo>
                  <a:lnTo>
                    <a:pt x="1" y="6999"/>
                  </a:lnTo>
                  <a:lnTo>
                    <a:pt x="8892" y="12133"/>
                  </a:lnTo>
                  <a:lnTo>
                    <a:pt x="21011" y="5133"/>
                  </a:lnTo>
                  <a:lnTo>
                    <a:pt x="12123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87" name="Google Shape;6537;p41">
              <a:extLst>
                <a:ext uri="{FF2B5EF4-FFF2-40B4-BE49-F238E27FC236}">
                  <a16:creationId xmlns:a16="http://schemas.microsoft.com/office/drawing/2014/main" id="{A7626593-9793-4D40-A4C9-945B0E133FC2}"/>
                </a:ext>
              </a:extLst>
            </p:cNvPr>
            <p:cNvSpPr/>
            <p:nvPr/>
          </p:nvSpPr>
          <p:spPr>
            <a:xfrm>
              <a:off x="4244625" y="2898975"/>
              <a:ext cx="262725" cy="221700"/>
            </a:xfrm>
            <a:custGeom>
              <a:avLst/>
              <a:gdLst/>
              <a:ahLst/>
              <a:cxnLst/>
              <a:rect l="l" t="t" r="r" b="b"/>
              <a:pathLst>
                <a:path w="10509" h="8868" extrusionOk="0">
                  <a:moveTo>
                    <a:pt x="10509" y="1"/>
                  </a:moveTo>
                  <a:lnTo>
                    <a:pt x="0" y="6065"/>
                  </a:lnTo>
                  <a:lnTo>
                    <a:pt x="0" y="8867"/>
                  </a:lnTo>
                  <a:lnTo>
                    <a:pt x="10509" y="2802"/>
                  </a:lnTo>
                  <a:lnTo>
                    <a:pt x="10509" y="1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88" name="Google Shape;6538;p41">
              <a:extLst>
                <a:ext uri="{FF2B5EF4-FFF2-40B4-BE49-F238E27FC236}">
                  <a16:creationId xmlns:a16="http://schemas.microsoft.com/office/drawing/2014/main" id="{E255348E-4623-0E41-BF8E-7EB97256DC8A}"/>
                </a:ext>
              </a:extLst>
            </p:cNvPr>
            <p:cNvSpPr/>
            <p:nvPr/>
          </p:nvSpPr>
          <p:spPr>
            <a:xfrm>
              <a:off x="4345625" y="2945650"/>
              <a:ext cx="80925" cy="53850"/>
            </a:xfrm>
            <a:custGeom>
              <a:avLst/>
              <a:gdLst/>
              <a:ahLst/>
              <a:cxnLst/>
              <a:rect l="l" t="t" r="r" b="b"/>
              <a:pathLst>
                <a:path w="3237" h="2154" extrusionOk="0">
                  <a:moveTo>
                    <a:pt x="3236" y="0"/>
                  </a:moveTo>
                  <a:lnTo>
                    <a:pt x="1" y="1867"/>
                  </a:lnTo>
                  <a:lnTo>
                    <a:pt x="1" y="2099"/>
                  </a:lnTo>
                  <a:cubicBezTo>
                    <a:pt x="1" y="2137"/>
                    <a:pt x="32" y="2154"/>
                    <a:pt x="83" y="2154"/>
                  </a:cubicBezTo>
                  <a:cubicBezTo>
                    <a:pt x="220" y="2154"/>
                    <a:pt x="520" y="2034"/>
                    <a:pt x="864" y="1836"/>
                  </a:cubicBezTo>
                  <a:lnTo>
                    <a:pt x="2373" y="966"/>
                  </a:lnTo>
                  <a:cubicBezTo>
                    <a:pt x="2847" y="689"/>
                    <a:pt x="3236" y="362"/>
                    <a:pt x="3236" y="235"/>
                  </a:cubicBezTo>
                  <a:lnTo>
                    <a:pt x="3236" y="0"/>
                  </a:lnTo>
                  <a:close/>
                </a:path>
              </a:pathLst>
            </a:custGeom>
            <a:solidFill>
              <a:srgbClr val="0A121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89" name="Google Shape;6539;p41">
              <a:extLst>
                <a:ext uri="{FF2B5EF4-FFF2-40B4-BE49-F238E27FC236}">
                  <a16:creationId xmlns:a16="http://schemas.microsoft.com/office/drawing/2014/main" id="{C63BA906-B450-7E43-BB82-481301D6C364}"/>
                </a:ext>
              </a:extLst>
            </p:cNvPr>
            <p:cNvSpPr/>
            <p:nvPr/>
          </p:nvSpPr>
          <p:spPr>
            <a:xfrm>
              <a:off x="4244625" y="2992325"/>
              <a:ext cx="262725" cy="221600"/>
            </a:xfrm>
            <a:custGeom>
              <a:avLst/>
              <a:gdLst/>
              <a:ahLst/>
              <a:cxnLst/>
              <a:rect l="l" t="t" r="r" b="b"/>
              <a:pathLst>
                <a:path w="10509" h="8864" extrusionOk="0">
                  <a:moveTo>
                    <a:pt x="10509" y="0"/>
                  </a:moveTo>
                  <a:lnTo>
                    <a:pt x="0" y="6065"/>
                  </a:lnTo>
                  <a:lnTo>
                    <a:pt x="0" y="8864"/>
                  </a:lnTo>
                  <a:lnTo>
                    <a:pt x="10509" y="2799"/>
                  </a:lnTo>
                  <a:lnTo>
                    <a:pt x="10509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Google Shape;6540;p41">
              <a:extLst>
                <a:ext uri="{FF2B5EF4-FFF2-40B4-BE49-F238E27FC236}">
                  <a16:creationId xmlns:a16="http://schemas.microsoft.com/office/drawing/2014/main" id="{A438A1EF-83DB-F54B-BDCA-98EDB4C9BF12}"/>
                </a:ext>
              </a:extLst>
            </p:cNvPr>
            <p:cNvSpPr/>
            <p:nvPr/>
          </p:nvSpPr>
          <p:spPr>
            <a:xfrm>
              <a:off x="4345625" y="3080200"/>
              <a:ext cx="9425" cy="5475"/>
            </a:xfrm>
            <a:custGeom>
              <a:avLst/>
              <a:gdLst/>
              <a:ahLst/>
              <a:cxnLst/>
              <a:rect l="l" t="t" r="r" b="b"/>
              <a:pathLst>
                <a:path w="377" h="219" extrusionOk="0">
                  <a:moveTo>
                    <a:pt x="377" y="1"/>
                  </a:moveTo>
                  <a:lnTo>
                    <a:pt x="1" y="219"/>
                  </a:lnTo>
                  <a:lnTo>
                    <a:pt x="1" y="219"/>
                  </a:lnTo>
                  <a:close/>
                </a:path>
              </a:pathLst>
            </a:custGeom>
            <a:solidFill>
              <a:srgbClr val="080E11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Google Shape;6541;p41">
              <a:extLst>
                <a:ext uri="{FF2B5EF4-FFF2-40B4-BE49-F238E27FC236}">
                  <a16:creationId xmlns:a16="http://schemas.microsoft.com/office/drawing/2014/main" id="{C4D59FE0-A450-6F45-8C2A-AAF4EEF5448B}"/>
                </a:ext>
              </a:extLst>
            </p:cNvPr>
            <p:cNvSpPr/>
            <p:nvPr/>
          </p:nvSpPr>
          <p:spPr>
            <a:xfrm>
              <a:off x="4345625" y="3038975"/>
              <a:ext cx="80925" cy="53800"/>
            </a:xfrm>
            <a:custGeom>
              <a:avLst/>
              <a:gdLst/>
              <a:ahLst/>
              <a:cxnLst/>
              <a:rect l="l" t="t" r="r" b="b"/>
              <a:pathLst>
                <a:path w="3237" h="2152" extrusionOk="0">
                  <a:moveTo>
                    <a:pt x="3236" y="1"/>
                  </a:moveTo>
                  <a:lnTo>
                    <a:pt x="377" y="1650"/>
                  </a:lnTo>
                  <a:lnTo>
                    <a:pt x="1" y="1868"/>
                  </a:lnTo>
                  <a:lnTo>
                    <a:pt x="1" y="2100"/>
                  </a:lnTo>
                  <a:cubicBezTo>
                    <a:pt x="1" y="2134"/>
                    <a:pt x="32" y="2151"/>
                    <a:pt x="83" y="2151"/>
                  </a:cubicBezTo>
                  <a:cubicBezTo>
                    <a:pt x="220" y="2151"/>
                    <a:pt x="520" y="2035"/>
                    <a:pt x="864" y="1837"/>
                  </a:cubicBezTo>
                  <a:lnTo>
                    <a:pt x="2373" y="963"/>
                  </a:lnTo>
                  <a:cubicBezTo>
                    <a:pt x="2847" y="691"/>
                    <a:pt x="3236" y="363"/>
                    <a:pt x="3236" y="233"/>
                  </a:cubicBezTo>
                  <a:lnTo>
                    <a:pt x="3236" y="1"/>
                  </a:lnTo>
                  <a:close/>
                </a:path>
              </a:pathLst>
            </a:custGeom>
            <a:solidFill>
              <a:srgbClr val="0A121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Google Shape;6542;p41">
              <a:extLst>
                <a:ext uri="{FF2B5EF4-FFF2-40B4-BE49-F238E27FC236}">
                  <a16:creationId xmlns:a16="http://schemas.microsoft.com/office/drawing/2014/main" id="{D6151E92-7F78-E044-B7D1-791A14534568}"/>
                </a:ext>
              </a:extLst>
            </p:cNvPr>
            <p:cNvSpPr/>
            <p:nvPr/>
          </p:nvSpPr>
          <p:spPr>
            <a:xfrm>
              <a:off x="4244625" y="3085650"/>
              <a:ext cx="262725" cy="221625"/>
            </a:xfrm>
            <a:custGeom>
              <a:avLst/>
              <a:gdLst/>
              <a:ahLst/>
              <a:cxnLst/>
              <a:rect l="l" t="t" r="r" b="b"/>
              <a:pathLst>
                <a:path w="10509" h="8865" extrusionOk="0">
                  <a:moveTo>
                    <a:pt x="10509" y="1"/>
                  </a:moveTo>
                  <a:lnTo>
                    <a:pt x="0" y="6065"/>
                  </a:lnTo>
                  <a:lnTo>
                    <a:pt x="0" y="8864"/>
                  </a:lnTo>
                  <a:lnTo>
                    <a:pt x="10509" y="2800"/>
                  </a:lnTo>
                  <a:lnTo>
                    <a:pt x="10509" y="1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Google Shape;6543;p41">
              <a:extLst>
                <a:ext uri="{FF2B5EF4-FFF2-40B4-BE49-F238E27FC236}">
                  <a16:creationId xmlns:a16="http://schemas.microsoft.com/office/drawing/2014/main" id="{C597F051-25ED-2D4B-8E98-62C97FC1E600}"/>
                </a:ext>
              </a:extLst>
            </p:cNvPr>
            <p:cNvSpPr/>
            <p:nvPr/>
          </p:nvSpPr>
          <p:spPr>
            <a:xfrm>
              <a:off x="4345625" y="3177300"/>
              <a:ext cx="2950" cy="1625"/>
            </a:xfrm>
            <a:custGeom>
              <a:avLst/>
              <a:gdLst/>
              <a:ahLst/>
              <a:cxnLst/>
              <a:rect l="l" t="t" r="r" b="b"/>
              <a:pathLst>
                <a:path w="118" h="65" extrusionOk="0">
                  <a:moveTo>
                    <a:pt x="117" y="0"/>
                  </a:moveTo>
                  <a:lnTo>
                    <a:pt x="1" y="65"/>
                  </a:lnTo>
                  <a:lnTo>
                    <a:pt x="1" y="65"/>
                  </a:lnTo>
                  <a:close/>
                </a:path>
              </a:pathLst>
            </a:custGeom>
            <a:solidFill>
              <a:srgbClr val="080E11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Google Shape;6544;p41">
              <a:extLst>
                <a:ext uri="{FF2B5EF4-FFF2-40B4-BE49-F238E27FC236}">
                  <a16:creationId xmlns:a16="http://schemas.microsoft.com/office/drawing/2014/main" id="{C3EBECF4-58F1-E942-8CD3-0A5BFB13D37D}"/>
                </a:ext>
              </a:extLst>
            </p:cNvPr>
            <p:cNvSpPr/>
            <p:nvPr/>
          </p:nvSpPr>
          <p:spPr>
            <a:xfrm>
              <a:off x="4345625" y="3132325"/>
              <a:ext cx="80925" cy="53775"/>
            </a:xfrm>
            <a:custGeom>
              <a:avLst/>
              <a:gdLst/>
              <a:ahLst/>
              <a:cxnLst/>
              <a:rect l="l" t="t" r="r" b="b"/>
              <a:pathLst>
                <a:path w="3237" h="2151" extrusionOk="0">
                  <a:moveTo>
                    <a:pt x="3236" y="0"/>
                  </a:moveTo>
                  <a:lnTo>
                    <a:pt x="117" y="1799"/>
                  </a:lnTo>
                  <a:lnTo>
                    <a:pt x="1" y="1864"/>
                  </a:lnTo>
                  <a:lnTo>
                    <a:pt x="1" y="2100"/>
                  </a:lnTo>
                  <a:cubicBezTo>
                    <a:pt x="1" y="2134"/>
                    <a:pt x="32" y="2151"/>
                    <a:pt x="83" y="2151"/>
                  </a:cubicBezTo>
                  <a:cubicBezTo>
                    <a:pt x="220" y="2151"/>
                    <a:pt x="520" y="2035"/>
                    <a:pt x="864" y="1834"/>
                  </a:cubicBezTo>
                  <a:lnTo>
                    <a:pt x="2373" y="963"/>
                  </a:lnTo>
                  <a:cubicBezTo>
                    <a:pt x="2847" y="687"/>
                    <a:pt x="3236" y="362"/>
                    <a:pt x="3236" y="233"/>
                  </a:cubicBezTo>
                  <a:lnTo>
                    <a:pt x="3236" y="0"/>
                  </a:lnTo>
                  <a:close/>
                </a:path>
              </a:pathLst>
            </a:custGeom>
            <a:solidFill>
              <a:srgbClr val="0A121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Google Shape;6545;p41">
              <a:extLst>
                <a:ext uri="{FF2B5EF4-FFF2-40B4-BE49-F238E27FC236}">
                  <a16:creationId xmlns:a16="http://schemas.microsoft.com/office/drawing/2014/main" id="{1F31EF66-AC78-AE42-B5B1-0FCCE54C10FB}"/>
                </a:ext>
              </a:extLst>
            </p:cNvPr>
            <p:cNvSpPr/>
            <p:nvPr/>
          </p:nvSpPr>
          <p:spPr>
            <a:xfrm>
              <a:off x="4244625" y="3318950"/>
              <a:ext cx="20225" cy="48800"/>
            </a:xfrm>
            <a:custGeom>
              <a:avLst/>
              <a:gdLst/>
              <a:ahLst/>
              <a:cxnLst/>
              <a:rect l="l" t="t" r="r" b="b"/>
              <a:pathLst>
                <a:path w="809" h="1952" extrusionOk="0">
                  <a:moveTo>
                    <a:pt x="809" y="0"/>
                  </a:moveTo>
                  <a:lnTo>
                    <a:pt x="0" y="468"/>
                  </a:lnTo>
                  <a:lnTo>
                    <a:pt x="0" y="1952"/>
                  </a:lnTo>
                  <a:lnTo>
                    <a:pt x="809" y="1488"/>
                  </a:lnTo>
                  <a:lnTo>
                    <a:pt x="80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Google Shape;6546;p41">
              <a:extLst>
                <a:ext uri="{FF2B5EF4-FFF2-40B4-BE49-F238E27FC236}">
                  <a16:creationId xmlns:a16="http://schemas.microsoft.com/office/drawing/2014/main" id="{16DC4EA4-AD4D-C04F-A92A-FB1538A414C3}"/>
                </a:ext>
              </a:extLst>
            </p:cNvPr>
            <p:cNvSpPr/>
            <p:nvPr/>
          </p:nvSpPr>
          <p:spPr>
            <a:xfrm>
              <a:off x="4487125" y="3178900"/>
              <a:ext cx="20225" cy="46725"/>
            </a:xfrm>
            <a:custGeom>
              <a:avLst/>
              <a:gdLst/>
              <a:ahLst/>
              <a:cxnLst/>
              <a:rect l="l" t="t" r="r" b="b"/>
              <a:pathLst>
                <a:path w="809" h="1869" extrusionOk="0">
                  <a:moveTo>
                    <a:pt x="809" y="1"/>
                  </a:moveTo>
                  <a:lnTo>
                    <a:pt x="0" y="469"/>
                  </a:lnTo>
                  <a:lnTo>
                    <a:pt x="0" y="1868"/>
                  </a:lnTo>
                  <a:lnTo>
                    <a:pt x="809" y="1401"/>
                  </a:lnTo>
                  <a:lnTo>
                    <a:pt x="809" y="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Google Shape;6547;p41">
              <a:extLst>
                <a:ext uri="{FF2B5EF4-FFF2-40B4-BE49-F238E27FC236}">
                  <a16:creationId xmlns:a16="http://schemas.microsoft.com/office/drawing/2014/main" id="{B4BB05CA-2731-084C-9D52-ED8C9B45552E}"/>
                </a:ext>
              </a:extLst>
            </p:cNvPr>
            <p:cNvSpPr/>
            <p:nvPr/>
          </p:nvSpPr>
          <p:spPr>
            <a:xfrm>
              <a:off x="4039325" y="2843600"/>
              <a:ext cx="298850" cy="171175"/>
            </a:xfrm>
            <a:custGeom>
              <a:avLst/>
              <a:gdLst/>
              <a:ahLst/>
              <a:cxnLst/>
              <a:rect l="l" t="t" r="r" b="b"/>
              <a:pathLst>
                <a:path w="11954" h="6847" extrusionOk="0">
                  <a:moveTo>
                    <a:pt x="5057" y="0"/>
                  </a:moveTo>
                  <a:cubicBezTo>
                    <a:pt x="4995" y="0"/>
                    <a:pt x="4932" y="14"/>
                    <a:pt x="4884" y="41"/>
                  </a:cubicBezTo>
                  <a:lnTo>
                    <a:pt x="96" y="2805"/>
                  </a:lnTo>
                  <a:cubicBezTo>
                    <a:pt x="1" y="2860"/>
                    <a:pt x="1" y="2949"/>
                    <a:pt x="96" y="3004"/>
                  </a:cubicBezTo>
                  <a:lnTo>
                    <a:pt x="6680" y="6806"/>
                  </a:lnTo>
                  <a:cubicBezTo>
                    <a:pt x="6728" y="6833"/>
                    <a:pt x="6790" y="6846"/>
                    <a:pt x="6852" y="6846"/>
                  </a:cubicBezTo>
                  <a:cubicBezTo>
                    <a:pt x="6914" y="6846"/>
                    <a:pt x="6977" y="6833"/>
                    <a:pt x="7025" y="6806"/>
                  </a:cubicBezTo>
                  <a:lnTo>
                    <a:pt x="11857" y="4007"/>
                  </a:lnTo>
                  <a:cubicBezTo>
                    <a:pt x="11953" y="3952"/>
                    <a:pt x="11953" y="3864"/>
                    <a:pt x="11857" y="3809"/>
                  </a:cubicBezTo>
                  <a:lnTo>
                    <a:pt x="5229" y="41"/>
                  </a:lnTo>
                  <a:cubicBezTo>
                    <a:pt x="5182" y="14"/>
                    <a:pt x="5119" y="0"/>
                    <a:pt x="5057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Google Shape;6548;p41">
              <a:extLst>
                <a:ext uri="{FF2B5EF4-FFF2-40B4-BE49-F238E27FC236}">
                  <a16:creationId xmlns:a16="http://schemas.microsoft.com/office/drawing/2014/main" id="{76AE026C-55DA-4341-A5B9-888AC676390D}"/>
                </a:ext>
              </a:extLst>
            </p:cNvPr>
            <p:cNvSpPr/>
            <p:nvPr/>
          </p:nvSpPr>
          <p:spPr>
            <a:xfrm>
              <a:off x="4039250" y="2825975"/>
              <a:ext cx="299000" cy="188750"/>
            </a:xfrm>
            <a:custGeom>
              <a:avLst/>
              <a:gdLst/>
              <a:ahLst/>
              <a:cxnLst/>
              <a:rect l="l" t="t" r="r" b="b"/>
              <a:pathLst>
                <a:path w="11960" h="7550" extrusionOk="0">
                  <a:moveTo>
                    <a:pt x="5710" y="1"/>
                  </a:moveTo>
                  <a:cubicBezTo>
                    <a:pt x="5645" y="1"/>
                    <a:pt x="5581" y="16"/>
                    <a:pt x="5533" y="46"/>
                  </a:cubicBezTo>
                  <a:lnTo>
                    <a:pt x="95" y="3504"/>
                  </a:lnTo>
                  <a:cubicBezTo>
                    <a:pt x="0" y="3562"/>
                    <a:pt x="4" y="3654"/>
                    <a:pt x="99" y="3709"/>
                  </a:cubicBezTo>
                  <a:lnTo>
                    <a:pt x="6683" y="7511"/>
                  </a:lnTo>
                  <a:cubicBezTo>
                    <a:pt x="6728" y="7537"/>
                    <a:pt x="6787" y="7549"/>
                    <a:pt x="6846" y="7549"/>
                  </a:cubicBezTo>
                  <a:cubicBezTo>
                    <a:pt x="6911" y="7549"/>
                    <a:pt x="6976" y="7534"/>
                    <a:pt x="7024" y="7504"/>
                  </a:cubicBezTo>
                  <a:lnTo>
                    <a:pt x="11867" y="4384"/>
                  </a:lnTo>
                  <a:cubicBezTo>
                    <a:pt x="11959" y="4326"/>
                    <a:pt x="11956" y="4231"/>
                    <a:pt x="11860" y="4176"/>
                  </a:cubicBezTo>
                  <a:lnTo>
                    <a:pt x="7915" y="1879"/>
                  </a:lnTo>
                  <a:cubicBezTo>
                    <a:pt x="7820" y="1825"/>
                    <a:pt x="7785" y="1702"/>
                    <a:pt x="7833" y="1603"/>
                  </a:cubicBezTo>
                  <a:lnTo>
                    <a:pt x="7915" y="1446"/>
                  </a:lnTo>
                  <a:cubicBezTo>
                    <a:pt x="7963" y="1350"/>
                    <a:pt x="7929" y="1224"/>
                    <a:pt x="7833" y="1169"/>
                  </a:cubicBezTo>
                  <a:lnTo>
                    <a:pt x="5874" y="40"/>
                  </a:lnTo>
                  <a:cubicBezTo>
                    <a:pt x="5828" y="13"/>
                    <a:pt x="5769" y="1"/>
                    <a:pt x="5710" y="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Google Shape;6549;p41">
              <a:extLst>
                <a:ext uri="{FF2B5EF4-FFF2-40B4-BE49-F238E27FC236}">
                  <a16:creationId xmlns:a16="http://schemas.microsoft.com/office/drawing/2014/main" id="{1487560B-88CB-8A4B-B54E-DB7A0E0FFA1E}"/>
                </a:ext>
              </a:extLst>
            </p:cNvPr>
            <p:cNvSpPr/>
            <p:nvPr/>
          </p:nvSpPr>
          <p:spPr>
            <a:xfrm>
              <a:off x="4319100" y="2562700"/>
              <a:ext cx="158825" cy="292600"/>
            </a:xfrm>
            <a:custGeom>
              <a:avLst/>
              <a:gdLst/>
              <a:ahLst/>
              <a:cxnLst/>
              <a:rect l="l" t="t" r="r" b="b"/>
              <a:pathLst>
                <a:path w="6353" h="11704" extrusionOk="0">
                  <a:moveTo>
                    <a:pt x="163" y="0"/>
                  </a:moveTo>
                  <a:cubicBezTo>
                    <a:pt x="148" y="0"/>
                    <a:pt x="135" y="4"/>
                    <a:pt x="123" y="11"/>
                  </a:cubicBezTo>
                  <a:cubicBezTo>
                    <a:pt x="96" y="28"/>
                    <a:pt x="0" y="83"/>
                    <a:pt x="0" y="83"/>
                  </a:cubicBezTo>
                  <a:lnTo>
                    <a:pt x="79" y="7898"/>
                  </a:lnTo>
                  <a:cubicBezTo>
                    <a:pt x="79" y="7997"/>
                    <a:pt x="148" y="8120"/>
                    <a:pt x="236" y="8172"/>
                  </a:cubicBezTo>
                  <a:lnTo>
                    <a:pt x="6353" y="11704"/>
                  </a:lnTo>
                  <a:lnTo>
                    <a:pt x="6353" y="3553"/>
                  </a:lnTo>
                  <a:lnTo>
                    <a:pt x="236" y="21"/>
                  </a:lnTo>
                  <a:cubicBezTo>
                    <a:pt x="210" y="7"/>
                    <a:pt x="185" y="0"/>
                    <a:pt x="163" y="0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6550;p41">
              <a:extLst>
                <a:ext uri="{FF2B5EF4-FFF2-40B4-BE49-F238E27FC236}">
                  <a16:creationId xmlns:a16="http://schemas.microsoft.com/office/drawing/2014/main" id="{C32547D2-77DE-EA4E-AA51-6A0A55D10CE0}"/>
                </a:ext>
              </a:extLst>
            </p:cNvPr>
            <p:cNvSpPr/>
            <p:nvPr/>
          </p:nvSpPr>
          <p:spPr>
            <a:xfrm>
              <a:off x="4319100" y="2562700"/>
              <a:ext cx="156425" cy="89200"/>
            </a:xfrm>
            <a:custGeom>
              <a:avLst/>
              <a:gdLst/>
              <a:ahLst/>
              <a:cxnLst/>
              <a:rect l="l" t="t" r="r" b="b"/>
              <a:pathLst>
                <a:path w="6257" h="3568" extrusionOk="0">
                  <a:moveTo>
                    <a:pt x="16" y="74"/>
                  </a:moveTo>
                  <a:lnTo>
                    <a:pt x="16" y="74"/>
                  </a:lnTo>
                  <a:cubicBezTo>
                    <a:pt x="11" y="76"/>
                    <a:pt x="6" y="79"/>
                    <a:pt x="0" y="83"/>
                  </a:cubicBezTo>
                  <a:cubicBezTo>
                    <a:pt x="0" y="83"/>
                    <a:pt x="7" y="79"/>
                    <a:pt x="16" y="74"/>
                  </a:cubicBezTo>
                  <a:close/>
                  <a:moveTo>
                    <a:pt x="164" y="1"/>
                  </a:moveTo>
                  <a:cubicBezTo>
                    <a:pt x="151" y="1"/>
                    <a:pt x="137" y="4"/>
                    <a:pt x="123" y="11"/>
                  </a:cubicBezTo>
                  <a:cubicBezTo>
                    <a:pt x="103" y="23"/>
                    <a:pt x="45" y="57"/>
                    <a:pt x="16" y="74"/>
                  </a:cubicBezTo>
                  <a:lnTo>
                    <a:pt x="16" y="74"/>
                  </a:lnTo>
                  <a:cubicBezTo>
                    <a:pt x="25" y="70"/>
                    <a:pt x="35" y="69"/>
                    <a:pt x="45" y="69"/>
                  </a:cubicBezTo>
                  <a:cubicBezTo>
                    <a:pt x="69" y="69"/>
                    <a:pt x="93" y="75"/>
                    <a:pt x="117" y="89"/>
                  </a:cubicBezTo>
                  <a:lnTo>
                    <a:pt x="6137" y="3567"/>
                  </a:lnTo>
                  <a:lnTo>
                    <a:pt x="6257" y="3499"/>
                  </a:lnTo>
                  <a:lnTo>
                    <a:pt x="236" y="21"/>
                  </a:lnTo>
                  <a:cubicBezTo>
                    <a:pt x="209" y="7"/>
                    <a:pt x="185" y="1"/>
                    <a:pt x="164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01" name="Google Shape;6551;p41">
              <a:extLst>
                <a:ext uri="{FF2B5EF4-FFF2-40B4-BE49-F238E27FC236}">
                  <a16:creationId xmlns:a16="http://schemas.microsoft.com/office/drawing/2014/main" id="{1BC14ABD-C1EB-5B42-B5D3-311BB2FFE934}"/>
                </a:ext>
              </a:extLst>
            </p:cNvPr>
            <p:cNvSpPr/>
            <p:nvPr/>
          </p:nvSpPr>
          <p:spPr>
            <a:xfrm>
              <a:off x="4318075" y="2564425"/>
              <a:ext cx="156950" cy="292600"/>
            </a:xfrm>
            <a:custGeom>
              <a:avLst/>
              <a:gdLst/>
              <a:ahLst/>
              <a:cxnLst/>
              <a:rect l="l" t="t" r="r" b="b"/>
              <a:pathLst>
                <a:path w="6278" h="11704" extrusionOk="0">
                  <a:moveTo>
                    <a:pt x="89" y="1"/>
                  </a:moveTo>
                  <a:cubicBezTo>
                    <a:pt x="36" y="1"/>
                    <a:pt x="0" y="42"/>
                    <a:pt x="0" y="113"/>
                  </a:cubicBezTo>
                  <a:lnTo>
                    <a:pt x="0" y="7898"/>
                  </a:lnTo>
                  <a:cubicBezTo>
                    <a:pt x="0" y="7997"/>
                    <a:pt x="69" y="8120"/>
                    <a:pt x="158" y="8170"/>
                  </a:cubicBezTo>
                  <a:lnTo>
                    <a:pt x="6277" y="11703"/>
                  </a:lnTo>
                  <a:lnTo>
                    <a:pt x="6274" y="3553"/>
                  </a:lnTo>
                  <a:lnTo>
                    <a:pt x="158" y="20"/>
                  </a:lnTo>
                  <a:cubicBezTo>
                    <a:pt x="133" y="7"/>
                    <a:pt x="109" y="1"/>
                    <a:pt x="89" y="1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Google Shape;6552;p41">
              <a:extLst>
                <a:ext uri="{FF2B5EF4-FFF2-40B4-BE49-F238E27FC236}">
                  <a16:creationId xmlns:a16="http://schemas.microsoft.com/office/drawing/2014/main" id="{41098B29-74A0-904C-8544-DD564C894DD5}"/>
                </a:ext>
              </a:extLst>
            </p:cNvPr>
            <p:cNvSpPr/>
            <p:nvPr/>
          </p:nvSpPr>
          <p:spPr>
            <a:xfrm>
              <a:off x="4318075" y="2564400"/>
              <a:ext cx="154475" cy="98250"/>
            </a:xfrm>
            <a:custGeom>
              <a:avLst/>
              <a:gdLst/>
              <a:ahLst/>
              <a:cxnLst/>
              <a:rect l="l" t="t" r="r" b="b"/>
              <a:pathLst>
                <a:path w="6179" h="3930" extrusionOk="0">
                  <a:moveTo>
                    <a:pt x="86" y="1"/>
                  </a:moveTo>
                  <a:cubicBezTo>
                    <a:pt x="35" y="1"/>
                    <a:pt x="0" y="42"/>
                    <a:pt x="0" y="114"/>
                  </a:cubicBezTo>
                  <a:lnTo>
                    <a:pt x="0" y="247"/>
                  </a:lnTo>
                  <a:lnTo>
                    <a:pt x="96" y="188"/>
                  </a:lnTo>
                  <a:lnTo>
                    <a:pt x="110" y="196"/>
                  </a:lnTo>
                  <a:cubicBezTo>
                    <a:pt x="123" y="175"/>
                    <a:pt x="148" y="161"/>
                    <a:pt x="178" y="161"/>
                  </a:cubicBezTo>
                  <a:cubicBezTo>
                    <a:pt x="195" y="161"/>
                    <a:pt x="219" y="168"/>
                    <a:pt x="243" y="182"/>
                  </a:cubicBezTo>
                  <a:lnTo>
                    <a:pt x="5431" y="3175"/>
                  </a:lnTo>
                  <a:lnTo>
                    <a:pt x="5431" y="3540"/>
                  </a:lnTo>
                  <a:cubicBezTo>
                    <a:pt x="5444" y="3547"/>
                    <a:pt x="5458" y="3554"/>
                    <a:pt x="5472" y="3564"/>
                  </a:cubicBezTo>
                  <a:cubicBezTo>
                    <a:pt x="5547" y="3605"/>
                    <a:pt x="5602" y="3660"/>
                    <a:pt x="5636" y="3721"/>
                  </a:cubicBezTo>
                  <a:lnTo>
                    <a:pt x="5639" y="3721"/>
                  </a:lnTo>
                  <a:cubicBezTo>
                    <a:pt x="5652" y="3745"/>
                    <a:pt x="5663" y="3769"/>
                    <a:pt x="5670" y="3792"/>
                  </a:cubicBezTo>
                  <a:lnTo>
                    <a:pt x="6178" y="3499"/>
                  </a:lnTo>
                  <a:lnTo>
                    <a:pt x="158" y="21"/>
                  </a:lnTo>
                  <a:cubicBezTo>
                    <a:pt x="134" y="7"/>
                    <a:pt x="110" y="1"/>
                    <a:pt x="86" y="1"/>
                  </a:cubicBezTo>
                  <a:close/>
                  <a:moveTo>
                    <a:pt x="5431" y="3643"/>
                  </a:moveTo>
                  <a:lnTo>
                    <a:pt x="5431" y="3929"/>
                  </a:lnTo>
                  <a:lnTo>
                    <a:pt x="5584" y="3841"/>
                  </a:lnTo>
                  <a:cubicBezTo>
                    <a:pt x="5575" y="3769"/>
                    <a:pt x="5523" y="3701"/>
                    <a:pt x="5431" y="364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03" name="Google Shape;6553;p41">
              <a:extLst>
                <a:ext uri="{FF2B5EF4-FFF2-40B4-BE49-F238E27FC236}">
                  <a16:creationId xmlns:a16="http://schemas.microsoft.com/office/drawing/2014/main" id="{EC33BA2C-8431-284C-B44F-5F18C8C20EC6}"/>
                </a:ext>
              </a:extLst>
            </p:cNvPr>
            <p:cNvSpPr/>
            <p:nvPr/>
          </p:nvSpPr>
          <p:spPr>
            <a:xfrm>
              <a:off x="4305375" y="2568400"/>
              <a:ext cx="148500" cy="288700"/>
            </a:xfrm>
            <a:custGeom>
              <a:avLst/>
              <a:gdLst/>
              <a:ahLst/>
              <a:cxnLst/>
              <a:rect l="l" t="t" r="r" b="b"/>
              <a:pathLst>
                <a:path w="5940" h="11548" extrusionOk="0">
                  <a:moveTo>
                    <a:pt x="684" y="1"/>
                  </a:moveTo>
                  <a:cubicBezTo>
                    <a:pt x="657" y="1"/>
                    <a:pt x="634" y="14"/>
                    <a:pt x="618" y="36"/>
                  </a:cubicBezTo>
                  <a:lnTo>
                    <a:pt x="604" y="28"/>
                  </a:lnTo>
                  <a:lnTo>
                    <a:pt x="1" y="380"/>
                  </a:lnTo>
                  <a:lnTo>
                    <a:pt x="594" y="718"/>
                  </a:lnTo>
                  <a:lnTo>
                    <a:pt x="594" y="7895"/>
                  </a:lnTo>
                  <a:cubicBezTo>
                    <a:pt x="594" y="7998"/>
                    <a:pt x="666" y="8120"/>
                    <a:pt x="751" y="8172"/>
                  </a:cubicBezTo>
                  <a:lnTo>
                    <a:pt x="5280" y="10787"/>
                  </a:lnTo>
                  <a:lnTo>
                    <a:pt x="5280" y="11548"/>
                  </a:lnTo>
                  <a:lnTo>
                    <a:pt x="5939" y="11168"/>
                  </a:lnTo>
                  <a:lnTo>
                    <a:pt x="5939" y="3015"/>
                  </a:lnTo>
                  <a:lnTo>
                    <a:pt x="751" y="22"/>
                  </a:lnTo>
                  <a:cubicBezTo>
                    <a:pt x="727" y="7"/>
                    <a:pt x="704" y="1"/>
                    <a:pt x="684" y="1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04" name="Google Shape;6554;p41">
              <a:extLst>
                <a:ext uri="{FF2B5EF4-FFF2-40B4-BE49-F238E27FC236}">
                  <a16:creationId xmlns:a16="http://schemas.microsoft.com/office/drawing/2014/main" id="{8E2B3606-46E5-D04A-9989-3360FEE3D286}"/>
                </a:ext>
              </a:extLst>
            </p:cNvPr>
            <p:cNvSpPr/>
            <p:nvPr/>
          </p:nvSpPr>
          <p:spPr>
            <a:xfrm>
              <a:off x="4303650" y="2577925"/>
              <a:ext cx="133725" cy="279175"/>
            </a:xfrm>
            <a:custGeom>
              <a:avLst/>
              <a:gdLst/>
              <a:ahLst/>
              <a:cxnLst/>
              <a:rect l="l" t="t" r="r" b="b"/>
              <a:pathLst>
                <a:path w="5349" h="11167" extrusionOk="0">
                  <a:moveTo>
                    <a:pt x="89" y="1"/>
                  </a:moveTo>
                  <a:cubicBezTo>
                    <a:pt x="37" y="1"/>
                    <a:pt x="1" y="42"/>
                    <a:pt x="1" y="112"/>
                  </a:cubicBezTo>
                  <a:lnTo>
                    <a:pt x="4" y="7897"/>
                  </a:lnTo>
                  <a:cubicBezTo>
                    <a:pt x="4" y="7996"/>
                    <a:pt x="73" y="8119"/>
                    <a:pt x="161" y="8169"/>
                  </a:cubicBezTo>
                  <a:lnTo>
                    <a:pt x="5349" y="11167"/>
                  </a:lnTo>
                  <a:lnTo>
                    <a:pt x="5346" y="3016"/>
                  </a:lnTo>
                  <a:lnTo>
                    <a:pt x="161" y="23"/>
                  </a:lnTo>
                  <a:cubicBezTo>
                    <a:pt x="135" y="8"/>
                    <a:pt x="111" y="1"/>
                    <a:pt x="89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05" name="Google Shape;6555;p41">
              <a:extLst>
                <a:ext uri="{FF2B5EF4-FFF2-40B4-BE49-F238E27FC236}">
                  <a16:creationId xmlns:a16="http://schemas.microsoft.com/office/drawing/2014/main" id="{44E39561-2E7F-C746-84C2-910B154B43DB}"/>
                </a:ext>
              </a:extLst>
            </p:cNvPr>
            <p:cNvSpPr/>
            <p:nvPr/>
          </p:nvSpPr>
          <p:spPr>
            <a:xfrm>
              <a:off x="4437275" y="2643750"/>
              <a:ext cx="16600" cy="213350"/>
            </a:xfrm>
            <a:custGeom>
              <a:avLst/>
              <a:gdLst/>
              <a:ahLst/>
              <a:cxnLst/>
              <a:rect l="l" t="t" r="r" b="b"/>
              <a:pathLst>
                <a:path w="664" h="8534" extrusionOk="0">
                  <a:moveTo>
                    <a:pt x="663" y="1"/>
                  </a:moveTo>
                  <a:lnTo>
                    <a:pt x="1" y="383"/>
                  </a:lnTo>
                  <a:lnTo>
                    <a:pt x="4" y="8534"/>
                  </a:lnTo>
                  <a:lnTo>
                    <a:pt x="663" y="8154"/>
                  </a:lnTo>
                  <a:lnTo>
                    <a:pt x="663" y="1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06" name="Google Shape;6556;p41">
              <a:extLst>
                <a:ext uri="{FF2B5EF4-FFF2-40B4-BE49-F238E27FC236}">
                  <a16:creationId xmlns:a16="http://schemas.microsoft.com/office/drawing/2014/main" id="{E651A515-EECD-2540-A271-A542345AC6E7}"/>
                </a:ext>
              </a:extLst>
            </p:cNvPr>
            <p:cNvSpPr/>
            <p:nvPr/>
          </p:nvSpPr>
          <p:spPr>
            <a:xfrm>
              <a:off x="4427725" y="2654600"/>
              <a:ext cx="4200" cy="6125"/>
            </a:xfrm>
            <a:custGeom>
              <a:avLst/>
              <a:gdLst/>
              <a:ahLst/>
              <a:cxnLst/>
              <a:rect l="l" t="t" r="r" b="b"/>
              <a:pathLst>
                <a:path w="168" h="245" extrusionOk="0">
                  <a:moveTo>
                    <a:pt x="50" y="0"/>
                  </a:moveTo>
                  <a:cubicBezTo>
                    <a:pt x="21" y="0"/>
                    <a:pt x="1" y="28"/>
                    <a:pt x="1" y="76"/>
                  </a:cubicBezTo>
                  <a:cubicBezTo>
                    <a:pt x="1" y="99"/>
                    <a:pt x="7" y="130"/>
                    <a:pt x="21" y="157"/>
                  </a:cubicBezTo>
                  <a:cubicBezTo>
                    <a:pt x="34" y="192"/>
                    <a:pt x="58" y="219"/>
                    <a:pt x="86" y="236"/>
                  </a:cubicBezTo>
                  <a:cubicBezTo>
                    <a:pt x="89" y="236"/>
                    <a:pt x="89" y="239"/>
                    <a:pt x="96" y="239"/>
                  </a:cubicBezTo>
                  <a:cubicBezTo>
                    <a:pt x="104" y="243"/>
                    <a:pt x="112" y="244"/>
                    <a:pt x="119" y="244"/>
                  </a:cubicBezTo>
                  <a:cubicBezTo>
                    <a:pt x="148" y="244"/>
                    <a:pt x="168" y="217"/>
                    <a:pt x="168" y="171"/>
                  </a:cubicBezTo>
                  <a:cubicBezTo>
                    <a:pt x="168" y="151"/>
                    <a:pt x="165" y="130"/>
                    <a:pt x="157" y="110"/>
                  </a:cubicBezTo>
                  <a:cubicBezTo>
                    <a:pt x="147" y="79"/>
                    <a:pt x="130" y="49"/>
                    <a:pt x="106" y="31"/>
                  </a:cubicBezTo>
                  <a:cubicBezTo>
                    <a:pt x="99" y="21"/>
                    <a:pt x="93" y="17"/>
                    <a:pt x="83" y="11"/>
                  </a:cubicBezTo>
                  <a:cubicBezTo>
                    <a:pt x="71" y="4"/>
                    <a:pt x="60" y="0"/>
                    <a:pt x="5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07" name="Google Shape;6557;p41">
              <a:extLst>
                <a:ext uri="{FF2B5EF4-FFF2-40B4-BE49-F238E27FC236}">
                  <a16:creationId xmlns:a16="http://schemas.microsoft.com/office/drawing/2014/main" id="{0237E74C-6A10-EA4E-AFA6-A385A457C33B}"/>
                </a:ext>
              </a:extLst>
            </p:cNvPr>
            <p:cNvSpPr/>
            <p:nvPr/>
          </p:nvSpPr>
          <p:spPr>
            <a:xfrm>
              <a:off x="4427475" y="2652900"/>
              <a:ext cx="32875" cy="18500"/>
            </a:xfrm>
            <a:custGeom>
              <a:avLst/>
              <a:gdLst/>
              <a:ahLst/>
              <a:cxnLst/>
              <a:rect l="l" t="t" r="r" b="b"/>
              <a:pathLst>
                <a:path w="1315" h="740" extrusionOk="0">
                  <a:moveTo>
                    <a:pt x="1055" y="0"/>
                  </a:moveTo>
                  <a:lnTo>
                    <a:pt x="1055" y="103"/>
                  </a:lnTo>
                  <a:cubicBezTo>
                    <a:pt x="1267" y="229"/>
                    <a:pt x="1263" y="430"/>
                    <a:pt x="1048" y="553"/>
                  </a:cubicBezTo>
                  <a:cubicBezTo>
                    <a:pt x="941" y="616"/>
                    <a:pt x="799" y="648"/>
                    <a:pt x="657" y="648"/>
                  </a:cubicBezTo>
                  <a:cubicBezTo>
                    <a:pt x="516" y="648"/>
                    <a:pt x="374" y="616"/>
                    <a:pt x="266" y="553"/>
                  </a:cubicBezTo>
                  <a:cubicBezTo>
                    <a:pt x="147" y="488"/>
                    <a:pt x="93" y="396"/>
                    <a:pt x="106" y="307"/>
                  </a:cubicBezTo>
                  <a:cubicBezTo>
                    <a:pt x="106" y="263"/>
                    <a:pt x="130" y="219"/>
                    <a:pt x="167" y="178"/>
                  </a:cubicBezTo>
                  <a:cubicBezTo>
                    <a:pt x="157" y="147"/>
                    <a:pt x="140" y="117"/>
                    <a:pt x="116" y="99"/>
                  </a:cubicBezTo>
                  <a:cubicBezTo>
                    <a:pt x="76" y="137"/>
                    <a:pt x="48" y="181"/>
                    <a:pt x="31" y="225"/>
                  </a:cubicBezTo>
                  <a:cubicBezTo>
                    <a:pt x="0" y="307"/>
                    <a:pt x="3" y="393"/>
                    <a:pt x="52" y="474"/>
                  </a:cubicBezTo>
                  <a:cubicBezTo>
                    <a:pt x="89" y="536"/>
                    <a:pt x="144" y="588"/>
                    <a:pt x="219" y="632"/>
                  </a:cubicBezTo>
                  <a:cubicBezTo>
                    <a:pt x="342" y="703"/>
                    <a:pt x="500" y="739"/>
                    <a:pt x="657" y="739"/>
                  </a:cubicBezTo>
                  <a:cubicBezTo>
                    <a:pt x="814" y="739"/>
                    <a:pt x="971" y="703"/>
                    <a:pt x="1092" y="632"/>
                  </a:cubicBezTo>
                  <a:cubicBezTo>
                    <a:pt x="1188" y="580"/>
                    <a:pt x="1253" y="512"/>
                    <a:pt x="1284" y="430"/>
                  </a:cubicBezTo>
                  <a:cubicBezTo>
                    <a:pt x="1314" y="348"/>
                    <a:pt x="1307" y="260"/>
                    <a:pt x="1263" y="181"/>
                  </a:cubicBezTo>
                  <a:lnTo>
                    <a:pt x="1260" y="181"/>
                  </a:lnTo>
                  <a:cubicBezTo>
                    <a:pt x="1226" y="120"/>
                    <a:pt x="1171" y="65"/>
                    <a:pt x="1096" y="24"/>
                  </a:cubicBezTo>
                  <a:cubicBezTo>
                    <a:pt x="1082" y="14"/>
                    <a:pt x="1068" y="7"/>
                    <a:pt x="105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08" name="Google Shape;6558;p41">
              <a:extLst>
                <a:ext uri="{FF2B5EF4-FFF2-40B4-BE49-F238E27FC236}">
                  <a16:creationId xmlns:a16="http://schemas.microsoft.com/office/drawing/2014/main" id="{3C27BAD3-51AF-7B49-B9FD-70D8FCCF935A}"/>
                </a:ext>
              </a:extLst>
            </p:cNvPr>
            <p:cNvSpPr/>
            <p:nvPr/>
          </p:nvSpPr>
          <p:spPr>
            <a:xfrm>
              <a:off x="4295825" y="2576450"/>
              <a:ext cx="143525" cy="96350"/>
            </a:xfrm>
            <a:custGeom>
              <a:avLst/>
              <a:gdLst/>
              <a:ahLst/>
              <a:cxnLst/>
              <a:rect l="l" t="t" r="r" b="b"/>
              <a:pathLst>
                <a:path w="5741" h="3854" extrusionOk="0">
                  <a:moveTo>
                    <a:pt x="166" y="0"/>
                  </a:moveTo>
                  <a:cubicBezTo>
                    <a:pt x="137" y="0"/>
                    <a:pt x="109" y="7"/>
                    <a:pt x="89" y="21"/>
                  </a:cubicBezTo>
                  <a:lnTo>
                    <a:pt x="0" y="68"/>
                  </a:lnTo>
                  <a:lnTo>
                    <a:pt x="5621" y="3854"/>
                  </a:lnTo>
                  <a:lnTo>
                    <a:pt x="5740" y="3785"/>
                  </a:lnTo>
                  <a:lnTo>
                    <a:pt x="246" y="21"/>
                  </a:lnTo>
                  <a:cubicBezTo>
                    <a:pt x="224" y="7"/>
                    <a:pt x="195" y="0"/>
                    <a:pt x="166" y="0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09" name="Google Shape;6559;p41">
              <a:extLst>
                <a:ext uri="{FF2B5EF4-FFF2-40B4-BE49-F238E27FC236}">
                  <a16:creationId xmlns:a16="http://schemas.microsoft.com/office/drawing/2014/main" id="{F5E59EEC-BB95-2D4A-B83F-FDC03CA5759A}"/>
                </a:ext>
              </a:extLst>
            </p:cNvPr>
            <p:cNvSpPr/>
            <p:nvPr/>
          </p:nvSpPr>
          <p:spPr>
            <a:xfrm>
              <a:off x="4295825" y="2576450"/>
              <a:ext cx="143525" cy="96275"/>
            </a:xfrm>
            <a:custGeom>
              <a:avLst/>
              <a:gdLst/>
              <a:ahLst/>
              <a:cxnLst/>
              <a:rect l="l" t="t" r="r" b="b"/>
              <a:pathLst>
                <a:path w="5741" h="3851" extrusionOk="0">
                  <a:moveTo>
                    <a:pt x="167" y="0"/>
                  </a:moveTo>
                  <a:cubicBezTo>
                    <a:pt x="137" y="0"/>
                    <a:pt x="109" y="7"/>
                    <a:pt x="89" y="21"/>
                  </a:cubicBezTo>
                  <a:lnTo>
                    <a:pt x="0" y="68"/>
                  </a:lnTo>
                  <a:cubicBezTo>
                    <a:pt x="14" y="62"/>
                    <a:pt x="27" y="58"/>
                    <a:pt x="41" y="58"/>
                  </a:cubicBezTo>
                  <a:cubicBezTo>
                    <a:pt x="65" y="58"/>
                    <a:pt x="89" y="65"/>
                    <a:pt x="112" y="82"/>
                  </a:cubicBezTo>
                  <a:lnTo>
                    <a:pt x="5625" y="3850"/>
                  </a:lnTo>
                  <a:lnTo>
                    <a:pt x="5740" y="3785"/>
                  </a:lnTo>
                  <a:lnTo>
                    <a:pt x="5734" y="3781"/>
                  </a:lnTo>
                  <a:lnTo>
                    <a:pt x="5293" y="3478"/>
                  </a:lnTo>
                  <a:lnTo>
                    <a:pt x="342" y="86"/>
                  </a:lnTo>
                  <a:lnTo>
                    <a:pt x="246" y="21"/>
                  </a:lnTo>
                  <a:cubicBezTo>
                    <a:pt x="225" y="7"/>
                    <a:pt x="194" y="0"/>
                    <a:pt x="167" y="0"/>
                  </a:cubicBez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10" name="Google Shape;6560;p41">
              <a:extLst>
                <a:ext uri="{FF2B5EF4-FFF2-40B4-BE49-F238E27FC236}">
                  <a16:creationId xmlns:a16="http://schemas.microsoft.com/office/drawing/2014/main" id="{6BC8276C-DD18-4446-B038-8AF83C96D84B}"/>
                </a:ext>
              </a:extLst>
            </p:cNvPr>
            <p:cNvSpPr/>
            <p:nvPr/>
          </p:nvSpPr>
          <p:spPr>
            <a:xfrm>
              <a:off x="4294700" y="2577925"/>
              <a:ext cx="144050" cy="299975"/>
            </a:xfrm>
            <a:custGeom>
              <a:avLst/>
              <a:gdLst/>
              <a:ahLst/>
              <a:cxnLst/>
              <a:rect l="l" t="t" r="r" b="b"/>
              <a:pathLst>
                <a:path w="5762" h="11999" extrusionOk="0">
                  <a:moveTo>
                    <a:pt x="86" y="1"/>
                  </a:moveTo>
                  <a:cubicBezTo>
                    <a:pt x="35" y="1"/>
                    <a:pt x="1" y="42"/>
                    <a:pt x="1" y="112"/>
                  </a:cubicBezTo>
                  <a:lnTo>
                    <a:pt x="1" y="7897"/>
                  </a:lnTo>
                  <a:cubicBezTo>
                    <a:pt x="1" y="7999"/>
                    <a:pt x="69" y="8122"/>
                    <a:pt x="157" y="8169"/>
                  </a:cubicBezTo>
                  <a:lnTo>
                    <a:pt x="5762" y="11999"/>
                  </a:lnTo>
                  <a:lnTo>
                    <a:pt x="5758" y="3849"/>
                  </a:lnTo>
                  <a:lnTo>
                    <a:pt x="157" y="23"/>
                  </a:lnTo>
                  <a:cubicBezTo>
                    <a:pt x="131" y="8"/>
                    <a:pt x="107" y="1"/>
                    <a:pt x="8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11" name="Google Shape;6561;p41">
              <a:extLst>
                <a:ext uri="{FF2B5EF4-FFF2-40B4-BE49-F238E27FC236}">
                  <a16:creationId xmlns:a16="http://schemas.microsoft.com/office/drawing/2014/main" id="{580D5A65-48DB-6C47-B859-2353B51C2FCE}"/>
                </a:ext>
              </a:extLst>
            </p:cNvPr>
            <p:cNvSpPr/>
            <p:nvPr/>
          </p:nvSpPr>
          <p:spPr>
            <a:xfrm>
              <a:off x="4438650" y="2651525"/>
              <a:ext cx="39275" cy="226475"/>
            </a:xfrm>
            <a:custGeom>
              <a:avLst/>
              <a:gdLst/>
              <a:ahLst/>
              <a:cxnLst/>
              <a:rect l="l" t="t" r="r" b="b"/>
              <a:pathLst>
                <a:path w="1571" h="9059" extrusionOk="0">
                  <a:moveTo>
                    <a:pt x="1571" y="0"/>
                  </a:moveTo>
                  <a:lnTo>
                    <a:pt x="0" y="905"/>
                  </a:lnTo>
                  <a:lnTo>
                    <a:pt x="0" y="9059"/>
                  </a:lnTo>
                  <a:lnTo>
                    <a:pt x="1571" y="8151"/>
                  </a:lnTo>
                  <a:lnTo>
                    <a:pt x="1571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Google Shape;6562;p41">
              <a:extLst>
                <a:ext uri="{FF2B5EF4-FFF2-40B4-BE49-F238E27FC236}">
                  <a16:creationId xmlns:a16="http://schemas.microsoft.com/office/drawing/2014/main" id="{66E3720B-117E-C24B-B6D0-2F3CA3E15952}"/>
                </a:ext>
              </a:extLst>
            </p:cNvPr>
            <p:cNvSpPr/>
            <p:nvPr/>
          </p:nvSpPr>
          <p:spPr>
            <a:xfrm>
              <a:off x="4438650" y="2651525"/>
              <a:ext cx="39275" cy="226475"/>
            </a:xfrm>
            <a:custGeom>
              <a:avLst/>
              <a:gdLst/>
              <a:ahLst/>
              <a:cxnLst/>
              <a:rect l="l" t="t" r="r" b="b"/>
              <a:pathLst>
                <a:path w="1571" h="9059" extrusionOk="0">
                  <a:moveTo>
                    <a:pt x="1571" y="0"/>
                  </a:moveTo>
                  <a:lnTo>
                    <a:pt x="854" y="413"/>
                  </a:lnTo>
                  <a:lnTo>
                    <a:pt x="738" y="479"/>
                  </a:lnTo>
                  <a:lnTo>
                    <a:pt x="608" y="553"/>
                  </a:lnTo>
                  <a:lnTo>
                    <a:pt x="379" y="687"/>
                  </a:lnTo>
                  <a:lnTo>
                    <a:pt x="0" y="905"/>
                  </a:lnTo>
                  <a:lnTo>
                    <a:pt x="0" y="9059"/>
                  </a:lnTo>
                  <a:lnTo>
                    <a:pt x="1571" y="8151"/>
                  </a:lnTo>
                  <a:lnTo>
                    <a:pt x="1571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13" name="Google Shape;6563;p41">
              <a:extLst>
                <a:ext uri="{FF2B5EF4-FFF2-40B4-BE49-F238E27FC236}">
                  <a16:creationId xmlns:a16="http://schemas.microsoft.com/office/drawing/2014/main" id="{10277F74-FE81-AC43-90BB-99BC835F3915}"/>
                </a:ext>
              </a:extLst>
            </p:cNvPr>
            <p:cNvSpPr/>
            <p:nvPr/>
          </p:nvSpPr>
          <p:spPr>
            <a:xfrm>
              <a:off x="4447275" y="2692550"/>
              <a:ext cx="24150" cy="29900"/>
            </a:xfrm>
            <a:custGeom>
              <a:avLst/>
              <a:gdLst/>
              <a:ahLst/>
              <a:cxnLst/>
              <a:rect l="l" t="t" r="r" b="b"/>
              <a:pathLst>
                <a:path w="966" h="1196" extrusionOk="0">
                  <a:moveTo>
                    <a:pt x="654" y="1"/>
                  </a:moveTo>
                  <a:cubicBezTo>
                    <a:pt x="584" y="1"/>
                    <a:pt x="511" y="23"/>
                    <a:pt x="437" y="66"/>
                  </a:cubicBezTo>
                  <a:cubicBezTo>
                    <a:pt x="191" y="206"/>
                    <a:pt x="0" y="541"/>
                    <a:pt x="0" y="824"/>
                  </a:cubicBezTo>
                  <a:cubicBezTo>
                    <a:pt x="0" y="913"/>
                    <a:pt x="17" y="988"/>
                    <a:pt x="51" y="1049"/>
                  </a:cubicBezTo>
                  <a:cubicBezTo>
                    <a:pt x="107" y="1146"/>
                    <a:pt x="199" y="1195"/>
                    <a:pt x="306" y="1195"/>
                  </a:cubicBezTo>
                  <a:cubicBezTo>
                    <a:pt x="376" y="1195"/>
                    <a:pt x="452" y="1174"/>
                    <a:pt x="529" y="1131"/>
                  </a:cubicBezTo>
                  <a:cubicBezTo>
                    <a:pt x="775" y="988"/>
                    <a:pt x="966" y="653"/>
                    <a:pt x="966" y="369"/>
                  </a:cubicBezTo>
                  <a:cubicBezTo>
                    <a:pt x="966" y="284"/>
                    <a:pt x="949" y="210"/>
                    <a:pt x="911" y="148"/>
                  </a:cubicBezTo>
                  <a:cubicBezTo>
                    <a:pt x="867" y="66"/>
                    <a:pt x="792" y="15"/>
                    <a:pt x="706" y="5"/>
                  </a:cubicBezTo>
                  <a:cubicBezTo>
                    <a:pt x="689" y="2"/>
                    <a:pt x="672" y="1"/>
                    <a:pt x="654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14" name="Google Shape;6564;p41">
              <a:extLst>
                <a:ext uri="{FF2B5EF4-FFF2-40B4-BE49-F238E27FC236}">
                  <a16:creationId xmlns:a16="http://schemas.microsoft.com/office/drawing/2014/main" id="{875FF61D-1A9F-4246-B1D2-E7177083F4C8}"/>
                </a:ext>
              </a:extLst>
            </p:cNvPr>
            <p:cNvSpPr/>
            <p:nvPr/>
          </p:nvSpPr>
          <p:spPr>
            <a:xfrm>
              <a:off x="4449475" y="2694800"/>
              <a:ext cx="19650" cy="25350"/>
            </a:xfrm>
            <a:custGeom>
              <a:avLst/>
              <a:gdLst/>
              <a:ahLst/>
              <a:cxnLst/>
              <a:rect l="l" t="t" r="r" b="b"/>
              <a:pathLst>
                <a:path w="786" h="1014" extrusionOk="0">
                  <a:moveTo>
                    <a:pt x="569" y="0"/>
                  </a:moveTo>
                  <a:cubicBezTo>
                    <a:pt x="517" y="0"/>
                    <a:pt x="457" y="17"/>
                    <a:pt x="393" y="54"/>
                  </a:cubicBezTo>
                  <a:cubicBezTo>
                    <a:pt x="178" y="181"/>
                    <a:pt x="4" y="484"/>
                    <a:pt x="1" y="734"/>
                  </a:cubicBezTo>
                  <a:cubicBezTo>
                    <a:pt x="1" y="911"/>
                    <a:pt x="90" y="1013"/>
                    <a:pt x="218" y="1013"/>
                  </a:cubicBezTo>
                  <a:cubicBezTo>
                    <a:pt x="271" y="1013"/>
                    <a:pt x="331" y="996"/>
                    <a:pt x="393" y="959"/>
                  </a:cubicBezTo>
                  <a:cubicBezTo>
                    <a:pt x="612" y="836"/>
                    <a:pt x="785" y="533"/>
                    <a:pt x="785" y="279"/>
                  </a:cubicBezTo>
                  <a:cubicBezTo>
                    <a:pt x="785" y="103"/>
                    <a:pt x="698" y="0"/>
                    <a:pt x="569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15" name="Google Shape;6565;p41">
              <a:extLst>
                <a:ext uri="{FF2B5EF4-FFF2-40B4-BE49-F238E27FC236}">
                  <a16:creationId xmlns:a16="http://schemas.microsoft.com/office/drawing/2014/main" id="{3FE246B0-06C0-E440-B64D-21C8276CCB3B}"/>
                </a:ext>
              </a:extLst>
            </p:cNvPr>
            <p:cNvSpPr/>
            <p:nvPr/>
          </p:nvSpPr>
          <p:spPr>
            <a:xfrm>
              <a:off x="4446675" y="2735150"/>
              <a:ext cx="24500" cy="117875"/>
            </a:xfrm>
            <a:custGeom>
              <a:avLst/>
              <a:gdLst/>
              <a:ahLst/>
              <a:cxnLst/>
              <a:rect l="l" t="t" r="r" b="b"/>
              <a:pathLst>
                <a:path w="980" h="4715" extrusionOk="0">
                  <a:moveTo>
                    <a:pt x="739" y="0"/>
                  </a:moveTo>
                  <a:cubicBezTo>
                    <a:pt x="682" y="0"/>
                    <a:pt x="617" y="19"/>
                    <a:pt x="549" y="58"/>
                  </a:cubicBezTo>
                  <a:lnTo>
                    <a:pt x="431" y="130"/>
                  </a:lnTo>
                  <a:cubicBezTo>
                    <a:pt x="191" y="267"/>
                    <a:pt x="0" y="601"/>
                    <a:pt x="0" y="874"/>
                  </a:cubicBezTo>
                  <a:lnTo>
                    <a:pt x="0" y="4407"/>
                  </a:lnTo>
                  <a:cubicBezTo>
                    <a:pt x="0" y="4602"/>
                    <a:pt x="96" y="4714"/>
                    <a:pt x="237" y="4714"/>
                  </a:cubicBezTo>
                  <a:cubicBezTo>
                    <a:pt x="295" y="4714"/>
                    <a:pt x="361" y="4695"/>
                    <a:pt x="431" y="4656"/>
                  </a:cubicBezTo>
                  <a:lnTo>
                    <a:pt x="549" y="4588"/>
                  </a:lnTo>
                  <a:cubicBezTo>
                    <a:pt x="785" y="4451"/>
                    <a:pt x="979" y="4117"/>
                    <a:pt x="979" y="3840"/>
                  </a:cubicBezTo>
                  <a:lnTo>
                    <a:pt x="979" y="308"/>
                  </a:lnTo>
                  <a:cubicBezTo>
                    <a:pt x="979" y="113"/>
                    <a:pt x="881" y="0"/>
                    <a:pt x="739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16" name="Google Shape;6566;p41">
              <a:extLst>
                <a:ext uri="{FF2B5EF4-FFF2-40B4-BE49-F238E27FC236}">
                  <a16:creationId xmlns:a16="http://schemas.microsoft.com/office/drawing/2014/main" id="{AF078286-FCA3-214C-9B4E-4E53B17B59E1}"/>
                </a:ext>
              </a:extLst>
            </p:cNvPr>
            <p:cNvSpPr/>
            <p:nvPr/>
          </p:nvSpPr>
          <p:spPr>
            <a:xfrm>
              <a:off x="4436425" y="2650175"/>
              <a:ext cx="41500" cy="23975"/>
            </a:xfrm>
            <a:custGeom>
              <a:avLst/>
              <a:gdLst/>
              <a:ahLst/>
              <a:cxnLst/>
              <a:rect l="l" t="t" r="r" b="b"/>
              <a:pathLst>
                <a:path w="1660" h="959" extrusionOk="0">
                  <a:moveTo>
                    <a:pt x="1564" y="0"/>
                  </a:moveTo>
                  <a:lnTo>
                    <a:pt x="1" y="901"/>
                  </a:lnTo>
                  <a:lnTo>
                    <a:pt x="89" y="959"/>
                  </a:lnTo>
                  <a:lnTo>
                    <a:pt x="1660" y="54"/>
                  </a:lnTo>
                  <a:lnTo>
                    <a:pt x="1564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17" name="Google Shape;6567;p41">
              <a:extLst>
                <a:ext uri="{FF2B5EF4-FFF2-40B4-BE49-F238E27FC236}">
                  <a16:creationId xmlns:a16="http://schemas.microsoft.com/office/drawing/2014/main" id="{8AD6C87E-E514-414B-9740-D5D66C79F52F}"/>
                </a:ext>
              </a:extLst>
            </p:cNvPr>
            <p:cNvSpPr/>
            <p:nvPr/>
          </p:nvSpPr>
          <p:spPr>
            <a:xfrm>
              <a:off x="4436425" y="2650175"/>
              <a:ext cx="41500" cy="23975"/>
            </a:xfrm>
            <a:custGeom>
              <a:avLst/>
              <a:gdLst/>
              <a:ahLst/>
              <a:cxnLst/>
              <a:rect l="l" t="t" r="r" b="b"/>
              <a:pathLst>
                <a:path w="1660" h="959" extrusionOk="0">
                  <a:moveTo>
                    <a:pt x="1564" y="0"/>
                  </a:moveTo>
                  <a:lnTo>
                    <a:pt x="936" y="361"/>
                  </a:lnTo>
                  <a:lnTo>
                    <a:pt x="850" y="410"/>
                  </a:lnTo>
                  <a:lnTo>
                    <a:pt x="253" y="754"/>
                  </a:lnTo>
                  <a:lnTo>
                    <a:pt x="120" y="832"/>
                  </a:lnTo>
                  <a:lnTo>
                    <a:pt x="1" y="901"/>
                  </a:lnTo>
                  <a:lnTo>
                    <a:pt x="89" y="959"/>
                  </a:lnTo>
                  <a:lnTo>
                    <a:pt x="1660" y="54"/>
                  </a:lnTo>
                  <a:lnTo>
                    <a:pt x="1564" y="0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18" name="Google Shape;6568;p41">
              <a:extLst>
                <a:ext uri="{FF2B5EF4-FFF2-40B4-BE49-F238E27FC236}">
                  <a16:creationId xmlns:a16="http://schemas.microsoft.com/office/drawing/2014/main" id="{2D73D094-507F-8944-A555-8D2C7E5793A5}"/>
                </a:ext>
              </a:extLst>
            </p:cNvPr>
            <p:cNvSpPr/>
            <p:nvPr/>
          </p:nvSpPr>
          <p:spPr>
            <a:xfrm>
              <a:off x="4280625" y="2580700"/>
              <a:ext cx="150275" cy="301050"/>
            </a:xfrm>
            <a:custGeom>
              <a:avLst/>
              <a:gdLst/>
              <a:ahLst/>
              <a:cxnLst/>
              <a:rect l="l" t="t" r="r" b="b"/>
              <a:pathLst>
                <a:path w="6011" h="12042" extrusionOk="0">
                  <a:moveTo>
                    <a:pt x="120" y="1"/>
                  </a:moveTo>
                  <a:lnTo>
                    <a:pt x="0" y="69"/>
                  </a:lnTo>
                  <a:lnTo>
                    <a:pt x="0" y="8219"/>
                  </a:lnTo>
                  <a:lnTo>
                    <a:pt x="5823" y="12025"/>
                  </a:lnTo>
                  <a:cubicBezTo>
                    <a:pt x="5843" y="12036"/>
                    <a:pt x="5869" y="12042"/>
                    <a:pt x="5895" y="12042"/>
                  </a:cubicBezTo>
                  <a:cubicBezTo>
                    <a:pt x="5916" y="12042"/>
                    <a:pt x="5937" y="12037"/>
                    <a:pt x="5953" y="12028"/>
                  </a:cubicBezTo>
                  <a:cubicBezTo>
                    <a:pt x="5983" y="12011"/>
                    <a:pt x="6011" y="11960"/>
                    <a:pt x="6011" y="11916"/>
                  </a:cubicBezTo>
                  <a:lnTo>
                    <a:pt x="6008" y="3922"/>
                  </a:lnTo>
                  <a:cubicBezTo>
                    <a:pt x="6008" y="3878"/>
                    <a:pt x="5977" y="3827"/>
                    <a:pt x="5939" y="3803"/>
                  </a:cubicBezTo>
                  <a:lnTo>
                    <a:pt x="120" y="1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19" name="Google Shape;6569;p41">
              <a:extLst>
                <a:ext uri="{FF2B5EF4-FFF2-40B4-BE49-F238E27FC236}">
                  <a16:creationId xmlns:a16="http://schemas.microsoft.com/office/drawing/2014/main" id="{4DB9BC1B-ED1D-FD4F-A31E-03925FB4CDFC}"/>
                </a:ext>
              </a:extLst>
            </p:cNvPr>
            <p:cNvSpPr/>
            <p:nvPr/>
          </p:nvSpPr>
          <p:spPr>
            <a:xfrm>
              <a:off x="4430800" y="2872600"/>
              <a:ext cx="100" cy="6850"/>
            </a:xfrm>
            <a:custGeom>
              <a:avLst/>
              <a:gdLst/>
              <a:ahLst/>
              <a:cxnLst/>
              <a:rect l="l" t="t" r="r" b="b"/>
              <a:pathLst>
                <a:path w="4" h="274" extrusionOk="0">
                  <a:moveTo>
                    <a:pt x="4" y="1"/>
                  </a:moveTo>
                  <a:lnTo>
                    <a:pt x="4" y="240"/>
                  </a:lnTo>
                  <a:cubicBezTo>
                    <a:pt x="4" y="250"/>
                    <a:pt x="4" y="263"/>
                    <a:pt x="1" y="273"/>
                  </a:cubicBezTo>
                  <a:cubicBezTo>
                    <a:pt x="4" y="263"/>
                    <a:pt x="4" y="250"/>
                    <a:pt x="4" y="240"/>
                  </a:cubicBezTo>
                  <a:lnTo>
                    <a:pt x="4" y="1"/>
                  </a:lnTo>
                  <a:close/>
                </a:path>
              </a:pathLst>
            </a:custGeom>
            <a:solidFill>
              <a:srgbClr val="3E515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20" name="Google Shape;6570;p41">
              <a:extLst>
                <a:ext uri="{FF2B5EF4-FFF2-40B4-BE49-F238E27FC236}">
                  <a16:creationId xmlns:a16="http://schemas.microsoft.com/office/drawing/2014/main" id="{4065C4B6-A9BF-D34F-A9B6-66E4215F0F81}"/>
                </a:ext>
              </a:extLst>
            </p:cNvPr>
            <p:cNvSpPr/>
            <p:nvPr/>
          </p:nvSpPr>
          <p:spPr>
            <a:xfrm>
              <a:off x="4430800" y="2678650"/>
              <a:ext cx="100" cy="193975"/>
            </a:xfrm>
            <a:custGeom>
              <a:avLst/>
              <a:gdLst/>
              <a:ahLst/>
              <a:cxnLst/>
              <a:rect l="l" t="t" r="r" b="b"/>
              <a:pathLst>
                <a:path w="4" h="7759" extrusionOk="0">
                  <a:moveTo>
                    <a:pt x="1" y="1"/>
                  </a:moveTo>
                  <a:lnTo>
                    <a:pt x="1" y="4"/>
                  </a:lnTo>
                  <a:lnTo>
                    <a:pt x="4" y="7759"/>
                  </a:lnTo>
                  <a:lnTo>
                    <a:pt x="4" y="7759"/>
                  </a:lnTo>
                  <a:lnTo>
                    <a:pt x="1" y="4"/>
                  </a:lnTo>
                  <a:close/>
                </a:path>
              </a:pathLst>
            </a:custGeom>
            <a:solidFill>
              <a:srgbClr val="23C7AC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21" name="Google Shape;6571;p41">
              <a:extLst>
                <a:ext uri="{FF2B5EF4-FFF2-40B4-BE49-F238E27FC236}">
                  <a16:creationId xmlns:a16="http://schemas.microsoft.com/office/drawing/2014/main" id="{F51B1EC7-0CA3-F947-87C1-DD17BB2684C7}"/>
                </a:ext>
              </a:extLst>
            </p:cNvPr>
            <p:cNvSpPr/>
            <p:nvPr/>
          </p:nvSpPr>
          <p:spPr>
            <a:xfrm>
              <a:off x="4426200" y="2881300"/>
              <a:ext cx="625" cy="300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0" y="1"/>
                  </a:moveTo>
                  <a:cubicBezTo>
                    <a:pt x="1" y="1"/>
                    <a:pt x="3" y="2"/>
                    <a:pt x="4" y="2"/>
                  </a:cubicBezTo>
                  <a:lnTo>
                    <a:pt x="4" y="2"/>
                  </a:lnTo>
                  <a:lnTo>
                    <a:pt x="4" y="1"/>
                  </a:lnTo>
                  <a:close/>
                  <a:moveTo>
                    <a:pt x="4" y="2"/>
                  </a:moveTo>
                  <a:lnTo>
                    <a:pt x="4" y="4"/>
                  </a:lnTo>
                  <a:lnTo>
                    <a:pt x="7" y="4"/>
                  </a:lnTo>
                  <a:cubicBezTo>
                    <a:pt x="8" y="4"/>
                    <a:pt x="9" y="5"/>
                    <a:pt x="10" y="5"/>
                  </a:cubicBezTo>
                  <a:lnTo>
                    <a:pt x="10" y="5"/>
                  </a:lnTo>
                  <a:cubicBezTo>
                    <a:pt x="8" y="4"/>
                    <a:pt x="6" y="3"/>
                    <a:pt x="4" y="2"/>
                  </a:cubicBezTo>
                  <a:close/>
                  <a:moveTo>
                    <a:pt x="10" y="5"/>
                  </a:moveTo>
                  <a:lnTo>
                    <a:pt x="10" y="5"/>
                  </a:lnTo>
                  <a:cubicBezTo>
                    <a:pt x="14" y="7"/>
                    <a:pt x="19" y="9"/>
                    <a:pt x="24" y="11"/>
                  </a:cubicBezTo>
                  <a:cubicBezTo>
                    <a:pt x="18" y="8"/>
                    <a:pt x="15" y="7"/>
                    <a:pt x="10" y="5"/>
                  </a:cubicBezTo>
                  <a:close/>
                </a:path>
              </a:pathLst>
            </a:custGeom>
            <a:solidFill>
              <a:srgbClr val="3E515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22" name="Google Shape;6572;p41">
              <a:extLst>
                <a:ext uri="{FF2B5EF4-FFF2-40B4-BE49-F238E27FC236}">
                  <a16:creationId xmlns:a16="http://schemas.microsoft.com/office/drawing/2014/main" id="{100C98B9-97E9-AC4E-B33F-A3F75AEF27EB}"/>
                </a:ext>
              </a:extLst>
            </p:cNvPr>
            <p:cNvSpPr/>
            <p:nvPr/>
          </p:nvSpPr>
          <p:spPr>
            <a:xfrm>
              <a:off x="4426350" y="2677025"/>
              <a:ext cx="4550" cy="204725"/>
            </a:xfrm>
            <a:custGeom>
              <a:avLst/>
              <a:gdLst/>
              <a:ahLst/>
              <a:cxnLst/>
              <a:rect l="l" t="t" r="r" b="b"/>
              <a:pathLst>
                <a:path w="182" h="8189" extrusionOk="0">
                  <a:moveTo>
                    <a:pt x="158" y="1"/>
                  </a:moveTo>
                  <a:lnTo>
                    <a:pt x="39" y="69"/>
                  </a:lnTo>
                  <a:cubicBezTo>
                    <a:pt x="52" y="93"/>
                    <a:pt x="62" y="114"/>
                    <a:pt x="62" y="138"/>
                  </a:cubicBezTo>
                  <a:lnTo>
                    <a:pt x="62" y="8131"/>
                  </a:lnTo>
                  <a:cubicBezTo>
                    <a:pt x="62" y="8162"/>
                    <a:pt x="45" y="8178"/>
                    <a:pt x="25" y="8178"/>
                  </a:cubicBezTo>
                  <a:lnTo>
                    <a:pt x="21" y="8178"/>
                  </a:lnTo>
                  <a:cubicBezTo>
                    <a:pt x="15" y="8178"/>
                    <a:pt x="7" y="8178"/>
                    <a:pt x="1" y="8175"/>
                  </a:cubicBezTo>
                  <a:lnTo>
                    <a:pt x="1" y="8175"/>
                  </a:lnTo>
                  <a:cubicBezTo>
                    <a:pt x="7" y="8178"/>
                    <a:pt x="11" y="8178"/>
                    <a:pt x="18" y="8182"/>
                  </a:cubicBezTo>
                  <a:cubicBezTo>
                    <a:pt x="31" y="8186"/>
                    <a:pt x="48" y="8189"/>
                    <a:pt x="66" y="8189"/>
                  </a:cubicBezTo>
                  <a:lnTo>
                    <a:pt x="80" y="8189"/>
                  </a:lnTo>
                  <a:cubicBezTo>
                    <a:pt x="97" y="8186"/>
                    <a:pt x="110" y="8182"/>
                    <a:pt x="124" y="8175"/>
                  </a:cubicBezTo>
                  <a:cubicBezTo>
                    <a:pt x="134" y="8168"/>
                    <a:pt x="148" y="8154"/>
                    <a:pt x="158" y="8141"/>
                  </a:cubicBezTo>
                  <a:cubicBezTo>
                    <a:pt x="165" y="8127"/>
                    <a:pt x="171" y="8113"/>
                    <a:pt x="179" y="8096"/>
                  </a:cubicBezTo>
                  <a:cubicBezTo>
                    <a:pt x="182" y="8086"/>
                    <a:pt x="182" y="8073"/>
                    <a:pt x="182" y="8063"/>
                  </a:cubicBezTo>
                  <a:lnTo>
                    <a:pt x="182" y="7824"/>
                  </a:lnTo>
                  <a:lnTo>
                    <a:pt x="179" y="69"/>
                  </a:lnTo>
                  <a:lnTo>
                    <a:pt x="179" y="66"/>
                  </a:lnTo>
                  <a:cubicBezTo>
                    <a:pt x="179" y="45"/>
                    <a:pt x="171" y="25"/>
                    <a:pt x="158" y="1"/>
                  </a:cubicBezTo>
                  <a:close/>
                </a:path>
              </a:pathLst>
            </a:custGeom>
            <a:solidFill>
              <a:srgbClr val="23C7AC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23" name="Google Shape;6573;p41">
              <a:extLst>
                <a:ext uri="{FF2B5EF4-FFF2-40B4-BE49-F238E27FC236}">
                  <a16:creationId xmlns:a16="http://schemas.microsoft.com/office/drawing/2014/main" id="{28E37AA8-545D-8A45-A98D-DE99ACB74FD9}"/>
                </a:ext>
              </a:extLst>
            </p:cNvPr>
            <p:cNvSpPr/>
            <p:nvPr/>
          </p:nvSpPr>
          <p:spPr>
            <a:xfrm>
              <a:off x="4426200" y="2881300"/>
              <a:ext cx="175" cy="100"/>
            </a:xfrm>
            <a:custGeom>
              <a:avLst/>
              <a:gdLst/>
              <a:ahLst/>
              <a:cxnLst/>
              <a:rect l="l" t="t" r="r" b="b"/>
              <a:pathLst>
                <a:path w="7" h="4" extrusionOk="0">
                  <a:moveTo>
                    <a:pt x="0" y="1"/>
                  </a:moveTo>
                  <a:cubicBezTo>
                    <a:pt x="2" y="1"/>
                    <a:pt x="3" y="1"/>
                    <a:pt x="4" y="2"/>
                  </a:cubicBezTo>
                  <a:lnTo>
                    <a:pt x="4" y="2"/>
                  </a:lnTo>
                  <a:lnTo>
                    <a:pt x="4" y="1"/>
                  </a:lnTo>
                  <a:close/>
                  <a:moveTo>
                    <a:pt x="4" y="2"/>
                  </a:moveTo>
                  <a:lnTo>
                    <a:pt x="4" y="4"/>
                  </a:lnTo>
                  <a:lnTo>
                    <a:pt x="7" y="4"/>
                  </a:lnTo>
                  <a:cubicBezTo>
                    <a:pt x="5" y="4"/>
                    <a:pt x="4" y="3"/>
                    <a:pt x="4" y="2"/>
                  </a:cubicBezTo>
                  <a:close/>
                </a:path>
              </a:pathLst>
            </a:custGeom>
            <a:solidFill>
              <a:srgbClr val="222D32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24" name="Google Shape;6574;p41">
              <a:extLst>
                <a:ext uri="{FF2B5EF4-FFF2-40B4-BE49-F238E27FC236}">
                  <a16:creationId xmlns:a16="http://schemas.microsoft.com/office/drawing/2014/main" id="{FE785291-362A-BE4C-8752-9766B2BD47BE}"/>
                </a:ext>
              </a:extLst>
            </p:cNvPr>
            <p:cNvSpPr/>
            <p:nvPr/>
          </p:nvSpPr>
          <p:spPr>
            <a:xfrm>
              <a:off x="4283025" y="2583950"/>
              <a:ext cx="144900" cy="297550"/>
            </a:xfrm>
            <a:custGeom>
              <a:avLst/>
              <a:gdLst/>
              <a:ahLst/>
              <a:cxnLst/>
              <a:rect l="l" t="t" r="r" b="b"/>
              <a:pathLst>
                <a:path w="5796" h="11902" extrusionOk="0">
                  <a:moveTo>
                    <a:pt x="0" y="0"/>
                  </a:moveTo>
                  <a:lnTo>
                    <a:pt x="0" y="597"/>
                  </a:lnTo>
                  <a:cubicBezTo>
                    <a:pt x="44" y="591"/>
                    <a:pt x="89" y="591"/>
                    <a:pt x="130" y="591"/>
                  </a:cubicBezTo>
                  <a:cubicBezTo>
                    <a:pt x="317" y="591"/>
                    <a:pt x="492" y="628"/>
                    <a:pt x="618" y="700"/>
                  </a:cubicBezTo>
                  <a:cubicBezTo>
                    <a:pt x="690" y="741"/>
                    <a:pt x="744" y="792"/>
                    <a:pt x="775" y="850"/>
                  </a:cubicBezTo>
                  <a:cubicBezTo>
                    <a:pt x="802" y="895"/>
                    <a:pt x="816" y="945"/>
                    <a:pt x="816" y="1000"/>
                  </a:cubicBezTo>
                  <a:lnTo>
                    <a:pt x="816" y="1007"/>
                  </a:lnTo>
                  <a:lnTo>
                    <a:pt x="686" y="936"/>
                  </a:lnTo>
                  <a:cubicBezTo>
                    <a:pt x="662" y="874"/>
                    <a:pt x="608" y="830"/>
                    <a:pt x="560" y="802"/>
                  </a:cubicBezTo>
                  <a:cubicBezTo>
                    <a:pt x="451" y="737"/>
                    <a:pt x="297" y="707"/>
                    <a:pt x="133" y="707"/>
                  </a:cubicBezTo>
                  <a:cubicBezTo>
                    <a:pt x="89" y="707"/>
                    <a:pt x="44" y="710"/>
                    <a:pt x="0" y="714"/>
                  </a:cubicBezTo>
                  <a:lnTo>
                    <a:pt x="0" y="956"/>
                  </a:lnTo>
                  <a:lnTo>
                    <a:pt x="362" y="745"/>
                  </a:lnTo>
                  <a:lnTo>
                    <a:pt x="5454" y="3878"/>
                  </a:lnTo>
                  <a:cubicBezTo>
                    <a:pt x="5491" y="3898"/>
                    <a:pt x="5523" y="3943"/>
                    <a:pt x="5536" y="3987"/>
                  </a:cubicBezTo>
                  <a:cubicBezTo>
                    <a:pt x="5539" y="4001"/>
                    <a:pt x="5543" y="4014"/>
                    <a:pt x="5543" y="4028"/>
                  </a:cubicBezTo>
                  <a:lnTo>
                    <a:pt x="5543" y="11775"/>
                  </a:lnTo>
                  <a:lnTo>
                    <a:pt x="5727" y="11895"/>
                  </a:lnTo>
                  <a:cubicBezTo>
                    <a:pt x="5731" y="11895"/>
                    <a:pt x="5731" y="11898"/>
                    <a:pt x="5734" y="11898"/>
                  </a:cubicBezTo>
                  <a:cubicBezTo>
                    <a:pt x="5740" y="11901"/>
                    <a:pt x="5748" y="11901"/>
                    <a:pt x="5754" y="11901"/>
                  </a:cubicBezTo>
                  <a:lnTo>
                    <a:pt x="5758" y="11901"/>
                  </a:lnTo>
                  <a:cubicBezTo>
                    <a:pt x="5778" y="11901"/>
                    <a:pt x="5795" y="11885"/>
                    <a:pt x="5795" y="11854"/>
                  </a:cubicBezTo>
                  <a:lnTo>
                    <a:pt x="5795" y="3861"/>
                  </a:lnTo>
                  <a:cubicBezTo>
                    <a:pt x="5795" y="3837"/>
                    <a:pt x="5785" y="3816"/>
                    <a:pt x="5772" y="3792"/>
                  </a:cubicBezTo>
                  <a:cubicBezTo>
                    <a:pt x="5761" y="3771"/>
                    <a:pt x="5744" y="3751"/>
                    <a:pt x="5723" y="374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25" name="Google Shape;6575;p41">
              <a:extLst>
                <a:ext uri="{FF2B5EF4-FFF2-40B4-BE49-F238E27FC236}">
                  <a16:creationId xmlns:a16="http://schemas.microsoft.com/office/drawing/2014/main" id="{6BF49870-685F-374C-81B9-DDC2204FB592}"/>
                </a:ext>
              </a:extLst>
            </p:cNvPr>
            <p:cNvSpPr/>
            <p:nvPr/>
          </p:nvSpPr>
          <p:spPr>
            <a:xfrm>
              <a:off x="4426200" y="2881300"/>
              <a:ext cx="175" cy="100"/>
            </a:xfrm>
            <a:custGeom>
              <a:avLst/>
              <a:gdLst/>
              <a:ahLst/>
              <a:cxnLst/>
              <a:rect l="l" t="t" r="r" b="b"/>
              <a:pathLst>
                <a:path w="7" h="4" extrusionOk="0">
                  <a:moveTo>
                    <a:pt x="4" y="4"/>
                  </a:moveTo>
                  <a:lnTo>
                    <a:pt x="7" y="4"/>
                  </a:lnTo>
                  <a:lnTo>
                    <a:pt x="7" y="4"/>
                  </a:lnTo>
                  <a:lnTo>
                    <a:pt x="4" y="4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1F282D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26" name="Google Shape;6576;p41">
              <a:extLst>
                <a:ext uri="{FF2B5EF4-FFF2-40B4-BE49-F238E27FC236}">
                  <a16:creationId xmlns:a16="http://schemas.microsoft.com/office/drawing/2014/main" id="{C82BA2B9-DD13-ED4A-B2CE-7BD96C5914C9}"/>
                </a:ext>
              </a:extLst>
            </p:cNvPr>
            <p:cNvSpPr/>
            <p:nvPr/>
          </p:nvSpPr>
          <p:spPr>
            <a:xfrm>
              <a:off x="4426350" y="2678725"/>
              <a:ext cx="1575" cy="202775"/>
            </a:xfrm>
            <a:custGeom>
              <a:avLst/>
              <a:gdLst/>
              <a:ahLst/>
              <a:cxnLst/>
              <a:rect l="l" t="t" r="r" b="b"/>
              <a:pathLst>
                <a:path w="63" h="8111" extrusionOk="0">
                  <a:moveTo>
                    <a:pt x="25" y="8110"/>
                  </a:moveTo>
                  <a:lnTo>
                    <a:pt x="25" y="8110"/>
                  </a:lnTo>
                  <a:lnTo>
                    <a:pt x="25" y="8110"/>
                  </a:lnTo>
                  <a:lnTo>
                    <a:pt x="25" y="8110"/>
                  </a:lnTo>
                  <a:close/>
                  <a:moveTo>
                    <a:pt x="1" y="8107"/>
                  </a:moveTo>
                  <a:lnTo>
                    <a:pt x="1" y="8107"/>
                  </a:lnTo>
                  <a:cubicBezTo>
                    <a:pt x="7" y="8110"/>
                    <a:pt x="15" y="8110"/>
                    <a:pt x="21" y="8110"/>
                  </a:cubicBezTo>
                  <a:cubicBezTo>
                    <a:pt x="15" y="8110"/>
                    <a:pt x="7" y="8110"/>
                    <a:pt x="1" y="8107"/>
                  </a:cubicBezTo>
                  <a:close/>
                  <a:moveTo>
                    <a:pt x="62" y="70"/>
                  </a:moveTo>
                  <a:lnTo>
                    <a:pt x="62" y="70"/>
                  </a:lnTo>
                  <a:lnTo>
                    <a:pt x="62" y="8063"/>
                  </a:lnTo>
                  <a:lnTo>
                    <a:pt x="62" y="8063"/>
                  </a:lnTo>
                  <a:lnTo>
                    <a:pt x="62" y="70"/>
                  </a:lnTo>
                  <a:close/>
                  <a:moveTo>
                    <a:pt x="39" y="1"/>
                  </a:moveTo>
                  <a:lnTo>
                    <a:pt x="39" y="1"/>
                  </a:lnTo>
                  <a:cubicBezTo>
                    <a:pt x="52" y="25"/>
                    <a:pt x="62" y="46"/>
                    <a:pt x="62" y="70"/>
                  </a:cubicBezTo>
                  <a:cubicBezTo>
                    <a:pt x="62" y="46"/>
                    <a:pt x="52" y="25"/>
                    <a:pt x="39" y="1"/>
                  </a:cubicBezTo>
                  <a:close/>
                </a:path>
              </a:pathLst>
            </a:custGeom>
            <a:solidFill>
              <a:srgbClr val="11635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27" name="Google Shape;6577;p41">
              <a:extLst>
                <a:ext uri="{FF2B5EF4-FFF2-40B4-BE49-F238E27FC236}">
                  <a16:creationId xmlns:a16="http://schemas.microsoft.com/office/drawing/2014/main" id="{F5EA81BC-EE85-BB48-A0C8-F947E27F546F}"/>
                </a:ext>
              </a:extLst>
            </p:cNvPr>
            <p:cNvSpPr/>
            <p:nvPr/>
          </p:nvSpPr>
          <p:spPr>
            <a:xfrm>
              <a:off x="4280625" y="2580700"/>
              <a:ext cx="14100" cy="7200"/>
            </a:xfrm>
            <a:custGeom>
              <a:avLst/>
              <a:gdLst/>
              <a:ahLst/>
              <a:cxnLst/>
              <a:rect l="l" t="t" r="r" b="b"/>
              <a:pathLst>
                <a:path w="564" h="288" extrusionOk="0">
                  <a:moveTo>
                    <a:pt x="120" y="1"/>
                  </a:moveTo>
                  <a:lnTo>
                    <a:pt x="0" y="69"/>
                  </a:lnTo>
                  <a:lnTo>
                    <a:pt x="120" y="1"/>
                  </a:lnTo>
                  <a:lnTo>
                    <a:pt x="564" y="287"/>
                  </a:lnTo>
                  <a:lnTo>
                    <a:pt x="564" y="287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28" name="Google Shape;6578;p41">
              <a:extLst>
                <a:ext uri="{FF2B5EF4-FFF2-40B4-BE49-F238E27FC236}">
                  <a16:creationId xmlns:a16="http://schemas.microsoft.com/office/drawing/2014/main" id="{E06DD97A-9AC4-7E45-ADFE-E2BCE177AB4B}"/>
                </a:ext>
              </a:extLst>
            </p:cNvPr>
            <p:cNvSpPr/>
            <p:nvPr/>
          </p:nvSpPr>
          <p:spPr>
            <a:xfrm>
              <a:off x="4429075" y="2675775"/>
              <a:ext cx="625" cy="525"/>
            </a:xfrm>
            <a:custGeom>
              <a:avLst/>
              <a:gdLst/>
              <a:ahLst/>
              <a:cxnLst/>
              <a:rect l="l" t="t" r="r" b="b"/>
              <a:pathLst>
                <a:path w="25" h="21" extrusionOk="0">
                  <a:moveTo>
                    <a:pt x="1" y="0"/>
                  </a:moveTo>
                  <a:cubicBezTo>
                    <a:pt x="12" y="7"/>
                    <a:pt x="18" y="10"/>
                    <a:pt x="25" y="21"/>
                  </a:cubicBezTo>
                  <a:cubicBezTo>
                    <a:pt x="18" y="10"/>
                    <a:pt x="12" y="3"/>
                    <a:pt x="1" y="0"/>
                  </a:cubicBez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29" name="Google Shape;6579;p41">
              <a:extLst>
                <a:ext uri="{FF2B5EF4-FFF2-40B4-BE49-F238E27FC236}">
                  <a16:creationId xmlns:a16="http://schemas.microsoft.com/office/drawing/2014/main" id="{70244C6E-D50B-594C-8096-99C51FA955C3}"/>
                </a:ext>
              </a:extLst>
            </p:cNvPr>
            <p:cNvSpPr/>
            <p:nvPr/>
          </p:nvSpPr>
          <p:spPr>
            <a:xfrm>
              <a:off x="4280625" y="2580700"/>
              <a:ext cx="149700" cy="98050"/>
            </a:xfrm>
            <a:custGeom>
              <a:avLst/>
              <a:gdLst/>
              <a:ahLst/>
              <a:cxnLst/>
              <a:rect l="l" t="t" r="r" b="b"/>
              <a:pathLst>
                <a:path w="5988" h="3922" extrusionOk="0">
                  <a:moveTo>
                    <a:pt x="120" y="1"/>
                  </a:moveTo>
                  <a:lnTo>
                    <a:pt x="0" y="69"/>
                  </a:lnTo>
                  <a:lnTo>
                    <a:pt x="96" y="124"/>
                  </a:lnTo>
                  <a:lnTo>
                    <a:pt x="96" y="130"/>
                  </a:lnTo>
                  <a:lnTo>
                    <a:pt x="5819" y="3871"/>
                  </a:lnTo>
                  <a:cubicBezTo>
                    <a:pt x="5840" y="3881"/>
                    <a:pt x="5857" y="3901"/>
                    <a:pt x="5868" y="3922"/>
                  </a:cubicBezTo>
                  <a:lnTo>
                    <a:pt x="5987" y="3854"/>
                  </a:lnTo>
                  <a:cubicBezTo>
                    <a:pt x="5980" y="3844"/>
                    <a:pt x="5973" y="3833"/>
                    <a:pt x="5963" y="3824"/>
                  </a:cubicBezTo>
                  <a:cubicBezTo>
                    <a:pt x="5956" y="3813"/>
                    <a:pt x="5950" y="3810"/>
                    <a:pt x="5939" y="3803"/>
                  </a:cubicBezTo>
                  <a:lnTo>
                    <a:pt x="564" y="287"/>
                  </a:lnTo>
                  <a:lnTo>
                    <a:pt x="120" y="1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30" name="Google Shape;6580;p41">
              <a:extLst>
                <a:ext uri="{FF2B5EF4-FFF2-40B4-BE49-F238E27FC236}">
                  <a16:creationId xmlns:a16="http://schemas.microsoft.com/office/drawing/2014/main" id="{E7254D73-0E77-5C42-9E5B-712DB4A95E76}"/>
                </a:ext>
              </a:extLst>
            </p:cNvPr>
            <p:cNvSpPr/>
            <p:nvPr/>
          </p:nvSpPr>
          <p:spPr>
            <a:xfrm>
              <a:off x="4243750" y="2583775"/>
              <a:ext cx="39300" cy="226475"/>
            </a:xfrm>
            <a:custGeom>
              <a:avLst/>
              <a:gdLst/>
              <a:ahLst/>
              <a:cxnLst/>
              <a:rect l="l" t="t" r="r" b="b"/>
              <a:pathLst>
                <a:path w="1572" h="9059" extrusionOk="0">
                  <a:moveTo>
                    <a:pt x="1571" y="1"/>
                  </a:moveTo>
                  <a:lnTo>
                    <a:pt x="18" y="895"/>
                  </a:lnTo>
                  <a:lnTo>
                    <a:pt x="1" y="9058"/>
                  </a:lnTo>
                  <a:lnTo>
                    <a:pt x="1" y="9058"/>
                  </a:lnTo>
                  <a:lnTo>
                    <a:pt x="1571" y="8151"/>
                  </a:lnTo>
                  <a:lnTo>
                    <a:pt x="1571" y="1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31" name="Google Shape;6581;p41">
              <a:extLst>
                <a:ext uri="{FF2B5EF4-FFF2-40B4-BE49-F238E27FC236}">
                  <a16:creationId xmlns:a16="http://schemas.microsoft.com/office/drawing/2014/main" id="{3C0A358F-38F3-8944-A3AA-A2D499AD844F}"/>
                </a:ext>
              </a:extLst>
            </p:cNvPr>
            <p:cNvSpPr/>
            <p:nvPr/>
          </p:nvSpPr>
          <p:spPr>
            <a:xfrm>
              <a:off x="4246925" y="2583775"/>
              <a:ext cx="36125" cy="28350"/>
            </a:xfrm>
            <a:custGeom>
              <a:avLst/>
              <a:gdLst/>
              <a:ahLst/>
              <a:cxnLst/>
              <a:rect l="l" t="t" r="r" b="b"/>
              <a:pathLst>
                <a:path w="1445" h="1134" extrusionOk="0">
                  <a:moveTo>
                    <a:pt x="1444" y="1"/>
                  </a:moveTo>
                  <a:lnTo>
                    <a:pt x="1438" y="4"/>
                  </a:lnTo>
                  <a:lnTo>
                    <a:pt x="1348" y="56"/>
                  </a:lnTo>
                  <a:lnTo>
                    <a:pt x="0" y="834"/>
                  </a:lnTo>
                  <a:lnTo>
                    <a:pt x="557" y="1134"/>
                  </a:lnTo>
                  <a:cubicBezTo>
                    <a:pt x="584" y="998"/>
                    <a:pt x="700" y="864"/>
                    <a:pt x="888" y="765"/>
                  </a:cubicBezTo>
                  <a:cubicBezTo>
                    <a:pt x="1055" y="676"/>
                    <a:pt x="1253" y="622"/>
                    <a:pt x="1444" y="604"/>
                  </a:cubicBezTo>
                  <a:lnTo>
                    <a:pt x="144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32" name="Google Shape;6582;p41">
              <a:extLst>
                <a:ext uri="{FF2B5EF4-FFF2-40B4-BE49-F238E27FC236}">
                  <a16:creationId xmlns:a16="http://schemas.microsoft.com/office/drawing/2014/main" id="{4CDA2D23-CA36-0B42-AB34-3C7D205499CB}"/>
                </a:ext>
              </a:extLst>
            </p:cNvPr>
            <p:cNvSpPr/>
            <p:nvPr/>
          </p:nvSpPr>
          <p:spPr>
            <a:xfrm>
              <a:off x="4263550" y="2601775"/>
              <a:ext cx="19500" cy="18975"/>
            </a:xfrm>
            <a:custGeom>
              <a:avLst/>
              <a:gdLst/>
              <a:ahLst/>
              <a:cxnLst/>
              <a:rect l="l" t="t" r="r" b="b"/>
              <a:pathLst>
                <a:path w="780" h="759" extrusionOk="0">
                  <a:moveTo>
                    <a:pt x="779" y="1"/>
                  </a:moveTo>
                  <a:cubicBezTo>
                    <a:pt x="605" y="18"/>
                    <a:pt x="428" y="69"/>
                    <a:pt x="281" y="147"/>
                  </a:cubicBezTo>
                  <a:cubicBezTo>
                    <a:pt x="107" y="240"/>
                    <a:pt x="4" y="359"/>
                    <a:pt x="1" y="472"/>
                  </a:cubicBezTo>
                  <a:lnTo>
                    <a:pt x="1" y="475"/>
                  </a:lnTo>
                  <a:lnTo>
                    <a:pt x="523" y="758"/>
                  </a:lnTo>
                  <a:lnTo>
                    <a:pt x="650" y="758"/>
                  </a:lnTo>
                  <a:lnTo>
                    <a:pt x="650" y="314"/>
                  </a:lnTo>
                  <a:lnTo>
                    <a:pt x="779" y="243"/>
                  </a:lnTo>
                  <a:lnTo>
                    <a:pt x="77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33" name="Google Shape;6583;p41">
              <a:extLst>
                <a:ext uri="{FF2B5EF4-FFF2-40B4-BE49-F238E27FC236}">
                  <a16:creationId xmlns:a16="http://schemas.microsoft.com/office/drawing/2014/main" id="{C9A94378-37F5-BA48-9396-67A54C421D30}"/>
                </a:ext>
              </a:extLst>
            </p:cNvPr>
            <p:cNvSpPr/>
            <p:nvPr/>
          </p:nvSpPr>
          <p:spPr>
            <a:xfrm>
              <a:off x="4279775" y="2602550"/>
              <a:ext cx="141850" cy="289700"/>
            </a:xfrm>
            <a:custGeom>
              <a:avLst/>
              <a:gdLst/>
              <a:ahLst/>
              <a:cxnLst/>
              <a:rect l="l" t="t" r="r" b="b"/>
              <a:pathLst>
                <a:path w="5674" h="11588" extrusionOk="0">
                  <a:moveTo>
                    <a:pt x="492" y="1"/>
                  </a:moveTo>
                  <a:lnTo>
                    <a:pt x="1" y="283"/>
                  </a:lnTo>
                  <a:lnTo>
                    <a:pt x="1" y="8434"/>
                  </a:lnTo>
                  <a:lnTo>
                    <a:pt x="5096" y="11567"/>
                  </a:lnTo>
                  <a:cubicBezTo>
                    <a:pt x="5120" y="11581"/>
                    <a:pt x="5152" y="11588"/>
                    <a:pt x="5183" y="11588"/>
                  </a:cubicBezTo>
                  <a:cubicBezTo>
                    <a:pt x="5215" y="11588"/>
                    <a:pt x="5246" y="11581"/>
                    <a:pt x="5270" y="11567"/>
                  </a:cubicBezTo>
                  <a:lnTo>
                    <a:pt x="5587" y="11387"/>
                  </a:lnTo>
                  <a:cubicBezTo>
                    <a:pt x="5635" y="11359"/>
                    <a:pt x="5673" y="11291"/>
                    <a:pt x="5673" y="11236"/>
                  </a:cubicBezTo>
                  <a:lnTo>
                    <a:pt x="5669" y="3284"/>
                  </a:lnTo>
                  <a:cubicBezTo>
                    <a:pt x="5669" y="3229"/>
                    <a:pt x="5632" y="3161"/>
                    <a:pt x="5584" y="3134"/>
                  </a:cubicBezTo>
                  <a:lnTo>
                    <a:pt x="492" y="1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34" name="Google Shape;6584;p41">
              <a:extLst>
                <a:ext uri="{FF2B5EF4-FFF2-40B4-BE49-F238E27FC236}">
                  <a16:creationId xmlns:a16="http://schemas.microsoft.com/office/drawing/2014/main" id="{C1FC3D91-746A-214E-AE83-55A13D289290}"/>
                </a:ext>
              </a:extLst>
            </p:cNvPr>
            <p:cNvSpPr/>
            <p:nvPr/>
          </p:nvSpPr>
          <p:spPr>
            <a:xfrm>
              <a:off x="4279775" y="2609625"/>
              <a:ext cx="129625" cy="282425"/>
            </a:xfrm>
            <a:custGeom>
              <a:avLst/>
              <a:gdLst/>
              <a:ahLst/>
              <a:cxnLst/>
              <a:rect l="l" t="t" r="r" b="b"/>
              <a:pathLst>
                <a:path w="5185" h="11297" extrusionOk="0">
                  <a:moveTo>
                    <a:pt x="1" y="0"/>
                  </a:moveTo>
                  <a:lnTo>
                    <a:pt x="1" y="8151"/>
                  </a:lnTo>
                  <a:lnTo>
                    <a:pt x="5096" y="11284"/>
                  </a:lnTo>
                  <a:cubicBezTo>
                    <a:pt x="5110" y="11292"/>
                    <a:pt x="5124" y="11296"/>
                    <a:pt x="5136" y="11296"/>
                  </a:cubicBezTo>
                  <a:cubicBezTo>
                    <a:pt x="5165" y="11296"/>
                    <a:pt x="5185" y="11275"/>
                    <a:pt x="5185" y="11236"/>
                  </a:cubicBezTo>
                  <a:lnTo>
                    <a:pt x="5182" y="3284"/>
                  </a:lnTo>
                  <a:cubicBezTo>
                    <a:pt x="5182" y="3229"/>
                    <a:pt x="5144" y="3161"/>
                    <a:pt x="5096" y="3134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35" name="Google Shape;6585;p41">
              <a:extLst>
                <a:ext uri="{FF2B5EF4-FFF2-40B4-BE49-F238E27FC236}">
                  <a16:creationId xmlns:a16="http://schemas.microsoft.com/office/drawing/2014/main" id="{B8AE6B78-B5A9-AF42-AD9E-078F7EC07FD1}"/>
                </a:ext>
              </a:extLst>
            </p:cNvPr>
            <p:cNvSpPr/>
            <p:nvPr/>
          </p:nvSpPr>
          <p:spPr>
            <a:xfrm>
              <a:off x="4284975" y="2619300"/>
              <a:ext cx="4200" cy="6175"/>
            </a:xfrm>
            <a:custGeom>
              <a:avLst/>
              <a:gdLst/>
              <a:ahLst/>
              <a:cxnLst/>
              <a:rect l="l" t="t" r="r" b="b"/>
              <a:pathLst>
                <a:path w="168" h="247" extrusionOk="0">
                  <a:moveTo>
                    <a:pt x="49" y="1"/>
                  </a:moveTo>
                  <a:cubicBezTo>
                    <a:pt x="21" y="1"/>
                    <a:pt x="1" y="30"/>
                    <a:pt x="1" y="75"/>
                  </a:cubicBezTo>
                  <a:cubicBezTo>
                    <a:pt x="1" y="102"/>
                    <a:pt x="7" y="133"/>
                    <a:pt x="21" y="160"/>
                  </a:cubicBezTo>
                  <a:cubicBezTo>
                    <a:pt x="34" y="191"/>
                    <a:pt x="59" y="221"/>
                    <a:pt x="86" y="235"/>
                  </a:cubicBezTo>
                  <a:cubicBezTo>
                    <a:pt x="89" y="238"/>
                    <a:pt x="92" y="242"/>
                    <a:pt x="96" y="242"/>
                  </a:cubicBezTo>
                  <a:cubicBezTo>
                    <a:pt x="104" y="245"/>
                    <a:pt x="112" y="247"/>
                    <a:pt x="119" y="247"/>
                  </a:cubicBezTo>
                  <a:cubicBezTo>
                    <a:pt x="148" y="247"/>
                    <a:pt x="168" y="220"/>
                    <a:pt x="168" y="174"/>
                  </a:cubicBezTo>
                  <a:cubicBezTo>
                    <a:pt x="168" y="153"/>
                    <a:pt x="165" y="133"/>
                    <a:pt x="157" y="112"/>
                  </a:cubicBezTo>
                  <a:cubicBezTo>
                    <a:pt x="147" y="81"/>
                    <a:pt x="130" y="51"/>
                    <a:pt x="106" y="34"/>
                  </a:cubicBezTo>
                  <a:cubicBezTo>
                    <a:pt x="100" y="23"/>
                    <a:pt x="92" y="16"/>
                    <a:pt x="83" y="13"/>
                  </a:cubicBezTo>
                  <a:cubicBezTo>
                    <a:pt x="71" y="5"/>
                    <a:pt x="59" y="1"/>
                    <a:pt x="4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36" name="Google Shape;6586;p41">
              <a:extLst>
                <a:ext uri="{FF2B5EF4-FFF2-40B4-BE49-F238E27FC236}">
                  <a16:creationId xmlns:a16="http://schemas.microsoft.com/office/drawing/2014/main" id="{EEF0D8B1-19CC-B544-A1C4-CB1348EB4E7C}"/>
                </a:ext>
              </a:extLst>
            </p:cNvPr>
            <p:cNvSpPr/>
            <p:nvPr/>
          </p:nvSpPr>
          <p:spPr>
            <a:xfrm>
              <a:off x="4407775" y="2682500"/>
              <a:ext cx="13925" cy="209775"/>
            </a:xfrm>
            <a:custGeom>
              <a:avLst/>
              <a:gdLst/>
              <a:ahLst/>
              <a:cxnLst/>
              <a:rect l="l" t="t" r="r" b="b"/>
              <a:pathLst>
                <a:path w="557" h="8391" extrusionOk="0">
                  <a:moveTo>
                    <a:pt x="525" y="1"/>
                  </a:moveTo>
                  <a:lnTo>
                    <a:pt x="34" y="284"/>
                  </a:lnTo>
                  <a:cubicBezTo>
                    <a:pt x="51" y="311"/>
                    <a:pt x="62" y="341"/>
                    <a:pt x="62" y="369"/>
                  </a:cubicBezTo>
                  <a:lnTo>
                    <a:pt x="65" y="8321"/>
                  </a:lnTo>
                  <a:cubicBezTo>
                    <a:pt x="62" y="8361"/>
                    <a:pt x="45" y="8382"/>
                    <a:pt x="17" y="8382"/>
                  </a:cubicBezTo>
                  <a:cubicBezTo>
                    <a:pt x="12" y="8382"/>
                    <a:pt x="6" y="8381"/>
                    <a:pt x="0" y="8379"/>
                  </a:cubicBezTo>
                  <a:lnTo>
                    <a:pt x="0" y="8379"/>
                  </a:lnTo>
                  <a:cubicBezTo>
                    <a:pt x="20" y="8387"/>
                    <a:pt x="42" y="8390"/>
                    <a:pt x="64" y="8390"/>
                  </a:cubicBezTo>
                  <a:cubicBezTo>
                    <a:pt x="95" y="8390"/>
                    <a:pt x="126" y="8383"/>
                    <a:pt x="150" y="8369"/>
                  </a:cubicBezTo>
                  <a:lnTo>
                    <a:pt x="467" y="8189"/>
                  </a:lnTo>
                  <a:cubicBezTo>
                    <a:pt x="515" y="8161"/>
                    <a:pt x="553" y="8093"/>
                    <a:pt x="556" y="8038"/>
                  </a:cubicBezTo>
                  <a:lnTo>
                    <a:pt x="553" y="86"/>
                  </a:lnTo>
                  <a:cubicBezTo>
                    <a:pt x="553" y="59"/>
                    <a:pt x="542" y="28"/>
                    <a:pt x="525" y="1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37" name="Google Shape;6587;p41">
              <a:extLst>
                <a:ext uri="{FF2B5EF4-FFF2-40B4-BE49-F238E27FC236}">
                  <a16:creationId xmlns:a16="http://schemas.microsoft.com/office/drawing/2014/main" id="{2BA8323B-548B-FB47-A3B1-85E7FD963704}"/>
                </a:ext>
              </a:extLst>
            </p:cNvPr>
            <p:cNvSpPr/>
            <p:nvPr/>
          </p:nvSpPr>
          <p:spPr>
            <a:xfrm>
              <a:off x="4260650" y="2598700"/>
              <a:ext cx="42775" cy="25000"/>
            </a:xfrm>
            <a:custGeom>
              <a:avLst/>
              <a:gdLst/>
              <a:ahLst/>
              <a:cxnLst/>
              <a:rect l="l" t="t" r="r" b="b"/>
              <a:pathLst>
                <a:path w="1711" h="1000" extrusionOk="0">
                  <a:moveTo>
                    <a:pt x="1031" y="0"/>
                  </a:moveTo>
                  <a:cubicBezTo>
                    <a:pt x="798" y="0"/>
                    <a:pt x="545" y="58"/>
                    <a:pt x="339" y="168"/>
                  </a:cubicBezTo>
                  <a:cubicBezTo>
                    <a:pt x="127" y="281"/>
                    <a:pt x="4" y="437"/>
                    <a:pt x="1" y="591"/>
                  </a:cubicBezTo>
                  <a:cubicBezTo>
                    <a:pt x="1" y="711"/>
                    <a:pt x="69" y="817"/>
                    <a:pt x="196" y="888"/>
                  </a:cubicBezTo>
                  <a:cubicBezTo>
                    <a:pt x="325" y="963"/>
                    <a:pt x="497" y="1000"/>
                    <a:pt x="681" y="1000"/>
                  </a:cubicBezTo>
                  <a:cubicBezTo>
                    <a:pt x="806" y="1000"/>
                    <a:pt x="938" y="983"/>
                    <a:pt x="1065" y="949"/>
                  </a:cubicBezTo>
                  <a:cubicBezTo>
                    <a:pt x="1048" y="912"/>
                    <a:pt x="1028" y="861"/>
                    <a:pt x="1021" y="840"/>
                  </a:cubicBezTo>
                  <a:cubicBezTo>
                    <a:pt x="907" y="868"/>
                    <a:pt x="790" y="882"/>
                    <a:pt x="678" y="882"/>
                  </a:cubicBezTo>
                  <a:cubicBezTo>
                    <a:pt x="516" y="882"/>
                    <a:pt x="366" y="852"/>
                    <a:pt x="257" y="790"/>
                  </a:cubicBezTo>
                  <a:cubicBezTo>
                    <a:pt x="216" y="765"/>
                    <a:pt x="168" y="731"/>
                    <a:pt x="141" y="683"/>
                  </a:cubicBezTo>
                  <a:cubicBezTo>
                    <a:pt x="127" y="656"/>
                    <a:pt x="117" y="626"/>
                    <a:pt x="117" y="595"/>
                  </a:cubicBezTo>
                  <a:cubicBezTo>
                    <a:pt x="120" y="482"/>
                    <a:pt x="223" y="363"/>
                    <a:pt x="397" y="270"/>
                  </a:cubicBezTo>
                  <a:cubicBezTo>
                    <a:pt x="584" y="170"/>
                    <a:pt x="818" y="118"/>
                    <a:pt x="1031" y="118"/>
                  </a:cubicBezTo>
                  <a:cubicBezTo>
                    <a:pt x="1194" y="118"/>
                    <a:pt x="1345" y="149"/>
                    <a:pt x="1455" y="212"/>
                  </a:cubicBezTo>
                  <a:cubicBezTo>
                    <a:pt x="1503" y="240"/>
                    <a:pt x="1557" y="284"/>
                    <a:pt x="1581" y="346"/>
                  </a:cubicBezTo>
                  <a:lnTo>
                    <a:pt x="1711" y="417"/>
                  </a:lnTo>
                  <a:lnTo>
                    <a:pt x="1711" y="410"/>
                  </a:lnTo>
                  <a:cubicBezTo>
                    <a:pt x="1711" y="355"/>
                    <a:pt x="1697" y="305"/>
                    <a:pt x="1670" y="260"/>
                  </a:cubicBezTo>
                  <a:cubicBezTo>
                    <a:pt x="1639" y="202"/>
                    <a:pt x="1585" y="151"/>
                    <a:pt x="1513" y="110"/>
                  </a:cubicBezTo>
                  <a:cubicBezTo>
                    <a:pt x="1386" y="36"/>
                    <a:pt x="1215" y="0"/>
                    <a:pt x="103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38" name="Google Shape;6588;p41">
              <a:extLst>
                <a:ext uri="{FF2B5EF4-FFF2-40B4-BE49-F238E27FC236}">
                  <a16:creationId xmlns:a16="http://schemas.microsoft.com/office/drawing/2014/main" id="{BC0F235B-5FEC-A049-A751-C18B913BA3F9}"/>
                </a:ext>
              </a:extLst>
            </p:cNvPr>
            <p:cNvSpPr/>
            <p:nvPr/>
          </p:nvSpPr>
          <p:spPr>
            <a:xfrm>
              <a:off x="4241550" y="2603225"/>
              <a:ext cx="164450" cy="292950"/>
            </a:xfrm>
            <a:custGeom>
              <a:avLst/>
              <a:gdLst/>
              <a:ahLst/>
              <a:cxnLst/>
              <a:rect l="l" t="t" r="r" b="b"/>
              <a:pathLst>
                <a:path w="6578" h="11718" extrusionOk="0">
                  <a:moveTo>
                    <a:pt x="120" y="1"/>
                  </a:moveTo>
                  <a:lnTo>
                    <a:pt x="0" y="69"/>
                  </a:lnTo>
                  <a:lnTo>
                    <a:pt x="0" y="8219"/>
                  </a:lnTo>
                  <a:lnTo>
                    <a:pt x="6390" y="11697"/>
                  </a:lnTo>
                  <a:cubicBezTo>
                    <a:pt x="6410" y="11710"/>
                    <a:pt x="6438" y="11717"/>
                    <a:pt x="6463" y="11717"/>
                  </a:cubicBezTo>
                  <a:cubicBezTo>
                    <a:pt x="6483" y="11717"/>
                    <a:pt x="6502" y="11713"/>
                    <a:pt x="6516" y="11704"/>
                  </a:cubicBezTo>
                  <a:cubicBezTo>
                    <a:pt x="6550" y="11683"/>
                    <a:pt x="6577" y="11632"/>
                    <a:pt x="6577" y="11591"/>
                  </a:cubicBezTo>
                  <a:lnTo>
                    <a:pt x="6574" y="3598"/>
                  </a:lnTo>
                  <a:cubicBezTo>
                    <a:pt x="6574" y="3553"/>
                    <a:pt x="6543" y="3499"/>
                    <a:pt x="6506" y="3479"/>
                  </a:cubicBezTo>
                  <a:lnTo>
                    <a:pt x="120" y="1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39" name="Google Shape;6589;p41">
              <a:extLst>
                <a:ext uri="{FF2B5EF4-FFF2-40B4-BE49-F238E27FC236}">
                  <a16:creationId xmlns:a16="http://schemas.microsoft.com/office/drawing/2014/main" id="{A1FB74CA-CEC1-F144-8411-CC4B4A6EF864}"/>
                </a:ext>
              </a:extLst>
            </p:cNvPr>
            <p:cNvSpPr/>
            <p:nvPr/>
          </p:nvSpPr>
          <p:spPr>
            <a:xfrm>
              <a:off x="4405800" y="2892925"/>
              <a:ext cx="200" cy="850"/>
            </a:xfrm>
            <a:custGeom>
              <a:avLst/>
              <a:gdLst/>
              <a:ahLst/>
              <a:cxnLst/>
              <a:rect l="l" t="t" r="r" b="b"/>
              <a:pathLst>
                <a:path w="8" h="34" extrusionOk="0">
                  <a:moveTo>
                    <a:pt x="7" y="0"/>
                  </a:moveTo>
                  <a:cubicBezTo>
                    <a:pt x="7" y="13"/>
                    <a:pt x="4" y="24"/>
                    <a:pt x="1" y="34"/>
                  </a:cubicBezTo>
                  <a:lnTo>
                    <a:pt x="1" y="34"/>
                  </a:lnTo>
                  <a:cubicBezTo>
                    <a:pt x="4" y="24"/>
                    <a:pt x="7" y="13"/>
                    <a:pt x="7" y="3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3E515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40" name="Google Shape;6590;p41">
              <a:extLst>
                <a:ext uri="{FF2B5EF4-FFF2-40B4-BE49-F238E27FC236}">
                  <a16:creationId xmlns:a16="http://schemas.microsoft.com/office/drawing/2014/main" id="{59282236-A3E2-E84D-B7C2-DD3A45BDE605}"/>
                </a:ext>
              </a:extLst>
            </p:cNvPr>
            <p:cNvSpPr/>
            <p:nvPr/>
          </p:nvSpPr>
          <p:spPr>
            <a:xfrm>
              <a:off x="4405875" y="2693075"/>
              <a:ext cx="125" cy="197900"/>
            </a:xfrm>
            <a:custGeom>
              <a:avLst/>
              <a:gdLst/>
              <a:ahLst/>
              <a:cxnLst/>
              <a:rect l="l" t="t" r="r" b="b"/>
              <a:pathLst>
                <a:path w="5" h="7916" extrusionOk="0">
                  <a:moveTo>
                    <a:pt x="1" y="0"/>
                  </a:moveTo>
                  <a:lnTo>
                    <a:pt x="1" y="4"/>
                  </a:lnTo>
                  <a:lnTo>
                    <a:pt x="4" y="7915"/>
                  </a:lnTo>
                  <a:lnTo>
                    <a:pt x="4" y="7915"/>
                  </a:lnTo>
                  <a:lnTo>
                    <a:pt x="1" y="4"/>
                  </a:ln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41" name="Google Shape;6591;p41">
              <a:extLst>
                <a:ext uri="{FF2B5EF4-FFF2-40B4-BE49-F238E27FC236}">
                  <a16:creationId xmlns:a16="http://schemas.microsoft.com/office/drawing/2014/main" id="{380A6496-24C2-B549-B916-C1207FDE426C}"/>
                </a:ext>
              </a:extLst>
            </p:cNvPr>
            <p:cNvSpPr/>
            <p:nvPr/>
          </p:nvSpPr>
          <p:spPr>
            <a:xfrm>
              <a:off x="4401200" y="2895650"/>
              <a:ext cx="775" cy="350"/>
            </a:xfrm>
            <a:custGeom>
              <a:avLst/>
              <a:gdLst/>
              <a:ahLst/>
              <a:cxnLst/>
              <a:rect l="l" t="t" r="r" b="b"/>
              <a:pathLst>
                <a:path w="31" h="14" extrusionOk="0">
                  <a:moveTo>
                    <a:pt x="0" y="0"/>
                  </a:moveTo>
                  <a:lnTo>
                    <a:pt x="4" y="3"/>
                  </a:lnTo>
                  <a:lnTo>
                    <a:pt x="6" y="3"/>
                  </a:lnTo>
                  <a:cubicBezTo>
                    <a:pt x="4" y="2"/>
                    <a:pt x="2" y="1"/>
                    <a:pt x="0" y="0"/>
                  </a:cubicBezTo>
                  <a:close/>
                  <a:moveTo>
                    <a:pt x="6" y="3"/>
                  </a:moveTo>
                  <a:cubicBezTo>
                    <a:pt x="6" y="4"/>
                    <a:pt x="7" y="4"/>
                    <a:pt x="8" y="5"/>
                  </a:cubicBezTo>
                  <a:lnTo>
                    <a:pt x="8" y="5"/>
                  </a:lnTo>
                  <a:lnTo>
                    <a:pt x="7" y="3"/>
                  </a:lnTo>
                  <a:close/>
                  <a:moveTo>
                    <a:pt x="8" y="5"/>
                  </a:moveTo>
                  <a:lnTo>
                    <a:pt x="10" y="7"/>
                  </a:lnTo>
                  <a:cubicBezTo>
                    <a:pt x="14" y="9"/>
                    <a:pt x="18" y="10"/>
                    <a:pt x="22" y="11"/>
                  </a:cubicBezTo>
                  <a:lnTo>
                    <a:pt x="22" y="11"/>
                  </a:lnTo>
                  <a:cubicBezTo>
                    <a:pt x="18" y="9"/>
                    <a:pt x="13" y="7"/>
                    <a:pt x="8" y="5"/>
                  </a:cubicBezTo>
                  <a:close/>
                  <a:moveTo>
                    <a:pt x="22" y="11"/>
                  </a:moveTo>
                  <a:cubicBezTo>
                    <a:pt x="25" y="12"/>
                    <a:pt x="28" y="13"/>
                    <a:pt x="31" y="14"/>
                  </a:cubicBezTo>
                  <a:cubicBezTo>
                    <a:pt x="28" y="13"/>
                    <a:pt x="25" y="12"/>
                    <a:pt x="22" y="11"/>
                  </a:cubicBezTo>
                  <a:close/>
                </a:path>
              </a:pathLst>
            </a:custGeom>
            <a:solidFill>
              <a:srgbClr val="3E515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42" name="Google Shape;6592;p41">
              <a:extLst>
                <a:ext uri="{FF2B5EF4-FFF2-40B4-BE49-F238E27FC236}">
                  <a16:creationId xmlns:a16="http://schemas.microsoft.com/office/drawing/2014/main" id="{CB3FA7A5-5767-B846-9667-46C7943F5CE6}"/>
                </a:ext>
              </a:extLst>
            </p:cNvPr>
            <p:cNvSpPr/>
            <p:nvPr/>
          </p:nvSpPr>
          <p:spPr>
            <a:xfrm>
              <a:off x="4401450" y="2691450"/>
              <a:ext cx="4550" cy="204725"/>
            </a:xfrm>
            <a:custGeom>
              <a:avLst/>
              <a:gdLst/>
              <a:ahLst/>
              <a:cxnLst/>
              <a:rect l="l" t="t" r="r" b="b"/>
              <a:pathLst>
                <a:path w="182" h="8189" extrusionOk="0">
                  <a:moveTo>
                    <a:pt x="157" y="1"/>
                  </a:moveTo>
                  <a:lnTo>
                    <a:pt x="38" y="69"/>
                  </a:lnTo>
                  <a:cubicBezTo>
                    <a:pt x="52" y="93"/>
                    <a:pt x="58" y="114"/>
                    <a:pt x="58" y="137"/>
                  </a:cubicBezTo>
                  <a:lnTo>
                    <a:pt x="61" y="8130"/>
                  </a:lnTo>
                  <a:cubicBezTo>
                    <a:pt x="61" y="8161"/>
                    <a:pt x="44" y="8179"/>
                    <a:pt x="21" y="8179"/>
                  </a:cubicBezTo>
                  <a:cubicBezTo>
                    <a:pt x="14" y="8179"/>
                    <a:pt x="8" y="8179"/>
                    <a:pt x="0" y="8175"/>
                  </a:cubicBezTo>
                  <a:lnTo>
                    <a:pt x="0" y="8175"/>
                  </a:lnTo>
                  <a:cubicBezTo>
                    <a:pt x="8" y="8179"/>
                    <a:pt x="14" y="8179"/>
                    <a:pt x="21" y="8182"/>
                  </a:cubicBezTo>
                  <a:cubicBezTo>
                    <a:pt x="34" y="8185"/>
                    <a:pt x="52" y="8188"/>
                    <a:pt x="65" y="8188"/>
                  </a:cubicBezTo>
                  <a:lnTo>
                    <a:pt x="75" y="8188"/>
                  </a:lnTo>
                  <a:cubicBezTo>
                    <a:pt x="93" y="8185"/>
                    <a:pt x="110" y="8182"/>
                    <a:pt x="120" y="8175"/>
                  </a:cubicBezTo>
                  <a:cubicBezTo>
                    <a:pt x="134" y="8168"/>
                    <a:pt x="147" y="8154"/>
                    <a:pt x="157" y="8141"/>
                  </a:cubicBezTo>
                  <a:cubicBezTo>
                    <a:pt x="164" y="8127"/>
                    <a:pt x="171" y="8110"/>
                    <a:pt x="175" y="8093"/>
                  </a:cubicBezTo>
                  <a:cubicBezTo>
                    <a:pt x="178" y="8083"/>
                    <a:pt x="181" y="8072"/>
                    <a:pt x="181" y="8062"/>
                  </a:cubicBezTo>
                  <a:lnTo>
                    <a:pt x="181" y="7980"/>
                  </a:lnTo>
                  <a:lnTo>
                    <a:pt x="178" y="69"/>
                  </a:lnTo>
                  <a:lnTo>
                    <a:pt x="178" y="65"/>
                  </a:lnTo>
                  <a:cubicBezTo>
                    <a:pt x="175" y="45"/>
                    <a:pt x="171" y="21"/>
                    <a:pt x="157" y="1"/>
                  </a:cubicBezTo>
                  <a:close/>
                </a:path>
              </a:pathLst>
            </a:custGeom>
            <a:solidFill>
              <a:srgbClr val="23C7AC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43" name="Google Shape;6593;p41">
              <a:extLst>
                <a:ext uri="{FF2B5EF4-FFF2-40B4-BE49-F238E27FC236}">
                  <a16:creationId xmlns:a16="http://schemas.microsoft.com/office/drawing/2014/main" id="{858CF4BA-F203-4744-A00F-E6BAB19A5179}"/>
                </a:ext>
              </a:extLst>
            </p:cNvPr>
            <p:cNvSpPr/>
            <p:nvPr/>
          </p:nvSpPr>
          <p:spPr>
            <a:xfrm>
              <a:off x="4241550" y="2604925"/>
              <a:ext cx="161450" cy="291000"/>
            </a:xfrm>
            <a:custGeom>
              <a:avLst/>
              <a:gdLst/>
              <a:ahLst/>
              <a:cxnLst/>
              <a:rect l="l" t="t" r="r" b="b"/>
              <a:pathLst>
                <a:path w="6458" h="11640" extrusionOk="0">
                  <a:moveTo>
                    <a:pt x="0" y="1"/>
                  </a:moveTo>
                  <a:lnTo>
                    <a:pt x="0" y="8151"/>
                  </a:lnTo>
                  <a:lnTo>
                    <a:pt x="6386" y="11629"/>
                  </a:lnTo>
                  <a:cubicBezTo>
                    <a:pt x="6398" y="11636"/>
                    <a:pt x="6409" y="11640"/>
                    <a:pt x="6419" y="11640"/>
                  </a:cubicBezTo>
                  <a:cubicBezTo>
                    <a:pt x="6441" y="11640"/>
                    <a:pt x="6457" y="11622"/>
                    <a:pt x="6457" y="11591"/>
                  </a:cubicBezTo>
                  <a:lnTo>
                    <a:pt x="6454" y="3598"/>
                  </a:lnTo>
                  <a:cubicBezTo>
                    <a:pt x="6454" y="3575"/>
                    <a:pt x="6448" y="3554"/>
                    <a:pt x="6434" y="3530"/>
                  </a:cubicBezTo>
                  <a:cubicBezTo>
                    <a:pt x="6424" y="3510"/>
                    <a:pt x="6407" y="3489"/>
                    <a:pt x="6386" y="3479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44" name="Google Shape;6594;p41">
              <a:extLst>
                <a:ext uri="{FF2B5EF4-FFF2-40B4-BE49-F238E27FC236}">
                  <a16:creationId xmlns:a16="http://schemas.microsoft.com/office/drawing/2014/main" id="{0A5CB517-5DD6-3B4E-854D-BC1B1D7C66DA}"/>
                </a:ext>
              </a:extLst>
            </p:cNvPr>
            <p:cNvSpPr/>
            <p:nvPr/>
          </p:nvSpPr>
          <p:spPr>
            <a:xfrm>
              <a:off x="4246925" y="2604600"/>
              <a:ext cx="29700" cy="16150"/>
            </a:xfrm>
            <a:custGeom>
              <a:avLst/>
              <a:gdLst/>
              <a:ahLst/>
              <a:cxnLst/>
              <a:rect l="l" t="t" r="r" b="b"/>
              <a:pathLst>
                <a:path w="1188" h="646" extrusionOk="0">
                  <a:moveTo>
                    <a:pt x="666" y="362"/>
                  </a:moveTo>
                  <a:lnTo>
                    <a:pt x="666" y="362"/>
                  </a:lnTo>
                  <a:lnTo>
                    <a:pt x="1188" y="645"/>
                  </a:lnTo>
                  <a:lnTo>
                    <a:pt x="1188" y="645"/>
                  </a:lnTo>
                  <a:lnTo>
                    <a:pt x="666" y="362"/>
                  </a:lnTo>
                  <a:close/>
                  <a:moveTo>
                    <a:pt x="0" y="1"/>
                  </a:moveTo>
                  <a:lnTo>
                    <a:pt x="0" y="1"/>
                  </a:lnTo>
                  <a:lnTo>
                    <a:pt x="557" y="301"/>
                  </a:lnTo>
                  <a:lnTo>
                    <a:pt x="557" y="301"/>
                  </a:lnTo>
                  <a:close/>
                </a:path>
              </a:pathLst>
            </a:custGeom>
            <a:solidFill>
              <a:srgbClr val="0A352E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45" name="Google Shape;6595;p41">
              <a:extLst>
                <a:ext uri="{FF2B5EF4-FFF2-40B4-BE49-F238E27FC236}">
                  <a16:creationId xmlns:a16="http://schemas.microsoft.com/office/drawing/2014/main" id="{D2351B6A-90FD-EF44-A32E-544F8075A4F0}"/>
                </a:ext>
              </a:extLst>
            </p:cNvPr>
            <p:cNvSpPr/>
            <p:nvPr/>
          </p:nvSpPr>
          <p:spPr>
            <a:xfrm>
              <a:off x="4281650" y="2623450"/>
              <a:ext cx="123150" cy="67200"/>
            </a:xfrm>
            <a:custGeom>
              <a:avLst/>
              <a:gdLst/>
              <a:ahLst/>
              <a:cxnLst/>
              <a:rect l="l" t="t" r="r" b="b"/>
              <a:pathLst>
                <a:path w="4926" h="2688" extrusionOk="0">
                  <a:moveTo>
                    <a:pt x="0" y="0"/>
                  </a:moveTo>
                  <a:lnTo>
                    <a:pt x="0" y="0"/>
                  </a:lnTo>
                  <a:lnTo>
                    <a:pt x="4902" y="2670"/>
                  </a:lnTo>
                  <a:cubicBezTo>
                    <a:pt x="4908" y="2673"/>
                    <a:pt x="4918" y="2680"/>
                    <a:pt x="4926" y="2687"/>
                  </a:cubicBezTo>
                  <a:cubicBezTo>
                    <a:pt x="4918" y="2680"/>
                    <a:pt x="4908" y="2673"/>
                    <a:pt x="4902" y="2670"/>
                  </a:cubicBezTo>
                  <a:close/>
                </a:path>
              </a:pathLst>
            </a:custGeom>
            <a:solidFill>
              <a:srgbClr val="C8C8C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46" name="Google Shape;6596;p41">
              <a:extLst>
                <a:ext uri="{FF2B5EF4-FFF2-40B4-BE49-F238E27FC236}">
                  <a16:creationId xmlns:a16="http://schemas.microsoft.com/office/drawing/2014/main" id="{017DF521-D22E-1048-992E-A002F11E0734}"/>
                </a:ext>
              </a:extLst>
            </p:cNvPr>
            <p:cNvSpPr/>
            <p:nvPr/>
          </p:nvSpPr>
          <p:spPr>
            <a:xfrm>
              <a:off x="4260850" y="2612100"/>
              <a:ext cx="20825" cy="11375"/>
            </a:xfrm>
            <a:custGeom>
              <a:avLst/>
              <a:gdLst/>
              <a:ahLst/>
              <a:cxnLst/>
              <a:rect l="l" t="t" r="r" b="b"/>
              <a:pathLst>
                <a:path w="833" h="455" extrusionOk="0">
                  <a:moveTo>
                    <a:pt x="631" y="345"/>
                  </a:moveTo>
                  <a:lnTo>
                    <a:pt x="832" y="454"/>
                  </a:lnTo>
                  <a:lnTo>
                    <a:pt x="832" y="454"/>
                  </a:lnTo>
                  <a:lnTo>
                    <a:pt x="631" y="345"/>
                  </a:lnTo>
                  <a:lnTo>
                    <a:pt x="631" y="345"/>
                  </a:lnTo>
                  <a:close/>
                  <a:moveTo>
                    <a:pt x="0" y="1"/>
                  </a:moveTo>
                  <a:lnTo>
                    <a:pt x="0" y="1"/>
                  </a:lnTo>
                  <a:lnTo>
                    <a:pt x="109" y="62"/>
                  </a:lnTo>
                  <a:lnTo>
                    <a:pt x="109" y="62"/>
                  </a:lnTo>
                  <a:close/>
                </a:path>
              </a:pathLst>
            </a:custGeom>
            <a:solidFill>
              <a:srgbClr val="1E282D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47" name="Google Shape;6597;p41">
              <a:extLst>
                <a:ext uri="{FF2B5EF4-FFF2-40B4-BE49-F238E27FC236}">
                  <a16:creationId xmlns:a16="http://schemas.microsoft.com/office/drawing/2014/main" id="{F2D6394A-1B64-5744-808A-EED7FF38B91A}"/>
                </a:ext>
              </a:extLst>
            </p:cNvPr>
            <p:cNvSpPr/>
            <p:nvPr/>
          </p:nvSpPr>
          <p:spPr>
            <a:xfrm>
              <a:off x="4241550" y="2604600"/>
              <a:ext cx="163850" cy="88600"/>
            </a:xfrm>
            <a:custGeom>
              <a:avLst/>
              <a:gdLst/>
              <a:ahLst/>
              <a:cxnLst/>
              <a:rect l="l" t="t" r="r" b="b"/>
              <a:pathLst>
                <a:path w="6554" h="3544" extrusionOk="0">
                  <a:moveTo>
                    <a:pt x="215" y="1"/>
                  </a:moveTo>
                  <a:lnTo>
                    <a:pt x="106" y="62"/>
                  </a:lnTo>
                  <a:lnTo>
                    <a:pt x="4" y="14"/>
                  </a:lnTo>
                  <a:lnTo>
                    <a:pt x="0" y="14"/>
                  </a:lnTo>
                  <a:lnTo>
                    <a:pt x="6386" y="3492"/>
                  </a:lnTo>
                  <a:cubicBezTo>
                    <a:pt x="6407" y="3502"/>
                    <a:pt x="6424" y="3523"/>
                    <a:pt x="6434" y="3543"/>
                  </a:cubicBezTo>
                  <a:lnTo>
                    <a:pt x="6553" y="3475"/>
                  </a:lnTo>
                  <a:cubicBezTo>
                    <a:pt x="6547" y="3465"/>
                    <a:pt x="6536" y="3451"/>
                    <a:pt x="6530" y="3441"/>
                  </a:cubicBezTo>
                  <a:cubicBezTo>
                    <a:pt x="6522" y="3434"/>
                    <a:pt x="6512" y="3427"/>
                    <a:pt x="6506" y="3424"/>
                  </a:cubicBezTo>
                  <a:lnTo>
                    <a:pt x="1604" y="754"/>
                  </a:lnTo>
                  <a:lnTo>
                    <a:pt x="1403" y="645"/>
                  </a:lnTo>
                  <a:lnTo>
                    <a:pt x="881" y="362"/>
                  </a:lnTo>
                  <a:lnTo>
                    <a:pt x="772" y="301"/>
                  </a:lnTo>
                  <a:lnTo>
                    <a:pt x="215" y="1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48" name="Google Shape;6598;p41">
              <a:extLst>
                <a:ext uri="{FF2B5EF4-FFF2-40B4-BE49-F238E27FC236}">
                  <a16:creationId xmlns:a16="http://schemas.microsoft.com/office/drawing/2014/main" id="{B6582CAD-8FB3-EC4D-BABA-D5C628866346}"/>
                </a:ext>
              </a:extLst>
            </p:cNvPr>
            <p:cNvSpPr/>
            <p:nvPr/>
          </p:nvSpPr>
          <p:spPr>
            <a:xfrm>
              <a:off x="4241625" y="2582400"/>
              <a:ext cx="41425" cy="23775"/>
            </a:xfrm>
            <a:custGeom>
              <a:avLst/>
              <a:gdLst/>
              <a:ahLst/>
              <a:cxnLst/>
              <a:rect l="l" t="t" r="r" b="b"/>
              <a:pathLst>
                <a:path w="1657" h="951" extrusionOk="0">
                  <a:moveTo>
                    <a:pt x="1560" y="1"/>
                  </a:moveTo>
                  <a:lnTo>
                    <a:pt x="1" y="902"/>
                  </a:lnTo>
                  <a:lnTo>
                    <a:pt x="103" y="950"/>
                  </a:lnTo>
                  <a:lnTo>
                    <a:pt x="1656" y="56"/>
                  </a:lnTo>
                  <a:lnTo>
                    <a:pt x="1560" y="1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49" name="Google Shape;6599;p41">
              <a:extLst>
                <a:ext uri="{FF2B5EF4-FFF2-40B4-BE49-F238E27FC236}">
                  <a16:creationId xmlns:a16="http://schemas.microsoft.com/office/drawing/2014/main" id="{B495633C-1EAF-D040-BBB6-79493CD9C038}"/>
                </a:ext>
              </a:extLst>
            </p:cNvPr>
            <p:cNvSpPr/>
            <p:nvPr/>
          </p:nvSpPr>
          <p:spPr>
            <a:xfrm>
              <a:off x="4241625" y="2582400"/>
              <a:ext cx="41425" cy="23775"/>
            </a:xfrm>
            <a:custGeom>
              <a:avLst/>
              <a:gdLst/>
              <a:ahLst/>
              <a:cxnLst/>
              <a:rect l="l" t="t" r="r" b="b"/>
              <a:pathLst>
                <a:path w="1657" h="951" extrusionOk="0">
                  <a:moveTo>
                    <a:pt x="1560" y="1"/>
                  </a:moveTo>
                  <a:lnTo>
                    <a:pt x="1" y="902"/>
                  </a:lnTo>
                  <a:lnTo>
                    <a:pt x="103" y="950"/>
                  </a:lnTo>
                  <a:lnTo>
                    <a:pt x="1656" y="56"/>
                  </a:lnTo>
                  <a:lnTo>
                    <a:pt x="1560" y="1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50" name="Google Shape;6600;p41">
              <a:extLst>
                <a:ext uri="{FF2B5EF4-FFF2-40B4-BE49-F238E27FC236}">
                  <a16:creationId xmlns:a16="http://schemas.microsoft.com/office/drawing/2014/main" id="{1F243A4A-F938-E34F-8331-904B37C4BFCF}"/>
                </a:ext>
              </a:extLst>
            </p:cNvPr>
            <p:cNvSpPr/>
            <p:nvPr/>
          </p:nvSpPr>
          <p:spPr>
            <a:xfrm>
              <a:off x="4237875" y="2609625"/>
              <a:ext cx="158825" cy="292600"/>
            </a:xfrm>
            <a:custGeom>
              <a:avLst/>
              <a:gdLst/>
              <a:ahLst/>
              <a:cxnLst/>
              <a:rect l="l" t="t" r="r" b="b"/>
              <a:pathLst>
                <a:path w="6353" h="11704" extrusionOk="0">
                  <a:moveTo>
                    <a:pt x="164" y="0"/>
                  </a:moveTo>
                  <a:cubicBezTo>
                    <a:pt x="149" y="0"/>
                    <a:pt x="135" y="4"/>
                    <a:pt x="124" y="11"/>
                  </a:cubicBezTo>
                  <a:cubicBezTo>
                    <a:pt x="93" y="28"/>
                    <a:pt x="1" y="79"/>
                    <a:pt x="1" y="79"/>
                  </a:cubicBezTo>
                  <a:lnTo>
                    <a:pt x="75" y="7895"/>
                  </a:lnTo>
                  <a:cubicBezTo>
                    <a:pt x="75" y="7997"/>
                    <a:pt x="147" y="8120"/>
                    <a:pt x="236" y="8171"/>
                  </a:cubicBezTo>
                  <a:lnTo>
                    <a:pt x="6352" y="11704"/>
                  </a:lnTo>
                  <a:lnTo>
                    <a:pt x="6349" y="3550"/>
                  </a:lnTo>
                  <a:lnTo>
                    <a:pt x="236" y="21"/>
                  </a:lnTo>
                  <a:cubicBezTo>
                    <a:pt x="210" y="7"/>
                    <a:pt x="186" y="0"/>
                    <a:pt x="164" y="0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51" name="Google Shape;6601;p41">
              <a:extLst>
                <a:ext uri="{FF2B5EF4-FFF2-40B4-BE49-F238E27FC236}">
                  <a16:creationId xmlns:a16="http://schemas.microsoft.com/office/drawing/2014/main" id="{2A229241-A6BE-E14F-812E-E6D91E641A63}"/>
                </a:ext>
              </a:extLst>
            </p:cNvPr>
            <p:cNvSpPr/>
            <p:nvPr/>
          </p:nvSpPr>
          <p:spPr>
            <a:xfrm>
              <a:off x="4237875" y="2609625"/>
              <a:ext cx="156425" cy="89200"/>
            </a:xfrm>
            <a:custGeom>
              <a:avLst/>
              <a:gdLst/>
              <a:ahLst/>
              <a:cxnLst/>
              <a:rect l="l" t="t" r="r" b="b"/>
              <a:pathLst>
                <a:path w="6257" h="3568" extrusionOk="0">
                  <a:moveTo>
                    <a:pt x="165" y="0"/>
                  </a:moveTo>
                  <a:cubicBezTo>
                    <a:pt x="147" y="0"/>
                    <a:pt x="133" y="4"/>
                    <a:pt x="124" y="11"/>
                  </a:cubicBezTo>
                  <a:cubicBezTo>
                    <a:pt x="93" y="28"/>
                    <a:pt x="1" y="79"/>
                    <a:pt x="1" y="79"/>
                  </a:cubicBezTo>
                  <a:cubicBezTo>
                    <a:pt x="14" y="72"/>
                    <a:pt x="28" y="69"/>
                    <a:pt x="45" y="69"/>
                  </a:cubicBezTo>
                  <a:cubicBezTo>
                    <a:pt x="65" y="69"/>
                    <a:pt x="89" y="76"/>
                    <a:pt x="116" y="90"/>
                  </a:cubicBezTo>
                  <a:lnTo>
                    <a:pt x="6137" y="3568"/>
                  </a:lnTo>
                  <a:lnTo>
                    <a:pt x="6256" y="3499"/>
                  </a:lnTo>
                  <a:lnTo>
                    <a:pt x="236" y="21"/>
                  </a:lnTo>
                  <a:cubicBezTo>
                    <a:pt x="209" y="8"/>
                    <a:pt x="185" y="0"/>
                    <a:pt x="165" y="0"/>
                  </a:cubicBez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52" name="Google Shape;6602;p41">
              <a:extLst>
                <a:ext uri="{FF2B5EF4-FFF2-40B4-BE49-F238E27FC236}">
                  <a16:creationId xmlns:a16="http://schemas.microsoft.com/office/drawing/2014/main" id="{D1E0EF86-C9AD-0348-AAC2-F88903A7ACDD}"/>
                </a:ext>
              </a:extLst>
            </p:cNvPr>
            <p:cNvSpPr/>
            <p:nvPr/>
          </p:nvSpPr>
          <p:spPr>
            <a:xfrm>
              <a:off x="4236775" y="2611300"/>
              <a:ext cx="156925" cy="292625"/>
            </a:xfrm>
            <a:custGeom>
              <a:avLst/>
              <a:gdLst/>
              <a:ahLst/>
              <a:cxnLst/>
              <a:rect l="l" t="t" r="r" b="b"/>
              <a:pathLst>
                <a:path w="6277" h="11705" extrusionOk="0">
                  <a:moveTo>
                    <a:pt x="88" y="0"/>
                  </a:moveTo>
                  <a:cubicBezTo>
                    <a:pt x="36" y="0"/>
                    <a:pt x="1" y="42"/>
                    <a:pt x="1" y="114"/>
                  </a:cubicBezTo>
                  <a:lnTo>
                    <a:pt x="4" y="7899"/>
                  </a:lnTo>
                  <a:cubicBezTo>
                    <a:pt x="4" y="7998"/>
                    <a:pt x="72" y="8121"/>
                    <a:pt x="160" y="8173"/>
                  </a:cubicBezTo>
                  <a:lnTo>
                    <a:pt x="6277" y="11705"/>
                  </a:lnTo>
                  <a:lnTo>
                    <a:pt x="6277" y="3555"/>
                  </a:lnTo>
                  <a:lnTo>
                    <a:pt x="160" y="23"/>
                  </a:lnTo>
                  <a:cubicBezTo>
                    <a:pt x="134" y="8"/>
                    <a:pt x="110" y="0"/>
                    <a:pt x="88" y="0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53" name="Google Shape;6603;p41">
              <a:extLst>
                <a:ext uri="{FF2B5EF4-FFF2-40B4-BE49-F238E27FC236}">
                  <a16:creationId xmlns:a16="http://schemas.microsoft.com/office/drawing/2014/main" id="{4E9A6359-A077-5743-9C30-6E0506032292}"/>
                </a:ext>
              </a:extLst>
            </p:cNvPr>
            <p:cNvSpPr/>
            <p:nvPr/>
          </p:nvSpPr>
          <p:spPr>
            <a:xfrm>
              <a:off x="4236775" y="2611350"/>
              <a:ext cx="154525" cy="98225"/>
            </a:xfrm>
            <a:custGeom>
              <a:avLst/>
              <a:gdLst/>
              <a:ahLst/>
              <a:cxnLst/>
              <a:rect l="l" t="t" r="r" b="b"/>
              <a:pathLst>
                <a:path w="6181" h="3929" extrusionOk="0">
                  <a:moveTo>
                    <a:pt x="89" y="0"/>
                  </a:moveTo>
                  <a:cubicBezTo>
                    <a:pt x="37" y="0"/>
                    <a:pt x="1" y="41"/>
                    <a:pt x="1" y="112"/>
                  </a:cubicBezTo>
                  <a:lnTo>
                    <a:pt x="1" y="246"/>
                  </a:lnTo>
                  <a:lnTo>
                    <a:pt x="99" y="188"/>
                  </a:lnTo>
                  <a:lnTo>
                    <a:pt x="113" y="194"/>
                  </a:lnTo>
                  <a:cubicBezTo>
                    <a:pt x="127" y="171"/>
                    <a:pt x="150" y="161"/>
                    <a:pt x="177" y="161"/>
                  </a:cubicBezTo>
                  <a:cubicBezTo>
                    <a:pt x="198" y="161"/>
                    <a:pt x="222" y="164"/>
                    <a:pt x="246" y="181"/>
                  </a:cubicBezTo>
                  <a:lnTo>
                    <a:pt x="5430" y="3174"/>
                  </a:lnTo>
                  <a:lnTo>
                    <a:pt x="5434" y="3540"/>
                  </a:lnTo>
                  <a:cubicBezTo>
                    <a:pt x="5448" y="3546"/>
                    <a:pt x="5461" y="3553"/>
                    <a:pt x="5471" y="3560"/>
                  </a:cubicBezTo>
                  <a:cubicBezTo>
                    <a:pt x="5546" y="3604"/>
                    <a:pt x="5604" y="3658"/>
                    <a:pt x="5639" y="3717"/>
                  </a:cubicBezTo>
                  <a:lnTo>
                    <a:pt x="5639" y="3720"/>
                  </a:lnTo>
                  <a:cubicBezTo>
                    <a:pt x="5652" y="3744"/>
                    <a:pt x="5662" y="3768"/>
                    <a:pt x="5669" y="3792"/>
                  </a:cubicBezTo>
                  <a:lnTo>
                    <a:pt x="6181" y="3499"/>
                  </a:lnTo>
                  <a:lnTo>
                    <a:pt x="160" y="21"/>
                  </a:lnTo>
                  <a:cubicBezTo>
                    <a:pt x="133" y="7"/>
                    <a:pt x="109" y="0"/>
                    <a:pt x="89" y="0"/>
                  </a:cubicBezTo>
                  <a:close/>
                  <a:moveTo>
                    <a:pt x="5434" y="3642"/>
                  </a:moveTo>
                  <a:lnTo>
                    <a:pt x="5434" y="3929"/>
                  </a:lnTo>
                  <a:lnTo>
                    <a:pt x="5587" y="3839"/>
                  </a:lnTo>
                  <a:cubicBezTo>
                    <a:pt x="5577" y="3768"/>
                    <a:pt x="5525" y="3696"/>
                    <a:pt x="5434" y="364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54" name="Google Shape;6604;p41">
              <a:extLst>
                <a:ext uri="{FF2B5EF4-FFF2-40B4-BE49-F238E27FC236}">
                  <a16:creationId xmlns:a16="http://schemas.microsoft.com/office/drawing/2014/main" id="{15903AAC-2101-3C44-8802-7AEA186C985B}"/>
                </a:ext>
              </a:extLst>
            </p:cNvPr>
            <p:cNvSpPr/>
            <p:nvPr/>
          </p:nvSpPr>
          <p:spPr>
            <a:xfrm>
              <a:off x="4224150" y="2615350"/>
              <a:ext cx="148475" cy="288675"/>
            </a:xfrm>
            <a:custGeom>
              <a:avLst/>
              <a:gdLst/>
              <a:ahLst/>
              <a:cxnLst/>
              <a:rect l="l" t="t" r="r" b="b"/>
              <a:pathLst>
                <a:path w="5939" h="11547" extrusionOk="0">
                  <a:moveTo>
                    <a:pt x="684" y="0"/>
                  </a:moveTo>
                  <a:cubicBezTo>
                    <a:pt x="656" y="0"/>
                    <a:pt x="633" y="13"/>
                    <a:pt x="618" y="34"/>
                  </a:cubicBezTo>
                  <a:lnTo>
                    <a:pt x="604" y="28"/>
                  </a:lnTo>
                  <a:lnTo>
                    <a:pt x="0" y="376"/>
                  </a:lnTo>
                  <a:lnTo>
                    <a:pt x="594" y="713"/>
                  </a:lnTo>
                  <a:lnTo>
                    <a:pt x="594" y="7895"/>
                  </a:lnTo>
                  <a:cubicBezTo>
                    <a:pt x="594" y="7997"/>
                    <a:pt x="665" y="8120"/>
                    <a:pt x="751" y="8167"/>
                  </a:cubicBezTo>
                  <a:lnTo>
                    <a:pt x="5280" y="10785"/>
                  </a:lnTo>
                  <a:lnTo>
                    <a:pt x="5280" y="11546"/>
                  </a:lnTo>
                  <a:lnTo>
                    <a:pt x="5939" y="11165"/>
                  </a:lnTo>
                  <a:lnTo>
                    <a:pt x="5935" y="3014"/>
                  </a:lnTo>
                  <a:lnTo>
                    <a:pt x="751" y="21"/>
                  </a:lnTo>
                  <a:cubicBezTo>
                    <a:pt x="727" y="7"/>
                    <a:pt x="704" y="0"/>
                    <a:pt x="68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55" name="Google Shape;6605;p41">
              <a:extLst>
                <a:ext uri="{FF2B5EF4-FFF2-40B4-BE49-F238E27FC236}">
                  <a16:creationId xmlns:a16="http://schemas.microsoft.com/office/drawing/2014/main" id="{BB5477B3-0CBA-6349-838A-37FE84C2FE54}"/>
                </a:ext>
              </a:extLst>
            </p:cNvPr>
            <p:cNvSpPr/>
            <p:nvPr/>
          </p:nvSpPr>
          <p:spPr>
            <a:xfrm>
              <a:off x="4222450" y="2624775"/>
              <a:ext cx="133725" cy="279250"/>
            </a:xfrm>
            <a:custGeom>
              <a:avLst/>
              <a:gdLst/>
              <a:ahLst/>
              <a:cxnLst/>
              <a:rect l="l" t="t" r="r" b="b"/>
              <a:pathLst>
                <a:path w="5349" h="11170" extrusionOk="0">
                  <a:moveTo>
                    <a:pt x="88" y="1"/>
                  </a:moveTo>
                  <a:cubicBezTo>
                    <a:pt x="36" y="1"/>
                    <a:pt x="0" y="43"/>
                    <a:pt x="0" y="115"/>
                  </a:cubicBezTo>
                  <a:lnTo>
                    <a:pt x="0" y="7900"/>
                  </a:lnTo>
                  <a:cubicBezTo>
                    <a:pt x="0" y="7999"/>
                    <a:pt x="71" y="8122"/>
                    <a:pt x="160" y="8173"/>
                  </a:cubicBezTo>
                  <a:lnTo>
                    <a:pt x="5348" y="11169"/>
                  </a:lnTo>
                  <a:lnTo>
                    <a:pt x="5345" y="3019"/>
                  </a:lnTo>
                  <a:lnTo>
                    <a:pt x="160" y="23"/>
                  </a:lnTo>
                  <a:cubicBezTo>
                    <a:pt x="134" y="8"/>
                    <a:pt x="110" y="1"/>
                    <a:pt x="88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56" name="Google Shape;6606;p41">
              <a:extLst>
                <a:ext uri="{FF2B5EF4-FFF2-40B4-BE49-F238E27FC236}">
                  <a16:creationId xmlns:a16="http://schemas.microsoft.com/office/drawing/2014/main" id="{D26F8814-3D92-C742-AEA8-273CB2C0B57E}"/>
                </a:ext>
              </a:extLst>
            </p:cNvPr>
            <p:cNvSpPr/>
            <p:nvPr/>
          </p:nvSpPr>
          <p:spPr>
            <a:xfrm>
              <a:off x="4356050" y="2690700"/>
              <a:ext cx="16575" cy="213325"/>
            </a:xfrm>
            <a:custGeom>
              <a:avLst/>
              <a:gdLst/>
              <a:ahLst/>
              <a:cxnLst/>
              <a:rect l="l" t="t" r="r" b="b"/>
              <a:pathLst>
                <a:path w="663" h="8533" extrusionOk="0">
                  <a:moveTo>
                    <a:pt x="659" y="0"/>
                  </a:moveTo>
                  <a:lnTo>
                    <a:pt x="1" y="382"/>
                  </a:lnTo>
                  <a:lnTo>
                    <a:pt x="4" y="8532"/>
                  </a:lnTo>
                  <a:lnTo>
                    <a:pt x="663" y="8151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57" name="Google Shape;6607;p41">
              <a:extLst>
                <a:ext uri="{FF2B5EF4-FFF2-40B4-BE49-F238E27FC236}">
                  <a16:creationId xmlns:a16="http://schemas.microsoft.com/office/drawing/2014/main" id="{55194E0A-7A5B-7F45-9C9B-EBC7F99525F8}"/>
                </a:ext>
              </a:extLst>
            </p:cNvPr>
            <p:cNvSpPr/>
            <p:nvPr/>
          </p:nvSpPr>
          <p:spPr>
            <a:xfrm>
              <a:off x="4346425" y="2701475"/>
              <a:ext cx="4275" cy="6175"/>
            </a:xfrm>
            <a:custGeom>
              <a:avLst/>
              <a:gdLst/>
              <a:ahLst/>
              <a:cxnLst/>
              <a:rect l="l" t="t" r="r" b="b"/>
              <a:pathLst>
                <a:path w="171" h="247" extrusionOk="0">
                  <a:moveTo>
                    <a:pt x="51" y="1"/>
                  </a:moveTo>
                  <a:cubicBezTo>
                    <a:pt x="22" y="1"/>
                    <a:pt x="1" y="29"/>
                    <a:pt x="3" y="74"/>
                  </a:cubicBezTo>
                  <a:cubicBezTo>
                    <a:pt x="3" y="102"/>
                    <a:pt x="10" y="132"/>
                    <a:pt x="24" y="160"/>
                  </a:cubicBezTo>
                  <a:cubicBezTo>
                    <a:pt x="38" y="190"/>
                    <a:pt x="62" y="221"/>
                    <a:pt x="85" y="234"/>
                  </a:cubicBezTo>
                  <a:cubicBezTo>
                    <a:pt x="89" y="238"/>
                    <a:pt x="92" y="242"/>
                    <a:pt x="99" y="242"/>
                  </a:cubicBezTo>
                  <a:cubicBezTo>
                    <a:pt x="107" y="245"/>
                    <a:pt x="115" y="247"/>
                    <a:pt x="122" y="247"/>
                  </a:cubicBezTo>
                  <a:cubicBezTo>
                    <a:pt x="151" y="247"/>
                    <a:pt x="170" y="220"/>
                    <a:pt x="170" y="173"/>
                  </a:cubicBezTo>
                  <a:cubicBezTo>
                    <a:pt x="170" y="153"/>
                    <a:pt x="167" y="132"/>
                    <a:pt x="157" y="112"/>
                  </a:cubicBezTo>
                  <a:cubicBezTo>
                    <a:pt x="150" y="81"/>
                    <a:pt x="133" y="50"/>
                    <a:pt x="109" y="33"/>
                  </a:cubicBezTo>
                  <a:cubicBezTo>
                    <a:pt x="102" y="23"/>
                    <a:pt x="95" y="17"/>
                    <a:pt x="85" y="12"/>
                  </a:cubicBezTo>
                  <a:cubicBezTo>
                    <a:pt x="73" y="4"/>
                    <a:pt x="62" y="1"/>
                    <a:pt x="5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58" name="Google Shape;6608;p41">
              <a:extLst>
                <a:ext uri="{FF2B5EF4-FFF2-40B4-BE49-F238E27FC236}">
                  <a16:creationId xmlns:a16="http://schemas.microsoft.com/office/drawing/2014/main" id="{E4481E1D-5C99-C249-92FF-AF2035BF05A8}"/>
                </a:ext>
              </a:extLst>
            </p:cNvPr>
            <p:cNvSpPr/>
            <p:nvPr/>
          </p:nvSpPr>
          <p:spPr>
            <a:xfrm>
              <a:off x="4346225" y="2699825"/>
              <a:ext cx="32900" cy="18475"/>
            </a:xfrm>
            <a:custGeom>
              <a:avLst/>
              <a:gdLst/>
              <a:ahLst/>
              <a:cxnLst/>
              <a:rect l="l" t="t" r="r" b="b"/>
              <a:pathLst>
                <a:path w="1316" h="739" extrusionOk="0">
                  <a:moveTo>
                    <a:pt x="1052" y="1"/>
                  </a:moveTo>
                  <a:lnTo>
                    <a:pt x="1056" y="103"/>
                  </a:lnTo>
                  <a:cubicBezTo>
                    <a:pt x="1267" y="229"/>
                    <a:pt x="1264" y="431"/>
                    <a:pt x="1049" y="554"/>
                  </a:cubicBezTo>
                  <a:cubicBezTo>
                    <a:pt x="941" y="615"/>
                    <a:pt x="798" y="647"/>
                    <a:pt x="655" y="647"/>
                  </a:cubicBezTo>
                  <a:cubicBezTo>
                    <a:pt x="514" y="647"/>
                    <a:pt x="372" y="616"/>
                    <a:pt x="264" y="554"/>
                  </a:cubicBezTo>
                  <a:cubicBezTo>
                    <a:pt x="148" y="485"/>
                    <a:pt x="93" y="396"/>
                    <a:pt x="107" y="308"/>
                  </a:cubicBezTo>
                  <a:cubicBezTo>
                    <a:pt x="107" y="263"/>
                    <a:pt x="128" y="219"/>
                    <a:pt x="165" y="178"/>
                  </a:cubicBezTo>
                  <a:cubicBezTo>
                    <a:pt x="158" y="147"/>
                    <a:pt x="141" y="116"/>
                    <a:pt x="117" y="99"/>
                  </a:cubicBezTo>
                  <a:cubicBezTo>
                    <a:pt x="76" y="137"/>
                    <a:pt x="46" y="178"/>
                    <a:pt x="32" y="226"/>
                  </a:cubicBezTo>
                  <a:cubicBezTo>
                    <a:pt x="1" y="304"/>
                    <a:pt x="5" y="393"/>
                    <a:pt x="52" y="475"/>
                  </a:cubicBezTo>
                  <a:cubicBezTo>
                    <a:pt x="87" y="536"/>
                    <a:pt x="144" y="587"/>
                    <a:pt x="219" y="631"/>
                  </a:cubicBezTo>
                  <a:cubicBezTo>
                    <a:pt x="342" y="703"/>
                    <a:pt x="499" y="739"/>
                    <a:pt x="656" y="739"/>
                  </a:cubicBezTo>
                  <a:cubicBezTo>
                    <a:pt x="813" y="739"/>
                    <a:pt x="971" y="703"/>
                    <a:pt x="1093" y="631"/>
                  </a:cubicBezTo>
                  <a:cubicBezTo>
                    <a:pt x="1188" y="577"/>
                    <a:pt x="1250" y="508"/>
                    <a:pt x="1281" y="431"/>
                  </a:cubicBezTo>
                  <a:cubicBezTo>
                    <a:pt x="1315" y="349"/>
                    <a:pt x="1308" y="259"/>
                    <a:pt x="1261" y="181"/>
                  </a:cubicBezTo>
                  <a:lnTo>
                    <a:pt x="1261" y="178"/>
                  </a:lnTo>
                  <a:cubicBezTo>
                    <a:pt x="1226" y="119"/>
                    <a:pt x="1168" y="65"/>
                    <a:pt x="1093" y="21"/>
                  </a:cubicBezTo>
                  <a:cubicBezTo>
                    <a:pt x="1083" y="14"/>
                    <a:pt x="1070" y="7"/>
                    <a:pt x="105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59" name="Google Shape;6609;p41">
              <a:extLst>
                <a:ext uri="{FF2B5EF4-FFF2-40B4-BE49-F238E27FC236}">
                  <a16:creationId xmlns:a16="http://schemas.microsoft.com/office/drawing/2014/main" id="{CDB749D2-61EC-FC44-ABC6-A2FA16CCE4A0}"/>
                </a:ext>
              </a:extLst>
            </p:cNvPr>
            <p:cNvSpPr/>
            <p:nvPr/>
          </p:nvSpPr>
          <p:spPr>
            <a:xfrm>
              <a:off x="4214575" y="2623350"/>
              <a:ext cx="143550" cy="96375"/>
            </a:xfrm>
            <a:custGeom>
              <a:avLst/>
              <a:gdLst/>
              <a:ahLst/>
              <a:cxnLst/>
              <a:rect l="l" t="t" r="r" b="b"/>
              <a:pathLst>
                <a:path w="5742" h="3855" extrusionOk="0">
                  <a:moveTo>
                    <a:pt x="166" y="0"/>
                  </a:moveTo>
                  <a:cubicBezTo>
                    <a:pt x="137" y="0"/>
                    <a:pt x="108" y="6"/>
                    <a:pt x="86" y="18"/>
                  </a:cubicBezTo>
                  <a:lnTo>
                    <a:pt x="1" y="70"/>
                  </a:lnTo>
                  <a:lnTo>
                    <a:pt x="5622" y="3854"/>
                  </a:lnTo>
                  <a:lnTo>
                    <a:pt x="5742" y="3786"/>
                  </a:lnTo>
                  <a:lnTo>
                    <a:pt x="246" y="18"/>
                  </a:lnTo>
                  <a:cubicBezTo>
                    <a:pt x="224" y="6"/>
                    <a:pt x="195" y="0"/>
                    <a:pt x="166" y="0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60" name="Google Shape;6610;p41">
              <a:extLst>
                <a:ext uri="{FF2B5EF4-FFF2-40B4-BE49-F238E27FC236}">
                  <a16:creationId xmlns:a16="http://schemas.microsoft.com/office/drawing/2014/main" id="{0FDC893F-7A0D-B346-A503-A84EF34642E7}"/>
                </a:ext>
              </a:extLst>
            </p:cNvPr>
            <p:cNvSpPr/>
            <p:nvPr/>
          </p:nvSpPr>
          <p:spPr>
            <a:xfrm>
              <a:off x="4214575" y="2623375"/>
              <a:ext cx="143550" cy="96250"/>
            </a:xfrm>
            <a:custGeom>
              <a:avLst/>
              <a:gdLst/>
              <a:ahLst/>
              <a:cxnLst/>
              <a:rect l="l" t="t" r="r" b="b"/>
              <a:pathLst>
                <a:path w="5742" h="3850" extrusionOk="0">
                  <a:moveTo>
                    <a:pt x="168" y="0"/>
                  </a:moveTo>
                  <a:cubicBezTo>
                    <a:pt x="137" y="0"/>
                    <a:pt x="110" y="7"/>
                    <a:pt x="86" y="17"/>
                  </a:cubicBezTo>
                  <a:lnTo>
                    <a:pt x="1" y="69"/>
                  </a:lnTo>
                  <a:cubicBezTo>
                    <a:pt x="15" y="61"/>
                    <a:pt x="28" y="58"/>
                    <a:pt x="42" y="58"/>
                  </a:cubicBezTo>
                  <a:cubicBezTo>
                    <a:pt x="62" y="58"/>
                    <a:pt x="86" y="65"/>
                    <a:pt x="114" y="79"/>
                  </a:cubicBezTo>
                  <a:lnTo>
                    <a:pt x="5625" y="3850"/>
                  </a:lnTo>
                  <a:lnTo>
                    <a:pt x="5742" y="3782"/>
                  </a:lnTo>
                  <a:lnTo>
                    <a:pt x="5734" y="3779"/>
                  </a:lnTo>
                  <a:lnTo>
                    <a:pt x="5295" y="3478"/>
                  </a:lnTo>
                  <a:lnTo>
                    <a:pt x="342" y="85"/>
                  </a:lnTo>
                  <a:lnTo>
                    <a:pt x="246" y="17"/>
                  </a:lnTo>
                  <a:cubicBezTo>
                    <a:pt x="223" y="7"/>
                    <a:pt x="196" y="0"/>
                    <a:pt x="168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61" name="Google Shape;6611;p41">
              <a:extLst>
                <a:ext uri="{FF2B5EF4-FFF2-40B4-BE49-F238E27FC236}">
                  <a16:creationId xmlns:a16="http://schemas.microsoft.com/office/drawing/2014/main" id="{61069055-EFBA-EA4D-BE81-703AD02C244A}"/>
                </a:ext>
              </a:extLst>
            </p:cNvPr>
            <p:cNvSpPr/>
            <p:nvPr/>
          </p:nvSpPr>
          <p:spPr>
            <a:xfrm>
              <a:off x="4213400" y="2624825"/>
              <a:ext cx="144025" cy="300025"/>
            </a:xfrm>
            <a:custGeom>
              <a:avLst/>
              <a:gdLst/>
              <a:ahLst/>
              <a:cxnLst/>
              <a:rect l="l" t="t" r="r" b="b"/>
              <a:pathLst>
                <a:path w="5761" h="12001" extrusionOk="0">
                  <a:moveTo>
                    <a:pt x="91" y="1"/>
                  </a:moveTo>
                  <a:cubicBezTo>
                    <a:pt x="37" y="1"/>
                    <a:pt x="0" y="42"/>
                    <a:pt x="0" y="113"/>
                  </a:cubicBezTo>
                  <a:lnTo>
                    <a:pt x="3" y="7898"/>
                  </a:lnTo>
                  <a:cubicBezTo>
                    <a:pt x="3" y="7997"/>
                    <a:pt x="71" y="8120"/>
                    <a:pt x="161" y="8171"/>
                  </a:cubicBezTo>
                  <a:lnTo>
                    <a:pt x="5761" y="12000"/>
                  </a:lnTo>
                  <a:lnTo>
                    <a:pt x="5761" y="3850"/>
                  </a:lnTo>
                  <a:lnTo>
                    <a:pt x="161" y="21"/>
                  </a:lnTo>
                  <a:cubicBezTo>
                    <a:pt x="135" y="7"/>
                    <a:pt x="112" y="1"/>
                    <a:pt x="9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62" name="Google Shape;6612;p41">
              <a:extLst>
                <a:ext uri="{FF2B5EF4-FFF2-40B4-BE49-F238E27FC236}">
                  <a16:creationId xmlns:a16="http://schemas.microsoft.com/office/drawing/2014/main" id="{A4DADF7F-E0B5-294C-BA66-AAAE36B95848}"/>
                </a:ext>
              </a:extLst>
            </p:cNvPr>
            <p:cNvSpPr/>
            <p:nvPr/>
          </p:nvSpPr>
          <p:spPr>
            <a:xfrm>
              <a:off x="4357400" y="2698375"/>
              <a:ext cx="39300" cy="226550"/>
            </a:xfrm>
            <a:custGeom>
              <a:avLst/>
              <a:gdLst/>
              <a:ahLst/>
              <a:cxnLst/>
              <a:rect l="l" t="t" r="r" b="b"/>
              <a:pathLst>
                <a:path w="1572" h="9062" extrusionOk="0">
                  <a:moveTo>
                    <a:pt x="1568" y="0"/>
                  </a:moveTo>
                  <a:lnTo>
                    <a:pt x="1" y="908"/>
                  </a:lnTo>
                  <a:lnTo>
                    <a:pt x="1" y="9062"/>
                  </a:lnTo>
                  <a:lnTo>
                    <a:pt x="1571" y="8154"/>
                  </a:lnTo>
                  <a:lnTo>
                    <a:pt x="1568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63" name="Google Shape;6613;p41">
              <a:extLst>
                <a:ext uri="{FF2B5EF4-FFF2-40B4-BE49-F238E27FC236}">
                  <a16:creationId xmlns:a16="http://schemas.microsoft.com/office/drawing/2014/main" id="{8BA6DD0C-673D-DB4C-AAD2-FD1770AF7481}"/>
                </a:ext>
              </a:extLst>
            </p:cNvPr>
            <p:cNvSpPr/>
            <p:nvPr/>
          </p:nvSpPr>
          <p:spPr>
            <a:xfrm>
              <a:off x="4357400" y="2698375"/>
              <a:ext cx="39300" cy="226550"/>
            </a:xfrm>
            <a:custGeom>
              <a:avLst/>
              <a:gdLst/>
              <a:ahLst/>
              <a:cxnLst/>
              <a:rect l="l" t="t" r="r" b="b"/>
              <a:pathLst>
                <a:path w="1572" h="9062" extrusionOk="0">
                  <a:moveTo>
                    <a:pt x="1568" y="0"/>
                  </a:moveTo>
                  <a:lnTo>
                    <a:pt x="854" y="413"/>
                  </a:lnTo>
                  <a:lnTo>
                    <a:pt x="738" y="481"/>
                  </a:lnTo>
                  <a:lnTo>
                    <a:pt x="609" y="557"/>
                  </a:lnTo>
                  <a:lnTo>
                    <a:pt x="377" y="689"/>
                  </a:lnTo>
                  <a:lnTo>
                    <a:pt x="1" y="908"/>
                  </a:lnTo>
                  <a:lnTo>
                    <a:pt x="1" y="9062"/>
                  </a:lnTo>
                  <a:lnTo>
                    <a:pt x="1571" y="8154"/>
                  </a:lnTo>
                  <a:lnTo>
                    <a:pt x="1568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64" name="Google Shape;6614;p41">
              <a:extLst>
                <a:ext uri="{FF2B5EF4-FFF2-40B4-BE49-F238E27FC236}">
                  <a16:creationId xmlns:a16="http://schemas.microsoft.com/office/drawing/2014/main" id="{C0CA5A72-7484-F649-9AE9-CA1DFCAFCBC7}"/>
                </a:ext>
              </a:extLst>
            </p:cNvPr>
            <p:cNvSpPr/>
            <p:nvPr/>
          </p:nvSpPr>
          <p:spPr>
            <a:xfrm>
              <a:off x="4365950" y="2739425"/>
              <a:ext cx="24250" cy="29900"/>
            </a:xfrm>
            <a:custGeom>
              <a:avLst/>
              <a:gdLst/>
              <a:ahLst/>
              <a:cxnLst/>
              <a:rect l="l" t="t" r="r" b="b"/>
              <a:pathLst>
                <a:path w="970" h="1196" extrusionOk="0">
                  <a:moveTo>
                    <a:pt x="666" y="1"/>
                  </a:moveTo>
                  <a:cubicBezTo>
                    <a:pt x="595" y="1"/>
                    <a:pt x="518" y="23"/>
                    <a:pt x="440" y="68"/>
                  </a:cubicBezTo>
                  <a:cubicBezTo>
                    <a:pt x="195" y="208"/>
                    <a:pt x="4" y="542"/>
                    <a:pt x="1" y="826"/>
                  </a:cubicBezTo>
                  <a:cubicBezTo>
                    <a:pt x="4" y="911"/>
                    <a:pt x="21" y="989"/>
                    <a:pt x="55" y="1051"/>
                  </a:cubicBezTo>
                  <a:cubicBezTo>
                    <a:pt x="111" y="1146"/>
                    <a:pt x="202" y="1196"/>
                    <a:pt x="309" y="1196"/>
                  </a:cubicBezTo>
                  <a:cubicBezTo>
                    <a:pt x="379" y="1196"/>
                    <a:pt x="456" y="1174"/>
                    <a:pt x="533" y="1130"/>
                  </a:cubicBezTo>
                  <a:cubicBezTo>
                    <a:pt x="779" y="989"/>
                    <a:pt x="970" y="655"/>
                    <a:pt x="970" y="372"/>
                  </a:cubicBezTo>
                  <a:cubicBezTo>
                    <a:pt x="970" y="283"/>
                    <a:pt x="952" y="208"/>
                    <a:pt x="915" y="147"/>
                  </a:cubicBezTo>
                  <a:cubicBezTo>
                    <a:pt x="870" y="68"/>
                    <a:pt x="796" y="17"/>
                    <a:pt x="707" y="3"/>
                  </a:cubicBezTo>
                  <a:cubicBezTo>
                    <a:pt x="693" y="2"/>
                    <a:pt x="680" y="1"/>
                    <a:pt x="66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65" name="Google Shape;6615;p41">
              <a:extLst>
                <a:ext uri="{FF2B5EF4-FFF2-40B4-BE49-F238E27FC236}">
                  <a16:creationId xmlns:a16="http://schemas.microsoft.com/office/drawing/2014/main" id="{A6B05062-4B27-4349-B670-800A0137BBFB}"/>
                </a:ext>
              </a:extLst>
            </p:cNvPr>
            <p:cNvSpPr/>
            <p:nvPr/>
          </p:nvSpPr>
          <p:spPr>
            <a:xfrm>
              <a:off x="4368250" y="2741725"/>
              <a:ext cx="19650" cy="25325"/>
            </a:xfrm>
            <a:custGeom>
              <a:avLst/>
              <a:gdLst/>
              <a:ahLst/>
              <a:cxnLst/>
              <a:rect l="l" t="t" r="r" b="b"/>
              <a:pathLst>
                <a:path w="786" h="1013" extrusionOk="0">
                  <a:moveTo>
                    <a:pt x="570" y="1"/>
                  </a:moveTo>
                  <a:cubicBezTo>
                    <a:pt x="517" y="1"/>
                    <a:pt x="457" y="18"/>
                    <a:pt x="393" y="55"/>
                  </a:cubicBezTo>
                  <a:cubicBezTo>
                    <a:pt x="178" y="177"/>
                    <a:pt x="0" y="485"/>
                    <a:pt x="0" y="734"/>
                  </a:cubicBezTo>
                  <a:cubicBezTo>
                    <a:pt x="0" y="910"/>
                    <a:pt x="90" y="1013"/>
                    <a:pt x="218" y="1013"/>
                  </a:cubicBezTo>
                  <a:cubicBezTo>
                    <a:pt x="271" y="1013"/>
                    <a:pt x="331" y="996"/>
                    <a:pt x="393" y="959"/>
                  </a:cubicBezTo>
                  <a:cubicBezTo>
                    <a:pt x="611" y="833"/>
                    <a:pt x="786" y="529"/>
                    <a:pt x="786" y="280"/>
                  </a:cubicBezTo>
                  <a:cubicBezTo>
                    <a:pt x="786" y="103"/>
                    <a:pt x="698" y="1"/>
                    <a:pt x="570" y="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66" name="Google Shape;6616;p41">
              <a:extLst>
                <a:ext uri="{FF2B5EF4-FFF2-40B4-BE49-F238E27FC236}">
                  <a16:creationId xmlns:a16="http://schemas.microsoft.com/office/drawing/2014/main" id="{E358C394-911D-8244-B21E-68DDA7E18F2B}"/>
                </a:ext>
              </a:extLst>
            </p:cNvPr>
            <p:cNvSpPr/>
            <p:nvPr/>
          </p:nvSpPr>
          <p:spPr>
            <a:xfrm>
              <a:off x="4365350" y="2782075"/>
              <a:ext cx="24600" cy="117850"/>
            </a:xfrm>
            <a:custGeom>
              <a:avLst/>
              <a:gdLst/>
              <a:ahLst/>
              <a:cxnLst/>
              <a:rect l="l" t="t" r="r" b="b"/>
              <a:pathLst>
                <a:path w="984" h="4714" extrusionOk="0">
                  <a:moveTo>
                    <a:pt x="742" y="0"/>
                  </a:moveTo>
                  <a:cubicBezTo>
                    <a:pt x="684" y="0"/>
                    <a:pt x="619" y="19"/>
                    <a:pt x="550" y="58"/>
                  </a:cubicBezTo>
                  <a:lnTo>
                    <a:pt x="434" y="126"/>
                  </a:lnTo>
                  <a:cubicBezTo>
                    <a:pt x="195" y="266"/>
                    <a:pt x="1" y="597"/>
                    <a:pt x="1" y="874"/>
                  </a:cubicBezTo>
                  <a:lnTo>
                    <a:pt x="1" y="4406"/>
                  </a:lnTo>
                  <a:cubicBezTo>
                    <a:pt x="1" y="4601"/>
                    <a:pt x="99" y="4714"/>
                    <a:pt x="242" y="4714"/>
                  </a:cubicBezTo>
                  <a:cubicBezTo>
                    <a:pt x="300" y="4714"/>
                    <a:pt x="365" y="4695"/>
                    <a:pt x="434" y="4656"/>
                  </a:cubicBezTo>
                  <a:lnTo>
                    <a:pt x="550" y="4587"/>
                  </a:lnTo>
                  <a:cubicBezTo>
                    <a:pt x="789" y="4447"/>
                    <a:pt x="984" y="4116"/>
                    <a:pt x="984" y="3840"/>
                  </a:cubicBezTo>
                  <a:lnTo>
                    <a:pt x="984" y="307"/>
                  </a:lnTo>
                  <a:cubicBezTo>
                    <a:pt x="984" y="113"/>
                    <a:pt x="885" y="0"/>
                    <a:pt x="742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67" name="Google Shape;6617;p41">
              <a:extLst>
                <a:ext uri="{FF2B5EF4-FFF2-40B4-BE49-F238E27FC236}">
                  <a16:creationId xmlns:a16="http://schemas.microsoft.com/office/drawing/2014/main" id="{A7627507-A037-FE4B-9FD3-5F6A17E2BD15}"/>
                </a:ext>
              </a:extLst>
            </p:cNvPr>
            <p:cNvSpPr/>
            <p:nvPr/>
          </p:nvSpPr>
          <p:spPr>
            <a:xfrm>
              <a:off x="4355200" y="2697000"/>
              <a:ext cx="41400" cy="24100"/>
            </a:xfrm>
            <a:custGeom>
              <a:avLst/>
              <a:gdLst/>
              <a:ahLst/>
              <a:cxnLst/>
              <a:rect l="l" t="t" r="r" b="b"/>
              <a:pathLst>
                <a:path w="1656" h="964" extrusionOk="0">
                  <a:moveTo>
                    <a:pt x="1563" y="1"/>
                  </a:moveTo>
                  <a:lnTo>
                    <a:pt x="0" y="905"/>
                  </a:lnTo>
                  <a:lnTo>
                    <a:pt x="89" y="963"/>
                  </a:lnTo>
                  <a:lnTo>
                    <a:pt x="1656" y="55"/>
                  </a:lnTo>
                  <a:lnTo>
                    <a:pt x="1563" y="1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68" name="Google Shape;6618;p41">
              <a:extLst>
                <a:ext uri="{FF2B5EF4-FFF2-40B4-BE49-F238E27FC236}">
                  <a16:creationId xmlns:a16="http://schemas.microsoft.com/office/drawing/2014/main" id="{8F8F68FE-94CA-A041-A89A-7C1C9782B867}"/>
                </a:ext>
              </a:extLst>
            </p:cNvPr>
            <p:cNvSpPr/>
            <p:nvPr/>
          </p:nvSpPr>
          <p:spPr>
            <a:xfrm>
              <a:off x="4355200" y="2697000"/>
              <a:ext cx="41400" cy="24100"/>
            </a:xfrm>
            <a:custGeom>
              <a:avLst/>
              <a:gdLst/>
              <a:ahLst/>
              <a:cxnLst/>
              <a:rect l="l" t="t" r="r" b="b"/>
              <a:pathLst>
                <a:path w="1656" h="964" extrusionOk="0">
                  <a:moveTo>
                    <a:pt x="1563" y="1"/>
                  </a:moveTo>
                  <a:lnTo>
                    <a:pt x="932" y="366"/>
                  </a:lnTo>
                  <a:lnTo>
                    <a:pt x="850" y="413"/>
                  </a:lnTo>
                  <a:lnTo>
                    <a:pt x="253" y="758"/>
                  </a:lnTo>
                  <a:lnTo>
                    <a:pt x="120" y="837"/>
                  </a:lnTo>
                  <a:lnTo>
                    <a:pt x="0" y="905"/>
                  </a:lnTo>
                  <a:lnTo>
                    <a:pt x="89" y="963"/>
                  </a:lnTo>
                  <a:lnTo>
                    <a:pt x="1656" y="55"/>
                  </a:lnTo>
                  <a:lnTo>
                    <a:pt x="1563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69" name="Google Shape;6619;p41">
              <a:extLst>
                <a:ext uri="{FF2B5EF4-FFF2-40B4-BE49-F238E27FC236}">
                  <a16:creationId xmlns:a16="http://schemas.microsoft.com/office/drawing/2014/main" id="{EFC22A23-1ECF-0443-8B7D-94556EAD782C}"/>
                </a:ext>
              </a:extLst>
            </p:cNvPr>
            <p:cNvSpPr/>
            <p:nvPr/>
          </p:nvSpPr>
          <p:spPr>
            <a:xfrm>
              <a:off x="5443675" y="2534625"/>
              <a:ext cx="51900" cy="109825"/>
            </a:xfrm>
            <a:custGeom>
              <a:avLst/>
              <a:gdLst/>
              <a:ahLst/>
              <a:cxnLst/>
              <a:rect l="l" t="t" r="r" b="b"/>
              <a:pathLst>
                <a:path w="2076" h="4393" extrusionOk="0">
                  <a:moveTo>
                    <a:pt x="1922" y="1"/>
                  </a:moveTo>
                  <a:lnTo>
                    <a:pt x="1" y="1110"/>
                  </a:lnTo>
                  <a:lnTo>
                    <a:pt x="1" y="2222"/>
                  </a:lnTo>
                  <a:lnTo>
                    <a:pt x="827" y="3652"/>
                  </a:lnTo>
                  <a:cubicBezTo>
                    <a:pt x="840" y="3676"/>
                    <a:pt x="861" y="3693"/>
                    <a:pt x="885" y="3704"/>
                  </a:cubicBezTo>
                  <a:lnTo>
                    <a:pt x="881" y="3704"/>
                  </a:lnTo>
                  <a:lnTo>
                    <a:pt x="2076" y="4393"/>
                  </a:lnTo>
                  <a:lnTo>
                    <a:pt x="1294" y="2926"/>
                  </a:lnTo>
                  <a:lnTo>
                    <a:pt x="1922" y="1110"/>
                  </a:lnTo>
                  <a:lnTo>
                    <a:pt x="1922" y="1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70" name="Google Shape;6620;p41">
              <a:extLst>
                <a:ext uri="{FF2B5EF4-FFF2-40B4-BE49-F238E27FC236}">
                  <a16:creationId xmlns:a16="http://schemas.microsoft.com/office/drawing/2014/main" id="{65A173F0-1EBF-E840-8FB5-62DC12805650}"/>
                </a:ext>
              </a:extLst>
            </p:cNvPr>
            <p:cNvSpPr/>
            <p:nvPr/>
          </p:nvSpPr>
          <p:spPr>
            <a:xfrm>
              <a:off x="5458800" y="2607575"/>
              <a:ext cx="36525" cy="36725"/>
            </a:xfrm>
            <a:custGeom>
              <a:avLst/>
              <a:gdLst/>
              <a:ahLst/>
              <a:cxnLst/>
              <a:rect l="l" t="t" r="r" b="b"/>
              <a:pathLst>
                <a:path w="1461" h="1469" extrusionOk="0">
                  <a:moveTo>
                    <a:pt x="604" y="0"/>
                  </a:moveTo>
                  <a:lnTo>
                    <a:pt x="0" y="349"/>
                  </a:lnTo>
                  <a:lnTo>
                    <a:pt x="222" y="734"/>
                  </a:lnTo>
                  <a:cubicBezTo>
                    <a:pt x="235" y="758"/>
                    <a:pt x="256" y="775"/>
                    <a:pt x="280" y="786"/>
                  </a:cubicBezTo>
                  <a:lnTo>
                    <a:pt x="276" y="786"/>
                  </a:lnTo>
                  <a:lnTo>
                    <a:pt x="1461" y="1468"/>
                  </a:lnTo>
                  <a:cubicBezTo>
                    <a:pt x="1447" y="1459"/>
                    <a:pt x="1437" y="1448"/>
                    <a:pt x="1426" y="1431"/>
                  </a:cubicBezTo>
                  <a:lnTo>
                    <a:pt x="60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71" name="Google Shape;6621;p41">
              <a:extLst>
                <a:ext uri="{FF2B5EF4-FFF2-40B4-BE49-F238E27FC236}">
                  <a16:creationId xmlns:a16="http://schemas.microsoft.com/office/drawing/2014/main" id="{D85493F2-C7EF-C341-841C-BCC7FC40B89C}"/>
                </a:ext>
              </a:extLst>
            </p:cNvPr>
            <p:cNvSpPr/>
            <p:nvPr/>
          </p:nvSpPr>
          <p:spPr>
            <a:xfrm>
              <a:off x="5361025" y="2278875"/>
              <a:ext cx="249325" cy="366025"/>
            </a:xfrm>
            <a:custGeom>
              <a:avLst/>
              <a:gdLst/>
              <a:ahLst/>
              <a:cxnLst/>
              <a:rect l="l" t="t" r="r" b="b"/>
              <a:pathLst>
                <a:path w="9973" h="14641" extrusionOk="0">
                  <a:moveTo>
                    <a:pt x="8350" y="0"/>
                  </a:moveTo>
                  <a:cubicBezTo>
                    <a:pt x="8141" y="0"/>
                    <a:pt x="7933" y="46"/>
                    <a:pt x="7774" y="138"/>
                  </a:cubicBezTo>
                  <a:lnTo>
                    <a:pt x="577" y="4302"/>
                  </a:lnTo>
                  <a:cubicBezTo>
                    <a:pt x="259" y="4486"/>
                    <a:pt x="0" y="4934"/>
                    <a:pt x="0" y="5299"/>
                  </a:cubicBezTo>
                  <a:lnTo>
                    <a:pt x="0" y="13217"/>
                  </a:lnTo>
                  <a:cubicBezTo>
                    <a:pt x="0" y="13586"/>
                    <a:pt x="259" y="14033"/>
                    <a:pt x="577" y="14217"/>
                  </a:cubicBezTo>
                  <a:lnTo>
                    <a:pt x="1048" y="14487"/>
                  </a:lnTo>
                  <a:cubicBezTo>
                    <a:pt x="1206" y="14579"/>
                    <a:pt x="1414" y="14625"/>
                    <a:pt x="1622" y="14625"/>
                  </a:cubicBezTo>
                  <a:cubicBezTo>
                    <a:pt x="1831" y="14625"/>
                    <a:pt x="2039" y="14579"/>
                    <a:pt x="2198" y="14487"/>
                  </a:cubicBezTo>
                  <a:lnTo>
                    <a:pt x="4515" y="13148"/>
                  </a:lnTo>
                  <a:lnTo>
                    <a:pt x="5337" y="14579"/>
                  </a:lnTo>
                  <a:cubicBezTo>
                    <a:pt x="5362" y="14621"/>
                    <a:pt x="5404" y="14641"/>
                    <a:pt x="5444" y="14641"/>
                  </a:cubicBezTo>
                  <a:cubicBezTo>
                    <a:pt x="5493" y="14641"/>
                    <a:pt x="5542" y="14612"/>
                    <a:pt x="5563" y="14558"/>
                  </a:cubicBezTo>
                  <a:lnTo>
                    <a:pt x="6433" y="12043"/>
                  </a:lnTo>
                  <a:lnTo>
                    <a:pt x="9395" y="10327"/>
                  </a:lnTo>
                  <a:cubicBezTo>
                    <a:pt x="9713" y="10142"/>
                    <a:pt x="9973" y="9695"/>
                    <a:pt x="9973" y="9326"/>
                  </a:cubicBezTo>
                  <a:lnTo>
                    <a:pt x="9973" y="1408"/>
                  </a:lnTo>
                  <a:cubicBezTo>
                    <a:pt x="9973" y="1039"/>
                    <a:pt x="9713" y="592"/>
                    <a:pt x="9395" y="408"/>
                  </a:cubicBezTo>
                  <a:lnTo>
                    <a:pt x="8928" y="138"/>
                  </a:lnTo>
                  <a:cubicBezTo>
                    <a:pt x="8768" y="46"/>
                    <a:pt x="8559" y="0"/>
                    <a:pt x="8350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72" name="Google Shape;6622;p41">
              <a:extLst>
                <a:ext uri="{FF2B5EF4-FFF2-40B4-BE49-F238E27FC236}">
                  <a16:creationId xmlns:a16="http://schemas.microsoft.com/office/drawing/2014/main" id="{56371427-682E-4047-977A-50F575E9456D}"/>
                </a:ext>
              </a:extLst>
            </p:cNvPr>
            <p:cNvSpPr/>
            <p:nvPr/>
          </p:nvSpPr>
          <p:spPr>
            <a:xfrm>
              <a:off x="5364850" y="2622775"/>
              <a:ext cx="10600" cy="11550"/>
            </a:xfrm>
            <a:custGeom>
              <a:avLst/>
              <a:gdLst/>
              <a:ahLst/>
              <a:cxnLst/>
              <a:rect l="l" t="t" r="r" b="b"/>
              <a:pathLst>
                <a:path w="424" h="462" extrusionOk="0">
                  <a:moveTo>
                    <a:pt x="0" y="0"/>
                  </a:moveTo>
                  <a:cubicBezTo>
                    <a:pt x="103" y="191"/>
                    <a:pt x="257" y="362"/>
                    <a:pt x="424" y="461"/>
                  </a:cubicBezTo>
                  <a:cubicBezTo>
                    <a:pt x="257" y="362"/>
                    <a:pt x="103" y="191"/>
                    <a:pt x="0" y="0"/>
                  </a:cubicBez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73" name="Google Shape;6623;p41">
              <a:extLst>
                <a:ext uri="{FF2B5EF4-FFF2-40B4-BE49-F238E27FC236}">
                  <a16:creationId xmlns:a16="http://schemas.microsoft.com/office/drawing/2014/main" id="{46EEC29E-A6F2-8049-A9EC-108DE1AF5BF1}"/>
                </a:ext>
              </a:extLst>
            </p:cNvPr>
            <p:cNvSpPr/>
            <p:nvPr/>
          </p:nvSpPr>
          <p:spPr>
            <a:xfrm>
              <a:off x="5361025" y="2397175"/>
              <a:ext cx="52550" cy="247275"/>
            </a:xfrm>
            <a:custGeom>
              <a:avLst/>
              <a:gdLst/>
              <a:ahLst/>
              <a:cxnLst/>
              <a:rect l="l" t="t" r="r" b="b"/>
              <a:pathLst>
                <a:path w="2102" h="9891" extrusionOk="0">
                  <a:moveTo>
                    <a:pt x="170" y="0"/>
                  </a:moveTo>
                  <a:cubicBezTo>
                    <a:pt x="65" y="181"/>
                    <a:pt x="0" y="383"/>
                    <a:pt x="0" y="567"/>
                  </a:cubicBezTo>
                  <a:lnTo>
                    <a:pt x="0" y="8485"/>
                  </a:lnTo>
                  <a:cubicBezTo>
                    <a:pt x="0" y="8659"/>
                    <a:pt x="57" y="8851"/>
                    <a:pt x="153" y="9024"/>
                  </a:cubicBezTo>
                  <a:cubicBezTo>
                    <a:pt x="256" y="9215"/>
                    <a:pt x="410" y="9386"/>
                    <a:pt x="577" y="9485"/>
                  </a:cubicBezTo>
                  <a:lnTo>
                    <a:pt x="1048" y="9755"/>
                  </a:lnTo>
                  <a:cubicBezTo>
                    <a:pt x="1204" y="9847"/>
                    <a:pt x="1413" y="9891"/>
                    <a:pt x="1618" y="9891"/>
                  </a:cubicBezTo>
                  <a:cubicBezTo>
                    <a:pt x="1788" y="9891"/>
                    <a:pt x="1959" y="9864"/>
                    <a:pt x="2102" y="9802"/>
                  </a:cubicBezTo>
                  <a:lnTo>
                    <a:pt x="2102" y="9802"/>
                  </a:lnTo>
                  <a:cubicBezTo>
                    <a:pt x="2044" y="9823"/>
                    <a:pt x="1990" y="9834"/>
                    <a:pt x="1941" y="9834"/>
                  </a:cubicBezTo>
                  <a:cubicBezTo>
                    <a:pt x="1754" y="9834"/>
                    <a:pt x="1624" y="9683"/>
                    <a:pt x="1624" y="9424"/>
                  </a:cubicBezTo>
                  <a:lnTo>
                    <a:pt x="1624" y="1506"/>
                  </a:lnTo>
                  <a:cubicBezTo>
                    <a:pt x="1624" y="1321"/>
                    <a:pt x="1686" y="1117"/>
                    <a:pt x="1791" y="935"/>
                  </a:cubicBezTo>
                  <a:lnTo>
                    <a:pt x="832" y="383"/>
                  </a:lnTo>
                  <a:lnTo>
                    <a:pt x="17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74" name="Google Shape;6624;p41">
              <a:extLst>
                <a:ext uri="{FF2B5EF4-FFF2-40B4-BE49-F238E27FC236}">
                  <a16:creationId xmlns:a16="http://schemas.microsoft.com/office/drawing/2014/main" id="{40CE89AB-81D5-F948-8D12-C08ED66DC697}"/>
                </a:ext>
              </a:extLst>
            </p:cNvPr>
            <p:cNvSpPr/>
            <p:nvPr/>
          </p:nvSpPr>
          <p:spPr>
            <a:xfrm>
              <a:off x="5365275" y="2278900"/>
              <a:ext cx="244575" cy="141675"/>
            </a:xfrm>
            <a:custGeom>
              <a:avLst/>
              <a:gdLst/>
              <a:ahLst/>
              <a:cxnLst/>
              <a:rect l="l" t="t" r="r" b="b"/>
              <a:pathLst>
                <a:path w="9783" h="5667" extrusionOk="0">
                  <a:moveTo>
                    <a:pt x="8181" y="1"/>
                  </a:moveTo>
                  <a:cubicBezTo>
                    <a:pt x="7993" y="1"/>
                    <a:pt x="7809" y="38"/>
                    <a:pt x="7656" y="110"/>
                  </a:cubicBezTo>
                  <a:cubicBezTo>
                    <a:pt x="7639" y="117"/>
                    <a:pt x="7622" y="128"/>
                    <a:pt x="7604" y="137"/>
                  </a:cubicBezTo>
                  <a:lnTo>
                    <a:pt x="6076" y="1021"/>
                  </a:lnTo>
                  <a:lnTo>
                    <a:pt x="407" y="4301"/>
                  </a:lnTo>
                  <a:cubicBezTo>
                    <a:pt x="249" y="4394"/>
                    <a:pt x="106" y="4551"/>
                    <a:pt x="0" y="4731"/>
                  </a:cubicBezTo>
                  <a:lnTo>
                    <a:pt x="662" y="5114"/>
                  </a:lnTo>
                  <a:lnTo>
                    <a:pt x="1621" y="5666"/>
                  </a:lnTo>
                  <a:cubicBezTo>
                    <a:pt x="1724" y="5485"/>
                    <a:pt x="1870" y="5329"/>
                    <a:pt x="2028" y="5236"/>
                  </a:cubicBezTo>
                  <a:lnTo>
                    <a:pt x="9225" y="1073"/>
                  </a:lnTo>
                  <a:cubicBezTo>
                    <a:pt x="9321" y="1021"/>
                    <a:pt x="9406" y="994"/>
                    <a:pt x="9485" y="994"/>
                  </a:cubicBezTo>
                  <a:cubicBezTo>
                    <a:pt x="9628" y="994"/>
                    <a:pt x="9741" y="1083"/>
                    <a:pt x="9782" y="1243"/>
                  </a:cubicBezTo>
                  <a:cubicBezTo>
                    <a:pt x="9758" y="1100"/>
                    <a:pt x="9700" y="950"/>
                    <a:pt x="9622" y="816"/>
                  </a:cubicBezTo>
                  <a:cubicBezTo>
                    <a:pt x="9540" y="684"/>
                    <a:pt x="9437" y="564"/>
                    <a:pt x="9324" y="476"/>
                  </a:cubicBezTo>
                  <a:cubicBezTo>
                    <a:pt x="9294" y="451"/>
                    <a:pt x="9260" y="427"/>
                    <a:pt x="9225" y="410"/>
                  </a:cubicBezTo>
                  <a:lnTo>
                    <a:pt x="8758" y="137"/>
                  </a:lnTo>
                  <a:cubicBezTo>
                    <a:pt x="8598" y="46"/>
                    <a:pt x="8390" y="1"/>
                    <a:pt x="818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75" name="Google Shape;6625;p41">
              <a:extLst>
                <a:ext uri="{FF2B5EF4-FFF2-40B4-BE49-F238E27FC236}">
                  <a16:creationId xmlns:a16="http://schemas.microsoft.com/office/drawing/2014/main" id="{5ED84ED1-4C66-AB4D-885D-5A3CB91B2A62}"/>
                </a:ext>
              </a:extLst>
            </p:cNvPr>
            <p:cNvSpPr/>
            <p:nvPr/>
          </p:nvSpPr>
          <p:spPr>
            <a:xfrm>
              <a:off x="5365275" y="2397175"/>
              <a:ext cx="16575" cy="9575"/>
            </a:xfrm>
            <a:custGeom>
              <a:avLst/>
              <a:gdLst/>
              <a:ahLst/>
              <a:cxnLst/>
              <a:rect l="l" t="t" r="r" b="b"/>
              <a:pathLst>
                <a:path w="663" h="383" extrusionOk="0">
                  <a:moveTo>
                    <a:pt x="0" y="0"/>
                  </a:moveTo>
                  <a:lnTo>
                    <a:pt x="0" y="0"/>
                  </a:lnTo>
                  <a:lnTo>
                    <a:pt x="662" y="383"/>
                  </a:lnTo>
                  <a:close/>
                </a:path>
              </a:pathLst>
            </a:custGeom>
            <a:solidFill>
              <a:srgbClr val="63C9B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76" name="Google Shape;6626;p41">
              <a:extLst>
                <a:ext uri="{FF2B5EF4-FFF2-40B4-BE49-F238E27FC236}">
                  <a16:creationId xmlns:a16="http://schemas.microsoft.com/office/drawing/2014/main" id="{CF9A2619-0B90-954C-AD70-BFED81223A08}"/>
                </a:ext>
              </a:extLst>
            </p:cNvPr>
            <p:cNvSpPr/>
            <p:nvPr/>
          </p:nvSpPr>
          <p:spPr>
            <a:xfrm>
              <a:off x="5416625" y="2395600"/>
              <a:ext cx="109850" cy="145650"/>
            </a:xfrm>
            <a:custGeom>
              <a:avLst/>
              <a:gdLst/>
              <a:ahLst/>
              <a:cxnLst/>
              <a:rect l="l" t="t" r="r" b="b"/>
              <a:pathLst>
                <a:path w="4394" h="5826" extrusionOk="0">
                  <a:moveTo>
                    <a:pt x="2618" y="1663"/>
                  </a:moveTo>
                  <a:cubicBezTo>
                    <a:pt x="2631" y="1663"/>
                    <a:pt x="2644" y="1664"/>
                    <a:pt x="2656" y="1664"/>
                  </a:cubicBezTo>
                  <a:lnTo>
                    <a:pt x="2677" y="1664"/>
                  </a:lnTo>
                  <a:cubicBezTo>
                    <a:pt x="2683" y="1664"/>
                    <a:pt x="2691" y="1664"/>
                    <a:pt x="2697" y="1668"/>
                  </a:cubicBezTo>
                  <a:lnTo>
                    <a:pt x="2715" y="1668"/>
                  </a:lnTo>
                  <a:cubicBezTo>
                    <a:pt x="2878" y="1691"/>
                    <a:pt x="3014" y="1791"/>
                    <a:pt x="3093" y="1968"/>
                  </a:cubicBezTo>
                  <a:cubicBezTo>
                    <a:pt x="3298" y="2422"/>
                    <a:pt x="3063" y="3210"/>
                    <a:pt x="2571" y="3733"/>
                  </a:cubicBezTo>
                  <a:cubicBezTo>
                    <a:pt x="2363" y="3951"/>
                    <a:pt x="2141" y="4087"/>
                    <a:pt x="1943" y="4138"/>
                  </a:cubicBezTo>
                  <a:cubicBezTo>
                    <a:pt x="1933" y="4142"/>
                    <a:pt x="1926" y="4146"/>
                    <a:pt x="1916" y="4146"/>
                  </a:cubicBezTo>
                  <a:cubicBezTo>
                    <a:pt x="1909" y="4149"/>
                    <a:pt x="1902" y="4149"/>
                    <a:pt x="1895" y="4152"/>
                  </a:cubicBezTo>
                  <a:cubicBezTo>
                    <a:pt x="1881" y="4152"/>
                    <a:pt x="1868" y="4155"/>
                    <a:pt x="1854" y="4159"/>
                  </a:cubicBezTo>
                  <a:cubicBezTo>
                    <a:pt x="1837" y="4159"/>
                    <a:pt x="1820" y="4163"/>
                    <a:pt x="1803" y="4163"/>
                  </a:cubicBezTo>
                  <a:lnTo>
                    <a:pt x="1759" y="4163"/>
                  </a:lnTo>
                  <a:cubicBezTo>
                    <a:pt x="1560" y="4163"/>
                    <a:pt x="1397" y="4060"/>
                    <a:pt x="1305" y="3859"/>
                  </a:cubicBezTo>
                  <a:cubicBezTo>
                    <a:pt x="1270" y="3783"/>
                    <a:pt x="1247" y="3698"/>
                    <a:pt x="1237" y="3606"/>
                  </a:cubicBezTo>
                  <a:cubicBezTo>
                    <a:pt x="1233" y="3558"/>
                    <a:pt x="1229" y="3514"/>
                    <a:pt x="1229" y="3466"/>
                  </a:cubicBezTo>
                  <a:cubicBezTo>
                    <a:pt x="1233" y="3026"/>
                    <a:pt x="1458" y="2487"/>
                    <a:pt x="1827" y="2094"/>
                  </a:cubicBezTo>
                  <a:cubicBezTo>
                    <a:pt x="1946" y="1968"/>
                    <a:pt x="2072" y="1869"/>
                    <a:pt x="2192" y="1797"/>
                  </a:cubicBezTo>
                  <a:cubicBezTo>
                    <a:pt x="2233" y="1773"/>
                    <a:pt x="2274" y="1753"/>
                    <a:pt x="2315" y="1736"/>
                  </a:cubicBezTo>
                  <a:cubicBezTo>
                    <a:pt x="2420" y="1687"/>
                    <a:pt x="2523" y="1663"/>
                    <a:pt x="2618" y="1663"/>
                  </a:cubicBezTo>
                  <a:close/>
                  <a:moveTo>
                    <a:pt x="3311" y="0"/>
                  </a:moveTo>
                  <a:cubicBezTo>
                    <a:pt x="3307" y="0"/>
                    <a:pt x="3302" y="1"/>
                    <a:pt x="3298" y="2"/>
                  </a:cubicBezTo>
                  <a:lnTo>
                    <a:pt x="2817" y="50"/>
                  </a:lnTo>
                  <a:cubicBezTo>
                    <a:pt x="2773" y="53"/>
                    <a:pt x="2724" y="88"/>
                    <a:pt x="2711" y="121"/>
                  </a:cubicBezTo>
                  <a:lnTo>
                    <a:pt x="2448" y="825"/>
                  </a:lnTo>
                  <a:cubicBezTo>
                    <a:pt x="2434" y="858"/>
                    <a:pt x="2387" y="903"/>
                    <a:pt x="2343" y="927"/>
                  </a:cubicBezTo>
                  <a:cubicBezTo>
                    <a:pt x="2244" y="971"/>
                    <a:pt x="2144" y="1030"/>
                    <a:pt x="2045" y="1098"/>
                  </a:cubicBezTo>
                  <a:cubicBezTo>
                    <a:pt x="2024" y="1112"/>
                    <a:pt x="2001" y="1120"/>
                    <a:pt x="1981" y="1120"/>
                  </a:cubicBezTo>
                  <a:cubicBezTo>
                    <a:pt x="1964" y="1120"/>
                    <a:pt x="1949" y="1114"/>
                    <a:pt x="1940" y="1101"/>
                  </a:cubicBezTo>
                  <a:lnTo>
                    <a:pt x="1694" y="726"/>
                  </a:lnTo>
                  <a:cubicBezTo>
                    <a:pt x="1686" y="713"/>
                    <a:pt x="1674" y="707"/>
                    <a:pt x="1660" y="707"/>
                  </a:cubicBezTo>
                  <a:cubicBezTo>
                    <a:pt x="1642" y="707"/>
                    <a:pt x="1622" y="717"/>
                    <a:pt x="1605" y="736"/>
                  </a:cubicBezTo>
                  <a:lnTo>
                    <a:pt x="1076" y="1296"/>
                  </a:lnTo>
                  <a:cubicBezTo>
                    <a:pt x="1045" y="1329"/>
                    <a:pt x="1025" y="1381"/>
                    <a:pt x="1035" y="1411"/>
                  </a:cubicBezTo>
                  <a:lnTo>
                    <a:pt x="1182" y="1910"/>
                  </a:lnTo>
                  <a:cubicBezTo>
                    <a:pt x="1192" y="1940"/>
                    <a:pt x="1179" y="1995"/>
                    <a:pt x="1155" y="2033"/>
                  </a:cubicBezTo>
                  <a:cubicBezTo>
                    <a:pt x="1066" y="2169"/>
                    <a:pt x="984" y="2309"/>
                    <a:pt x="912" y="2456"/>
                  </a:cubicBezTo>
                  <a:cubicBezTo>
                    <a:pt x="892" y="2490"/>
                    <a:pt x="844" y="2528"/>
                    <a:pt x="796" y="2541"/>
                  </a:cubicBezTo>
                  <a:lnTo>
                    <a:pt x="342" y="2651"/>
                  </a:lnTo>
                  <a:cubicBezTo>
                    <a:pt x="298" y="2660"/>
                    <a:pt x="250" y="2698"/>
                    <a:pt x="240" y="2736"/>
                  </a:cubicBezTo>
                  <a:lnTo>
                    <a:pt x="11" y="3503"/>
                  </a:lnTo>
                  <a:cubicBezTo>
                    <a:pt x="1" y="3538"/>
                    <a:pt x="29" y="3569"/>
                    <a:pt x="70" y="3572"/>
                  </a:cubicBezTo>
                  <a:lnTo>
                    <a:pt x="482" y="3596"/>
                  </a:lnTo>
                  <a:cubicBezTo>
                    <a:pt x="527" y="3599"/>
                    <a:pt x="557" y="3626"/>
                    <a:pt x="554" y="3664"/>
                  </a:cubicBezTo>
                  <a:cubicBezTo>
                    <a:pt x="541" y="3801"/>
                    <a:pt x="541" y="3933"/>
                    <a:pt x="550" y="4060"/>
                  </a:cubicBezTo>
                  <a:cubicBezTo>
                    <a:pt x="554" y="4094"/>
                    <a:pt x="536" y="4149"/>
                    <a:pt x="506" y="4183"/>
                  </a:cubicBezTo>
                  <a:lnTo>
                    <a:pt x="45" y="4743"/>
                  </a:lnTo>
                  <a:cubicBezTo>
                    <a:pt x="18" y="4777"/>
                    <a:pt x="4" y="4828"/>
                    <a:pt x="18" y="4859"/>
                  </a:cubicBezTo>
                  <a:lnTo>
                    <a:pt x="237" y="5343"/>
                  </a:lnTo>
                  <a:cubicBezTo>
                    <a:pt x="240" y="5350"/>
                    <a:pt x="243" y="5354"/>
                    <a:pt x="250" y="5357"/>
                  </a:cubicBezTo>
                  <a:lnTo>
                    <a:pt x="250" y="5360"/>
                  </a:lnTo>
                  <a:cubicBezTo>
                    <a:pt x="257" y="5364"/>
                    <a:pt x="264" y="5364"/>
                    <a:pt x="267" y="5364"/>
                  </a:cubicBezTo>
                  <a:lnTo>
                    <a:pt x="270" y="5364"/>
                  </a:lnTo>
                  <a:cubicBezTo>
                    <a:pt x="284" y="5364"/>
                    <a:pt x="305" y="5354"/>
                    <a:pt x="322" y="5340"/>
                  </a:cubicBezTo>
                  <a:lnTo>
                    <a:pt x="817" y="4886"/>
                  </a:lnTo>
                  <a:cubicBezTo>
                    <a:pt x="838" y="4867"/>
                    <a:pt x="864" y="4857"/>
                    <a:pt x="886" y="4857"/>
                  </a:cubicBezTo>
                  <a:cubicBezTo>
                    <a:pt x="900" y="4857"/>
                    <a:pt x="913" y="4861"/>
                    <a:pt x="922" y="4869"/>
                  </a:cubicBezTo>
                  <a:cubicBezTo>
                    <a:pt x="987" y="4920"/>
                    <a:pt x="1059" y="4961"/>
                    <a:pt x="1134" y="4992"/>
                  </a:cubicBezTo>
                  <a:cubicBezTo>
                    <a:pt x="1168" y="5006"/>
                    <a:pt x="1192" y="5043"/>
                    <a:pt x="1185" y="5077"/>
                  </a:cubicBezTo>
                  <a:lnTo>
                    <a:pt x="1032" y="5770"/>
                  </a:lnTo>
                  <a:cubicBezTo>
                    <a:pt x="1028" y="5790"/>
                    <a:pt x="1035" y="5808"/>
                    <a:pt x="1053" y="5817"/>
                  </a:cubicBezTo>
                  <a:cubicBezTo>
                    <a:pt x="1062" y="5823"/>
                    <a:pt x="1072" y="5826"/>
                    <a:pt x="1085" y="5826"/>
                  </a:cubicBezTo>
                  <a:cubicBezTo>
                    <a:pt x="1090" y="5826"/>
                    <a:pt x="1095" y="5826"/>
                    <a:pt x="1100" y="5825"/>
                  </a:cubicBezTo>
                  <a:lnTo>
                    <a:pt x="1581" y="5776"/>
                  </a:lnTo>
                  <a:cubicBezTo>
                    <a:pt x="1626" y="5773"/>
                    <a:pt x="1673" y="5740"/>
                    <a:pt x="1687" y="5705"/>
                  </a:cubicBezTo>
                  <a:lnTo>
                    <a:pt x="1949" y="5002"/>
                  </a:lnTo>
                  <a:cubicBezTo>
                    <a:pt x="1963" y="4968"/>
                    <a:pt x="2011" y="4924"/>
                    <a:pt x="2056" y="4900"/>
                  </a:cubicBezTo>
                  <a:cubicBezTo>
                    <a:pt x="2103" y="4875"/>
                    <a:pt x="2158" y="4848"/>
                    <a:pt x="2209" y="4821"/>
                  </a:cubicBezTo>
                  <a:cubicBezTo>
                    <a:pt x="2257" y="4790"/>
                    <a:pt x="2305" y="4760"/>
                    <a:pt x="2352" y="4729"/>
                  </a:cubicBezTo>
                  <a:cubicBezTo>
                    <a:pt x="2374" y="4714"/>
                    <a:pt x="2397" y="4707"/>
                    <a:pt x="2416" y="4707"/>
                  </a:cubicBezTo>
                  <a:cubicBezTo>
                    <a:pt x="2433" y="4707"/>
                    <a:pt x="2447" y="4713"/>
                    <a:pt x="2455" y="4725"/>
                  </a:cubicBezTo>
                  <a:lnTo>
                    <a:pt x="2704" y="5101"/>
                  </a:lnTo>
                  <a:cubicBezTo>
                    <a:pt x="2707" y="5108"/>
                    <a:pt x="2711" y="5111"/>
                    <a:pt x="2715" y="5115"/>
                  </a:cubicBezTo>
                  <a:cubicBezTo>
                    <a:pt x="2720" y="5118"/>
                    <a:pt x="2727" y="5119"/>
                    <a:pt x="2735" y="5119"/>
                  </a:cubicBezTo>
                  <a:cubicBezTo>
                    <a:pt x="2752" y="5119"/>
                    <a:pt x="2773" y="5110"/>
                    <a:pt x="2793" y="5091"/>
                  </a:cubicBezTo>
                  <a:lnTo>
                    <a:pt x="3321" y="4531"/>
                  </a:lnTo>
                  <a:cubicBezTo>
                    <a:pt x="3353" y="4497"/>
                    <a:pt x="3373" y="4445"/>
                    <a:pt x="3362" y="4415"/>
                  </a:cubicBezTo>
                  <a:lnTo>
                    <a:pt x="3216" y="3917"/>
                  </a:lnTo>
                  <a:cubicBezTo>
                    <a:pt x="3206" y="3886"/>
                    <a:pt x="3219" y="3831"/>
                    <a:pt x="3244" y="3794"/>
                  </a:cubicBezTo>
                  <a:cubicBezTo>
                    <a:pt x="3332" y="3657"/>
                    <a:pt x="3414" y="3517"/>
                    <a:pt x="3485" y="3371"/>
                  </a:cubicBezTo>
                  <a:cubicBezTo>
                    <a:pt x="3503" y="3336"/>
                    <a:pt x="3554" y="3299"/>
                    <a:pt x="3602" y="3285"/>
                  </a:cubicBezTo>
                  <a:lnTo>
                    <a:pt x="4055" y="3176"/>
                  </a:lnTo>
                  <a:cubicBezTo>
                    <a:pt x="4100" y="3166"/>
                    <a:pt x="4148" y="3128"/>
                    <a:pt x="4158" y="3091"/>
                  </a:cubicBezTo>
                  <a:lnTo>
                    <a:pt x="4386" y="2323"/>
                  </a:lnTo>
                  <a:cubicBezTo>
                    <a:pt x="4394" y="2299"/>
                    <a:pt x="4383" y="2275"/>
                    <a:pt x="4359" y="2265"/>
                  </a:cubicBezTo>
                  <a:lnTo>
                    <a:pt x="4359" y="2262"/>
                  </a:lnTo>
                  <a:cubicBezTo>
                    <a:pt x="4349" y="2258"/>
                    <a:pt x="4339" y="2254"/>
                    <a:pt x="4329" y="2254"/>
                  </a:cubicBezTo>
                  <a:lnTo>
                    <a:pt x="3915" y="2230"/>
                  </a:lnTo>
                  <a:cubicBezTo>
                    <a:pt x="3871" y="2227"/>
                    <a:pt x="3841" y="2200"/>
                    <a:pt x="3844" y="2162"/>
                  </a:cubicBezTo>
                  <a:cubicBezTo>
                    <a:pt x="3851" y="2098"/>
                    <a:pt x="3854" y="2033"/>
                    <a:pt x="3854" y="1972"/>
                  </a:cubicBezTo>
                  <a:cubicBezTo>
                    <a:pt x="3854" y="1900"/>
                    <a:pt x="3851" y="1832"/>
                    <a:pt x="3844" y="1767"/>
                  </a:cubicBezTo>
                  <a:cubicBezTo>
                    <a:pt x="3844" y="1732"/>
                    <a:pt x="3861" y="1678"/>
                    <a:pt x="3892" y="1644"/>
                  </a:cubicBezTo>
                  <a:lnTo>
                    <a:pt x="4353" y="1084"/>
                  </a:lnTo>
                  <a:cubicBezTo>
                    <a:pt x="4380" y="1050"/>
                    <a:pt x="4394" y="998"/>
                    <a:pt x="4380" y="968"/>
                  </a:cubicBezTo>
                  <a:lnTo>
                    <a:pt x="4161" y="483"/>
                  </a:lnTo>
                  <a:cubicBezTo>
                    <a:pt x="4158" y="477"/>
                    <a:pt x="4155" y="473"/>
                    <a:pt x="4148" y="469"/>
                  </a:cubicBezTo>
                  <a:lnTo>
                    <a:pt x="4145" y="466"/>
                  </a:lnTo>
                  <a:cubicBezTo>
                    <a:pt x="4140" y="464"/>
                    <a:pt x="4135" y="462"/>
                    <a:pt x="4129" y="462"/>
                  </a:cubicBezTo>
                  <a:cubicBezTo>
                    <a:pt x="4113" y="462"/>
                    <a:pt x="4093" y="472"/>
                    <a:pt x="4076" y="490"/>
                  </a:cubicBezTo>
                  <a:lnTo>
                    <a:pt x="3581" y="940"/>
                  </a:lnTo>
                  <a:cubicBezTo>
                    <a:pt x="3560" y="959"/>
                    <a:pt x="3534" y="969"/>
                    <a:pt x="3511" y="969"/>
                  </a:cubicBezTo>
                  <a:cubicBezTo>
                    <a:pt x="3496" y="969"/>
                    <a:pt x="3483" y="965"/>
                    <a:pt x="3472" y="958"/>
                  </a:cubicBezTo>
                  <a:cubicBezTo>
                    <a:pt x="3411" y="903"/>
                    <a:pt x="3339" y="866"/>
                    <a:pt x="3264" y="835"/>
                  </a:cubicBezTo>
                  <a:cubicBezTo>
                    <a:pt x="3230" y="821"/>
                    <a:pt x="3206" y="784"/>
                    <a:pt x="3213" y="749"/>
                  </a:cubicBezTo>
                  <a:lnTo>
                    <a:pt x="3367" y="57"/>
                  </a:lnTo>
                  <a:cubicBezTo>
                    <a:pt x="3370" y="36"/>
                    <a:pt x="3362" y="19"/>
                    <a:pt x="3346" y="9"/>
                  </a:cubicBezTo>
                  <a:cubicBezTo>
                    <a:pt x="3336" y="4"/>
                    <a:pt x="3324" y="0"/>
                    <a:pt x="331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77" name="Google Shape;6627;p41">
              <a:extLst>
                <a:ext uri="{FF2B5EF4-FFF2-40B4-BE49-F238E27FC236}">
                  <a16:creationId xmlns:a16="http://schemas.microsoft.com/office/drawing/2014/main" id="{CE2ADC2F-8648-EA41-849D-DE54B3132933}"/>
                </a:ext>
              </a:extLst>
            </p:cNvPr>
            <p:cNvSpPr/>
            <p:nvPr/>
          </p:nvSpPr>
          <p:spPr>
            <a:xfrm>
              <a:off x="5515450" y="2436350"/>
              <a:ext cx="83300" cy="110475"/>
            </a:xfrm>
            <a:custGeom>
              <a:avLst/>
              <a:gdLst/>
              <a:ahLst/>
              <a:cxnLst/>
              <a:rect l="l" t="t" r="r" b="b"/>
              <a:pathLst>
                <a:path w="3332" h="4419" extrusionOk="0">
                  <a:moveTo>
                    <a:pt x="1997" y="1259"/>
                  </a:moveTo>
                  <a:cubicBezTo>
                    <a:pt x="2003" y="1259"/>
                    <a:pt x="2009" y="1259"/>
                    <a:pt x="2014" y="1259"/>
                  </a:cubicBezTo>
                  <a:lnTo>
                    <a:pt x="2018" y="1259"/>
                  </a:lnTo>
                  <a:cubicBezTo>
                    <a:pt x="2021" y="1259"/>
                    <a:pt x="2024" y="1263"/>
                    <a:pt x="2027" y="1263"/>
                  </a:cubicBezTo>
                  <a:lnTo>
                    <a:pt x="2041" y="1263"/>
                  </a:lnTo>
                  <a:cubicBezTo>
                    <a:pt x="2048" y="1263"/>
                    <a:pt x="2051" y="1263"/>
                    <a:pt x="2055" y="1266"/>
                  </a:cubicBezTo>
                  <a:cubicBezTo>
                    <a:pt x="2181" y="1284"/>
                    <a:pt x="2284" y="1358"/>
                    <a:pt x="2345" y="1492"/>
                  </a:cubicBezTo>
                  <a:cubicBezTo>
                    <a:pt x="2498" y="1836"/>
                    <a:pt x="2321" y="2434"/>
                    <a:pt x="1945" y="2829"/>
                  </a:cubicBezTo>
                  <a:cubicBezTo>
                    <a:pt x="1789" y="2996"/>
                    <a:pt x="1621" y="3099"/>
                    <a:pt x="1471" y="3140"/>
                  </a:cubicBezTo>
                  <a:cubicBezTo>
                    <a:pt x="1465" y="3140"/>
                    <a:pt x="1457" y="3143"/>
                    <a:pt x="1451" y="3143"/>
                  </a:cubicBezTo>
                  <a:cubicBezTo>
                    <a:pt x="1444" y="3147"/>
                    <a:pt x="1441" y="3147"/>
                    <a:pt x="1437" y="3147"/>
                  </a:cubicBezTo>
                  <a:cubicBezTo>
                    <a:pt x="1424" y="3150"/>
                    <a:pt x="1413" y="3150"/>
                    <a:pt x="1403" y="3154"/>
                  </a:cubicBezTo>
                  <a:cubicBezTo>
                    <a:pt x="1389" y="3154"/>
                    <a:pt x="1379" y="3157"/>
                    <a:pt x="1365" y="3157"/>
                  </a:cubicBezTo>
                  <a:lnTo>
                    <a:pt x="1331" y="3157"/>
                  </a:lnTo>
                  <a:cubicBezTo>
                    <a:pt x="1181" y="3157"/>
                    <a:pt x="1055" y="3078"/>
                    <a:pt x="986" y="2925"/>
                  </a:cubicBezTo>
                  <a:cubicBezTo>
                    <a:pt x="959" y="2867"/>
                    <a:pt x="942" y="2802"/>
                    <a:pt x="935" y="2733"/>
                  </a:cubicBezTo>
                  <a:cubicBezTo>
                    <a:pt x="932" y="2700"/>
                    <a:pt x="929" y="2665"/>
                    <a:pt x="929" y="2628"/>
                  </a:cubicBezTo>
                  <a:cubicBezTo>
                    <a:pt x="932" y="2297"/>
                    <a:pt x="1103" y="1884"/>
                    <a:pt x="1383" y="1587"/>
                  </a:cubicBezTo>
                  <a:cubicBezTo>
                    <a:pt x="1474" y="1492"/>
                    <a:pt x="1570" y="1416"/>
                    <a:pt x="1662" y="1361"/>
                  </a:cubicBezTo>
                  <a:cubicBezTo>
                    <a:pt x="1693" y="1345"/>
                    <a:pt x="1723" y="1328"/>
                    <a:pt x="1755" y="1314"/>
                  </a:cubicBezTo>
                  <a:cubicBezTo>
                    <a:pt x="1837" y="1279"/>
                    <a:pt x="1920" y="1259"/>
                    <a:pt x="1997" y="1259"/>
                  </a:cubicBezTo>
                  <a:close/>
                  <a:moveTo>
                    <a:pt x="2498" y="0"/>
                  </a:moveTo>
                  <a:lnTo>
                    <a:pt x="2133" y="38"/>
                  </a:lnTo>
                  <a:cubicBezTo>
                    <a:pt x="2099" y="41"/>
                    <a:pt x="2062" y="65"/>
                    <a:pt x="2051" y="92"/>
                  </a:cubicBezTo>
                  <a:lnTo>
                    <a:pt x="1854" y="624"/>
                  </a:lnTo>
                  <a:cubicBezTo>
                    <a:pt x="1843" y="652"/>
                    <a:pt x="1809" y="686"/>
                    <a:pt x="1775" y="703"/>
                  </a:cubicBezTo>
                  <a:cubicBezTo>
                    <a:pt x="1700" y="737"/>
                    <a:pt x="1625" y="781"/>
                    <a:pt x="1550" y="833"/>
                  </a:cubicBezTo>
                  <a:cubicBezTo>
                    <a:pt x="1533" y="844"/>
                    <a:pt x="1515" y="850"/>
                    <a:pt x="1499" y="850"/>
                  </a:cubicBezTo>
                  <a:cubicBezTo>
                    <a:pt x="1487" y="850"/>
                    <a:pt x="1476" y="846"/>
                    <a:pt x="1471" y="836"/>
                  </a:cubicBezTo>
                  <a:lnTo>
                    <a:pt x="1284" y="550"/>
                  </a:lnTo>
                  <a:cubicBezTo>
                    <a:pt x="1277" y="541"/>
                    <a:pt x="1268" y="536"/>
                    <a:pt x="1257" y="536"/>
                  </a:cubicBezTo>
                  <a:cubicBezTo>
                    <a:pt x="1244" y="536"/>
                    <a:pt x="1229" y="543"/>
                    <a:pt x="1216" y="556"/>
                  </a:cubicBezTo>
                  <a:lnTo>
                    <a:pt x="813" y="983"/>
                  </a:lnTo>
                  <a:cubicBezTo>
                    <a:pt x="789" y="1007"/>
                    <a:pt x="775" y="1048"/>
                    <a:pt x="781" y="1071"/>
                  </a:cubicBezTo>
                  <a:lnTo>
                    <a:pt x="895" y="1451"/>
                  </a:lnTo>
                  <a:cubicBezTo>
                    <a:pt x="901" y="1471"/>
                    <a:pt x="891" y="1512"/>
                    <a:pt x="874" y="1539"/>
                  </a:cubicBezTo>
                  <a:cubicBezTo>
                    <a:pt x="806" y="1645"/>
                    <a:pt x="745" y="1750"/>
                    <a:pt x="690" y="1860"/>
                  </a:cubicBezTo>
                  <a:cubicBezTo>
                    <a:pt x="676" y="1887"/>
                    <a:pt x="635" y="1918"/>
                    <a:pt x="601" y="1925"/>
                  </a:cubicBezTo>
                  <a:lnTo>
                    <a:pt x="256" y="2010"/>
                  </a:lnTo>
                  <a:cubicBezTo>
                    <a:pt x="222" y="2017"/>
                    <a:pt x="188" y="2048"/>
                    <a:pt x="181" y="2075"/>
                  </a:cubicBezTo>
                  <a:lnTo>
                    <a:pt x="7" y="2656"/>
                  </a:lnTo>
                  <a:cubicBezTo>
                    <a:pt x="0" y="2683"/>
                    <a:pt x="17" y="2706"/>
                    <a:pt x="52" y="2710"/>
                  </a:cubicBezTo>
                  <a:lnTo>
                    <a:pt x="365" y="2727"/>
                  </a:lnTo>
                  <a:cubicBezTo>
                    <a:pt x="396" y="2727"/>
                    <a:pt x="420" y="2751"/>
                    <a:pt x="417" y="2778"/>
                  </a:cubicBezTo>
                  <a:cubicBezTo>
                    <a:pt x="406" y="2881"/>
                    <a:pt x="406" y="2983"/>
                    <a:pt x="417" y="3078"/>
                  </a:cubicBezTo>
                  <a:cubicBezTo>
                    <a:pt x="420" y="3106"/>
                    <a:pt x="403" y="3147"/>
                    <a:pt x="383" y="3171"/>
                  </a:cubicBezTo>
                  <a:lnTo>
                    <a:pt x="31" y="3598"/>
                  </a:lnTo>
                  <a:cubicBezTo>
                    <a:pt x="11" y="3621"/>
                    <a:pt x="0" y="3662"/>
                    <a:pt x="11" y="3683"/>
                  </a:cubicBezTo>
                  <a:lnTo>
                    <a:pt x="178" y="4051"/>
                  </a:lnTo>
                  <a:cubicBezTo>
                    <a:pt x="178" y="4058"/>
                    <a:pt x="181" y="4061"/>
                    <a:pt x="188" y="4064"/>
                  </a:cubicBezTo>
                  <a:cubicBezTo>
                    <a:pt x="192" y="4064"/>
                    <a:pt x="198" y="4069"/>
                    <a:pt x="202" y="4069"/>
                  </a:cubicBezTo>
                  <a:cubicBezTo>
                    <a:pt x="215" y="4069"/>
                    <a:pt x="229" y="4061"/>
                    <a:pt x="242" y="4048"/>
                  </a:cubicBezTo>
                  <a:lnTo>
                    <a:pt x="618" y="3707"/>
                  </a:lnTo>
                  <a:cubicBezTo>
                    <a:pt x="633" y="3692"/>
                    <a:pt x="653" y="3683"/>
                    <a:pt x="671" y="3683"/>
                  </a:cubicBezTo>
                  <a:cubicBezTo>
                    <a:pt x="682" y="3683"/>
                    <a:pt x="692" y="3686"/>
                    <a:pt x="700" y="3693"/>
                  </a:cubicBezTo>
                  <a:cubicBezTo>
                    <a:pt x="748" y="3734"/>
                    <a:pt x="802" y="3765"/>
                    <a:pt x="857" y="3785"/>
                  </a:cubicBezTo>
                  <a:cubicBezTo>
                    <a:pt x="884" y="3795"/>
                    <a:pt x="901" y="3823"/>
                    <a:pt x="895" y="3850"/>
                  </a:cubicBezTo>
                  <a:lnTo>
                    <a:pt x="781" y="4376"/>
                  </a:lnTo>
                  <a:cubicBezTo>
                    <a:pt x="778" y="4389"/>
                    <a:pt x="781" y="4403"/>
                    <a:pt x="795" y="4409"/>
                  </a:cubicBezTo>
                  <a:lnTo>
                    <a:pt x="795" y="4413"/>
                  </a:lnTo>
                  <a:cubicBezTo>
                    <a:pt x="803" y="4416"/>
                    <a:pt x="810" y="4418"/>
                    <a:pt x="819" y="4418"/>
                  </a:cubicBezTo>
                  <a:cubicBezTo>
                    <a:pt x="822" y="4418"/>
                    <a:pt x="826" y="4418"/>
                    <a:pt x="830" y="4417"/>
                  </a:cubicBezTo>
                  <a:lnTo>
                    <a:pt x="1198" y="4382"/>
                  </a:lnTo>
                  <a:cubicBezTo>
                    <a:pt x="1232" y="4379"/>
                    <a:pt x="1266" y="4351"/>
                    <a:pt x="1277" y="4324"/>
                  </a:cubicBezTo>
                  <a:lnTo>
                    <a:pt x="1474" y="3795"/>
                  </a:lnTo>
                  <a:cubicBezTo>
                    <a:pt x="1485" y="3765"/>
                    <a:pt x="1523" y="3734"/>
                    <a:pt x="1556" y="3716"/>
                  </a:cubicBezTo>
                  <a:cubicBezTo>
                    <a:pt x="1594" y="3700"/>
                    <a:pt x="1632" y="3680"/>
                    <a:pt x="1673" y="3655"/>
                  </a:cubicBezTo>
                  <a:cubicBezTo>
                    <a:pt x="1707" y="3634"/>
                    <a:pt x="1744" y="3611"/>
                    <a:pt x="1782" y="3584"/>
                  </a:cubicBezTo>
                  <a:cubicBezTo>
                    <a:pt x="1797" y="3573"/>
                    <a:pt x="1813" y="3568"/>
                    <a:pt x="1827" y="3568"/>
                  </a:cubicBezTo>
                  <a:cubicBezTo>
                    <a:pt x="1841" y="3568"/>
                    <a:pt x="1853" y="3573"/>
                    <a:pt x="1860" y="3584"/>
                  </a:cubicBezTo>
                  <a:lnTo>
                    <a:pt x="2048" y="3870"/>
                  </a:lnTo>
                  <a:cubicBezTo>
                    <a:pt x="2051" y="3874"/>
                    <a:pt x="2051" y="3877"/>
                    <a:pt x="2058" y="3877"/>
                  </a:cubicBezTo>
                  <a:cubicBezTo>
                    <a:pt x="2063" y="3880"/>
                    <a:pt x="2068" y="3882"/>
                    <a:pt x="2073" y="3882"/>
                  </a:cubicBezTo>
                  <a:cubicBezTo>
                    <a:pt x="2086" y="3882"/>
                    <a:pt x="2102" y="3874"/>
                    <a:pt x="2117" y="3860"/>
                  </a:cubicBezTo>
                  <a:lnTo>
                    <a:pt x="2516" y="3437"/>
                  </a:lnTo>
                  <a:cubicBezTo>
                    <a:pt x="2539" y="3409"/>
                    <a:pt x="2553" y="3372"/>
                    <a:pt x="2547" y="3348"/>
                  </a:cubicBezTo>
                  <a:lnTo>
                    <a:pt x="2437" y="2969"/>
                  </a:lnTo>
                  <a:cubicBezTo>
                    <a:pt x="2430" y="2946"/>
                    <a:pt x="2437" y="2905"/>
                    <a:pt x="2457" y="2877"/>
                  </a:cubicBezTo>
                  <a:cubicBezTo>
                    <a:pt x="2526" y="2774"/>
                    <a:pt x="2588" y="2665"/>
                    <a:pt x="2642" y="2556"/>
                  </a:cubicBezTo>
                  <a:cubicBezTo>
                    <a:pt x="2656" y="2529"/>
                    <a:pt x="2693" y="2502"/>
                    <a:pt x="2727" y="2492"/>
                  </a:cubicBezTo>
                  <a:lnTo>
                    <a:pt x="3072" y="2410"/>
                  </a:lnTo>
                  <a:cubicBezTo>
                    <a:pt x="3106" y="2399"/>
                    <a:pt x="3141" y="2372"/>
                    <a:pt x="3150" y="2344"/>
                  </a:cubicBezTo>
                  <a:lnTo>
                    <a:pt x="3325" y="1761"/>
                  </a:lnTo>
                  <a:cubicBezTo>
                    <a:pt x="3328" y="1744"/>
                    <a:pt x="3321" y="1727"/>
                    <a:pt x="3304" y="1717"/>
                  </a:cubicBezTo>
                  <a:cubicBezTo>
                    <a:pt x="3297" y="1714"/>
                    <a:pt x="3290" y="1710"/>
                    <a:pt x="3280" y="1710"/>
                  </a:cubicBezTo>
                  <a:lnTo>
                    <a:pt x="2966" y="1693"/>
                  </a:lnTo>
                  <a:cubicBezTo>
                    <a:pt x="2936" y="1689"/>
                    <a:pt x="2911" y="1665"/>
                    <a:pt x="2915" y="1642"/>
                  </a:cubicBezTo>
                  <a:cubicBezTo>
                    <a:pt x="2919" y="1591"/>
                    <a:pt x="2922" y="1542"/>
                    <a:pt x="2922" y="1495"/>
                  </a:cubicBezTo>
                  <a:cubicBezTo>
                    <a:pt x="2922" y="1440"/>
                    <a:pt x="2919" y="1389"/>
                    <a:pt x="2915" y="1338"/>
                  </a:cubicBezTo>
                  <a:cubicBezTo>
                    <a:pt x="2911" y="1314"/>
                    <a:pt x="2925" y="1273"/>
                    <a:pt x="2949" y="1246"/>
                  </a:cubicBezTo>
                  <a:lnTo>
                    <a:pt x="3297" y="822"/>
                  </a:lnTo>
                  <a:cubicBezTo>
                    <a:pt x="3321" y="795"/>
                    <a:pt x="3331" y="754"/>
                    <a:pt x="3321" y="734"/>
                  </a:cubicBezTo>
                  <a:lnTo>
                    <a:pt x="3154" y="365"/>
                  </a:lnTo>
                  <a:cubicBezTo>
                    <a:pt x="3150" y="362"/>
                    <a:pt x="3147" y="358"/>
                    <a:pt x="3144" y="355"/>
                  </a:cubicBezTo>
                  <a:lnTo>
                    <a:pt x="3141" y="355"/>
                  </a:lnTo>
                  <a:cubicBezTo>
                    <a:pt x="3136" y="353"/>
                    <a:pt x="3131" y="352"/>
                    <a:pt x="3126" y="352"/>
                  </a:cubicBezTo>
                  <a:cubicBezTo>
                    <a:pt x="3114" y="352"/>
                    <a:pt x="3101" y="357"/>
                    <a:pt x="3089" y="369"/>
                  </a:cubicBezTo>
                  <a:lnTo>
                    <a:pt x="2714" y="713"/>
                  </a:lnTo>
                  <a:cubicBezTo>
                    <a:pt x="2697" y="728"/>
                    <a:pt x="2678" y="735"/>
                    <a:pt x="2661" y="735"/>
                  </a:cubicBezTo>
                  <a:cubicBezTo>
                    <a:pt x="2650" y="735"/>
                    <a:pt x="2640" y="732"/>
                    <a:pt x="2632" y="727"/>
                  </a:cubicBezTo>
                  <a:cubicBezTo>
                    <a:pt x="2584" y="686"/>
                    <a:pt x="2529" y="655"/>
                    <a:pt x="2471" y="632"/>
                  </a:cubicBezTo>
                  <a:cubicBezTo>
                    <a:pt x="2448" y="621"/>
                    <a:pt x="2427" y="594"/>
                    <a:pt x="2434" y="567"/>
                  </a:cubicBezTo>
                  <a:lnTo>
                    <a:pt x="2550" y="44"/>
                  </a:lnTo>
                  <a:cubicBezTo>
                    <a:pt x="2553" y="27"/>
                    <a:pt x="2547" y="14"/>
                    <a:pt x="2533" y="7"/>
                  </a:cubicBezTo>
                  <a:cubicBezTo>
                    <a:pt x="2526" y="0"/>
                    <a:pt x="2512" y="0"/>
                    <a:pt x="2498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78" name="Google Shape;6628;p41">
              <a:extLst>
                <a:ext uri="{FF2B5EF4-FFF2-40B4-BE49-F238E27FC236}">
                  <a16:creationId xmlns:a16="http://schemas.microsoft.com/office/drawing/2014/main" id="{2F884D02-A6AF-7342-8007-A77D2BE00DE7}"/>
                </a:ext>
              </a:extLst>
            </p:cNvPr>
            <p:cNvSpPr/>
            <p:nvPr/>
          </p:nvSpPr>
          <p:spPr>
            <a:xfrm>
              <a:off x="4825675" y="2799825"/>
              <a:ext cx="56175" cy="208625"/>
            </a:xfrm>
            <a:custGeom>
              <a:avLst/>
              <a:gdLst/>
              <a:ahLst/>
              <a:cxnLst/>
              <a:rect l="l" t="t" r="r" b="b"/>
              <a:pathLst>
                <a:path w="2247" h="8345" extrusionOk="0">
                  <a:moveTo>
                    <a:pt x="1" y="0"/>
                  </a:moveTo>
                  <a:lnTo>
                    <a:pt x="1" y="6437"/>
                  </a:lnTo>
                  <a:cubicBezTo>
                    <a:pt x="1" y="6939"/>
                    <a:pt x="273" y="7407"/>
                    <a:pt x="711" y="7653"/>
                  </a:cubicBezTo>
                  <a:lnTo>
                    <a:pt x="1929" y="8345"/>
                  </a:lnTo>
                  <a:lnTo>
                    <a:pt x="2247" y="7782"/>
                  </a:lnTo>
                  <a:lnTo>
                    <a:pt x="1028" y="7092"/>
                  </a:lnTo>
                  <a:cubicBezTo>
                    <a:pt x="793" y="6960"/>
                    <a:pt x="645" y="6706"/>
                    <a:pt x="645" y="6437"/>
                  </a:cubicBezTo>
                  <a:lnTo>
                    <a:pt x="645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79" name="Google Shape;6629;p41">
              <a:extLst>
                <a:ext uri="{FF2B5EF4-FFF2-40B4-BE49-F238E27FC236}">
                  <a16:creationId xmlns:a16="http://schemas.microsoft.com/office/drawing/2014/main" id="{7071EDA2-5562-B745-8026-DCF95BE1DEF7}"/>
                </a:ext>
              </a:extLst>
            </p:cNvPr>
            <p:cNvSpPr/>
            <p:nvPr/>
          </p:nvSpPr>
          <p:spPr>
            <a:xfrm>
              <a:off x="4774650" y="2608475"/>
              <a:ext cx="196450" cy="252425"/>
            </a:xfrm>
            <a:custGeom>
              <a:avLst/>
              <a:gdLst/>
              <a:ahLst/>
              <a:cxnLst/>
              <a:rect l="l" t="t" r="r" b="b"/>
              <a:pathLst>
                <a:path w="7858" h="10097" extrusionOk="0">
                  <a:moveTo>
                    <a:pt x="7104" y="0"/>
                  </a:moveTo>
                  <a:cubicBezTo>
                    <a:pt x="6976" y="0"/>
                    <a:pt x="6848" y="23"/>
                    <a:pt x="6745" y="71"/>
                  </a:cubicBezTo>
                  <a:lnTo>
                    <a:pt x="400" y="2999"/>
                  </a:lnTo>
                  <a:cubicBezTo>
                    <a:pt x="178" y="3102"/>
                    <a:pt x="0" y="3381"/>
                    <a:pt x="0" y="3623"/>
                  </a:cubicBezTo>
                  <a:lnTo>
                    <a:pt x="0" y="9357"/>
                  </a:lnTo>
                  <a:cubicBezTo>
                    <a:pt x="0" y="9600"/>
                    <a:pt x="161" y="9890"/>
                    <a:pt x="359" y="10003"/>
                  </a:cubicBezTo>
                  <a:cubicBezTo>
                    <a:pt x="466" y="10065"/>
                    <a:pt x="613" y="10097"/>
                    <a:pt x="761" y="10097"/>
                  </a:cubicBezTo>
                  <a:cubicBezTo>
                    <a:pt x="887" y="10097"/>
                    <a:pt x="1013" y="10074"/>
                    <a:pt x="1114" y="10027"/>
                  </a:cubicBezTo>
                  <a:lnTo>
                    <a:pt x="7458" y="7095"/>
                  </a:lnTo>
                  <a:cubicBezTo>
                    <a:pt x="7680" y="6993"/>
                    <a:pt x="7857" y="6712"/>
                    <a:pt x="7857" y="6470"/>
                  </a:cubicBezTo>
                  <a:lnTo>
                    <a:pt x="7857" y="736"/>
                  </a:lnTo>
                  <a:cubicBezTo>
                    <a:pt x="7857" y="494"/>
                    <a:pt x="7697" y="204"/>
                    <a:pt x="7503" y="91"/>
                  </a:cubicBezTo>
                  <a:cubicBezTo>
                    <a:pt x="7397" y="31"/>
                    <a:pt x="7251" y="0"/>
                    <a:pt x="7104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80" name="Google Shape;6630;p41">
              <a:extLst>
                <a:ext uri="{FF2B5EF4-FFF2-40B4-BE49-F238E27FC236}">
                  <a16:creationId xmlns:a16="http://schemas.microsoft.com/office/drawing/2014/main" id="{2CB58902-630F-D04F-92E9-B0B91FEED32F}"/>
                </a:ext>
              </a:extLst>
            </p:cNvPr>
            <p:cNvSpPr/>
            <p:nvPr/>
          </p:nvSpPr>
          <p:spPr>
            <a:xfrm>
              <a:off x="4774650" y="2689825"/>
              <a:ext cx="35775" cy="171075"/>
            </a:xfrm>
            <a:custGeom>
              <a:avLst/>
              <a:gdLst/>
              <a:ahLst/>
              <a:cxnLst/>
              <a:rect l="l" t="t" r="r" b="b"/>
              <a:pathLst>
                <a:path w="1431" h="6843" extrusionOk="0">
                  <a:moveTo>
                    <a:pt x="120" y="1"/>
                  </a:moveTo>
                  <a:cubicBezTo>
                    <a:pt x="49" y="114"/>
                    <a:pt x="0" y="247"/>
                    <a:pt x="0" y="369"/>
                  </a:cubicBezTo>
                  <a:lnTo>
                    <a:pt x="0" y="6103"/>
                  </a:lnTo>
                  <a:cubicBezTo>
                    <a:pt x="0" y="6346"/>
                    <a:pt x="161" y="6636"/>
                    <a:pt x="359" y="6749"/>
                  </a:cubicBezTo>
                  <a:cubicBezTo>
                    <a:pt x="466" y="6811"/>
                    <a:pt x="613" y="6843"/>
                    <a:pt x="761" y="6843"/>
                  </a:cubicBezTo>
                  <a:cubicBezTo>
                    <a:pt x="887" y="6843"/>
                    <a:pt x="1013" y="6820"/>
                    <a:pt x="1114" y="6773"/>
                  </a:cubicBezTo>
                  <a:lnTo>
                    <a:pt x="1431" y="6626"/>
                  </a:lnTo>
                  <a:lnTo>
                    <a:pt x="1431" y="755"/>
                  </a:lnTo>
                  <a:lnTo>
                    <a:pt x="120" y="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81" name="Google Shape;6631;p41">
              <a:extLst>
                <a:ext uri="{FF2B5EF4-FFF2-40B4-BE49-F238E27FC236}">
                  <a16:creationId xmlns:a16="http://schemas.microsoft.com/office/drawing/2014/main" id="{84F1B7F9-9189-8647-9BE1-796E2538A507}"/>
                </a:ext>
              </a:extLst>
            </p:cNvPr>
            <p:cNvSpPr/>
            <p:nvPr/>
          </p:nvSpPr>
          <p:spPr>
            <a:xfrm>
              <a:off x="4792475" y="2619575"/>
              <a:ext cx="178625" cy="240500"/>
            </a:xfrm>
            <a:custGeom>
              <a:avLst/>
              <a:gdLst/>
              <a:ahLst/>
              <a:cxnLst/>
              <a:rect l="l" t="t" r="r" b="b"/>
              <a:pathLst>
                <a:path w="7145" h="9620" extrusionOk="0">
                  <a:moveTo>
                    <a:pt x="6899" y="1"/>
                  </a:moveTo>
                  <a:cubicBezTo>
                    <a:pt x="6851" y="1"/>
                    <a:pt x="6799" y="12"/>
                    <a:pt x="6745" y="37"/>
                  </a:cubicBezTo>
                  <a:lnTo>
                    <a:pt x="401" y="2968"/>
                  </a:lnTo>
                  <a:cubicBezTo>
                    <a:pt x="182" y="3071"/>
                    <a:pt x="1" y="3350"/>
                    <a:pt x="1" y="3592"/>
                  </a:cubicBezTo>
                  <a:lnTo>
                    <a:pt x="1" y="9326"/>
                  </a:lnTo>
                  <a:cubicBezTo>
                    <a:pt x="1" y="9509"/>
                    <a:pt x="104" y="9620"/>
                    <a:pt x="248" y="9620"/>
                  </a:cubicBezTo>
                  <a:cubicBezTo>
                    <a:pt x="295" y="9620"/>
                    <a:pt x="347" y="9608"/>
                    <a:pt x="401" y="9583"/>
                  </a:cubicBezTo>
                  <a:lnTo>
                    <a:pt x="6745" y="6651"/>
                  </a:lnTo>
                  <a:cubicBezTo>
                    <a:pt x="6967" y="6549"/>
                    <a:pt x="7144" y="6268"/>
                    <a:pt x="7144" y="6026"/>
                  </a:cubicBezTo>
                  <a:lnTo>
                    <a:pt x="7144" y="292"/>
                  </a:lnTo>
                  <a:cubicBezTo>
                    <a:pt x="7144" y="109"/>
                    <a:pt x="7043" y="1"/>
                    <a:pt x="6899" y="1"/>
                  </a:cubicBez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82" name="Google Shape;6632;p41">
              <a:extLst>
                <a:ext uri="{FF2B5EF4-FFF2-40B4-BE49-F238E27FC236}">
                  <a16:creationId xmlns:a16="http://schemas.microsoft.com/office/drawing/2014/main" id="{2661FEE9-9243-9445-9344-DEDCCB0D6EC3}"/>
                </a:ext>
              </a:extLst>
            </p:cNvPr>
            <p:cNvSpPr/>
            <p:nvPr/>
          </p:nvSpPr>
          <p:spPr>
            <a:xfrm>
              <a:off x="4804025" y="3005550"/>
              <a:ext cx="33525" cy="293825"/>
            </a:xfrm>
            <a:custGeom>
              <a:avLst/>
              <a:gdLst/>
              <a:ahLst/>
              <a:cxnLst/>
              <a:rect l="l" t="t" r="r" b="b"/>
              <a:pathLst>
                <a:path w="1341" h="11753" extrusionOk="0">
                  <a:moveTo>
                    <a:pt x="484" y="0"/>
                  </a:moveTo>
                  <a:cubicBezTo>
                    <a:pt x="218" y="0"/>
                    <a:pt x="0" y="218"/>
                    <a:pt x="0" y="484"/>
                  </a:cubicBezTo>
                  <a:lnTo>
                    <a:pt x="0" y="11249"/>
                  </a:lnTo>
                  <a:cubicBezTo>
                    <a:pt x="0" y="11342"/>
                    <a:pt x="65" y="11451"/>
                    <a:pt x="143" y="11495"/>
                  </a:cubicBezTo>
                  <a:lnTo>
                    <a:pt x="525" y="11717"/>
                  </a:lnTo>
                  <a:cubicBezTo>
                    <a:pt x="564" y="11741"/>
                    <a:pt x="616" y="11753"/>
                    <a:pt x="668" y="11753"/>
                  </a:cubicBezTo>
                  <a:cubicBezTo>
                    <a:pt x="720" y="11753"/>
                    <a:pt x="773" y="11741"/>
                    <a:pt x="812" y="11717"/>
                  </a:cubicBezTo>
                  <a:lnTo>
                    <a:pt x="1198" y="11495"/>
                  </a:lnTo>
                  <a:cubicBezTo>
                    <a:pt x="1276" y="11451"/>
                    <a:pt x="1341" y="11342"/>
                    <a:pt x="1341" y="11249"/>
                  </a:cubicBezTo>
                  <a:lnTo>
                    <a:pt x="1341" y="484"/>
                  </a:lnTo>
                  <a:cubicBezTo>
                    <a:pt x="1341" y="218"/>
                    <a:pt x="1122" y="0"/>
                    <a:pt x="85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83" name="Google Shape;6633;p41">
              <a:extLst>
                <a:ext uri="{FF2B5EF4-FFF2-40B4-BE49-F238E27FC236}">
                  <a16:creationId xmlns:a16="http://schemas.microsoft.com/office/drawing/2014/main" id="{64B85DC5-B431-EE40-93DF-CD237D5E819D}"/>
                </a:ext>
              </a:extLst>
            </p:cNvPr>
            <p:cNvSpPr/>
            <p:nvPr/>
          </p:nvSpPr>
          <p:spPr>
            <a:xfrm>
              <a:off x="4804025" y="3005550"/>
              <a:ext cx="16725" cy="293625"/>
            </a:xfrm>
            <a:custGeom>
              <a:avLst/>
              <a:gdLst/>
              <a:ahLst/>
              <a:cxnLst/>
              <a:rect l="l" t="t" r="r" b="b"/>
              <a:pathLst>
                <a:path w="669" h="11745" extrusionOk="0">
                  <a:moveTo>
                    <a:pt x="334" y="0"/>
                  </a:moveTo>
                  <a:cubicBezTo>
                    <a:pt x="150" y="0"/>
                    <a:pt x="0" y="150"/>
                    <a:pt x="0" y="334"/>
                  </a:cubicBezTo>
                  <a:lnTo>
                    <a:pt x="0" y="11256"/>
                  </a:lnTo>
                  <a:cubicBezTo>
                    <a:pt x="0" y="11342"/>
                    <a:pt x="62" y="11451"/>
                    <a:pt x="136" y="11495"/>
                  </a:cubicBezTo>
                  <a:lnTo>
                    <a:pt x="542" y="11727"/>
                  </a:lnTo>
                  <a:cubicBezTo>
                    <a:pt x="563" y="11739"/>
                    <a:pt x="583" y="11744"/>
                    <a:pt x="600" y="11744"/>
                  </a:cubicBezTo>
                  <a:cubicBezTo>
                    <a:pt x="641" y="11744"/>
                    <a:pt x="668" y="11711"/>
                    <a:pt x="668" y="11655"/>
                  </a:cubicBezTo>
                  <a:lnTo>
                    <a:pt x="668" y="334"/>
                  </a:lnTo>
                  <a:cubicBezTo>
                    <a:pt x="668" y="150"/>
                    <a:pt x="519" y="0"/>
                    <a:pt x="334" y="0"/>
                  </a:cubicBez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84" name="Google Shape;6634;p41">
              <a:extLst>
                <a:ext uri="{FF2B5EF4-FFF2-40B4-BE49-F238E27FC236}">
                  <a16:creationId xmlns:a16="http://schemas.microsoft.com/office/drawing/2014/main" id="{88CB9B4B-23AA-AD42-87A6-5CDBA94EB074}"/>
                </a:ext>
              </a:extLst>
            </p:cNvPr>
            <p:cNvSpPr/>
            <p:nvPr/>
          </p:nvSpPr>
          <p:spPr>
            <a:xfrm>
              <a:off x="4985150" y="3108025"/>
              <a:ext cx="33550" cy="293750"/>
            </a:xfrm>
            <a:custGeom>
              <a:avLst/>
              <a:gdLst/>
              <a:ahLst/>
              <a:cxnLst/>
              <a:rect l="l" t="t" r="r" b="b"/>
              <a:pathLst>
                <a:path w="1342" h="11750" extrusionOk="0">
                  <a:moveTo>
                    <a:pt x="168" y="0"/>
                  </a:moveTo>
                  <a:cubicBezTo>
                    <a:pt x="76" y="0"/>
                    <a:pt x="0" y="75"/>
                    <a:pt x="0" y="164"/>
                  </a:cubicBezTo>
                  <a:lnTo>
                    <a:pt x="0" y="11249"/>
                  </a:lnTo>
                  <a:cubicBezTo>
                    <a:pt x="0" y="11338"/>
                    <a:pt x="66" y="11451"/>
                    <a:pt x="144" y="11495"/>
                  </a:cubicBezTo>
                  <a:lnTo>
                    <a:pt x="529" y="11717"/>
                  </a:lnTo>
                  <a:cubicBezTo>
                    <a:pt x="569" y="11739"/>
                    <a:pt x="620" y="11750"/>
                    <a:pt x="671" y="11750"/>
                  </a:cubicBezTo>
                  <a:cubicBezTo>
                    <a:pt x="723" y="11750"/>
                    <a:pt x="775" y="11739"/>
                    <a:pt x="816" y="11717"/>
                  </a:cubicBezTo>
                  <a:lnTo>
                    <a:pt x="1199" y="11495"/>
                  </a:lnTo>
                  <a:cubicBezTo>
                    <a:pt x="1277" y="11451"/>
                    <a:pt x="1342" y="11338"/>
                    <a:pt x="1342" y="11249"/>
                  </a:cubicBezTo>
                  <a:lnTo>
                    <a:pt x="1342" y="164"/>
                  </a:lnTo>
                  <a:cubicBezTo>
                    <a:pt x="1342" y="75"/>
                    <a:pt x="1267" y="0"/>
                    <a:pt x="117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85" name="Google Shape;6635;p41">
              <a:extLst>
                <a:ext uri="{FF2B5EF4-FFF2-40B4-BE49-F238E27FC236}">
                  <a16:creationId xmlns:a16="http://schemas.microsoft.com/office/drawing/2014/main" id="{F470F6E4-9574-5443-89C1-C5FEECFDD5A2}"/>
                </a:ext>
              </a:extLst>
            </p:cNvPr>
            <p:cNvSpPr/>
            <p:nvPr/>
          </p:nvSpPr>
          <p:spPr>
            <a:xfrm>
              <a:off x="4985150" y="3108025"/>
              <a:ext cx="16825" cy="293425"/>
            </a:xfrm>
            <a:custGeom>
              <a:avLst/>
              <a:gdLst/>
              <a:ahLst/>
              <a:cxnLst/>
              <a:rect l="l" t="t" r="r" b="b"/>
              <a:pathLst>
                <a:path w="673" h="11737" extrusionOk="0">
                  <a:moveTo>
                    <a:pt x="168" y="0"/>
                  </a:moveTo>
                  <a:cubicBezTo>
                    <a:pt x="76" y="0"/>
                    <a:pt x="0" y="75"/>
                    <a:pt x="0" y="164"/>
                  </a:cubicBezTo>
                  <a:lnTo>
                    <a:pt x="0" y="11249"/>
                  </a:lnTo>
                  <a:cubicBezTo>
                    <a:pt x="0" y="11338"/>
                    <a:pt x="66" y="11451"/>
                    <a:pt x="144" y="11495"/>
                  </a:cubicBezTo>
                  <a:lnTo>
                    <a:pt x="529" y="11717"/>
                  </a:lnTo>
                  <a:cubicBezTo>
                    <a:pt x="552" y="11730"/>
                    <a:pt x="574" y="11736"/>
                    <a:pt x="594" y="11736"/>
                  </a:cubicBezTo>
                  <a:cubicBezTo>
                    <a:pt x="640" y="11736"/>
                    <a:pt x="673" y="11700"/>
                    <a:pt x="673" y="11635"/>
                  </a:cubicBezTo>
                  <a:lnTo>
                    <a:pt x="673" y="164"/>
                  </a:lnTo>
                  <a:cubicBezTo>
                    <a:pt x="673" y="75"/>
                    <a:pt x="598" y="0"/>
                    <a:pt x="506" y="0"/>
                  </a:cubicBez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86" name="Google Shape;6636;p41">
              <a:extLst>
                <a:ext uri="{FF2B5EF4-FFF2-40B4-BE49-F238E27FC236}">
                  <a16:creationId xmlns:a16="http://schemas.microsoft.com/office/drawing/2014/main" id="{3590AA4A-8B57-AD46-9132-8B2CE2E3CC16}"/>
                </a:ext>
              </a:extLst>
            </p:cNvPr>
            <p:cNvSpPr/>
            <p:nvPr/>
          </p:nvSpPr>
          <p:spPr>
            <a:xfrm>
              <a:off x="4804025" y="2887825"/>
              <a:ext cx="443600" cy="273800"/>
            </a:xfrm>
            <a:custGeom>
              <a:avLst/>
              <a:gdLst/>
              <a:ahLst/>
              <a:cxnLst/>
              <a:rect l="l" t="t" r="r" b="b"/>
              <a:pathLst>
                <a:path w="17744" h="10952" extrusionOk="0">
                  <a:moveTo>
                    <a:pt x="8087" y="0"/>
                  </a:moveTo>
                  <a:cubicBezTo>
                    <a:pt x="7930" y="0"/>
                    <a:pt x="7770" y="35"/>
                    <a:pt x="7651" y="102"/>
                  </a:cubicBezTo>
                  <a:lnTo>
                    <a:pt x="382" y="4303"/>
                  </a:lnTo>
                  <a:cubicBezTo>
                    <a:pt x="170" y="4426"/>
                    <a:pt x="0" y="4719"/>
                    <a:pt x="0" y="4965"/>
                  </a:cubicBezTo>
                  <a:lnTo>
                    <a:pt x="0" y="5111"/>
                  </a:lnTo>
                  <a:cubicBezTo>
                    <a:pt x="0" y="5354"/>
                    <a:pt x="160" y="5668"/>
                    <a:pt x="355" y="5808"/>
                  </a:cubicBezTo>
                  <a:lnTo>
                    <a:pt x="7560" y="10832"/>
                  </a:lnTo>
                  <a:cubicBezTo>
                    <a:pt x="7669" y="10911"/>
                    <a:pt x="7818" y="10952"/>
                    <a:pt x="7966" y="10952"/>
                  </a:cubicBezTo>
                  <a:cubicBezTo>
                    <a:pt x="8085" y="10952"/>
                    <a:pt x="8204" y="10925"/>
                    <a:pt x="8297" y="10870"/>
                  </a:cubicBezTo>
                  <a:lnTo>
                    <a:pt x="17361" y="5637"/>
                  </a:lnTo>
                  <a:cubicBezTo>
                    <a:pt x="17573" y="5514"/>
                    <a:pt x="17744" y="5221"/>
                    <a:pt x="17744" y="4979"/>
                  </a:cubicBezTo>
                  <a:lnTo>
                    <a:pt x="17744" y="4825"/>
                  </a:lnTo>
                  <a:cubicBezTo>
                    <a:pt x="17744" y="4583"/>
                    <a:pt x="17563" y="4303"/>
                    <a:pt x="17345" y="4201"/>
                  </a:cubicBezTo>
                  <a:lnTo>
                    <a:pt x="8430" y="67"/>
                  </a:lnTo>
                  <a:cubicBezTo>
                    <a:pt x="8333" y="22"/>
                    <a:pt x="8211" y="0"/>
                    <a:pt x="8087" y="0"/>
                  </a:cubicBez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87" name="Google Shape;6637;p41">
              <a:extLst>
                <a:ext uri="{FF2B5EF4-FFF2-40B4-BE49-F238E27FC236}">
                  <a16:creationId xmlns:a16="http://schemas.microsoft.com/office/drawing/2014/main" id="{2882805A-DB11-9D4E-8E59-19C23BF056AD}"/>
                </a:ext>
              </a:extLst>
            </p:cNvPr>
            <p:cNvSpPr/>
            <p:nvPr/>
          </p:nvSpPr>
          <p:spPr>
            <a:xfrm>
              <a:off x="4808000" y="2887825"/>
              <a:ext cx="435375" cy="248000"/>
            </a:xfrm>
            <a:custGeom>
              <a:avLst/>
              <a:gdLst/>
              <a:ahLst/>
              <a:cxnLst/>
              <a:rect l="l" t="t" r="r" b="b"/>
              <a:pathLst>
                <a:path w="17415" h="9920" extrusionOk="0">
                  <a:moveTo>
                    <a:pt x="7928" y="0"/>
                  </a:moveTo>
                  <a:cubicBezTo>
                    <a:pt x="7771" y="0"/>
                    <a:pt x="7611" y="35"/>
                    <a:pt x="7492" y="102"/>
                  </a:cubicBezTo>
                  <a:lnTo>
                    <a:pt x="223" y="4303"/>
                  </a:lnTo>
                  <a:cubicBezTo>
                    <a:pt x="11" y="4426"/>
                    <a:pt x="1" y="4640"/>
                    <a:pt x="199" y="4780"/>
                  </a:cubicBezTo>
                  <a:lnTo>
                    <a:pt x="7401" y="9801"/>
                  </a:lnTo>
                  <a:cubicBezTo>
                    <a:pt x="7509" y="9880"/>
                    <a:pt x="7658" y="9919"/>
                    <a:pt x="7805" y="9919"/>
                  </a:cubicBezTo>
                  <a:cubicBezTo>
                    <a:pt x="7925" y="9919"/>
                    <a:pt x="8044" y="9892"/>
                    <a:pt x="8138" y="9839"/>
                  </a:cubicBezTo>
                  <a:lnTo>
                    <a:pt x="17202" y="4607"/>
                  </a:lnTo>
                  <a:cubicBezTo>
                    <a:pt x="17414" y="4484"/>
                    <a:pt x="17404" y="4303"/>
                    <a:pt x="17186" y="4201"/>
                  </a:cubicBezTo>
                  <a:lnTo>
                    <a:pt x="8271" y="67"/>
                  </a:lnTo>
                  <a:cubicBezTo>
                    <a:pt x="8174" y="22"/>
                    <a:pt x="8052" y="0"/>
                    <a:pt x="7928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88" name="Google Shape;6638;p41">
              <a:extLst>
                <a:ext uri="{FF2B5EF4-FFF2-40B4-BE49-F238E27FC236}">
                  <a16:creationId xmlns:a16="http://schemas.microsoft.com/office/drawing/2014/main" id="{15D3FBFE-3B37-FB49-BE88-5439F0AF14F2}"/>
                </a:ext>
              </a:extLst>
            </p:cNvPr>
            <p:cNvSpPr/>
            <p:nvPr/>
          </p:nvSpPr>
          <p:spPr>
            <a:xfrm>
              <a:off x="5073800" y="3414250"/>
              <a:ext cx="46875" cy="80150"/>
            </a:xfrm>
            <a:custGeom>
              <a:avLst/>
              <a:gdLst/>
              <a:ahLst/>
              <a:cxnLst/>
              <a:rect l="l" t="t" r="r" b="b"/>
              <a:pathLst>
                <a:path w="1875" h="3206" extrusionOk="0">
                  <a:moveTo>
                    <a:pt x="1" y="0"/>
                  </a:moveTo>
                  <a:lnTo>
                    <a:pt x="1" y="3205"/>
                  </a:lnTo>
                  <a:lnTo>
                    <a:pt x="1874" y="3205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FFA8A7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89" name="Google Shape;6639;p41">
              <a:extLst>
                <a:ext uri="{FF2B5EF4-FFF2-40B4-BE49-F238E27FC236}">
                  <a16:creationId xmlns:a16="http://schemas.microsoft.com/office/drawing/2014/main" id="{3DA8DCB2-89C2-B146-B929-FD6E11028640}"/>
                </a:ext>
              </a:extLst>
            </p:cNvPr>
            <p:cNvSpPr/>
            <p:nvPr/>
          </p:nvSpPr>
          <p:spPr>
            <a:xfrm>
              <a:off x="5209375" y="3309875"/>
              <a:ext cx="49100" cy="86475"/>
            </a:xfrm>
            <a:custGeom>
              <a:avLst/>
              <a:gdLst/>
              <a:ahLst/>
              <a:cxnLst/>
              <a:rect l="l" t="t" r="r" b="b"/>
              <a:pathLst>
                <a:path w="1964" h="3459" extrusionOk="0">
                  <a:moveTo>
                    <a:pt x="93" y="1"/>
                  </a:moveTo>
                  <a:lnTo>
                    <a:pt x="1" y="3394"/>
                  </a:lnTo>
                  <a:lnTo>
                    <a:pt x="1871" y="3458"/>
                  </a:lnTo>
                  <a:lnTo>
                    <a:pt x="1963" y="66"/>
                  </a:lnTo>
                  <a:lnTo>
                    <a:pt x="93" y="1"/>
                  </a:lnTo>
                  <a:close/>
                </a:path>
              </a:pathLst>
            </a:custGeom>
            <a:solidFill>
              <a:srgbClr val="FFA8A7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90" name="Google Shape;6640;p41">
              <a:extLst>
                <a:ext uri="{FF2B5EF4-FFF2-40B4-BE49-F238E27FC236}">
                  <a16:creationId xmlns:a16="http://schemas.microsoft.com/office/drawing/2014/main" id="{02466C3B-7550-924B-85B7-CA6F22F6547F}"/>
                </a:ext>
              </a:extLst>
            </p:cNvPr>
            <p:cNvSpPr/>
            <p:nvPr/>
          </p:nvSpPr>
          <p:spPr>
            <a:xfrm>
              <a:off x="5062025" y="3464525"/>
              <a:ext cx="150125" cy="138650"/>
            </a:xfrm>
            <a:custGeom>
              <a:avLst/>
              <a:gdLst/>
              <a:ahLst/>
              <a:cxnLst/>
              <a:rect l="l" t="t" r="r" b="b"/>
              <a:pathLst>
                <a:path w="6005" h="5546" extrusionOk="0">
                  <a:moveTo>
                    <a:pt x="494" y="1"/>
                  </a:moveTo>
                  <a:cubicBezTo>
                    <a:pt x="378" y="1"/>
                    <a:pt x="280" y="379"/>
                    <a:pt x="192" y="723"/>
                  </a:cubicBezTo>
                  <a:cubicBezTo>
                    <a:pt x="89" y="1116"/>
                    <a:pt x="1" y="1579"/>
                    <a:pt x="75" y="1792"/>
                  </a:cubicBezTo>
                  <a:cubicBezTo>
                    <a:pt x="209" y="2177"/>
                    <a:pt x="775" y="2549"/>
                    <a:pt x="1021" y="2883"/>
                  </a:cubicBezTo>
                  <a:cubicBezTo>
                    <a:pt x="1266" y="3214"/>
                    <a:pt x="1434" y="3897"/>
                    <a:pt x="1895" y="4396"/>
                  </a:cubicBezTo>
                  <a:cubicBezTo>
                    <a:pt x="2366" y="4904"/>
                    <a:pt x="3349" y="5320"/>
                    <a:pt x="4038" y="5484"/>
                  </a:cubicBezTo>
                  <a:cubicBezTo>
                    <a:pt x="4215" y="5525"/>
                    <a:pt x="4398" y="5545"/>
                    <a:pt x="4577" y="5545"/>
                  </a:cubicBezTo>
                  <a:cubicBezTo>
                    <a:pt x="5289" y="5545"/>
                    <a:pt x="5947" y="5228"/>
                    <a:pt x="5976" y="4655"/>
                  </a:cubicBezTo>
                  <a:cubicBezTo>
                    <a:pt x="6004" y="4102"/>
                    <a:pt x="4875" y="3300"/>
                    <a:pt x="4233" y="2713"/>
                  </a:cubicBezTo>
                  <a:cubicBezTo>
                    <a:pt x="3427" y="1979"/>
                    <a:pt x="2540" y="105"/>
                    <a:pt x="2345" y="20"/>
                  </a:cubicBezTo>
                  <a:lnTo>
                    <a:pt x="2345" y="351"/>
                  </a:lnTo>
                  <a:cubicBezTo>
                    <a:pt x="2348" y="535"/>
                    <a:pt x="2013" y="571"/>
                    <a:pt x="1725" y="571"/>
                  </a:cubicBezTo>
                  <a:cubicBezTo>
                    <a:pt x="1654" y="571"/>
                    <a:pt x="1586" y="569"/>
                    <a:pt x="1526" y="566"/>
                  </a:cubicBezTo>
                  <a:cubicBezTo>
                    <a:pt x="1066" y="549"/>
                    <a:pt x="660" y="388"/>
                    <a:pt x="509" y="225"/>
                  </a:cubicBezTo>
                  <a:lnTo>
                    <a:pt x="509" y="3"/>
                  </a:lnTo>
                  <a:cubicBezTo>
                    <a:pt x="504" y="1"/>
                    <a:pt x="499" y="1"/>
                    <a:pt x="4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91" name="Google Shape;6641;p41">
              <a:extLst>
                <a:ext uri="{FF2B5EF4-FFF2-40B4-BE49-F238E27FC236}">
                  <a16:creationId xmlns:a16="http://schemas.microsoft.com/office/drawing/2014/main" id="{9CAF9F30-48B1-B444-A50A-B2C05E277FD6}"/>
                </a:ext>
              </a:extLst>
            </p:cNvPr>
            <p:cNvSpPr/>
            <p:nvPr/>
          </p:nvSpPr>
          <p:spPr>
            <a:xfrm>
              <a:off x="5191800" y="3379225"/>
              <a:ext cx="194500" cy="95425"/>
            </a:xfrm>
            <a:custGeom>
              <a:avLst/>
              <a:gdLst/>
              <a:ahLst/>
              <a:cxnLst/>
              <a:rect l="l" t="t" r="r" b="b"/>
              <a:pathLst>
                <a:path w="7780" h="3817" extrusionOk="0">
                  <a:moveTo>
                    <a:pt x="712" y="1"/>
                  </a:moveTo>
                  <a:cubicBezTo>
                    <a:pt x="543" y="1"/>
                    <a:pt x="377" y="785"/>
                    <a:pt x="264" y="1302"/>
                  </a:cubicBezTo>
                  <a:cubicBezTo>
                    <a:pt x="155" y="1784"/>
                    <a:pt x="1" y="2346"/>
                    <a:pt x="383" y="2613"/>
                  </a:cubicBezTo>
                  <a:cubicBezTo>
                    <a:pt x="765" y="2876"/>
                    <a:pt x="1711" y="2975"/>
                    <a:pt x="2223" y="3057"/>
                  </a:cubicBezTo>
                  <a:cubicBezTo>
                    <a:pt x="2690" y="3128"/>
                    <a:pt x="3649" y="3565"/>
                    <a:pt x="4277" y="3705"/>
                  </a:cubicBezTo>
                  <a:cubicBezTo>
                    <a:pt x="4628" y="3784"/>
                    <a:pt x="4991" y="3816"/>
                    <a:pt x="5339" y="3816"/>
                  </a:cubicBezTo>
                  <a:cubicBezTo>
                    <a:pt x="6137" y="3816"/>
                    <a:pt x="6852" y="3645"/>
                    <a:pt x="7138" y="3469"/>
                  </a:cubicBezTo>
                  <a:cubicBezTo>
                    <a:pt x="7683" y="3135"/>
                    <a:pt x="7779" y="2538"/>
                    <a:pt x="7393" y="2364"/>
                  </a:cubicBezTo>
                  <a:cubicBezTo>
                    <a:pt x="6779" y="2084"/>
                    <a:pt x="4942" y="1613"/>
                    <a:pt x="4243" y="1261"/>
                  </a:cubicBezTo>
                  <a:cubicBezTo>
                    <a:pt x="3824" y="1053"/>
                    <a:pt x="3243" y="760"/>
                    <a:pt x="2984" y="480"/>
                  </a:cubicBezTo>
                  <a:cubicBezTo>
                    <a:pt x="2772" y="248"/>
                    <a:pt x="2690" y="111"/>
                    <a:pt x="2595" y="108"/>
                  </a:cubicBezTo>
                  <a:lnTo>
                    <a:pt x="2584" y="394"/>
                  </a:lnTo>
                  <a:cubicBezTo>
                    <a:pt x="2410" y="483"/>
                    <a:pt x="2156" y="523"/>
                    <a:pt x="1889" y="523"/>
                  </a:cubicBezTo>
                  <a:cubicBezTo>
                    <a:pt x="1397" y="523"/>
                    <a:pt x="863" y="387"/>
                    <a:pt x="717" y="166"/>
                  </a:cubicBezTo>
                  <a:lnTo>
                    <a:pt x="724" y="2"/>
                  </a:lnTo>
                  <a:cubicBezTo>
                    <a:pt x="720" y="1"/>
                    <a:pt x="716" y="1"/>
                    <a:pt x="71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92" name="Google Shape;6642;p41">
              <a:extLst>
                <a:ext uri="{FF2B5EF4-FFF2-40B4-BE49-F238E27FC236}">
                  <a16:creationId xmlns:a16="http://schemas.microsoft.com/office/drawing/2014/main" id="{E89F1FE1-F7FD-3946-9056-096CB2D1F263}"/>
                </a:ext>
              </a:extLst>
            </p:cNvPr>
            <p:cNvSpPr/>
            <p:nvPr/>
          </p:nvSpPr>
          <p:spPr>
            <a:xfrm>
              <a:off x="4875075" y="2874925"/>
              <a:ext cx="428125" cy="574100"/>
            </a:xfrm>
            <a:custGeom>
              <a:avLst/>
              <a:gdLst/>
              <a:ahLst/>
              <a:cxnLst/>
              <a:rect l="l" t="t" r="r" b="b"/>
              <a:pathLst>
                <a:path w="17125" h="22964" extrusionOk="0">
                  <a:moveTo>
                    <a:pt x="8817" y="0"/>
                  </a:moveTo>
                  <a:lnTo>
                    <a:pt x="410" y="2081"/>
                  </a:lnTo>
                  <a:cubicBezTo>
                    <a:pt x="0" y="4976"/>
                    <a:pt x="553" y="5532"/>
                    <a:pt x="3301" y="8300"/>
                  </a:cubicBezTo>
                  <a:cubicBezTo>
                    <a:pt x="4782" y="9792"/>
                    <a:pt x="7164" y="11980"/>
                    <a:pt x="7164" y="11980"/>
                  </a:cubicBezTo>
                  <a:cubicBezTo>
                    <a:pt x="7164" y="11980"/>
                    <a:pt x="7131" y="12901"/>
                    <a:pt x="7110" y="14973"/>
                  </a:cubicBezTo>
                  <a:cubicBezTo>
                    <a:pt x="7093" y="16799"/>
                    <a:pt x="7854" y="22737"/>
                    <a:pt x="7854" y="22737"/>
                  </a:cubicBezTo>
                  <a:cubicBezTo>
                    <a:pt x="7854" y="22737"/>
                    <a:pt x="8392" y="22963"/>
                    <a:pt x="9003" y="22963"/>
                  </a:cubicBezTo>
                  <a:cubicBezTo>
                    <a:pt x="9321" y="22963"/>
                    <a:pt x="9658" y="22902"/>
                    <a:pt x="9949" y="22717"/>
                  </a:cubicBezTo>
                  <a:cubicBezTo>
                    <a:pt x="9949" y="22717"/>
                    <a:pt x="10335" y="18300"/>
                    <a:pt x="10543" y="15997"/>
                  </a:cubicBezTo>
                  <a:cubicBezTo>
                    <a:pt x="10827" y="12877"/>
                    <a:pt x="10973" y="11314"/>
                    <a:pt x="10813" y="10641"/>
                  </a:cubicBezTo>
                  <a:cubicBezTo>
                    <a:pt x="10674" y="10047"/>
                    <a:pt x="7875" y="6515"/>
                    <a:pt x="7229" y="5525"/>
                  </a:cubicBezTo>
                  <a:lnTo>
                    <a:pt x="7229" y="5525"/>
                  </a:lnTo>
                  <a:lnTo>
                    <a:pt x="13175" y="8979"/>
                  </a:lnTo>
                  <a:cubicBezTo>
                    <a:pt x="13175" y="8979"/>
                    <a:pt x="12974" y="10491"/>
                    <a:pt x="13004" y="11621"/>
                  </a:cubicBezTo>
                  <a:cubicBezTo>
                    <a:pt x="13069" y="14099"/>
                    <a:pt x="13373" y="19045"/>
                    <a:pt x="13373" y="19045"/>
                  </a:cubicBezTo>
                  <a:cubicBezTo>
                    <a:pt x="13373" y="19045"/>
                    <a:pt x="14038" y="19343"/>
                    <a:pt x="14670" y="19343"/>
                  </a:cubicBezTo>
                  <a:cubicBezTo>
                    <a:pt x="14942" y="19343"/>
                    <a:pt x="15207" y="19288"/>
                    <a:pt x="15410" y="19130"/>
                  </a:cubicBezTo>
                  <a:cubicBezTo>
                    <a:pt x="15410" y="19130"/>
                    <a:pt x="17124" y="8310"/>
                    <a:pt x="17124" y="7420"/>
                  </a:cubicBezTo>
                  <a:cubicBezTo>
                    <a:pt x="17124" y="6071"/>
                    <a:pt x="11263" y="2044"/>
                    <a:pt x="10154" y="1106"/>
                  </a:cubicBezTo>
                  <a:cubicBezTo>
                    <a:pt x="9519" y="569"/>
                    <a:pt x="8817" y="0"/>
                    <a:pt x="8817" y="0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93" name="Google Shape;6643;p41">
              <a:extLst>
                <a:ext uri="{FF2B5EF4-FFF2-40B4-BE49-F238E27FC236}">
                  <a16:creationId xmlns:a16="http://schemas.microsoft.com/office/drawing/2014/main" id="{D06CD984-8610-F44E-83FD-D70787115F11}"/>
                </a:ext>
              </a:extLst>
            </p:cNvPr>
            <p:cNvSpPr/>
            <p:nvPr/>
          </p:nvSpPr>
          <p:spPr>
            <a:xfrm>
              <a:off x="4882250" y="2935150"/>
              <a:ext cx="388250" cy="513850"/>
            </a:xfrm>
            <a:custGeom>
              <a:avLst/>
              <a:gdLst/>
              <a:ahLst/>
              <a:cxnLst/>
              <a:rect l="l" t="t" r="r" b="b"/>
              <a:pathLst>
                <a:path w="15530" h="20554" extrusionOk="0">
                  <a:moveTo>
                    <a:pt x="79" y="0"/>
                  </a:moveTo>
                  <a:cubicBezTo>
                    <a:pt x="31" y="410"/>
                    <a:pt x="4" y="772"/>
                    <a:pt x="0" y="1096"/>
                  </a:cubicBezTo>
                  <a:cubicBezTo>
                    <a:pt x="0" y="1802"/>
                    <a:pt x="127" y="2352"/>
                    <a:pt x="420" y="2901"/>
                  </a:cubicBezTo>
                  <a:lnTo>
                    <a:pt x="3598" y="1375"/>
                  </a:lnTo>
                  <a:cubicBezTo>
                    <a:pt x="3645" y="1348"/>
                    <a:pt x="3707" y="1334"/>
                    <a:pt x="3768" y="1334"/>
                  </a:cubicBezTo>
                  <a:cubicBezTo>
                    <a:pt x="3829" y="1334"/>
                    <a:pt x="3891" y="1348"/>
                    <a:pt x="3939" y="1375"/>
                  </a:cubicBezTo>
                  <a:lnTo>
                    <a:pt x="4165" y="1506"/>
                  </a:lnTo>
                  <a:lnTo>
                    <a:pt x="5045" y="997"/>
                  </a:lnTo>
                  <a:lnTo>
                    <a:pt x="5045" y="997"/>
                  </a:lnTo>
                  <a:cubicBezTo>
                    <a:pt x="4703" y="1031"/>
                    <a:pt x="4359" y="1044"/>
                    <a:pt x="4021" y="1044"/>
                  </a:cubicBezTo>
                  <a:cubicBezTo>
                    <a:pt x="2257" y="1044"/>
                    <a:pt x="663" y="632"/>
                    <a:pt x="79" y="0"/>
                  </a:cubicBezTo>
                  <a:close/>
                  <a:moveTo>
                    <a:pt x="15530" y="14113"/>
                  </a:moveTo>
                  <a:lnTo>
                    <a:pt x="13021" y="15563"/>
                  </a:lnTo>
                  <a:cubicBezTo>
                    <a:pt x="13058" y="16215"/>
                    <a:pt x="13086" y="16636"/>
                    <a:pt x="13086" y="16636"/>
                  </a:cubicBezTo>
                  <a:cubicBezTo>
                    <a:pt x="13086" y="16636"/>
                    <a:pt x="13751" y="16932"/>
                    <a:pt x="14383" y="16932"/>
                  </a:cubicBezTo>
                  <a:cubicBezTo>
                    <a:pt x="14652" y="16932"/>
                    <a:pt x="14919" y="16877"/>
                    <a:pt x="15123" y="16721"/>
                  </a:cubicBezTo>
                  <a:cubicBezTo>
                    <a:pt x="15123" y="16721"/>
                    <a:pt x="15294" y="15632"/>
                    <a:pt x="15530" y="14113"/>
                  </a:cubicBezTo>
                  <a:close/>
                  <a:moveTo>
                    <a:pt x="9922" y="17352"/>
                  </a:moveTo>
                  <a:lnTo>
                    <a:pt x="7383" y="18816"/>
                  </a:lnTo>
                  <a:cubicBezTo>
                    <a:pt x="7488" y="19714"/>
                    <a:pt x="7567" y="20328"/>
                    <a:pt x="7567" y="20328"/>
                  </a:cubicBezTo>
                  <a:cubicBezTo>
                    <a:pt x="7567" y="20328"/>
                    <a:pt x="8106" y="20553"/>
                    <a:pt x="8717" y="20553"/>
                  </a:cubicBezTo>
                  <a:cubicBezTo>
                    <a:pt x="9035" y="20553"/>
                    <a:pt x="9372" y="20492"/>
                    <a:pt x="9662" y="20308"/>
                  </a:cubicBezTo>
                  <a:cubicBezTo>
                    <a:pt x="9662" y="20308"/>
                    <a:pt x="9782" y="18953"/>
                    <a:pt x="9922" y="1735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94" name="Google Shape;6644;p41">
              <a:extLst>
                <a:ext uri="{FF2B5EF4-FFF2-40B4-BE49-F238E27FC236}">
                  <a16:creationId xmlns:a16="http://schemas.microsoft.com/office/drawing/2014/main" id="{0EA88FEF-3178-8E43-B5F3-FB7513FF620E}"/>
                </a:ext>
              </a:extLst>
            </p:cNvPr>
            <p:cNvSpPr/>
            <p:nvPr/>
          </p:nvSpPr>
          <p:spPr>
            <a:xfrm>
              <a:off x="5073025" y="2611250"/>
              <a:ext cx="113000" cy="230400"/>
            </a:xfrm>
            <a:custGeom>
              <a:avLst/>
              <a:gdLst/>
              <a:ahLst/>
              <a:cxnLst/>
              <a:rect l="l" t="t" r="r" b="b"/>
              <a:pathLst>
                <a:path w="4520" h="9216" extrusionOk="0">
                  <a:moveTo>
                    <a:pt x="1093" y="1"/>
                  </a:moveTo>
                  <a:cubicBezTo>
                    <a:pt x="1093" y="1"/>
                    <a:pt x="1" y="7468"/>
                    <a:pt x="591" y="8032"/>
                  </a:cubicBezTo>
                  <a:cubicBezTo>
                    <a:pt x="916" y="8342"/>
                    <a:pt x="2332" y="8806"/>
                    <a:pt x="3742" y="9216"/>
                  </a:cubicBezTo>
                  <a:lnTo>
                    <a:pt x="4520" y="6977"/>
                  </a:lnTo>
                  <a:cubicBezTo>
                    <a:pt x="3987" y="6660"/>
                    <a:pt x="3403" y="6301"/>
                    <a:pt x="2756" y="5905"/>
                  </a:cubicBezTo>
                  <a:cubicBezTo>
                    <a:pt x="2756" y="5905"/>
                    <a:pt x="3083" y="2956"/>
                    <a:pt x="3083" y="1874"/>
                  </a:cubicBezTo>
                  <a:cubicBezTo>
                    <a:pt x="3083" y="718"/>
                    <a:pt x="2595" y="35"/>
                    <a:pt x="1093" y="1"/>
                  </a:cubicBezTo>
                  <a:close/>
                </a:path>
              </a:pathLst>
            </a:custGeom>
            <a:solidFill>
              <a:srgbClr val="FFA8A7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95" name="Google Shape;6645;p41">
              <a:extLst>
                <a:ext uri="{FF2B5EF4-FFF2-40B4-BE49-F238E27FC236}">
                  <a16:creationId xmlns:a16="http://schemas.microsoft.com/office/drawing/2014/main" id="{DFB02377-015F-3F40-8256-4388D4AA66D5}"/>
                </a:ext>
              </a:extLst>
            </p:cNvPr>
            <p:cNvSpPr/>
            <p:nvPr/>
          </p:nvSpPr>
          <p:spPr>
            <a:xfrm>
              <a:off x="5069725" y="2608425"/>
              <a:ext cx="83700" cy="170275"/>
            </a:xfrm>
            <a:custGeom>
              <a:avLst/>
              <a:gdLst/>
              <a:ahLst/>
              <a:cxnLst/>
              <a:rect l="l" t="t" r="r" b="b"/>
              <a:pathLst>
                <a:path w="3348" h="6811" extrusionOk="0">
                  <a:moveTo>
                    <a:pt x="979" y="1"/>
                  </a:moveTo>
                  <a:lnTo>
                    <a:pt x="0" y="6803"/>
                  </a:lnTo>
                  <a:cubicBezTo>
                    <a:pt x="112" y="6808"/>
                    <a:pt x="220" y="6811"/>
                    <a:pt x="325" y="6811"/>
                  </a:cubicBezTo>
                  <a:cubicBezTo>
                    <a:pt x="2192" y="6811"/>
                    <a:pt x="3031" y="6021"/>
                    <a:pt x="3031" y="6021"/>
                  </a:cubicBezTo>
                  <a:cubicBezTo>
                    <a:pt x="3031" y="6021"/>
                    <a:pt x="3225" y="3493"/>
                    <a:pt x="3283" y="2516"/>
                  </a:cubicBezTo>
                  <a:cubicBezTo>
                    <a:pt x="3341" y="1540"/>
                    <a:pt x="3348" y="1110"/>
                    <a:pt x="2774" y="560"/>
                  </a:cubicBezTo>
                  <a:cubicBezTo>
                    <a:pt x="2222" y="35"/>
                    <a:pt x="979" y="1"/>
                    <a:pt x="979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96" name="Google Shape;6646;p41">
              <a:extLst>
                <a:ext uri="{FF2B5EF4-FFF2-40B4-BE49-F238E27FC236}">
                  <a16:creationId xmlns:a16="http://schemas.microsoft.com/office/drawing/2014/main" id="{13244322-E06B-3F4C-B57E-F5270FF28741}"/>
                </a:ext>
              </a:extLst>
            </p:cNvPr>
            <p:cNvSpPr/>
            <p:nvPr/>
          </p:nvSpPr>
          <p:spPr>
            <a:xfrm>
              <a:off x="4884125" y="2611250"/>
              <a:ext cx="261700" cy="350050"/>
            </a:xfrm>
            <a:custGeom>
              <a:avLst/>
              <a:gdLst/>
              <a:ahLst/>
              <a:cxnLst/>
              <a:rect l="l" t="t" r="r" b="b"/>
              <a:pathLst>
                <a:path w="10468" h="14002" extrusionOk="0">
                  <a:moveTo>
                    <a:pt x="6331" y="1"/>
                  </a:moveTo>
                  <a:lnTo>
                    <a:pt x="3693" y="447"/>
                  </a:lnTo>
                  <a:cubicBezTo>
                    <a:pt x="3714" y="447"/>
                    <a:pt x="2946" y="759"/>
                    <a:pt x="2407" y="1567"/>
                  </a:cubicBezTo>
                  <a:cubicBezTo>
                    <a:pt x="1963" y="2236"/>
                    <a:pt x="646" y="5612"/>
                    <a:pt x="0" y="12953"/>
                  </a:cubicBezTo>
                  <a:cubicBezTo>
                    <a:pt x="583" y="13587"/>
                    <a:pt x="2178" y="14001"/>
                    <a:pt x="3949" y="14001"/>
                  </a:cubicBezTo>
                  <a:cubicBezTo>
                    <a:pt x="6172" y="14001"/>
                    <a:pt x="8673" y="13347"/>
                    <a:pt x="9792" y="11653"/>
                  </a:cubicBezTo>
                  <a:cubicBezTo>
                    <a:pt x="9792" y="11653"/>
                    <a:pt x="10468" y="5550"/>
                    <a:pt x="10455" y="4092"/>
                  </a:cubicBezTo>
                  <a:cubicBezTo>
                    <a:pt x="10444" y="3082"/>
                    <a:pt x="10417" y="642"/>
                    <a:pt x="8649" y="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97" name="Google Shape;6647;p41">
              <a:extLst>
                <a:ext uri="{FF2B5EF4-FFF2-40B4-BE49-F238E27FC236}">
                  <a16:creationId xmlns:a16="http://schemas.microsoft.com/office/drawing/2014/main" id="{BC19FEED-9C96-1A4B-A3BD-EB2FF8070458}"/>
                </a:ext>
              </a:extLst>
            </p:cNvPr>
            <p:cNvSpPr/>
            <p:nvPr/>
          </p:nvSpPr>
          <p:spPr>
            <a:xfrm>
              <a:off x="5036850" y="2401025"/>
              <a:ext cx="136200" cy="132925"/>
            </a:xfrm>
            <a:custGeom>
              <a:avLst/>
              <a:gdLst/>
              <a:ahLst/>
              <a:cxnLst/>
              <a:rect l="l" t="t" r="r" b="b"/>
              <a:pathLst>
                <a:path w="5448" h="5317" extrusionOk="0">
                  <a:moveTo>
                    <a:pt x="2726" y="0"/>
                  </a:moveTo>
                  <a:cubicBezTo>
                    <a:pt x="1313" y="0"/>
                    <a:pt x="135" y="1110"/>
                    <a:pt x="69" y="2533"/>
                  </a:cubicBezTo>
                  <a:cubicBezTo>
                    <a:pt x="0" y="4000"/>
                    <a:pt x="1131" y="5246"/>
                    <a:pt x="2598" y="5314"/>
                  </a:cubicBezTo>
                  <a:cubicBezTo>
                    <a:pt x="2640" y="5316"/>
                    <a:pt x="2683" y="5317"/>
                    <a:pt x="2725" y="5317"/>
                  </a:cubicBezTo>
                  <a:cubicBezTo>
                    <a:pt x="4137" y="5317"/>
                    <a:pt x="5310" y="4206"/>
                    <a:pt x="5380" y="2785"/>
                  </a:cubicBezTo>
                  <a:cubicBezTo>
                    <a:pt x="5448" y="1317"/>
                    <a:pt x="4315" y="75"/>
                    <a:pt x="2851" y="3"/>
                  </a:cubicBezTo>
                  <a:cubicBezTo>
                    <a:pt x="2809" y="1"/>
                    <a:pt x="2767" y="0"/>
                    <a:pt x="272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98" name="Google Shape;6648;p41">
              <a:extLst>
                <a:ext uri="{FF2B5EF4-FFF2-40B4-BE49-F238E27FC236}">
                  <a16:creationId xmlns:a16="http://schemas.microsoft.com/office/drawing/2014/main" id="{E894B01B-0C8C-8541-9EAD-CF460978DFF4}"/>
                </a:ext>
              </a:extLst>
            </p:cNvPr>
            <p:cNvSpPr/>
            <p:nvPr/>
          </p:nvSpPr>
          <p:spPr>
            <a:xfrm>
              <a:off x="4987975" y="2509275"/>
              <a:ext cx="25975" cy="70875"/>
            </a:xfrm>
            <a:custGeom>
              <a:avLst/>
              <a:gdLst/>
              <a:ahLst/>
              <a:cxnLst/>
              <a:rect l="l" t="t" r="r" b="b"/>
              <a:pathLst>
                <a:path w="1039" h="2835" extrusionOk="0">
                  <a:moveTo>
                    <a:pt x="0" y="1"/>
                  </a:moveTo>
                  <a:cubicBezTo>
                    <a:pt x="0" y="1"/>
                    <a:pt x="334" y="2042"/>
                    <a:pt x="492" y="2380"/>
                  </a:cubicBezTo>
                  <a:cubicBezTo>
                    <a:pt x="649" y="2721"/>
                    <a:pt x="1000" y="2834"/>
                    <a:pt x="1000" y="2834"/>
                  </a:cubicBezTo>
                  <a:lnTo>
                    <a:pt x="1038" y="141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199" name="Google Shape;6649;p41">
              <a:extLst>
                <a:ext uri="{FF2B5EF4-FFF2-40B4-BE49-F238E27FC236}">
                  <a16:creationId xmlns:a16="http://schemas.microsoft.com/office/drawing/2014/main" id="{149DFCCB-3E03-E64C-A089-E7E877599370}"/>
                </a:ext>
              </a:extLst>
            </p:cNvPr>
            <p:cNvSpPr/>
            <p:nvPr/>
          </p:nvSpPr>
          <p:spPr>
            <a:xfrm>
              <a:off x="4974650" y="2437175"/>
              <a:ext cx="33475" cy="75375"/>
            </a:xfrm>
            <a:custGeom>
              <a:avLst/>
              <a:gdLst/>
              <a:ahLst/>
              <a:cxnLst/>
              <a:rect l="l" t="t" r="r" b="b"/>
              <a:pathLst>
                <a:path w="1339" h="3015" extrusionOk="0">
                  <a:moveTo>
                    <a:pt x="1050" y="1"/>
                  </a:moveTo>
                  <a:cubicBezTo>
                    <a:pt x="883" y="1"/>
                    <a:pt x="612" y="42"/>
                    <a:pt x="373" y="264"/>
                  </a:cubicBezTo>
                  <a:cubicBezTo>
                    <a:pt x="1" y="608"/>
                    <a:pt x="144" y="1752"/>
                    <a:pt x="533" y="2885"/>
                  </a:cubicBezTo>
                  <a:lnTo>
                    <a:pt x="1338" y="3015"/>
                  </a:lnTo>
                  <a:lnTo>
                    <a:pt x="1209" y="15"/>
                  </a:lnTo>
                  <a:cubicBezTo>
                    <a:pt x="1209" y="15"/>
                    <a:pt x="1147" y="1"/>
                    <a:pt x="105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Google Shape;6650;p41">
              <a:extLst>
                <a:ext uri="{FF2B5EF4-FFF2-40B4-BE49-F238E27FC236}">
                  <a16:creationId xmlns:a16="http://schemas.microsoft.com/office/drawing/2014/main" id="{8E93D139-705D-B041-B484-5CBF5107649C}"/>
                </a:ext>
              </a:extLst>
            </p:cNvPr>
            <p:cNvSpPr/>
            <p:nvPr/>
          </p:nvSpPr>
          <p:spPr>
            <a:xfrm>
              <a:off x="4960925" y="2410500"/>
              <a:ext cx="200625" cy="239050"/>
            </a:xfrm>
            <a:custGeom>
              <a:avLst/>
              <a:gdLst/>
              <a:ahLst/>
              <a:cxnLst/>
              <a:rect l="l" t="t" r="r" b="b"/>
              <a:pathLst>
                <a:path w="8025" h="9562" extrusionOk="0">
                  <a:moveTo>
                    <a:pt x="5218" y="0"/>
                  </a:moveTo>
                  <a:cubicBezTo>
                    <a:pt x="4521" y="0"/>
                    <a:pt x="3809" y="184"/>
                    <a:pt x="3253" y="498"/>
                  </a:cubicBezTo>
                  <a:cubicBezTo>
                    <a:pt x="1673" y="1392"/>
                    <a:pt x="2130" y="4095"/>
                    <a:pt x="2130" y="4095"/>
                  </a:cubicBezTo>
                  <a:cubicBezTo>
                    <a:pt x="2110" y="4105"/>
                    <a:pt x="2090" y="4110"/>
                    <a:pt x="2070" y="4110"/>
                  </a:cubicBezTo>
                  <a:cubicBezTo>
                    <a:pt x="1913" y="4110"/>
                    <a:pt x="1725" y="3835"/>
                    <a:pt x="1556" y="3641"/>
                  </a:cubicBezTo>
                  <a:cubicBezTo>
                    <a:pt x="1452" y="3522"/>
                    <a:pt x="1212" y="3372"/>
                    <a:pt x="957" y="3372"/>
                  </a:cubicBezTo>
                  <a:cubicBezTo>
                    <a:pt x="747" y="3372"/>
                    <a:pt x="527" y="3474"/>
                    <a:pt x="365" y="3778"/>
                  </a:cubicBezTo>
                  <a:cubicBezTo>
                    <a:pt x="0" y="4460"/>
                    <a:pt x="577" y="5416"/>
                    <a:pt x="1085" y="5604"/>
                  </a:cubicBezTo>
                  <a:cubicBezTo>
                    <a:pt x="1279" y="5675"/>
                    <a:pt x="1438" y="5703"/>
                    <a:pt x="1568" y="5703"/>
                  </a:cubicBezTo>
                  <a:cubicBezTo>
                    <a:pt x="2023" y="5703"/>
                    <a:pt x="2120" y="5362"/>
                    <a:pt x="2120" y="5361"/>
                  </a:cubicBezTo>
                  <a:lnTo>
                    <a:pt x="2120" y="5361"/>
                  </a:lnTo>
                  <a:lnTo>
                    <a:pt x="2034" y="8567"/>
                  </a:lnTo>
                  <a:cubicBezTo>
                    <a:pt x="2454" y="9081"/>
                    <a:pt x="3557" y="9562"/>
                    <a:pt x="4296" y="9562"/>
                  </a:cubicBezTo>
                  <a:cubicBezTo>
                    <a:pt x="4837" y="9562"/>
                    <a:pt x="5184" y="9305"/>
                    <a:pt x="4929" y="8617"/>
                  </a:cubicBezTo>
                  <a:lnTo>
                    <a:pt x="4970" y="7642"/>
                  </a:lnTo>
                  <a:cubicBezTo>
                    <a:pt x="4970" y="7642"/>
                    <a:pt x="5597" y="7767"/>
                    <a:pt x="6015" y="7767"/>
                  </a:cubicBezTo>
                  <a:cubicBezTo>
                    <a:pt x="6069" y="7767"/>
                    <a:pt x="6119" y="7765"/>
                    <a:pt x="6164" y="7761"/>
                  </a:cubicBezTo>
                  <a:cubicBezTo>
                    <a:pt x="6823" y="7689"/>
                    <a:pt x="7256" y="7195"/>
                    <a:pt x="7489" y="6498"/>
                  </a:cubicBezTo>
                  <a:cubicBezTo>
                    <a:pt x="7860" y="5379"/>
                    <a:pt x="8024" y="4468"/>
                    <a:pt x="7860" y="2222"/>
                  </a:cubicBezTo>
                  <a:cubicBezTo>
                    <a:pt x="7743" y="628"/>
                    <a:pt x="6505" y="0"/>
                    <a:pt x="5218" y="0"/>
                  </a:cubicBezTo>
                  <a:close/>
                </a:path>
              </a:pathLst>
            </a:custGeom>
            <a:solidFill>
              <a:srgbClr val="FFA8A7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01" name="Google Shape;6651;p41">
              <a:extLst>
                <a:ext uri="{FF2B5EF4-FFF2-40B4-BE49-F238E27FC236}">
                  <a16:creationId xmlns:a16="http://schemas.microsoft.com/office/drawing/2014/main" id="{D0B43573-7C3E-D448-B1D9-C4A14C324845}"/>
                </a:ext>
              </a:extLst>
            </p:cNvPr>
            <p:cNvSpPr/>
            <p:nvPr/>
          </p:nvSpPr>
          <p:spPr>
            <a:xfrm>
              <a:off x="4993075" y="2390825"/>
              <a:ext cx="185800" cy="130125"/>
            </a:xfrm>
            <a:custGeom>
              <a:avLst/>
              <a:gdLst/>
              <a:ahLst/>
              <a:cxnLst/>
              <a:rect l="l" t="t" r="r" b="b"/>
              <a:pathLst>
                <a:path w="7432" h="5205" extrusionOk="0">
                  <a:moveTo>
                    <a:pt x="2460" y="0"/>
                  </a:moveTo>
                  <a:cubicBezTo>
                    <a:pt x="1682" y="0"/>
                    <a:pt x="1127" y="384"/>
                    <a:pt x="800" y="712"/>
                  </a:cubicBezTo>
                  <a:cubicBezTo>
                    <a:pt x="230" y="1282"/>
                    <a:pt x="472" y="1869"/>
                    <a:pt x="472" y="1869"/>
                  </a:cubicBezTo>
                  <a:cubicBezTo>
                    <a:pt x="472" y="1869"/>
                    <a:pt x="1" y="4159"/>
                    <a:pt x="270" y="4428"/>
                  </a:cubicBezTo>
                  <a:cubicBezTo>
                    <a:pt x="465" y="4623"/>
                    <a:pt x="759" y="5115"/>
                    <a:pt x="834" y="5156"/>
                  </a:cubicBezTo>
                  <a:cubicBezTo>
                    <a:pt x="896" y="5189"/>
                    <a:pt x="949" y="5204"/>
                    <a:pt x="997" y="5204"/>
                  </a:cubicBezTo>
                  <a:cubicBezTo>
                    <a:pt x="1429" y="5204"/>
                    <a:pt x="1298" y="3913"/>
                    <a:pt x="1458" y="3285"/>
                  </a:cubicBezTo>
                  <a:cubicBezTo>
                    <a:pt x="1641" y="2558"/>
                    <a:pt x="1722" y="2255"/>
                    <a:pt x="1969" y="2255"/>
                  </a:cubicBezTo>
                  <a:cubicBezTo>
                    <a:pt x="1990" y="2255"/>
                    <a:pt x="2012" y="2257"/>
                    <a:pt x="2035" y="2261"/>
                  </a:cubicBezTo>
                  <a:cubicBezTo>
                    <a:pt x="2237" y="2298"/>
                    <a:pt x="3035" y="2584"/>
                    <a:pt x="4484" y="2584"/>
                  </a:cubicBezTo>
                  <a:cubicBezTo>
                    <a:pt x="4627" y="2584"/>
                    <a:pt x="4777" y="2582"/>
                    <a:pt x="4933" y="2575"/>
                  </a:cubicBezTo>
                  <a:cubicBezTo>
                    <a:pt x="5724" y="2544"/>
                    <a:pt x="6113" y="2408"/>
                    <a:pt x="6492" y="2190"/>
                  </a:cubicBezTo>
                  <a:cubicBezTo>
                    <a:pt x="6868" y="1971"/>
                    <a:pt x="7104" y="1674"/>
                    <a:pt x="7253" y="1353"/>
                  </a:cubicBezTo>
                  <a:cubicBezTo>
                    <a:pt x="7431" y="978"/>
                    <a:pt x="7428" y="561"/>
                    <a:pt x="7394" y="176"/>
                  </a:cubicBezTo>
                  <a:lnTo>
                    <a:pt x="7394" y="176"/>
                  </a:lnTo>
                  <a:cubicBezTo>
                    <a:pt x="6954" y="368"/>
                    <a:pt x="6296" y="468"/>
                    <a:pt x="5702" y="468"/>
                  </a:cubicBezTo>
                  <a:cubicBezTo>
                    <a:pt x="5516" y="468"/>
                    <a:pt x="5336" y="458"/>
                    <a:pt x="5171" y="438"/>
                  </a:cubicBezTo>
                  <a:cubicBezTo>
                    <a:pt x="4591" y="370"/>
                    <a:pt x="3824" y="248"/>
                    <a:pt x="3032" y="66"/>
                  </a:cubicBezTo>
                  <a:cubicBezTo>
                    <a:pt x="2829" y="21"/>
                    <a:pt x="2639" y="0"/>
                    <a:pt x="246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02" name="Google Shape;6652;p41">
              <a:extLst>
                <a:ext uri="{FF2B5EF4-FFF2-40B4-BE49-F238E27FC236}">
                  <a16:creationId xmlns:a16="http://schemas.microsoft.com/office/drawing/2014/main" id="{76CC08A2-F273-7646-A7F1-0658B2F1008D}"/>
                </a:ext>
              </a:extLst>
            </p:cNvPr>
            <p:cNvSpPr/>
            <p:nvPr/>
          </p:nvSpPr>
          <p:spPr>
            <a:xfrm>
              <a:off x="4980800" y="2420450"/>
              <a:ext cx="27750" cy="21550"/>
            </a:xfrm>
            <a:custGeom>
              <a:avLst/>
              <a:gdLst/>
              <a:ahLst/>
              <a:cxnLst/>
              <a:rect l="l" t="t" r="r" b="b"/>
              <a:pathLst>
                <a:path w="1110" h="862" extrusionOk="0">
                  <a:moveTo>
                    <a:pt x="482" y="1"/>
                  </a:moveTo>
                  <a:cubicBezTo>
                    <a:pt x="291" y="1"/>
                    <a:pt x="104" y="104"/>
                    <a:pt x="1" y="288"/>
                  </a:cubicBezTo>
                  <a:lnTo>
                    <a:pt x="956" y="861"/>
                  </a:lnTo>
                  <a:cubicBezTo>
                    <a:pt x="1110" y="589"/>
                    <a:pt x="1021" y="236"/>
                    <a:pt x="755" y="77"/>
                  </a:cubicBezTo>
                  <a:cubicBezTo>
                    <a:pt x="669" y="25"/>
                    <a:pt x="575" y="1"/>
                    <a:pt x="48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03" name="Google Shape;6653;p41">
              <a:extLst>
                <a:ext uri="{FF2B5EF4-FFF2-40B4-BE49-F238E27FC236}">
                  <a16:creationId xmlns:a16="http://schemas.microsoft.com/office/drawing/2014/main" id="{855006A1-2D60-A54D-9E91-3D592D2EEBB5}"/>
                </a:ext>
              </a:extLst>
            </p:cNvPr>
            <p:cNvSpPr/>
            <p:nvPr/>
          </p:nvSpPr>
          <p:spPr>
            <a:xfrm>
              <a:off x="5019875" y="2566875"/>
              <a:ext cx="65300" cy="44400"/>
            </a:xfrm>
            <a:custGeom>
              <a:avLst/>
              <a:gdLst/>
              <a:ahLst/>
              <a:cxnLst/>
              <a:rect l="l" t="t" r="r" b="b"/>
              <a:pathLst>
                <a:path w="2612" h="1776" extrusionOk="0">
                  <a:moveTo>
                    <a:pt x="0" y="1"/>
                  </a:moveTo>
                  <a:cubicBezTo>
                    <a:pt x="0" y="1"/>
                    <a:pt x="76" y="438"/>
                    <a:pt x="362" y="840"/>
                  </a:cubicBezTo>
                  <a:cubicBezTo>
                    <a:pt x="714" y="1335"/>
                    <a:pt x="2595" y="1776"/>
                    <a:pt x="2595" y="1776"/>
                  </a:cubicBezTo>
                  <a:lnTo>
                    <a:pt x="2612" y="1387"/>
                  </a:lnTo>
                  <a:cubicBezTo>
                    <a:pt x="2612" y="1387"/>
                    <a:pt x="1171" y="1025"/>
                    <a:pt x="673" y="732"/>
                  </a:cubicBezTo>
                  <a:cubicBezTo>
                    <a:pt x="342" y="533"/>
                    <a:pt x="76" y="206"/>
                    <a:pt x="0" y="1"/>
                  </a:cubicBezTo>
                  <a:close/>
                </a:path>
              </a:pathLst>
            </a:custGeom>
            <a:solidFill>
              <a:srgbClr val="F28F8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04" name="Google Shape;6654;p41">
              <a:extLst>
                <a:ext uri="{FF2B5EF4-FFF2-40B4-BE49-F238E27FC236}">
                  <a16:creationId xmlns:a16="http://schemas.microsoft.com/office/drawing/2014/main" id="{C7468747-7850-5747-BC5F-814596D9E402}"/>
                </a:ext>
              </a:extLst>
            </p:cNvPr>
            <p:cNvSpPr/>
            <p:nvPr/>
          </p:nvSpPr>
          <p:spPr>
            <a:xfrm>
              <a:off x="5079350" y="2502800"/>
              <a:ext cx="15050" cy="15225"/>
            </a:xfrm>
            <a:custGeom>
              <a:avLst/>
              <a:gdLst/>
              <a:ahLst/>
              <a:cxnLst/>
              <a:rect l="l" t="t" r="r" b="b"/>
              <a:pathLst>
                <a:path w="602" h="609" extrusionOk="0">
                  <a:moveTo>
                    <a:pt x="305" y="1"/>
                  </a:moveTo>
                  <a:cubicBezTo>
                    <a:pt x="147" y="1"/>
                    <a:pt x="17" y="128"/>
                    <a:pt x="11" y="291"/>
                  </a:cubicBezTo>
                  <a:cubicBezTo>
                    <a:pt x="0" y="458"/>
                    <a:pt x="127" y="598"/>
                    <a:pt x="287" y="608"/>
                  </a:cubicBezTo>
                  <a:cubicBezTo>
                    <a:pt x="291" y="608"/>
                    <a:pt x="295" y="608"/>
                    <a:pt x="300" y="608"/>
                  </a:cubicBezTo>
                  <a:cubicBezTo>
                    <a:pt x="455" y="608"/>
                    <a:pt x="588" y="480"/>
                    <a:pt x="594" y="318"/>
                  </a:cubicBezTo>
                  <a:cubicBezTo>
                    <a:pt x="601" y="151"/>
                    <a:pt x="478" y="7"/>
                    <a:pt x="318" y="1"/>
                  </a:cubicBezTo>
                  <a:cubicBezTo>
                    <a:pt x="313" y="1"/>
                    <a:pt x="309" y="1"/>
                    <a:pt x="305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05" name="Google Shape;6655;p41">
              <a:extLst>
                <a:ext uri="{FF2B5EF4-FFF2-40B4-BE49-F238E27FC236}">
                  <a16:creationId xmlns:a16="http://schemas.microsoft.com/office/drawing/2014/main" id="{2EEAFBA3-8430-7249-915D-C527A20A47E8}"/>
                </a:ext>
              </a:extLst>
            </p:cNvPr>
            <p:cNvSpPr/>
            <p:nvPr/>
          </p:nvSpPr>
          <p:spPr>
            <a:xfrm>
              <a:off x="5069875" y="2480275"/>
              <a:ext cx="18200" cy="13150"/>
            </a:xfrm>
            <a:custGeom>
              <a:avLst/>
              <a:gdLst/>
              <a:ahLst/>
              <a:cxnLst/>
              <a:rect l="l" t="t" r="r" b="b"/>
              <a:pathLst>
                <a:path w="728" h="526" extrusionOk="0">
                  <a:moveTo>
                    <a:pt x="403" y="0"/>
                  </a:moveTo>
                  <a:cubicBezTo>
                    <a:pt x="353" y="0"/>
                    <a:pt x="302" y="11"/>
                    <a:pt x="253" y="34"/>
                  </a:cubicBezTo>
                  <a:cubicBezTo>
                    <a:pt x="76" y="124"/>
                    <a:pt x="1" y="342"/>
                    <a:pt x="86" y="526"/>
                  </a:cubicBezTo>
                  <a:lnTo>
                    <a:pt x="727" y="212"/>
                  </a:lnTo>
                  <a:cubicBezTo>
                    <a:pt x="665" y="78"/>
                    <a:pt x="537" y="0"/>
                    <a:pt x="40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06" name="Google Shape;6656;p41">
              <a:extLst>
                <a:ext uri="{FF2B5EF4-FFF2-40B4-BE49-F238E27FC236}">
                  <a16:creationId xmlns:a16="http://schemas.microsoft.com/office/drawing/2014/main" id="{82E0AF28-B879-5149-AE5F-7131BAC4F386}"/>
                </a:ext>
              </a:extLst>
            </p:cNvPr>
            <p:cNvSpPr/>
            <p:nvPr/>
          </p:nvSpPr>
          <p:spPr>
            <a:xfrm>
              <a:off x="5082075" y="2557600"/>
              <a:ext cx="18275" cy="12700"/>
            </a:xfrm>
            <a:custGeom>
              <a:avLst/>
              <a:gdLst/>
              <a:ahLst/>
              <a:cxnLst/>
              <a:rect l="l" t="t" r="r" b="b"/>
              <a:pathLst>
                <a:path w="731" h="508" extrusionOk="0">
                  <a:moveTo>
                    <a:pt x="75" y="0"/>
                  </a:moveTo>
                  <a:lnTo>
                    <a:pt x="75" y="0"/>
                  </a:lnTo>
                  <a:cubicBezTo>
                    <a:pt x="1" y="188"/>
                    <a:pt x="86" y="402"/>
                    <a:pt x="267" y="481"/>
                  </a:cubicBezTo>
                  <a:cubicBezTo>
                    <a:pt x="311" y="499"/>
                    <a:pt x="356" y="508"/>
                    <a:pt x="401" y="508"/>
                  </a:cubicBezTo>
                  <a:cubicBezTo>
                    <a:pt x="541" y="508"/>
                    <a:pt x="674" y="422"/>
                    <a:pt x="731" y="279"/>
                  </a:cubicBezTo>
                  <a:lnTo>
                    <a:pt x="75" y="0"/>
                  </a:lnTo>
                  <a:close/>
                </a:path>
              </a:pathLst>
            </a:custGeom>
            <a:solidFill>
              <a:srgbClr val="F28F8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07" name="Google Shape;6657;p41">
              <a:extLst>
                <a:ext uri="{FF2B5EF4-FFF2-40B4-BE49-F238E27FC236}">
                  <a16:creationId xmlns:a16="http://schemas.microsoft.com/office/drawing/2014/main" id="{8DBA89C2-A777-BF48-BBDA-CEF751BCDCD0}"/>
                </a:ext>
              </a:extLst>
            </p:cNvPr>
            <p:cNvSpPr/>
            <p:nvPr/>
          </p:nvSpPr>
          <p:spPr>
            <a:xfrm>
              <a:off x="5137625" y="2477750"/>
              <a:ext cx="16825" cy="15000"/>
            </a:xfrm>
            <a:custGeom>
              <a:avLst/>
              <a:gdLst/>
              <a:ahLst/>
              <a:cxnLst/>
              <a:rect l="l" t="t" r="r" b="b"/>
              <a:pathLst>
                <a:path w="673" h="600" extrusionOk="0">
                  <a:moveTo>
                    <a:pt x="275" y="0"/>
                  </a:moveTo>
                  <a:cubicBezTo>
                    <a:pt x="172" y="0"/>
                    <a:pt x="70" y="46"/>
                    <a:pt x="0" y="135"/>
                  </a:cubicBezTo>
                  <a:lnTo>
                    <a:pt x="547" y="600"/>
                  </a:lnTo>
                  <a:cubicBezTo>
                    <a:pt x="673" y="443"/>
                    <a:pt x="649" y="211"/>
                    <a:pt x="499" y="81"/>
                  </a:cubicBezTo>
                  <a:cubicBezTo>
                    <a:pt x="433" y="27"/>
                    <a:pt x="354" y="0"/>
                    <a:pt x="27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08" name="Google Shape;6658;p41">
              <a:extLst>
                <a:ext uri="{FF2B5EF4-FFF2-40B4-BE49-F238E27FC236}">
                  <a16:creationId xmlns:a16="http://schemas.microsoft.com/office/drawing/2014/main" id="{59026003-0C36-0849-8992-43BD495BD76A}"/>
                </a:ext>
              </a:extLst>
            </p:cNvPr>
            <p:cNvSpPr/>
            <p:nvPr/>
          </p:nvSpPr>
          <p:spPr>
            <a:xfrm>
              <a:off x="5132175" y="2500150"/>
              <a:ext cx="15025" cy="15150"/>
            </a:xfrm>
            <a:custGeom>
              <a:avLst/>
              <a:gdLst/>
              <a:ahLst/>
              <a:cxnLst/>
              <a:rect l="l" t="t" r="r" b="b"/>
              <a:pathLst>
                <a:path w="601" h="606" extrusionOk="0">
                  <a:moveTo>
                    <a:pt x="296" y="1"/>
                  </a:moveTo>
                  <a:cubicBezTo>
                    <a:pt x="143" y="1"/>
                    <a:pt x="16" y="126"/>
                    <a:pt x="7" y="288"/>
                  </a:cubicBezTo>
                  <a:cubicBezTo>
                    <a:pt x="0" y="455"/>
                    <a:pt x="123" y="598"/>
                    <a:pt x="287" y="605"/>
                  </a:cubicBezTo>
                  <a:cubicBezTo>
                    <a:pt x="293" y="605"/>
                    <a:pt x="299" y="606"/>
                    <a:pt x="305" y="606"/>
                  </a:cubicBezTo>
                  <a:cubicBezTo>
                    <a:pt x="457" y="606"/>
                    <a:pt x="584" y="479"/>
                    <a:pt x="590" y="318"/>
                  </a:cubicBezTo>
                  <a:cubicBezTo>
                    <a:pt x="601" y="151"/>
                    <a:pt x="475" y="8"/>
                    <a:pt x="314" y="1"/>
                  </a:cubicBezTo>
                  <a:cubicBezTo>
                    <a:pt x="308" y="1"/>
                    <a:pt x="302" y="1"/>
                    <a:pt x="29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09" name="Google Shape;6659;p41">
              <a:extLst>
                <a:ext uri="{FF2B5EF4-FFF2-40B4-BE49-F238E27FC236}">
                  <a16:creationId xmlns:a16="http://schemas.microsoft.com/office/drawing/2014/main" id="{B3AFFD5B-5790-424C-9B8C-EE00A80201B3}"/>
                </a:ext>
              </a:extLst>
            </p:cNvPr>
            <p:cNvSpPr/>
            <p:nvPr/>
          </p:nvSpPr>
          <p:spPr>
            <a:xfrm>
              <a:off x="5108800" y="2500075"/>
              <a:ext cx="26725" cy="43875"/>
            </a:xfrm>
            <a:custGeom>
              <a:avLst/>
              <a:gdLst/>
              <a:ahLst/>
              <a:cxnLst/>
              <a:rect l="l" t="t" r="r" b="b"/>
              <a:pathLst>
                <a:path w="1069" h="1755" extrusionOk="0">
                  <a:moveTo>
                    <a:pt x="242" y="0"/>
                  </a:moveTo>
                  <a:lnTo>
                    <a:pt x="0" y="1755"/>
                  </a:lnTo>
                  <a:lnTo>
                    <a:pt x="1068" y="1690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28F8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10" name="Google Shape;6660;p41">
              <a:extLst>
                <a:ext uri="{FF2B5EF4-FFF2-40B4-BE49-F238E27FC236}">
                  <a16:creationId xmlns:a16="http://schemas.microsoft.com/office/drawing/2014/main" id="{F83420D0-E65D-5746-B9AD-34BF2921FED5}"/>
                </a:ext>
              </a:extLst>
            </p:cNvPr>
            <p:cNvSpPr/>
            <p:nvPr/>
          </p:nvSpPr>
          <p:spPr>
            <a:xfrm>
              <a:off x="4531400" y="2785825"/>
              <a:ext cx="1194050" cy="689200"/>
            </a:xfrm>
            <a:custGeom>
              <a:avLst/>
              <a:gdLst/>
              <a:ahLst/>
              <a:cxnLst/>
              <a:rect l="l" t="t" r="r" b="b"/>
              <a:pathLst>
                <a:path w="47762" h="27568" extrusionOk="0">
                  <a:moveTo>
                    <a:pt x="31158" y="1"/>
                  </a:moveTo>
                  <a:lnTo>
                    <a:pt x="0" y="17984"/>
                  </a:lnTo>
                  <a:lnTo>
                    <a:pt x="16604" y="27568"/>
                  </a:lnTo>
                  <a:lnTo>
                    <a:pt x="47761" y="9588"/>
                  </a:lnTo>
                  <a:lnTo>
                    <a:pt x="31158" y="1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11" name="Google Shape;6661;p41">
              <a:extLst>
                <a:ext uri="{FF2B5EF4-FFF2-40B4-BE49-F238E27FC236}">
                  <a16:creationId xmlns:a16="http://schemas.microsoft.com/office/drawing/2014/main" id="{52608AFE-0054-F244-8761-6D7784A15D74}"/>
                </a:ext>
              </a:extLst>
            </p:cNvPr>
            <p:cNvSpPr/>
            <p:nvPr/>
          </p:nvSpPr>
          <p:spPr>
            <a:xfrm>
              <a:off x="4531400" y="3235400"/>
              <a:ext cx="415125" cy="718900"/>
            </a:xfrm>
            <a:custGeom>
              <a:avLst/>
              <a:gdLst/>
              <a:ahLst/>
              <a:cxnLst/>
              <a:rect l="l" t="t" r="r" b="b"/>
              <a:pathLst>
                <a:path w="16605" h="28756" extrusionOk="0">
                  <a:moveTo>
                    <a:pt x="0" y="1"/>
                  </a:moveTo>
                  <a:lnTo>
                    <a:pt x="0" y="19168"/>
                  </a:lnTo>
                  <a:lnTo>
                    <a:pt x="874" y="19673"/>
                  </a:lnTo>
                  <a:lnTo>
                    <a:pt x="874" y="6557"/>
                  </a:lnTo>
                  <a:lnTo>
                    <a:pt x="15731" y="15134"/>
                  </a:lnTo>
                  <a:lnTo>
                    <a:pt x="15731" y="28250"/>
                  </a:lnTo>
                  <a:lnTo>
                    <a:pt x="16604" y="28755"/>
                  </a:lnTo>
                  <a:lnTo>
                    <a:pt x="16604" y="958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12" name="Google Shape;6662;p41">
              <a:extLst>
                <a:ext uri="{FF2B5EF4-FFF2-40B4-BE49-F238E27FC236}">
                  <a16:creationId xmlns:a16="http://schemas.microsoft.com/office/drawing/2014/main" id="{01FB0CF5-09C8-A943-AC0E-A823DE1BA160}"/>
                </a:ext>
              </a:extLst>
            </p:cNvPr>
            <p:cNvSpPr/>
            <p:nvPr/>
          </p:nvSpPr>
          <p:spPr>
            <a:xfrm>
              <a:off x="4553250" y="3399325"/>
              <a:ext cx="21850" cy="327900"/>
            </a:xfrm>
            <a:custGeom>
              <a:avLst/>
              <a:gdLst/>
              <a:ahLst/>
              <a:cxnLst/>
              <a:rect l="l" t="t" r="r" b="b"/>
              <a:pathLst>
                <a:path w="874" h="13116" extrusionOk="0">
                  <a:moveTo>
                    <a:pt x="0" y="0"/>
                  </a:moveTo>
                  <a:lnTo>
                    <a:pt x="0" y="13116"/>
                  </a:lnTo>
                  <a:lnTo>
                    <a:pt x="873" y="12611"/>
                  </a:lnTo>
                  <a:lnTo>
                    <a:pt x="873" y="5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13" name="Google Shape;6663;p41">
              <a:extLst>
                <a:ext uri="{FF2B5EF4-FFF2-40B4-BE49-F238E27FC236}">
                  <a16:creationId xmlns:a16="http://schemas.microsoft.com/office/drawing/2014/main" id="{CE80AD75-EA66-B44A-B16E-196D884EDACB}"/>
                </a:ext>
              </a:extLst>
            </p:cNvPr>
            <p:cNvSpPr/>
            <p:nvPr/>
          </p:nvSpPr>
          <p:spPr>
            <a:xfrm>
              <a:off x="4946500" y="3025500"/>
              <a:ext cx="778950" cy="928800"/>
            </a:xfrm>
            <a:custGeom>
              <a:avLst/>
              <a:gdLst/>
              <a:ahLst/>
              <a:cxnLst/>
              <a:rect l="l" t="t" r="r" b="b"/>
              <a:pathLst>
                <a:path w="31158" h="37152" extrusionOk="0">
                  <a:moveTo>
                    <a:pt x="31157" y="1"/>
                  </a:moveTo>
                  <a:lnTo>
                    <a:pt x="0" y="17981"/>
                  </a:lnTo>
                  <a:lnTo>
                    <a:pt x="0" y="37151"/>
                  </a:lnTo>
                  <a:lnTo>
                    <a:pt x="874" y="36646"/>
                  </a:lnTo>
                  <a:lnTo>
                    <a:pt x="874" y="23530"/>
                  </a:lnTo>
                  <a:lnTo>
                    <a:pt x="30284" y="6557"/>
                  </a:lnTo>
                  <a:lnTo>
                    <a:pt x="30284" y="19673"/>
                  </a:lnTo>
                  <a:lnTo>
                    <a:pt x="31157" y="19168"/>
                  </a:lnTo>
                  <a:lnTo>
                    <a:pt x="31157" y="1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14" name="Google Shape;6664;p41">
              <a:extLst>
                <a:ext uri="{FF2B5EF4-FFF2-40B4-BE49-F238E27FC236}">
                  <a16:creationId xmlns:a16="http://schemas.microsoft.com/office/drawing/2014/main" id="{93D7EAFF-FD4D-584B-916A-B3A4362D1D5A}"/>
                </a:ext>
              </a:extLst>
            </p:cNvPr>
            <p:cNvSpPr/>
            <p:nvPr/>
          </p:nvSpPr>
          <p:spPr>
            <a:xfrm>
              <a:off x="5681750" y="3189425"/>
              <a:ext cx="21875" cy="327900"/>
            </a:xfrm>
            <a:custGeom>
              <a:avLst/>
              <a:gdLst/>
              <a:ahLst/>
              <a:cxnLst/>
              <a:rect l="l" t="t" r="r" b="b"/>
              <a:pathLst>
                <a:path w="875" h="13116" extrusionOk="0">
                  <a:moveTo>
                    <a:pt x="874" y="0"/>
                  </a:moveTo>
                  <a:lnTo>
                    <a:pt x="0" y="505"/>
                  </a:lnTo>
                  <a:lnTo>
                    <a:pt x="0" y="12611"/>
                  </a:lnTo>
                  <a:lnTo>
                    <a:pt x="874" y="13116"/>
                  </a:lnTo>
                  <a:lnTo>
                    <a:pt x="874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15" name="Google Shape;6665;p41">
              <a:extLst>
                <a:ext uri="{FF2B5EF4-FFF2-40B4-BE49-F238E27FC236}">
                  <a16:creationId xmlns:a16="http://schemas.microsoft.com/office/drawing/2014/main" id="{10B0BBB1-F977-C442-8FBD-30F4B678C84B}"/>
                </a:ext>
              </a:extLst>
            </p:cNvPr>
            <p:cNvSpPr/>
            <p:nvPr/>
          </p:nvSpPr>
          <p:spPr>
            <a:xfrm>
              <a:off x="4644175" y="3115625"/>
              <a:ext cx="301675" cy="173450"/>
            </a:xfrm>
            <a:custGeom>
              <a:avLst/>
              <a:gdLst/>
              <a:ahLst/>
              <a:cxnLst/>
              <a:rect l="l" t="t" r="r" b="b"/>
              <a:pathLst>
                <a:path w="12067" h="6938" extrusionOk="0">
                  <a:moveTo>
                    <a:pt x="6908" y="1"/>
                  </a:moveTo>
                  <a:cubicBezTo>
                    <a:pt x="6840" y="1"/>
                    <a:pt x="6773" y="15"/>
                    <a:pt x="6722" y="44"/>
                  </a:cubicBezTo>
                  <a:lnTo>
                    <a:pt x="103" y="3867"/>
                  </a:lnTo>
                  <a:cubicBezTo>
                    <a:pt x="1" y="3924"/>
                    <a:pt x="1" y="4020"/>
                    <a:pt x="103" y="4082"/>
                  </a:cubicBezTo>
                  <a:lnTo>
                    <a:pt x="4974" y="6894"/>
                  </a:lnTo>
                  <a:cubicBezTo>
                    <a:pt x="5025" y="6923"/>
                    <a:pt x="5092" y="6937"/>
                    <a:pt x="5160" y="6937"/>
                  </a:cubicBezTo>
                  <a:cubicBezTo>
                    <a:pt x="5227" y="6937"/>
                    <a:pt x="5294" y="6923"/>
                    <a:pt x="5346" y="6894"/>
                  </a:cubicBezTo>
                  <a:lnTo>
                    <a:pt x="11964" y="3072"/>
                  </a:lnTo>
                  <a:cubicBezTo>
                    <a:pt x="12066" y="3014"/>
                    <a:pt x="12066" y="2918"/>
                    <a:pt x="11964" y="2856"/>
                  </a:cubicBezTo>
                  <a:lnTo>
                    <a:pt x="7094" y="44"/>
                  </a:lnTo>
                  <a:cubicBezTo>
                    <a:pt x="7042" y="15"/>
                    <a:pt x="6975" y="1"/>
                    <a:pt x="6908" y="1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16" name="Google Shape;6666;p41">
              <a:extLst>
                <a:ext uri="{FF2B5EF4-FFF2-40B4-BE49-F238E27FC236}">
                  <a16:creationId xmlns:a16="http://schemas.microsoft.com/office/drawing/2014/main" id="{9F61FC10-F4DA-764A-9B19-97303BBD2383}"/>
                </a:ext>
              </a:extLst>
            </p:cNvPr>
            <p:cNvSpPr/>
            <p:nvPr/>
          </p:nvSpPr>
          <p:spPr>
            <a:xfrm>
              <a:off x="4652900" y="3115625"/>
              <a:ext cx="284250" cy="161000"/>
            </a:xfrm>
            <a:custGeom>
              <a:avLst/>
              <a:gdLst/>
              <a:ahLst/>
              <a:cxnLst/>
              <a:rect l="l" t="t" r="r" b="b"/>
              <a:pathLst>
                <a:path w="11370" h="6440" extrusionOk="0">
                  <a:moveTo>
                    <a:pt x="6559" y="1"/>
                  </a:moveTo>
                  <a:cubicBezTo>
                    <a:pt x="6491" y="1"/>
                    <a:pt x="6424" y="15"/>
                    <a:pt x="6373" y="44"/>
                  </a:cubicBezTo>
                  <a:lnTo>
                    <a:pt x="0" y="3724"/>
                  </a:lnTo>
                  <a:lnTo>
                    <a:pt x="4625" y="6396"/>
                  </a:lnTo>
                  <a:cubicBezTo>
                    <a:pt x="4676" y="6425"/>
                    <a:pt x="4743" y="6439"/>
                    <a:pt x="4811" y="6439"/>
                  </a:cubicBezTo>
                  <a:cubicBezTo>
                    <a:pt x="4878" y="6439"/>
                    <a:pt x="4945" y="6425"/>
                    <a:pt x="4997" y="6396"/>
                  </a:cubicBezTo>
                  <a:lnTo>
                    <a:pt x="11369" y="2716"/>
                  </a:lnTo>
                  <a:lnTo>
                    <a:pt x="6745" y="44"/>
                  </a:lnTo>
                  <a:cubicBezTo>
                    <a:pt x="6693" y="15"/>
                    <a:pt x="6626" y="1"/>
                    <a:pt x="6559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17" name="Google Shape;6667;p41">
              <a:extLst>
                <a:ext uri="{FF2B5EF4-FFF2-40B4-BE49-F238E27FC236}">
                  <a16:creationId xmlns:a16="http://schemas.microsoft.com/office/drawing/2014/main" id="{6C8385EE-1FD8-BA4F-89D5-0392596773BC}"/>
                </a:ext>
              </a:extLst>
            </p:cNvPr>
            <p:cNvSpPr/>
            <p:nvPr/>
          </p:nvSpPr>
          <p:spPr>
            <a:xfrm>
              <a:off x="4644175" y="3098825"/>
              <a:ext cx="301675" cy="173425"/>
            </a:xfrm>
            <a:custGeom>
              <a:avLst/>
              <a:gdLst/>
              <a:ahLst/>
              <a:cxnLst/>
              <a:rect l="l" t="t" r="r" b="b"/>
              <a:pathLst>
                <a:path w="12067" h="6937" extrusionOk="0">
                  <a:moveTo>
                    <a:pt x="6908" y="0"/>
                  </a:moveTo>
                  <a:cubicBezTo>
                    <a:pt x="6840" y="0"/>
                    <a:pt x="6773" y="15"/>
                    <a:pt x="6722" y="44"/>
                  </a:cubicBezTo>
                  <a:lnTo>
                    <a:pt x="103" y="3867"/>
                  </a:lnTo>
                  <a:cubicBezTo>
                    <a:pt x="1" y="3925"/>
                    <a:pt x="1" y="4020"/>
                    <a:pt x="103" y="4081"/>
                  </a:cubicBezTo>
                  <a:lnTo>
                    <a:pt x="4974" y="6894"/>
                  </a:lnTo>
                  <a:cubicBezTo>
                    <a:pt x="5025" y="6923"/>
                    <a:pt x="5092" y="6937"/>
                    <a:pt x="5160" y="6937"/>
                  </a:cubicBezTo>
                  <a:cubicBezTo>
                    <a:pt x="5227" y="6937"/>
                    <a:pt x="5294" y="6923"/>
                    <a:pt x="5346" y="6894"/>
                  </a:cubicBezTo>
                  <a:lnTo>
                    <a:pt x="11964" y="3071"/>
                  </a:lnTo>
                  <a:cubicBezTo>
                    <a:pt x="12066" y="3013"/>
                    <a:pt x="12066" y="2917"/>
                    <a:pt x="11964" y="2856"/>
                  </a:cubicBezTo>
                  <a:lnTo>
                    <a:pt x="7094" y="44"/>
                  </a:lnTo>
                  <a:cubicBezTo>
                    <a:pt x="7042" y="15"/>
                    <a:pt x="6975" y="0"/>
                    <a:pt x="6908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18" name="Google Shape;6668;p41">
              <a:extLst>
                <a:ext uri="{FF2B5EF4-FFF2-40B4-BE49-F238E27FC236}">
                  <a16:creationId xmlns:a16="http://schemas.microsoft.com/office/drawing/2014/main" id="{8326E892-13F1-A74C-89CB-BD81A85C7E73}"/>
                </a:ext>
              </a:extLst>
            </p:cNvPr>
            <p:cNvSpPr/>
            <p:nvPr/>
          </p:nvSpPr>
          <p:spPr>
            <a:xfrm>
              <a:off x="5079175" y="2837825"/>
              <a:ext cx="349525" cy="211325"/>
            </a:xfrm>
            <a:custGeom>
              <a:avLst/>
              <a:gdLst/>
              <a:ahLst/>
              <a:cxnLst/>
              <a:rect l="l" t="t" r="r" b="b"/>
              <a:pathLst>
                <a:path w="13981" h="8453" extrusionOk="0">
                  <a:moveTo>
                    <a:pt x="11361" y="0"/>
                  </a:moveTo>
                  <a:cubicBezTo>
                    <a:pt x="11294" y="0"/>
                    <a:pt x="11226" y="16"/>
                    <a:pt x="11175" y="47"/>
                  </a:cubicBezTo>
                  <a:lnTo>
                    <a:pt x="185" y="6388"/>
                  </a:lnTo>
                  <a:cubicBezTo>
                    <a:pt x="82" y="6450"/>
                    <a:pt x="1" y="6593"/>
                    <a:pt x="1" y="6713"/>
                  </a:cubicBezTo>
                  <a:lnTo>
                    <a:pt x="1" y="6788"/>
                  </a:lnTo>
                  <a:cubicBezTo>
                    <a:pt x="1" y="6903"/>
                    <a:pt x="82" y="7050"/>
                    <a:pt x="185" y="7108"/>
                  </a:cubicBezTo>
                  <a:lnTo>
                    <a:pt x="2434" y="8409"/>
                  </a:lnTo>
                  <a:cubicBezTo>
                    <a:pt x="2485" y="8438"/>
                    <a:pt x="2553" y="8453"/>
                    <a:pt x="2620" y="8453"/>
                  </a:cubicBezTo>
                  <a:cubicBezTo>
                    <a:pt x="2687" y="8453"/>
                    <a:pt x="2755" y="8438"/>
                    <a:pt x="2806" y="8409"/>
                  </a:cubicBezTo>
                  <a:lnTo>
                    <a:pt x="13796" y="2064"/>
                  </a:lnTo>
                  <a:cubicBezTo>
                    <a:pt x="13899" y="2006"/>
                    <a:pt x="13980" y="1859"/>
                    <a:pt x="13980" y="1743"/>
                  </a:cubicBezTo>
                  <a:lnTo>
                    <a:pt x="13980" y="1668"/>
                  </a:lnTo>
                  <a:cubicBezTo>
                    <a:pt x="13980" y="1549"/>
                    <a:pt x="13899" y="1405"/>
                    <a:pt x="13796" y="1344"/>
                  </a:cubicBezTo>
                  <a:lnTo>
                    <a:pt x="11547" y="47"/>
                  </a:lnTo>
                  <a:cubicBezTo>
                    <a:pt x="11496" y="16"/>
                    <a:pt x="11428" y="0"/>
                    <a:pt x="1136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19" name="Google Shape;6669;p41">
              <a:extLst>
                <a:ext uri="{FF2B5EF4-FFF2-40B4-BE49-F238E27FC236}">
                  <a16:creationId xmlns:a16="http://schemas.microsoft.com/office/drawing/2014/main" id="{E6866657-BF6C-7B47-91DF-BA97BF1273DC}"/>
                </a:ext>
              </a:extLst>
            </p:cNvPr>
            <p:cNvSpPr/>
            <p:nvPr/>
          </p:nvSpPr>
          <p:spPr>
            <a:xfrm>
              <a:off x="5081225" y="2837825"/>
              <a:ext cx="345425" cy="198700"/>
            </a:xfrm>
            <a:custGeom>
              <a:avLst/>
              <a:gdLst/>
              <a:ahLst/>
              <a:cxnLst/>
              <a:rect l="l" t="t" r="r" b="b"/>
              <a:pathLst>
                <a:path w="13817" h="7948" extrusionOk="0">
                  <a:moveTo>
                    <a:pt x="11279" y="0"/>
                  </a:moveTo>
                  <a:cubicBezTo>
                    <a:pt x="11212" y="0"/>
                    <a:pt x="11144" y="16"/>
                    <a:pt x="11093" y="47"/>
                  </a:cubicBezTo>
                  <a:lnTo>
                    <a:pt x="103" y="6388"/>
                  </a:lnTo>
                  <a:cubicBezTo>
                    <a:pt x="0" y="6450"/>
                    <a:pt x="0" y="6545"/>
                    <a:pt x="103" y="6604"/>
                  </a:cubicBezTo>
                  <a:lnTo>
                    <a:pt x="2352" y="7903"/>
                  </a:lnTo>
                  <a:cubicBezTo>
                    <a:pt x="2403" y="7933"/>
                    <a:pt x="2471" y="7947"/>
                    <a:pt x="2538" y="7947"/>
                  </a:cubicBezTo>
                  <a:cubicBezTo>
                    <a:pt x="2605" y="7947"/>
                    <a:pt x="2673" y="7933"/>
                    <a:pt x="2724" y="7903"/>
                  </a:cubicBezTo>
                  <a:lnTo>
                    <a:pt x="13714" y="1559"/>
                  </a:lnTo>
                  <a:cubicBezTo>
                    <a:pt x="13817" y="1500"/>
                    <a:pt x="13817" y="1405"/>
                    <a:pt x="13714" y="1344"/>
                  </a:cubicBezTo>
                  <a:lnTo>
                    <a:pt x="11465" y="47"/>
                  </a:lnTo>
                  <a:cubicBezTo>
                    <a:pt x="11414" y="16"/>
                    <a:pt x="11346" y="0"/>
                    <a:pt x="11279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20" name="Google Shape;6670;p41">
              <a:extLst>
                <a:ext uri="{FF2B5EF4-FFF2-40B4-BE49-F238E27FC236}">
                  <a16:creationId xmlns:a16="http://schemas.microsoft.com/office/drawing/2014/main" id="{96EECB15-A472-1F49-8425-2F3CCCBD78B8}"/>
                </a:ext>
              </a:extLst>
            </p:cNvPr>
            <p:cNvSpPr/>
            <p:nvPr/>
          </p:nvSpPr>
          <p:spPr>
            <a:xfrm>
              <a:off x="5166550" y="2785650"/>
              <a:ext cx="191925" cy="121250"/>
            </a:xfrm>
            <a:custGeom>
              <a:avLst/>
              <a:gdLst/>
              <a:ahLst/>
              <a:cxnLst/>
              <a:rect l="l" t="t" r="r" b="b"/>
              <a:pathLst>
                <a:path w="7677" h="4850" extrusionOk="0">
                  <a:moveTo>
                    <a:pt x="779" y="1"/>
                  </a:moveTo>
                  <a:lnTo>
                    <a:pt x="1" y="2240"/>
                  </a:lnTo>
                  <a:cubicBezTo>
                    <a:pt x="1165" y="2577"/>
                    <a:pt x="2328" y="2878"/>
                    <a:pt x="2864" y="3021"/>
                  </a:cubicBezTo>
                  <a:cubicBezTo>
                    <a:pt x="3318" y="3195"/>
                    <a:pt x="3301" y="3329"/>
                    <a:pt x="3673" y="3540"/>
                  </a:cubicBezTo>
                  <a:cubicBezTo>
                    <a:pt x="4162" y="3817"/>
                    <a:pt x="4527" y="3857"/>
                    <a:pt x="4697" y="3857"/>
                  </a:cubicBezTo>
                  <a:cubicBezTo>
                    <a:pt x="4766" y="3857"/>
                    <a:pt x="4802" y="3850"/>
                    <a:pt x="4802" y="3850"/>
                  </a:cubicBezTo>
                  <a:cubicBezTo>
                    <a:pt x="4802" y="3850"/>
                    <a:pt x="5141" y="4171"/>
                    <a:pt x="5451" y="4386"/>
                  </a:cubicBezTo>
                  <a:cubicBezTo>
                    <a:pt x="5822" y="4642"/>
                    <a:pt x="6194" y="4850"/>
                    <a:pt x="6615" y="4850"/>
                  </a:cubicBezTo>
                  <a:cubicBezTo>
                    <a:pt x="6746" y="4850"/>
                    <a:pt x="6880" y="4830"/>
                    <a:pt x="7021" y="4786"/>
                  </a:cubicBezTo>
                  <a:cubicBezTo>
                    <a:pt x="7677" y="4581"/>
                    <a:pt x="7216" y="3932"/>
                    <a:pt x="7021" y="3612"/>
                  </a:cubicBezTo>
                  <a:cubicBezTo>
                    <a:pt x="6830" y="3294"/>
                    <a:pt x="5776" y="2359"/>
                    <a:pt x="5567" y="2168"/>
                  </a:cubicBezTo>
                  <a:cubicBezTo>
                    <a:pt x="5359" y="1977"/>
                    <a:pt x="4465" y="1844"/>
                    <a:pt x="3679" y="1598"/>
                  </a:cubicBezTo>
                  <a:cubicBezTo>
                    <a:pt x="2963" y="1267"/>
                    <a:pt x="2021" y="741"/>
                    <a:pt x="779" y="1"/>
                  </a:cubicBezTo>
                  <a:close/>
                </a:path>
              </a:pathLst>
            </a:custGeom>
            <a:solidFill>
              <a:srgbClr val="FFA8A7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21" name="Google Shape;6671;p41">
              <a:extLst>
                <a:ext uri="{FF2B5EF4-FFF2-40B4-BE49-F238E27FC236}">
                  <a16:creationId xmlns:a16="http://schemas.microsoft.com/office/drawing/2014/main" id="{BA3168F5-E579-DF47-9A22-9F625BD24C48}"/>
                </a:ext>
              </a:extLst>
            </p:cNvPr>
            <p:cNvSpPr/>
            <p:nvPr/>
          </p:nvSpPr>
          <p:spPr>
            <a:xfrm>
              <a:off x="5188050" y="3165875"/>
              <a:ext cx="110100" cy="80200"/>
            </a:xfrm>
            <a:custGeom>
              <a:avLst/>
              <a:gdLst/>
              <a:ahLst/>
              <a:cxnLst/>
              <a:rect l="l" t="t" r="r" b="b"/>
              <a:pathLst>
                <a:path w="4404" h="3208" extrusionOk="0">
                  <a:moveTo>
                    <a:pt x="622" y="0"/>
                  </a:moveTo>
                  <a:cubicBezTo>
                    <a:pt x="1" y="515"/>
                    <a:pt x="373" y="2136"/>
                    <a:pt x="1011" y="2788"/>
                  </a:cubicBezTo>
                  <a:cubicBezTo>
                    <a:pt x="1017" y="2795"/>
                    <a:pt x="1021" y="2802"/>
                    <a:pt x="1028" y="2806"/>
                  </a:cubicBezTo>
                  <a:cubicBezTo>
                    <a:pt x="1035" y="2812"/>
                    <a:pt x="1042" y="2823"/>
                    <a:pt x="1048" y="2829"/>
                  </a:cubicBezTo>
                  <a:cubicBezTo>
                    <a:pt x="1069" y="2847"/>
                    <a:pt x="1086" y="2864"/>
                    <a:pt x="1107" y="2881"/>
                  </a:cubicBezTo>
                  <a:cubicBezTo>
                    <a:pt x="1113" y="2884"/>
                    <a:pt x="1116" y="2887"/>
                    <a:pt x="1124" y="2891"/>
                  </a:cubicBezTo>
                  <a:cubicBezTo>
                    <a:pt x="1137" y="2905"/>
                    <a:pt x="1154" y="2915"/>
                    <a:pt x="1171" y="2928"/>
                  </a:cubicBezTo>
                  <a:cubicBezTo>
                    <a:pt x="1198" y="2946"/>
                    <a:pt x="1226" y="2966"/>
                    <a:pt x="1253" y="2979"/>
                  </a:cubicBezTo>
                  <a:cubicBezTo>
                    <a:pt x="1516" y="3131"/>
                    <a:pt x="1860" y="3207"/>
                    <a:pt x="2203" y="3207"/>
                  </a:cubicBezTo>
                  <a:cubicBezTo>
                    <a:pt x="2547" y="3207"/>
                    <a:pt x="2890" y="3131"/>
                    <a:pt x="3151" y="2979"/>
                  </a:cubicBezTo>
                  <a:cubicBezTo>
                    <a:pt x="3178" y="2966"/>
                    <a:pt x="3205" y="2946"/>
                    <a:pt x="3233" y="2928"/>
                  </a:cubicBezTo>
                  <a:cubicBezTo>
                    <a:pt x="3249" y="2915"/>
                    <a:pt x="3263" y="2905"/>
                    <a:pt x="3277" y="2894"/>
                  </a:cubicBezTo>
                  <a:cubicBezTo>
                    <a:pt x="3284" y="2887"/>
                    <a:pt x="3290" y="2884"/>
                    <a:pt x="3298" y="2877"/>
                  </a:cubicBezTo>
                  <a:cubicBezTo>
                    <a:pt x="3318" y="2864"/>
                    <a:pt x="3335" y="2847"/>
                    <a:pt x="3352" y="2829"/>
                  </a:cubicBezTo>
                  <a:cubicBezTo>
                    <a:pt x="3362" y="2823"/>
                    <a:pt x="3369" y="2812"/>
                    <a:pt x="3380" y="2806"/>
                  </a:cubicBezTo>
                  <a:cubicBezTo>
                    <a:pt x="3383" y="2799"/>
                    <a:pt x="3389" y="2795"/>
                    <a:pt x="3393" y="2788"/>
                  </a:cubicBezTo>
                  <a:cubicBezTo>
                    <a:pt x="4032" y="2140"/>
                    <a:pt x="4404" y="515"/>
                    <a:pt x="3782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22" name="Google Shape;6672;p41">
              <a:extLst>
                <a:ext uri="{FF2B5EF4-FFF2-40B4-BE49-F238E27FC236}">
                  <a16:creationId xmlns:a16="http://schemas.microsoft.com/office/drawing/2014/main" id="{D88A4177-20DD-CC42-A69A-DEFE80F2F59D}"/>
                </a:ext>
              </a:extLst>
            </p:cNvPr>
            <p:cNvSpPr/>
            <p:nvPr/>
          </p:nvSpPr>
          <p:spPr>
            <a:xfrm>
              <a:off x="5192400" y="3152850"/>
              <a:ext cx="101400" cy="53350"/>
            </a:xfrm>
            <a:custGeom>
              <a:avLst/>
              <a:gdLst/>
              <a:ahLst/>
              <a:cxnLst/>
              <a:rect l="l" t="t" r="r" b="b"/>
              <a:pathLst>
                <a:path w="4056" h="2134" extrusionOk="0">
                  <a:moveTo>
                    <a:pt x="2028" y="0"/>
                  </a:moveTo>
                  <a:cubicBezTo>
                    <a:pt x="1555" y="0"/>
                    <a:pt x="1083" y="105"/>
                    <a:pt x="720" y="313"/>
                  </a:cubicBezTo>
                  <a:cubicBezTo>
                    <a:pt x="0" y="729"/>
                    <a:pt x="0" y="1405"/>
                    <a:pt x="720" y="1821"/>
                  </a:cubicBezTo>
                  <a:cubicBezTo>
                    <a:pt x="1083" y="2030"/>
                    <a:pt x="1555" y="2134"/>
                    <a:pt x="2028" y="2134"/>
                  </a:cubicBezTo>
                  <a:cubicBezTo>
                    <a:pt x="2501" y="2134"/>
                    <a:pt x="2973" y="2030"/>
                    <a:pt x="3335" y="1821"/>
                  </a:cubicBezTo>
                  <a:cubicBezTo>
                    <a:pt x="4055" y="1405"/>
                    <a:pt x="4055" y="729"/>
                    <a:pt x="3335" y="313"/>
                  </a:cubicBezTo>
                  <a:cubicBezTo>
                    <a:pt x="2973" y="105"/>
                    <a:pt x="2501" y="0"/>
                    <a:pt x="2028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23" name="Google Shape;6673;p41">
              <a:extLst>
                <a:ext uri="{FF2B5EF4-FFF2-40B4-BE49-F238E27FC236}">
                  <a16:creationId xmlns:a16="http://schemas.microsoft.com/office/drawing/2014/main" id="{E4FC3BAE-25C9-9C4A-AE8C-83D63AE1AD58}"/>
                </a:ext>
              </a:extLst>
            </p:cNvPr>
            <p:cNvSpPr/>
            <p:nvPr/>
          </p:nvSpPr>
          <p:spPr>
            <a:xfrm>
              <a:off x="5212275" y="3163350"/>
              <a:ext cx="61625" cy="32450"/>
            </a:xfrm>
            <a:custGeom>
              <a:avLst/>
              <a:gdLst/>
              <a:ahLst/>
              <a:cxnLst/>
              <a:rect l="l" t="t" r="r" b="b"/>
              <a:pathLst>
                <a:path w="2465" h="1298" extrusionOk="0">
                  <a:moveTo>
                    <a:pt x="1233" y="0"/>
                  </a:moveTo>
                  <a:cubicBezTo>
                    <a:pt x="945" y="0"/>
                    <a:pt x="658" y="63"/>
                    <a:pt x="437" y="190"/>
                  </a:cubicBezTo>
                  <a:cubicBezTo>
                    <a:pt x="1" y="443"/>
                    <a:pt x="1" y="852"/>
                    <a:pt x="437" y="1108"/>
                  </a:cubicBezTo>
                  <a:cubicBezTo>
                    <a:pt x="658" y="1234"/>
                    <a:pt x="945" y="1297"/>
                    <a:pt x="1233" y="1297"/>
                  </a:cubicBezTo>
                  <a:cubicBezTo>
                    <a:pt x="1521" y="1297"/>
                    <a:pt x="1808" y="1234"/>
                    <a:pt x="2028" y="1108"/>
                  </a:cubicBezTo>
                  <a:cubicBezTo>
                    <a:pt x="2465" y="852"/>
                    <a:pt x="2465" y="443"/>
                    <a:pt x="2028" y="190"/>
                  </a:cubicBezTo>
                  <a:cubicBezTo>
                    <a:pt x="1808" y="63"/>
                    <a:pt x="1521" y="0"/>
                    <a:pt x="1233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24" name="Google Shape;6674;p41">
              <a:extLst>
                <a:ext uri="{FF2B5EF4-FFF2-40B4-BE49-F238E27FC236}">
                  <a16:creationId xmlns:a16="http://schemas.microsoft.com/office/drawing/2014/main" id="{CD47B5DC-6663-7240-907B-305FA62E5AC8}"/>
                </a:ext>
              </a:extLst>
            </p:cNvPr>
            <p:cNvSpPr/>
            <p:nvPr/>
          </p:nvSpPr>
          <p:spPr>
            <a:xfrm>
              <a:off x="5216650" y="3174175"/>
              <a:ext cx="52925" cy="21625"/>
            </a:xfrm>
            <a:custGeom>
              <a:avLst/>
              <a:gdLst/>
              <a:ahLst/>
              <a:cxnLst/>
              <a:rect l="l" t="t" r="r" b="b"/>
              <a:pathLst>
                <a:path w="2117" h="865" extrusionOk="0">
                  <a:moveTo>
                    <a:pt x="1058" y="1"/>
                  </a:moveTo>
                  <a:cubicBezTo>
                    <a:pt x="770" y="1"/>
                    <a:pt x="483" y="64"/>
                    <a:pt x="262" y="190"/>
                  </a:cubicBezTo>
                  <a:cubicBezTo>
                    <a:pt x="140" y="262"/>
                    <a:pt x="54" y="344"/>
                    <a:pt x="0" y="432"/>
                  </a:cubicBezTo>
                  <a:cubicBezTo>
                    <a:pt x="54" y="522"/>
                    <a:pt x="140" y="604"/>
                    <a:pt x="262" y="675"/>
                  </a:cubicBezTo>
                  <a:cubicBezTo>
                    <a:pt x="483" y="801"/>
                    <a:pt x="770" y="864"/>
                    <a:pt x="1058" y="864"/>
                  </a:cubicBezTo>
                  <a:cubicBezTo>
                    <a:pt x="1346" y="864"/>
                    <a:pt x="1633" y="801"/>
                    <a:pt x="1853" y="675"/>
                  </a:cubicBezTo>
                  <a:cubicBezTo>
                    <a:pt x="1976" y="604"/>
                    <a:pt x="2061" y="522"/>
                    <a:pt x="2116" y="432"/>
                  </a:cubicBezTo>
                  <a:cubicBezTo>
                    <a:pt x="2061" y="344"/>
                    <a:pt x="1976" y="262"/>
                    <a:pt x="1853" y="190"/>
                  </a:cubicBezTo>
                  <a:cubicBezTo>
                    <a:pt x="1633" y="64"/>
                    <a:pt x="1346" y="1"/>
                    <a:pt x="1058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25" name="Google Shape;6675;p41">
              <a:extLst>
                <a:ext uri="{FF2B5EF4-FFF2-40B4-BE49-F238E27FC236}">
                  <a16:creationId xmlns:a16="http://schemas.microsoft.com/office/drawing/2014/main" id="{A2D5A567-AB3B-1644-8FFC-1795FBAF38C0}"/>
                </a:ext>
              </a:extLst>
            </p:cNvPr>
            <p:cNvSpPr/>
            <p:nvPr/>
          </p:nvSpPr>
          <p:spPr>
            <a:xfrm>
              <a:off x="5203425" y="3108175"/>
              <a:ext cx="83975" cy="80500"/>
            </a:xfrm>
            <a:custGeom>
              <a:avLst/>
              <a:gdLst/>
              <a:ahLst/>
              <a:cxnLst/>
              <a:rect l="l" t="t" r="r" b="b"/>
              <a:pathLst>
                <a:path w="3359" h="3220" extrusionOk="0">
                  <a:moveTo>
                    <a:pt x="1047" y="0"/>
                  </a:moveTo>
                  <a:cubicBezTo>
                    <a:pt x="1037" y="0"/>
                    <a:pt x="1029" y="3"/>
                    <a:pt x="1021" y="8"/>
                  </a:cubicBezTo>
                  <a:cubicBezTo>
                    <a:pt x="901" y="83"/>
                    <a:pt x="799" y="462"/>
                    <a:pt x="775" y="881"/>
                  </a:cubicBezTo>
                  <a:cubicBezTo>
                    <a:pt x="750" y="1298"/>
                    <a:pt x="832" y="1683"/>
                    <a:pt x="832" y="1683"/>
                  </a:cubicBezTo>
                  <a:cubicBezTo>
                    <a:pt x="832" y="1683"/>
                    <a:pt x="337" y="1127"/>
                    <a:pt x="165" y="1127"/>
                  </a:cubicBezTo>
                  <a:cubicBezTo>
                    <a:pt x="154" y="1127"/>
                    <a:pt x="144" y="1130"/>
                    <a:pt x="136" y="1134"/>
                  </a:cubicBezTo>
                  <a:cubicBezTo>
                    <a:pt x="0" y="1209"/>
                    <a:pt x="48" y="1840"/>
                    <a:pt x="314" y="2308"/>
                  </a:cubicBezTo>
                  <a:cubicBezTo>
                    <a:pt x="580" y="2779"/>
                    <a:pt x="891" y="3072"/>
                    <a:pt x="891" y="3072"/>
                  </a:cubicBezTo>
                  <a:cubicBezTo>
                    <a:pt x="1183" y="3183"/>
                    <a:pt x="1435" y="3219"/>
                    <a:pt x="1641" y="3219"/>
                  </a:cubicBezTo>
                  <a:cubicBezTo>
                    <a:pt x="2054" y="3219"/>
                    <a:pt x="2283" y="3072"/>
                    <a:pt x="2283" y="3072"/>
                  </a:cubicBezTo>
                  <a:cubicBezTo>
                    <a:pt x="2283" y="3072"/>
                    <a:pt x="2659" y="2741"/>
                    <a:pt x="2987" y="2148"/>
                  </a:cubicBezTo>
                  <a:cubicBezTo>
                    <a:pt x="3359" y="1475"/>
                    <a:pt x="3338" y="1117"/>
                    <a:pt x="3269" y="1073"/>
                  </a:cubicBezTo>
                  <a:cubicBezTo>
                    <a:pt x="3253" y="1062"/>
                    <a:pt x="3234" y="1056"/>
                    <a:pt x="3213" y="1056"/>
                  </a:cubicBezTo>
                  <a:cubicBezTo>
                    <a:pt x="3144" y="1056"/>
                    <a:pt x="3041" y="1117"/>
                    <a:pt x="2860" y="1291"/>
                  </a:cubicBezTo>
                  <a:cubicBezTo>
                    <a:pt x="2639" y="1503"/>
                    <a:pt x="2444" y="1718"/>
                    <a:pt x="2444" y="1718"/>
                  </a:cubicBezTo>
                  <a:cubicBezTo>
                    <a:pt x="2444" y="1718"/>
                    <a:pt x="2488" y="1332"/>
                    <a:pt x="2467" y="960"/>
                  </a:cubicBezTo>
                  <a:cubicBezTo>
                    <a:pt x="2437" y="434"/>
                    <a:pt x="2372" y="246"/>
                    <a:pt x="2276" y="209"/>
                  </a:cubicBezTo>
                  <a:cubicBezTo>
                    <a:pt x="2263" y="203"/>
                    <a:pt x="2248" y="200"/>
                    <a:pt x="2233" y="200"/>
                  </a:cubicBezTo>
                  <a:cubicBezTo>
                    <a:pt x="2142" y="200"/>
                    <a:pt x="2031" y="316"/>
                    <a:pt x="1911" y="656"/>
                  </a:cubicBezTo>
                  <a:cubicBezTo>
                    <a:pt x="1785" y="1018"/>
                    <a:pt x="1706" y="1536"/>
                    <a:pt x="1706" y="1536"/>
                  </a:cubicBezTo>
                  <a:cubicBezTo>
                    <a:pt x="1706" y="1536"/>
                    <a:pt x="1638" y="1223"/>
                    <a:pt x="1522" y="840"/>
                  </a:cubicBezTo>
                  <a:cubicBezTo>
                    <a:pt x="1414" y="484"/>
                    <a:pt x="1175" y="0"/>
                    <a:pt x="1047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26" name="Google Shape;6676;p41">
              <a:extLst>
                <a:ext uri="{FF2B5EF4-FFF2-40B4-BE49-F238E27FC236}">
                  <a16:creationId xmlns:a16="http://schemas.microsoft.com/office/drawing/2014/main" id="{2A2D141F-B76D-E24B-84C2-098DA75EE9DD}"/>
                </a:ext>
              </a:extLst>
            </p:cNvPr>
            <p:cNvSpPr/>
            <p:nvPr/>
          </p:nvSpPr>
          <p:spPr>
            <a:xfrm>
              <a:off x="4806825" y="3201375"/>
              <a:ext cx="357875" cy="206575"/>
            </a:xfrm>
            <a:custGeom>
              <a:avLst/>
              <a:gdLst/>
              <a:ahLst/>
              <a:cxnLst/>
              <a:rect l="l" t="t" r="r" b="b"/>
              <a:pathLst>
                <a:path w="14315" h="8263" extrusionOk="0">
                  <a:moveTo>
                    <a:pt x="6784" y="0"/>
                  </a:moveTo>
                  <a:cubicBezTo>
                    <a:pt x="6722" y="0"/>
                    <a:pt x="6661" y="14"/>
                    <a:pt x="6615" y="41"/>
                  </a:cubicBezTo>
                  <a:lnTo>
                    <a:pt x="0" y="3860"/>
                  </a:lnTo>
                  <a:lnTo>
                    <a:pt x="7632" y="8263"/>
                  </a:lnTo>
                  <a:lnTo>
                    <a:pt x="14246" y="4447"/>
                  </a:lnTo>
                  <a:cubicBezTo>
                    <a:pt x="14291" y="4420"/>
                    <a:pt x="14314" y="4382"/>
                    <a:pt x="14314" y="4348"/>
                  </a:cubicBezTo>
                  <a:lnTo>
                    <a:pt x="14314" y="4194"/>
                  </a:lnTo>
                  <a:lnTo>
                    <a:pt x="6956" y="41"/>
                  </a:lnTo>
                  <a:cubicBezTo>
                    <a:pt x="6908" y="14"/>
                    <a:pt x="6846" y="0"/>
                    <a:pt x="6784" y="0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27" name="Google Shape;6677;p41">
              <a:extLst>
                <a:ext uri="{FF2B5EF4-FFF2-40B4-BE49-F238E27FC236}">
                  <a16:creationId xmlns:a16="http://schemas.microsoft.com/office/drawing/2014/main" id="{E48CD10F-E97F-054F-8F98-4A4FD379F41F}"/>
                </a:ext>
              </a:extLst>
            </p:cNvPr>
            <p:cNvSpPr/>
            <p:nvPr/>
          </p:nvSpPr>
          <p:spPr>
            <a:xfrm>
              <a:off x="5000175" y="3306300"/>
              <a:ext cx="164525" cy="100200"/>
            </a:xfrm>
            <a:custGeom>
              <a:avLst/>
              <a:gdLst/>
              <a:ahLst/>
              <a:cxnLst/>
              <a:rect l="l" t="t" r="r" b="b"/>
              <a:pathLst>
                <a:path w="6581" h="4008" extrusionOk="0">
                  <a:moveTo>
                    <a:pt x="6580" y="1"/>
                  </a:moveTo>
                  <a:cubicBezTo>
                    <a:pt x="6580" y="38"/>
                    <a:pt x="6557" y="73"/>
                    <a:pt x="6512" y="100"/>
                  </a:cubicBezTo>
                  <a:lnTo>
                    <a:pt x="0" y="3858"/>
                  </a:lnTo>
                  <a:lnTo>
                    <a:pt x="0" y="4008"/>
                  </a:lnTo>
                  <a:lnTo>
                    <a:pt x="6512" y="250"/>
                  </a:lnTo>
                  <a:cubicBezTo>
                    <a:pt x="6557" y="223"/>
                    <a:pt x="6580" y="185"/>
                    <a:pt x="6580" y="151"/>
                  </a:cubicBezTo>
                  <a:lnTo>
                    <a:pt x="6580" y="127"/>
                  </a:lnTo>
                  <a:lnTo>
                    <a:pt x="6580" y="123"/>
                  </a:lnTo>
                  <a:lnTo>
                    <a:pt x="6580" y="120"/>
                  </a:lnTo>
                  <a:lnTo>
                    <a:pt x="6580" y="117"/>
                  </a:lnTo>
                  <a:lnTo>
                    <a:pt x="6580" y="114"/>
                  </a:lnTo>
                  <a:lnTo>
                    <a:pt x="6580" y="110"/>
                  </a:lnTo>
                  <a:lnTo>
                    <a:pt x="6580" y="106"/>
                  </a:lnTo>
                  <a:lnTo>
                    <a:pt x="6580" y="103"/>
                  </a:lnTo>
                  <a:lnTo>
                    <a:pt x="6580" y="100"/>
                  </a:lnTo>
                  <a:lnTo>
                    <a:pt x="658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28" name="Google Shape;6678;p41">
              <a:extLst>
                <a:ext uri="{FF2B5EF4-FFF2-40B4-BE49-F238E27FC236}">
                  <a16:creationId xmlns:a16="http://schemas.microsoft.com/office/drawing/2014/main" id="{E3C50AAD-5754-6D4A-ACCF-76702C164937}"/>
                </a:ext>
              </a:extLst>
            </p:cNvPr>
            <p:cNvSpPr/>
            <p:nvPr/>
          </p:nvSpPr>
          <p:spPr>
            <a:xfrm>
              <a:off x="4806825" y="3197600"/>
              <a:ext cx="358475" cy="206700"/>
            </a:xfrm>
            <a:custGeom>
              <a:avLst/>
              <a:gdLst/>
              <a:ahLst/>
              <a:cxnLst/>
              <a:rect l="l" t="t" r="r" b="b"/>
              <a:pathLst>
                <a:path w="14339" h="8268" extrusionOk="0">
                  <a:moveTo>
                    <a:pt x="6784" y="1"/>
                  </a:moveTo>
                  <a:cubicBezTo>
                    <a:pt x="6722" y="1"/>
                    <a:pt x="6661" y="14"/>
                    <a:pt x="6615" y="42"/>
                  </a:cubicBezTo>
                  <a:lnTo>
                    <a:pt x="0" y="3860"/>
                  </a:lnTo>
                  <a:lnTo>
                    <a:pt x="7632" y="8267"/>
                  </a:lnTo>
                  <a:lnTo>
                    <a:pt x="14246" y="4448"/>
                  </a:lnTo>
                  <a:cubicBezTo>
                    <a:pt x="14338" y="4393"/>
                    <a:pt x="14338" y="4304"/>
                    <a:pt x="14246" y="4250"/>
                  </a:cubicBezTo>
                  <a:lnTo>
                    <a:pt x="6956" y="42"/>
                  </a:lnTo>
                  <a:cubicBezTo>
                    <a:pt x="6908" y="14"/>
                    <a:pt x="6846" y="1"/>
                    <a:pt x="6784" y="1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29" name="Google Shape;6679;p41">
              <a:extLst>
                <a:ext uri="{FF2B5EF4-FFF2-40B4-BE49-F238E27FC236}">
                  <a16:creationId xmlns:a16="http://schemas.microsoft.com/office/drawing/2014/main" id="{3EC1DE69-4BE4-AE47-87CE-F210241D68EB}"/>
                </a:ext>
              </a:extLst>
            </p:cNvPr>
            <p:cNvSpPr/>
            <p:nvPr/>
          </p:nvSpPr>
          <p:spPr>
            <a:xfrm>
              <a:off x="5000175" y="3302050"/>
              <a:ext cx="164525" cy="100700"/>
            </a:xfrm>
            <a:custGeom>
              <a:avLst/>
              <a:gdLst/>
              <a:ahLst/>
              <a:cxnLst/>
              <a:rect l="l" t="t" r="r" b="b"/>
              <a:pathLst>
                <a:path w="6581" h="4028" extrusionOk="0">
                  <a:moveTo>
                    <a:pt x="0" y="3096"/>
                  </a:moveTo>
                  <a:lnTo>
                    <a:pt x="0" y="3291"/>
                  </a:lnTo>
                  <a:cubicBezTo>
                    <a:pt x="27" y="3300"/>
                    <a:pt x="54" y="3304"/>
                    <a:pt x="86" y="3304"/>
                  </a:cubicBezTo>
                  <a:cubicBezTo>
                    <a:pt x="140" y="3304"/>
                    <a:pt x="205" y="3287"/>
                    <a:pt x="270" y="3250"/>
                  </a:cubicBezTo>
                  <a:lnTo>
                    <a:pt x="294" y="3263"/>
                  </a:lnTo>
                  <a:lnTo>
                    <a:pt x="0" y="3096"/>
                  </a:lnTo>
                  <a:close/>
                  <a:moveTo>
                    <a:pt x="6386" y="0"/>
                  </a:moveTo>
                  <a:lnTo>
                    <a:pt x="6386" y="123"/>
                  </a:lnTo>
                  <a:lnTo>
                    <a:pt x="6376" y="130"/>
                  </a:lnTo>
                  <a:cubicBezTo>
                    <a:pt x="6396" y="178"/>
                    <a:pt x="6379" y="229"/>
                    <a:pt x="6314" y="266"/>
                  </a:cubicBezTo>
                  <a:lnTo>
                    <a:pt x="706" y="3502"/>
                  </a:lnTo>
                  <a:lnTo>
                    <a:pt x="369" y="3304"/>
                  </a:lnTo>
                  <a:cubicBezTo>
                    <a:pt x="355" y="3314"/>
                    <a:pt x="338" y="3324"/>
                    <a:pt x="325" y="3332"/>
                  </a:cubicBezTo>
                  <a:cubicBezTo>
                    <a:pt x="243" y="3379"/>
                    <a:pt x="161" y="3403"/>
                    <a:pt x="86" y="3403"/>
                  </a:cubicBezTo>
                  <a:cubicBezTo>
                    <a:pt x="54" y="3403"/>
                    <a:pt x="27" y="3400"/>
                    <a:pt x="0" y="3393"/>
                  </a:cubicBezTo>
                  <a:lnTo>
                    <a:pt x="0" y="4028"/>
                  </a:lnTo>
                  <a:lnTo>
                    <a:pt x="6512" y="270"/>
                  </a:lnTo>
                  <a:cubicBezTo>
                    <a:pt x="6557" y="243"/>
                    <a:pt x="6580" y="208"/>
                    <a:pt x="6580" y="171"/>
                  </a:cubicBezTo>
                  <a:cubicBezTo>
                    <a:pt x="6580" y="137"/>
                    <a:pt x="6557" y="99"/>
                    <a:pt x="6512" y="72"/>
                  </a:cubicBezTo>
                  <a:lnTo>
                    <a:pt x="638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30" name="Google Shape;6680;p41">
              <a:extLst>
                <a:ext uri="{FF2B5EF4-FFF2-40B4-BE49-F238E27FC236}">
                  <a16:creationId xmlns:a16="http://schemas.microsoft.com/office/drawing/2014/main" id="{8CFE5EDD-024D-EB42-AA80-578FF488B35D}"/>
                </a:ext>
              </a:extLst>
            </p:cNvPr>
            <p:cNvSpPr/>
            <p:nvPr/>
          </p:nvSpPr>
          <p:spPr>
            <a:xfrm>
              <a:off x="4827050" y="3197525"/>
              <a:ext cx="333050" cy="192075"/>
            </a:xfrm>
            <a:custGeom>
              <a:avLst/>
              <a:gdLst/>
              <a:ahLst/>
              <a:cxnLst/>
              <a:rect l="l" t="t" r="r" b="b"/>
              <a:pathLst>
                <a:path w="13322" h="7683" extrusionOk="0">
                  <a:moveTo>
                    <a:pt x="5781" y="0"/>
                  </a:moveTo>
                  <a:cubicBezTo>
                    <a:pt x="5719" y="0"/>
                    <a:pt x="5657" y="14"/>
                    <a:pt x="5612" y="41"/>
                  </a:cubicBezTo>
                  <a:lnTo>
                    <a:pt x="713" y="2867"/>
                  </a:lnTo>
                  <a:lnTo>
                    <a:pt x="1" y="2455"/>
                  </a:lnTo>
                  <a:lnTo>
                    <a:pt x="1" y="3280"/>
                  </a:lnTo>
                  <a:lnTo>
                    <a:pt x="7631" y="7683"/>
                  </a:lnTo>
                  <a:lnTo>
                    <a:pt x="13239" y="4447"/>
                  </a:lnTo>
                  <a:cubicBezTo>
                    <a:pt x="13304" y="4410"/>
                    <a:pt x="13321" y="4359"/>
                    <a:pt x="13301" y="4311"/>
                  </a:cubicBezTo>
                  <a:lnTo>
                    <a:pt x="13311" y="4304"/>
                  </a:lnTo>
                  <a:lnTo>
                    <a:pt x="13311" y="3550"/>
                  </a:lnTo>
                  <a:lnTo>
                    <a:pt x="12676" y="3922"/>
                  </a:lnTo>
                  <a:lnTo>
                    <a:pt x="5952" y="41"/>
                  </a:lnTo>
                  <a:cubicBezTo>
                    <a:pt x="5905" y="14"/>
                    <a:pt x="5843" y="0"/>
                    <a:pt x="5781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31" name="Google Shape;6681;p41">
              <a:extLst>
                <a:ext uri="{FF2B5EF4-FFF2-40B4-BE49-F238E27FC236}">
                  <a16:creationId xmlns:a16="http://schemas.microsoft.com/office/drawing/2014/main" id="{060BA922-8D39-CF42-BBC1-29B720204D17}"/>
                </a:ext>
              </a:extLst>
            </p:cNvPr>
            <p:cNvSpPr/>
            <p:nvPr/>
          </p:nvSpPr>
          <p:spPr>
            <a:xfrm>
              <a:off x="4827050" y="3176875"/>
              <a:ext cx="333375" cy="192175"/>
            </a:xfrm>
            <a:custGeom>
              <a:avLst/>
              <a:gdLst/>
              <a:ahLst/>
              <a:cxnLst/>
              <a:rect l="l" t="t" r="r" b="b"/>
              <a:pathLst>
                <a:path w="13335" h="7687" extrusionOk="0">
                  <a:moveTo>
                    <a:pt x="5781" y="0"/>
                  </a:moveTo>
                  <a:cubicBezTo>
                    <a:pt x="5719" y="0"/>
                    <a:pt x="5657" y="14"/>
                    <a:pt x="5612" y="41"/>
                  </a:cubicBezTo>
                  <a:lnTo>
                    <a:pt x="1" y="3281"/>
                  </a:lnTo>
                  <a:lnTo>
                    <a:pt x="7631" y="7687"/>
                  </a:lnTo>
                  <a:lnTo>
                    <a:pt x="13239" y="4448"/>
                  </a:lnTo>
                  <a:cubicBezTo>
                    <a:pt x="13335" y="4393"/>
                    <a:pt x="13335" y="4304"/>
                    <a:pt x="13239" y="4250"/>
                  </a:cubicBezTo>
                  <a:lnTo>
                    <a:pt x="5952" y="41"/>
                  </a:lnTo>
                  <a:cubicBezTo>
                    <a:pt x="5905" y="14"/>
                    <a:pt x="5843" y="0"/>
                    <a:pt x="5781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32" name="Google Shape;6682;p41">
              <a:extLst>
                <a:ext uri="{FF2B5EF4-FFF2-40B4-BE49-F238E27FC236}">
                  <a16:creationId xmlns:a16="http://schemas.microsoft.com/office/drawing/2014/main" id="{7355AAA2-BB79-994B-9C34-5810CD2E974B}"/>
                </a:ext>
              </a:extLst>
            </p:cNvPr>
            <p:cNvSpPr/>
            <p:nvPr/>
          </p:nvSpPr>
          <p:spPr>
            <a:xfrm>
              <a:off x="4827050" y="3258875"/>
              <a:ext cx="190800" cy="130725"/>
            </a:xfrm>
            <a:custGeom>
              <a:avLst/>
              <a:gdLst/>
              <a:ahLst/>
              <a:cxnLst/>
              <a:rect l="l" t="t" r="r" b="b"/>
              <a:pathLst>
                <a:path w="7632" h="5229" extrusionOk="0">
                  <a:moveTo>
                    <a:pt x="1" y="1"/>
                  </a:moveTo>
                  <a:lnTo>
                    <a:pt x="1" y="826"/>
                  </a:lnTo>
                  <a:lnTo>
                    <a:pt x="7631" y="5229"/>
                  </a:lnTo>
                  <a:lnTo>
                    <a:pt x="7631" y="440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33" name="Google Shape;6683;p41">
              <a:extLst>
                <a:ext uri="{FF2B5EF4-FFF2-40B4-BE49-F238E27FC236}">
                  <a16:creationId xmlns:a16="http://schemas.microsoft.com/office/drawing/2014/main" id="{7E0A92B8-D9E5-1745-83F7-DBC62E400A68}"/>
                </a:ext>
              </a:extLst>
            </p:cNvPr>
            <p:cNvSpPr/>
            <p:nvPr/>
          </p:nvSpPr>
          <p:spPr>
            <a:xfrm>
              <a:off x="5014000" y="3357650"/>
              <a:ext cx="7775" cy="4000"/>
            </a:xfrm>
            <a:custGeom>
              <a:avLst/>
              <a:gdLst/>
              <a:ahLst/>
              <a:cxnLst/>
              <a:rect l="l" t="t" r="r" b="b"/>
              <a:pathLst>
                <a:path w="311" h="160" extrusionOk="0">
                  <a:moveTo>
                    <a:pt x="134" y="1"/>
                  </a:moveTo>
                  <a:cubicBezTo>
                    <a:pt x="102" y="1"/>
                    <a:pt x="74" y="8"/>
                    <a:pt x="51" y="18"/>
                  </a:cubicBezTo>
                  <a:cubicBezTo>
                    <a:pt x="45" y="22"/>
                    <a:pt x="41" y="22"/>
                    <a:pt x="41" y="29"/>
                  </a:cubicBezTo>
                  <a:cubicBezTo>
                    <a:pt x="0" y="56"/>
                    <a:pt x="7" y="100"/>
                    <a:pt x="65" y="131"/>
                  </a:cubicBezTo>
                  <a:cubicBezTo>
                    <a:pt x="82" y="141"/>
                    <a:pt x="103" y="148"/>
                    <a:pt x="126" y="155"/>
                  </a:cubicBezTo>
                  <a:cubicBezTo>
                    <a:pt x="142" y="158"/>
                    <a:pt x="158" y="160"/>
                    <a:pt x="174" y="160"/>
                  </a:cubicBezTo>
                  <a:cubicBezTo>
                    <a:pt x="193" y="160"/>
                    <a:pt x="212" y="157"/>
                    <a:pt x="229" y="152"/>
                  </a:cubicBezTo>
                  <a:cubicBezTo>
                    <a:pt x="239" y="148"/>
                    <a:pt x="249" y="145"/>
                    <a:pt x="259" y="141"/>
                  </a:cubicBezTo>
                  <a:cubicBezTo>
                    <a:pt x="311" y="111"/>
                    <a:pt x="304" y="59"/>
                    <a:pt x="246" y="29"/>
                  </a:cubicBezTo>
                  <a:cubicBezTo>
                    <a:pt x="218" y="15"/>
                    <a:pt x="188" y="5"/>
                    <a:pt x="157" y="2"/>
                  </a:cubicBezTo>
                  <a:cubicBezTo>
                    <a:pt x="149" y="1"/>
                    <a:pt x="142" y="1"/>
                    <a:pt x="13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34" name="Google Shape;6684;p41">
              <a:extLst>
                <a:ext uri="{FF2B5EF4-FFF2-40B4-BE49-F238E27FC236}">
                  <a16:creationId xmlns:a16="http://schemas.microsoft.com/office/drawing/2014/main" id="{0B8B8F00-28EE-B241-B210-A951C252AC00}"/>
                </a:ext>
              </a:extLst>
            </p:cNvPr>
            <p:cNvSpPr/>
            <p:nvPr/>
          </p:nvSpPr>
          <p:spPr>
            <a:xfrm>
              <a:off x="4993950" y="3354775"/>
              <a:ext cx="25775" cy="32350"/>
            </a:xfrm>
            <a:custGeom>
              <a:avLst/>
              <a:gdLst/>
              <a:ahLst/>
              <a:cxnLst/>
              <a:rect l="l" t="t" r="r" b="b"/>
              <a:pathLst>
                <a:path w="1031" h="1294" extrusionOk="0">
                  <a:moveTo>
                    <a:pt x="713" y="0"/>
                  </a:moveTo>
                  <a:cubicBezTo>
                    <a:pt x="635" y="0"/>
                    <a:pt x="557" y="24"/>
                    <a:pt x="475" y="72"/>
                  </a:cubicBezTo>
                  <a:cubicBezTo>
                    <a:pt x="208" y="226"/>
                    <a:pt x="0" y="584"/>
                    <a:pt x="0" y="891"/>
                  </a:cubicBezTo>
                  <a:cubicBezTo>
                    <a:pt x="0" y="1007"/>
                    <a:pt x="31" y="1106"/>
                    <a:pt x="89" y="1178"/>
                  </a:cubicBezTo>
                  <a:cubicBezTo>
                    <a:pt x="147" y="1253"/>
                    <a:pt x="235" y="1294"/>
                    <a:pt x="335" y="1294"/>
                  </a:cubicBezTo>
                  <a:cubicBezTo>
                    <a:pt x="410" y="1294"/>
                    <a:pt x="492" y="1270"/>
                    <a:pt x="574" y="1223"/>
                  </a:cubicBezTo>
                  <a:cubicBezTo>
                    <a:pt x="587" y="1215"/>
                    <a:pt x="604" y="1205"/>
                    <a:pt x="618" y="1195"/>
                  </a:cubicBezTo>
                  <a:lnTo>
                    <a:pt x="519" y="1141"/>
                  </a:lnTo>
                  <a:cubicBezTo>
                    <a:pt x="453" y="1178"/>
                    <a:pt x="390" y="1195"/>
                    <a:pt x="335" y="1195"/>
                  </a:cubicBezTo>
                  <a:cubicBezTo>
                    <a:pt x="195" y="1195"/>
                    <a:pt x="99" y="1084"/>
                    <a:pt x="99" y="891"/>
                  </a:cubicBezTo>
                  <a:cubicBezTo>
                    <a:pt x="99" y="621"/>
                    <a:pt x="290" y="294"/>
                    <a:pt x="522" y="158"/>
                  </a:cubicBezTo>
                  <a:cubicBezTo>
                    <a:pt x="589" y="119"/>
                    <a:pt x="654" y="100"/>
                    <a:pt x="711" y="100"/>
                  </a:cubicBezTo>
                  <a:cubicBezTo>
                    <a:pt x="761" y="100"/>
                    <a:pt x="806" y="115"/>
                    <a:pt x="843" y="144"/>
                  </a:cubicBezTo>
                  <a:cubicBezTo>
                    <a:pt x="881" y="168"/>
                    <a:pt x="911" y="212"/>
                    <a:pt x="928" y="270"/>
                  </a:cubicBezTo>
                  <a:cubicBezTo>
                    <a:pt x="944" y="273"/>
                    <a:pt x="960" y="275"/>
                    <a:pt x="976" y="275"/>
                  </a:cubicBezTo>
                  <a:cubicBezTo>
                    <a:pt x="995" y="275"/>
                    <a:pt x="1014" y="272"/>
                    <a:pt x="1031" y="267"/>
                  </a:cubicBezTo>
                  <a:cubicBezTo>
                    <a:pt x="1017" y="209"/>
                    <a:pt x="993" y="158"/>
                    <a:pt x="959" y="117"/>
                  </a:cubicBezTo>
                  <a:cubicBezTo>
                    <a:pt x="901" y="45"/>
                    <a:pt x="815" y="0"/>
                    <a:pt x="71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35" name="Google Shape;6685;p41">
              <a:extLst>
                <a:ext uri="{FF2B5EF4-FFF2-40B4-BE49-F238E27FC236}">
                  <a16:creationId xmlns:a16="http://schemas.microsoft.com/office/drawing/2014/main" id="{B3E898B3-A798-8E4F-8E53-2DACDA1903B3}"/>
                </a:ext>
              </a:extLst>
            </p:cNvPr>
            <p:cNvSpPr/>
            <p:nvPr/>
          </p:nvSpPr>
          <p:spPr>
            <a:xfrm>
              <a:off x="5000100" y="3277125"/>
              <a:ext cx="164600" cy="84250"/>
            </a:xfrm>
            <a:custGeom>
              <a:avLst/>
              <a:gdLst/>
              <a:ahLst/>
              <a:cxnLst/>
              <a:rect l="l" t="t" r="r" b="b"/>
              <a:pathLst>
                <a:path w="6584" h="3370" extrusionOk="0">
                  <a:moveTo>
                    <a:pt x="6583" y="0"/>
                  </a:moveTo>
                  <a:lnTo>
                    <a:pt x="0" y="3219"/>
                  </a:lnTo>
                  <a:lnTo>
                    <a:pt x="0" y="3369"/>
                  </a:lnTo>
                  <a:lnTo>
                    <a:pt x="6498" y="257"/>
                  </a:lnTo>
                  <a:cubicBezTo>
                    <a:pt x="6546" y="229"/>
                    <a:pt x="6583" y="164"/>
                    <a:pt x="6583" y="110"/>
                  </a:cubicBezTo>
                  <a:lnTo>
                    <a:pt x="6583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36" name="Google Shape;6686;p41">
              <a:extLst>
                <a:ext uri="{FF2B5EF4-FFF2-40B4-BE49-F238E27FC236}">
                  <a16:creationId xmlns:a16="http://schemas.microsoft.com/office/drawing/2014/main" id="{DBDE99FB-D74E-E54A-9F74-34CDDC074731}"/>
                </a:ext>
              </a:extLst>
            </p:cNvPr>
            <p:cNvSpPr/>
            <p:nvPr/>
          </p:nvSpPr>
          <p:spPr>
            <a:xfrm>
              <a:off x="5000175" y="3277125"/>
              <a:ext cx="164525" cy="84175"/>
            </a:xfrm>
            <a:custGeom>
              <a:avLst/>
              <a:gdLst/>
              <a:ahLst/>
              <a:cxnLst/>
              <a:rect l="l" t="t" r="r" b="b"/>
              <a:pathLst>
                <a:path w="6581" h="3367" extrusionOk="0">
                  <a:moveTo>
                    <a:pt x="6580" y="0"/>
                  </a:moveTo>
                  <a:cubicBezTo>
                    <a:pt x="6580" y="38"/>
                    <a:pt x="6557" y="72"/>
                    <a:pt x="6512" y="99"/>
                  </a:cubicBezTo>
                  <a:lnTo>
                    <a:pt x="0" y="3226"/>
                  </a:lnTo>
                  <a:lnTo>
                    <a:pt x="0" y="3366"/>
                  </a:lnTo>
                  <a:lnTo>
                    <a:pt x="6495" y="257"/>
                  </a:lnTo>
                  <a:cubicBezTo>
                    <a:pt x="6543" y="229"/>
                    <a:pt x="6580" y="164"/>
                    <a:pt x="6580" y="110"/>
                  </a:cubicBezTo>
                  <a:lnTo>
                    <a:pt x="658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37" name="Google Shape;6687;p41">
              <a:extLst>
                <a:ext uri="{FF2B5EF4-FFF2-40B4-BE49-F238E27FC236}">
                  <a16:creationId xmlns:a16="http://schemas.microsoft.com/office/drawing/2014/main" id="{5F387A43-EA44-0C4F-B7B7-8A5484AC9CD8}"/>
                </a:ext>
              </a:extLst>
            </p:cNvPr>
            <p:cNvSpPr/>
            <p:nvPr/>
          </p:nvSpPr>
          <p:spPr>
            <a:xfrm>
              <a:off x="4806825" y="3168425"/>
              <a:ext cx="358475" cy="190550"/>
            </a:xfrm>
            <a:custGeom>
              <a:avLst/>
              <a:gdLst/>
              <a:ahLst/>
              <a:cxnLst/>
              <a:rect l="l" t="t" r="r" b="b"/>
              <a:pathLst>
                <a:path w="14339" h="7622" extrusionOk="0">
                  <a:moveTo>
                    <a:pt x="6784" y="0"/>
                  </a:moveTo>
                  <a:cubicBezTo>
                    <a:pt x="6722" y="0"/>
                    <a:pt x="6661" y="14"/>
                    <a:pt x="6615" y="41"/>
                  </a:cubicBezTo>
                  <a:lnTo>
                    <a:pt x="0" y="3219"/>
                  </a:lnTo>
                  <a:lnTo>
                    <a:pt x="7632" y="7622"/>
                  </a:lnTo>
                  <a:lnTo>
                    <a:pt x="14246" y="4447"/>
                  </a:lnTo>
                  <a:cubicBezTo>
                    <a:pt x="14338" y="4393"/>
                    <a:pt x="14338" y="4304"/>
                    <a:pt x="14246" y="4249"/>
                  </a:cubicBezTo>
                  <a:lnTo>
                    <a:pt x="6956" y="41"/>
                  </a:lnTo>
                  <a:cubicBezTo>
                    <a:pt x="6908" y="14"/>
                    <a:pt x="6846" y="0"/>
                    <a:pt x="6784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38" name="Google Shape;6688;p41">
              <a:extLst>
                <a:ext uri="{FF2B5EF4-FFF2-40B4-BE49-F238E27FC236}">
                  <a16:creationId xmlns:a16="http://schemas.microsoft.com/office/drawing/2014/main" id="{5E47CBCC-0B7B-B34B-ABD8-AEB7C94A3662}"/>
                </a:ext>
              </a:extLst>
            </p:cNvPr>
            <p:cNvSpPr/>
            <p:nvPr/>
          </p:nvSpPr>
          <p:spPr>
            <a:xfrm>
              <a:off x="4806825" y="3248800"/>
              <a:ext cx="190800" cy="159150"/>
            </a:xfrm>
            <a:custGeom>
              <a:avLst/>
              <a:gdLst/>
              <a:ahLst/>
              <a:cxnLst/>
              <a:rect l="l" t="t" r="r" b="b"/>
              <a:pathLst>
                <a:path w="7632" h="6366" extrusionOk="0">
                  <a:moveTo>
                    <a:pt x="0" y="1"/>
                  </a:moveTo>
                  <a:lnTo>
                    <a:pt x="0" y="1963"/>
                  </a:lnTo>
                  <a:lnTo>
                    <a:pt x="7632" y="6366"/>
                  </a:lnTo>
                  <a:lnTo>
                    <a:pt x="7632" y="4407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39" name="Google Shape;6689;p41">
              <a:extLst>
                <a:ext uri="{FF2B5EF4-FFF2-40B4-BE49-F238E27FC236}">
                  <a16:creationId xmlns:a16="http://schemas.microsoft.com/office/drawing/2014/main" id="{2A4BA8BE-64A4-ED4D-8014-15D40EF2B152}"/>
                </a:ext>
              </a:extLst>
            </p:cNvPr>
            <p:cNvSpPr/>
            <p:nvPr/>
          </p:nvSpPr>
          <p:spPr>
            <a:xfrm>
              <a:off x="4806825" y="3248800"/>
              <a:ext cx="190800" cy="159150"/>
            </a:xfrm>
            <a:custGeom>
              <a:avLst/>
              <a:gdLst/>
              <a:ahLst/>
              <a:cxnLst/>
              <a:rect l="l" t="t" r="r" b="b"/>
              <a:pathLst>
                <a:path w="7632" h="6366" extrusionOk="0">
                  <a:moveTo>
                    <a:pt x="0" y="1"/>
                  </a:moveTo>
                  <a:lnTo>
                    <a:pt x="0" y="1963"/>
                  </a:lnTo>
                  <a:lnTo>
                    <a:pt x="7632" y="6366"/>
                  </a:lnTo>
                  <a:lnTo>
                    <a:pt x="7632" y="4878"/>
                  </a:lnTo>
                  <a:lnTo>
                    <a:pt x="7632" y="4649"/>
                  </a:lnTo>
                  <a:lnTo>
                    <a:pt x="7632" y="4407"/>
                  </a:lnTo>
                  <a:lnTo>
                    <a:pt x="5843" y="337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40" name="Google Shape;6690;p41">
              <a:extLst>
                <a:ext uri="{FF2B5EF4-FFF2-40B4-BE49-F238E27FC236}">
                  <a16:creationId xmlns:a16="http://schemas.microsoft.com/office/drawing/2014/main" id="{D617A0C4-0E48-EC44-B5DD-7D8E1C910F8A}"/>
                </a:ext>
              </a:extLst>
            </p:cNvPr>
            <p:cNvSpPr/>
            <p:nvPr/>
          </p:nvSpPr>
          <p:spPr>
            <a:xfrm>
              <a:off x="4942150" y="3344175"/>
              <a:ext cx="26225" cy="32300"/>
            </a:xfrm>
            <a:custGeom>
              <a:avLst/>
              <a:gdLst/>
              <a:ahLst/>
              <a:cxnLst/>
              <a:rect l="l" t="t" r="r" b="b"/>
              <a:pathLst>
                <a:path w="1049" h="1292" extrusionOk="0">
                  <a:moveTo>
                    <a:pt x="335" y="1"/>
                  </a:moveTo>
                  <a:cubicBezTo>
                    <a:pt x="137" y="1"/>
                    <a:pt x="0" y="162"/>
                    <a:pt x="0" y="401"/>
                  </a:cubicBezTo>
                  <a:cubicBezTo>
                    <a:pt x="0" y="708"/>
                    <a:pt x="209" y="1069"/>
                    <a:pt x="475" y="1223"/>
                  </a:cubicBezTo>
                  <a:cubicBezTo>
                    <a:pt x="557" y="1267"/>
                    <a:pt x="639" y="1291"/>
                    <a:pt x="713" y="1291"/>
                  </a:cubicBezTo>
                  <a:cubicBezTo>
                    <a:pt x="813" y="1291"/>
                    <a:pt x="901" y="1250"/>
                    <a:pt x="959" y="1176"/>
                  </a:cubicBezTo>
                  <a:cubicBezTo>
                    <a:pt x="1017" y="1104"/>
                    <a:pt x="1048" y="1008"/>
                    <a:pt x="1048" y="892"/>
                  </a:cubicBezTo>
                  <a:cubicBezTo>
                    <a:pt x="1048" y="585"/>
                    <a:pt x="840" y="226"/>
                    <a:pt x="573" y="73"/>
                  </a:cubicBezTo>
                  <a:cubicBezTo>
                    <a:pt x="491" y="25"/>
                    <a:pt x="410" y="1"/>
                    <a:pt x="335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41" name="Google Shape;6691;p41">
              <a:extLst>
                <a:ext uri="{FF2B5EF4-FFF2-40B4-BE49-F238E27FC236}">
                  <a16:creationId xmlns:a16="http://schemas.microsoft.com/office/drawing/2014/main" id="{8E4DC48D-CBF4-DC4C-8B97-F8EE210DDCDF}"/>
                </a:ext>
              </a:extLst>
            </p:cNvPr>
            <p:cNvSpPr/>
            <p:nvPr/>
          </p:nvSpPr>
          <p:spPr>
            <a:xfrm>
              <a:off x="4944625" y="3346650"/>
              <a:ext cx="21275" cy="27400"/>
            </a:xfrm>
            <a:custGeom>
              <a:avLst/>
              <a:gdLst/>
              <a:ahLst/>
              <a:cxnLst/>
              <a:rect l="l" t="t" r="r" b="b"/>
              <a:pathLst>
                <a:path w="851" h="1096" extrusionOk="0">
                  <a:moveTo>
                    <a:pt x="234" y="0"/>
                  </a:moveTo>
                  <a:cubicBezTo>
                    <a:pt x="96" y="0"/>
                    <a:pt x="0" y="111"/>
                    <a:pt x="0" y="302"/>
                  </a:cubicBezTo>
                  <a:cubicBezTo>
                    <a:pt x="0" y="574"/>
                    <a:pt x="192" y="902"/>
                    <a:pt x="427" y="1039"/>
                  </a:cubicBezTo>
                  <a:cubicBezTo>
                    <a:pt x="494" y="1077"/>
                    <a:pt x="557" y="1095"/>
                    <a:pt x="614" y="1095"/>
                  </a:cubicBezTo>
                  <a:cubicBezTo>
                    <a:pt x="753" y="1095"/>
                    <a:pt x="850" y="985"/>
                    <a:pt x="850" y="793"/>
                  </a:cubicBezTo>
                  <a:cubicBezTo>
                    <a:pt x="850" y="524"/>
                    <a:pt x="659" y="192"/>
                    <a:pt x="424" y="59"/>
                  </a:cubicBezTo>
                  <a:cubicBezTo>
                    <a:pt x="356" y="19"/>
                    <a:pt x="291" y="0"/>
                    <a:pt x="234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42" name="Google Shape;6692;p41">
              <a:extLst>
                <a:ext uri="{FF2B5EF4-FFF2-40B4-BE49-F238E27FC236}">
                  <a16:creationId xmlns:a16="http://schemas.microsoft.com/office/drawing/2014/main" id="{4F07CB56-842A-D946-85A0-F27F07966B87}"/>
                </a:ext>
              </a:extLst>
            </p:cNvPr>
            <p:cNvSpPr/>
            <p:nvPr/>
          </p:nvSpPr>
          <p:spPr>
            <a:xfrm>
              <a:off x="4821425" y="3272325"/>
              <a:ext cx="106000" cy="81550"/>
            </a:xfrm>
            <a:custGeom>
              <a:avLst/>
              <a:gdLst/>
              <a:ahLst/>
              <a:cxnLst/>
              <a:rect l="l" t="t" r="r" b="b"/>
              <a:pathLst>
                <a:path w="4240" h="3262" extrusionOk="0">
                  <a:moveTo>
                    <a:pt x="258" y="0"/>
                  </a:moveTo>
                  <a:cubicBezTo>
                    <a:pt x="105" y="0"/>
                    <a:pt x="0" y="122"/>
                    <a:pt x="0" y="332"/>
                  </a:cubicBezTo>
                  <a:lnTo>
                    <a:pt x="0" y="482"/>
                  </a:lnTo>
                  <a:cubicBezTo>
                    <a:pt x="0" y="780"/>
                    <a:pt x="208" y="1142"/>
                    <a:pt x="464" y="1288"/>
                  </a:cubicBezTo>
                  <a:lnTo>
                    <a:pt x="3772" y="3199"/>
                  </a:lnTo>
                  <a:cubicBezTo>
                    <a:pt x="3846" y="3242"/>
                    <a:pt x="3917" y="3262"/>
                    <a:pt x="3980" y="3262"/>
                  </a:cubicBezTo>
                  <a:cubicBezTo>
                    <a:pt x="4134" y="3262"/>
                    <a:pt x="4239" y="3141"/>
                    <a:pt x="4239" y="2930"/>
                  </a:cubicBezTo>
                  <a:lnTo>
                    <a:pt x="4239" y="2780"/>
                  </a:lnTo>
                  <a:cubicBezTo>
                    <a:pt x="4239" y="2483"/>
                    <a:pt x="4030" y="2125"/>
                    <a:pt x="3772" y="1974"/>
                  </a:cubicBezTo>
                  <a:lnTo>
                    <a:pt x="464" y="63"/>
                  </a:lnTo>
                  <a:cubicBezTo>
                    <a:pt x="390" y="21"/>
                    <a:pt x="320" y="0"/>
                    <a:pt x="258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43" name="Google Shape;6693;p41">
              <a:extLst>
                <a:ext uri="{FF2B5EF4-FFF2-40B4-BE49-F238E27FC236}">
                  <a16:creationId xmlns:a16="http://schemas.microsoft.com/office/drawing/2014/main" id="{AA8119D0-77AA-524D-A8B2-0B4F6880A492}"/>
                </a:ext>
              </a:extLst>
            </p:cNvPr>
            <p:cNvSpPr/>
            <p:nvPr/>
          </p:nvSpPr>
          <p:spPr>
            <a:xfrm>
              <a:off x="4997625" y="3357775"/>
              <a:ext cx="2575" cy="50175"/>
            </a:xfrm>
            <a:custGeom>
              <a:avLst/>
              <a:gdLst/>
              <a:ahLst/>
              <a:cxnLst/>
              <a:rect l="l" t="t" r="r" b="b"/>
              <a:pathLst>
                <a:path w="103" h="2007" extrusionOk="0">
                  <a:moveTo>
                    <a:pt x="102" y="0"/>
                  </a:moveTo>
                  <a:lnTo>
                    <a:pt x="0" y="48"/>
                  </a:lnTo>
                  <a:lnTo>
                    <a:pt x="0" y="2007"/>
                  </a:lnTo>
                  <a:lnTo>
                    <a:pt x="102" y="1949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44" name="Google Shape;6694;p41">
              <a:extLst>
                <a:ext uri="{FF2B5EF4-FFF2-40B4-BE49-F238E27FC236}">
                  <a16:creationId xmlns:a16="http://schemas.microsoft.com/office/drawing/2014/main" id="{E73663B8-3EAD-A940-9D2E-9BF308CE36B3}"/>
                </a:ext>
              </a:extLst>
            </p:cNvPr>
            <p:cNvSpPr/>
            <p:nvPr/>
          </p:nvSpPr>
          <p:spPr>
            <a:xfrm>
              <a:off x="4997625" y="3357775"/>
              <a:ext cx="2575" cy="50175"/>
            </a:xfrm>
            <a:custGeom>
              <a:avLst/>
              <a:gdLst/>
              <a:ahLst/>
              <a:cxnLst/>
              <a:rect l="l" t="t" r="r" b="b"/>
              <a:pathLst>
                <a:path w="103" h="2007" extrusionOk="0">
                  <a:moveTo>
                    <a:pt x="102" y="0"/>
                  </a:moveTo>
                  <a:lnTo>
                    <a:pt x="65" y="17"/>
                  </a:lnTo>
                  <a:lnTo>
                    <a:pt x="0" y="48"/>
                  </a:lnTo>
                  <a:lnTo>
                    <a:pt x="0" y="2007"/>
                  </a:lnTo>
                  <a:lnTo>
                    <a:pt x="102" y="1949"/>
                  </a:lnTo>
                  <a:lnTo>
                    <a:pt x="102" y="314"/>
                  </a:lnTo>
                  <a:lnTo>
                    <a:pt x="102" y="147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45" name="Google Shape;6695;p41">
              <a:extLst>
                <a:ext uri="{FF2B5EF4-FFF2-40B4-BE49-F238E27FC236}">
                  <a16:creationId xmlns:a16="http://schemas.microsoft.com/office/drawing/2014/main" id="{D4E9C04B-3212-954B-AB40-40B446F6B179}"/>
                </a:ext>
              </a:extLst>
            </p:cNvPr>
            <p:cNvSpPr/>
            <p:nvPr/>
          </p:nvSpPr>
          <p:spPr>
            <a:xfrm>
              <a:off x="4808525" y="3153425"/>
              <a:ext cx="360425" cy="199100"/>
            </a:xfrm>
            <a:custGeom>
              <a:avLst/>
              <a:gdLst/>
              <a:ahLst/>
              <a:cxnLst/>
              <a:rect l="l" t="t" r="r" b="b"/>
              <a:pathLst>
                <a:path w="14417" h="7964" extrusionOk="0">
                  <a:moveTo>
                    <a:pt x="6789" y="0"/>
                  </a:moveTo>
                  <a:lnTo>
                    <a:pt x="76" y="3392"/>
                  </a:lnTo>
                  <a:cubicBezTo>
                    <a:pt x="35" y="3416"/>
                    <a:pt x="0" y="3471"/>
                    <a:pt x="0" y="3512"/>
                  </a:cubicBezTo>
                  <a:cubicBezTo>
                    <a:pt x="0" y="3553"/>
                    <a:pt x="35" y="3604"/>
                    <a:pt x="76" y="3628"/>
                  </a:cubicBezTo>
                  <a:lnTo>
                    <a:pt x="7561" y="7946"/>
                  </a:lnTo>
                  <a:cubicBezTo>
                    <a:pt x="7581" y="7957"/>
                    <a:pt x="7608" y="7963"/>
                    <a:pt x="7636" y="7963"/>
                  </a:cubicBezTo>
                  <a:cubicBezTo>
                    <a:pt x="7663" y="7963"/>
                    <a:pt x="7690" y="7957"/>
                    <a:pt x="7711" y="7946"/>
                  </a:cubicBezTo>
                  <a:lnTo>
                    <a:pt x="14417" y="4553"/>
                  </a:lnTo>
                  <a:lnTo>
                    <a:pt x="14417" y="4406"/>
                  </a:lnTo>
                  <a:lnTo>
                    <a:pt x="6789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46" name="Google Shape;6696;p41">
              <a:extLst>
                <a:ext uri="{FF2B5EF4-FFF2-40B4-BE49-F238E27FC236}">
                  <a16:creationId xmlns:a16="http://schemas.microsoft.com/office/drawing/2014/main" id="{AD20A728-D447-AD49-8F41-83530F378387}"/>
                </a:ext>
              </a:extLst>
            </p:cNvPr>
            <p:cNvSpPr/>
            <p:nvPr/>
          </p:nvSpPr>
          <p:spPr>
            <a:xfrm>
              <a:off x="4809800" y="3238225"/>
              <a:ext cx="625" cy="450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25" y="0"/>
                  </a:lnTo>
                  <a:cubicBezTo>
                    <a:pt x="23" y="1"/>
                    <a:pt x="22" y="2"/>
                    <a:pt x="22" y="3"/>
                  </a:cubicBezTo>
                  <a:lnTo>
                    <a:pt x="22" y="3"/>
                  </a:lnTo>
                  <a:cubicBezTo>
                    <a:pt x="23" y="2"/>
                    <a:pt x="24" y="1"/>
                    <a:pt x="25" y="0"/>
                  </a:cubicBezTo>
                  <a:close/>
                  <a:moveTo>
                    <a:pt x="22" y="3"/>
                  </a:moveTo>
                  <a:lnTo>
                    <a:pt x="22" y="3"/>
                  </a:lnTo>
                  <a:cubicBezTo>
                    <a:pt x="16" y="8"/>
                    <a:pt x="9" y="12"/>
                    <a:pt x="1" y="17"/>
                  </a:cubicBezTo>
                  <a:cubicBezTo>
                    <a:pt x="7" y="14"/>
                    <a:pt x="11" y="11"/>
                    <a:pt x="18" y="7"/>
                  </a:cubicBezTo>
                  <a:cubicBezTo>
                    <a:pt x="20" y="5"/>
                    <a:pt x="21" y="4"/>
                    <a:pt x="22" y="3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47" name="Google Shape;6697;p41">
              <a:extLst>
                <a:ext uri="{FF2B5EF4-FFF2-40B4-BE49-F238E27FC236}">
                  <a16:creationId xmlns:a16="http://schemas.microsoft.com/office/drawing/2014/main" id="{AA274CDA-448E-EA46-8621-9FE2F074DE51}"/>
                </a:ext>
              </a:extLst>
            </p:cNvPr>
            <p:cNvSpPr/>
            <p:nvPr/>
          </p:nvSpPr>
          <p:spPr>
            <a:xfrm>
              <a:off x="4997525" y="3352050"/>
              <a:ext cx="100" cy="100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1"/>
                  </a:moveTo>
                  <a:cubicBezTo>
                    <a:pt x="1" y="4"/>
                    <a:pt x="4" y="4"/>
                    <a:pt x="4" y="4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rgbClr val="23C7AC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48" name="Google Shape;6698;p41">
              <a:extLst>
                <a:ext uri="{FF2B5EF4-FFF2-40B4-BE49-F238E27FC236}">
                  <a16:creationId xmlns:a16="http://schemas.microsoft.com/office/drawing/2014/main" id="{0C143539-1ACE-6A48-A2F6-2A8AAE97A7A0}"/>
                </a:ext>
              </a:extLst>
            </p:cNvPr>
            <p:cNvSpPr/>
            <p:nvPr/>
          </p:nvSpPr>
          <p:spPr>
            <a:xfrm>
              <a:off x="4808525" y="3238400"/>
              <a:ext cx="190900" cy="114075"/>
            </a:xfrm>
            <a:custGeom>
              <a:avLst/>
              <a:gdLst/>
              <a:ahLst/>
              <a:cxnLst/>
              <a:rect l="l" t="t" r="r" b="b"/>
              <a:pathLst>
                <a:path w="7636" h="4563" extrusionOk="0">
                  <a:moveTo>
                    <a:pt x="69" y="0"/>
                  </a:moveTo>
                  <a:cubicBezTo>
                    <a:pt x="62" y="4"/>
                    <a:pt x="58" y="7"/>
                    <a:pt x="52" y="10"/>
                  </a:cubicBezTo>
                  <a:cubicBezTo>
                    <a:pt x="38" y="24"/>
                    <a:pt x="25" y="45"/>
                    <a:pt x="14" y="62"/>
                  </a:cubicBezTo>
                  <a:cubicBezTo>
                    <a:pt x="8" y="78"/>
                    <a:pt x="0" y="95"/>
                    <a:pt x="0" y="113"/>
                  </a:cubicBezTo>
                  <a:cubicBezTo>
                    <a:pt x="0" y="130"/>
                    <a:pt x="8" y="147"/>
                    <a:pt x="17" y="164"/>
                  </a:cubicBezTo>
                  <a:cubicBezTo>
                    <a:pt x="25" y="181"/>
                    <a:pt x="35" y="195"/>
                    <a:pt x="49" y="208"/>
                  </a:cubicBezTo>
                  <a:cubicBezTo>
                    <a:pt x="58" y="218"/>
                    <a:pt x="66" y="226"/>
                    <a:pt x="76" y="229"/>
                  </a:cubicBezTo>
                  <a:lnTo>
                    <a:pt x="189" y="294"/>
                  </a:lnTo>
                  <a:lnTo>
                    <a:pt x="7561" y="4547"/>
                  </a:lnTo>
                  <a:lnTo>
                    <a:pt x="7564" y="4550"/>
                  </a:lnTo>
                  <a:cubicBezTo>
                    <a:pt x="7584" y="4560"/>
                    <a:pt x="7608" y="4563"/>
                    <a:pt x="7635" y="4563"/>
                  </a:cubicBezTo>
                  <a:lnTo>
                    <a:pt x="7635" y="4416"/>
                  </a:lnTo>
                  <a:cubicBezTo>
                    <a:pt x="7608" y="4416"/>
                    <a:pt x="7581" y="4413"/>
                    <a:pt x="7561" y="4399"/>
                  </a:cubicBezTo>
                  <a:lnTo>
                    <a:pt x="76" y="78"/>
                  </a:lnTo>
                  <a:cubicBezTo>
                    <a:pt x="55" y="68"/>
                    <a:pt x="45" y="51"/>
                    <a:pt x="45" y="37"/>
                  </a:cubicBezTo>
                  <a:cubicBezTo>
                    <a:pt x="45" y="24"/>
                    <a:pt x="55" y="10"/>
                    <a:pt x="6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49" name="Google Shape;6699;p41">
              <a:extLst>
                <a:ext uri="{FF2B5EF4-FFF2-40B4-BE49-F238E27FC236}">
                  <a16:creationId xmlns:a16="http://schemas.microsoft.com/office/drawing/2014/main" id="{66C0F1AE-BE26-EB48-9CAE-79BEBEBEC8CA}"/>
                </a:ext>
              </a:extLst>
            </p:cNvPr>
            <p:cNvSpPr/>
            <p:nvPr/>
          </p:nvSpPr>
          <p:spPr>
            <a:xfrm>
              <a:off x="4810250" y="3235575"/>
              <a:ext cx="5450" cy="2850"/>
            </a:xfrm>
            <a:custGeom>
              <a:avLst/>
              <a:gdLst/>
              <a:ahLst/>
              <a:cxnLst/>
              <a:rect l="l" t="t" r="r" b="b"/>
              <a:pathLst>
                <a:path w="218" h="114" extrusionOk="0">
                  <a:moveTo>
                    <a:pt x="218" y="0"/>
                  </a:moveTo>
                  <a:lnTo>
                    <a:pt x="7" y="106"/>
                  </a:lnTo>
                  <a:lnTo>
                    <a:pt x="7" y="106"/>
                  </a:lnTo>
                  <a:lnTo>
                    <a:pt x="7" y="106"/>
                  </a:lnTo>
                  <a:cubicBezTo>
                    <a:pt x="3" y="109"/>
                    <a:pt x="3" y="109"/>
                    <a:pt x="0" y="113"/>
                  </a:cubicBezTo>
                  <a:cubicBezTo>
                    <a:pt x="3" y="109"/>
                    <a:pt x="3" y="109"/>
                    <a:pt x="7" y="106"/>
                  </a:cubicBezTo>
                  <a:lnTo>
                    <a:pt x="218" y="0"/>
                  </a:lnTo>
                  <a:close/>
                </a:path>
              </a:pathLst>
            </a:custGeom>
            <a:solidFill>
              <a:srgbClr val="7D7D7D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50" name="Google Shape;6700;p41">
              <a:extLst>
                <a:ext uri="{FF2B5EF4-FFF2-40B4-BE49-F238E27FC236}">
                  <a16:creationId xmlns:a16="http://schemas.microsoft.com/office/drawing/2014/main" id="{F5960BEA-A4E4-3A45-B200-D72EE1DA285D}"/>
                </a:ext>
              </a:extLst>
            </p:cNvPr>
            <p:cNvSpPr/>
            <p:nvPr/>
          </p:nvSpPr>
          <p:spPr>
            <a:xfrm>
              <a:off x="4809922" y="3235610"/>
              <a:ext cx="356575" cy="113250"/>
            </a:xfrm>
            <a:custGeom>
              <a:avLst/>
              <a:gdLst/>
              <a:ahLst/>
              <a:cxnLst/>
              <a:rect l="l" t="t" r="r" b="b"/>
              <a:pathLst>
                <a:path w="14263" h="4530" extrusionOk="0">
                  <a:moveTo>
                    <a:pt x="242" y="0"/>
                  </a:moveTo>
                  <a:lnTo>
                    <a:pt x="31" y="106"/>
                  </a:lnTo>
                  <a:cubicBezTo>
                    <a:pt x="27" y="109"/>
                    <a:pt x="27" y="109"/>
                    <a:pt x="24" y="113"/>
                  </a:cubicBezTo>
                  <a:cubicBezTo>
                    <a:pt x="10" y="123"/>
                    <a:pt x="0" y="137"/>
                    <a:pt x="0" y="150"/>
                  </a:cubicBezTo>
                  <a:cubicBezTo>
                    <a:pt x="0" y="164"/>
                    <a:pt x="10" y="181"/>
                    <a:pt x="31" y="191"/>
                  </a:cubicBezTo>
                  <a:lnTo>
                    <a:pt x="7516" y="4512"/>
                  </a:lnTo>
                  <a:cubicBezTo>
                    <a:pt x="7536" y="4526"/>
                    <a:pt x="7563" y="4529"/>
                    <a:pt x="7590" y="4529"/>
                  </a:cubicBezTo>
                  <a:cubicBezTo>
                    <a:pt x="7618" y="4529"/>
                    <a:pt x="7645" y="4526"/>
                    <a:pt x="7666" y="4512"/>
                  </a:cubicBezTo>
                  <a:lnTo>
                    <a:pt x="14263" y="1174"/>
                  </a:lnTo>
                  <a:lnTo>
                    <a:pt x="13707" y="851"/>
                  </a:lnTo>
                  <a:cubicBezTo>
                    <a:pt x="13601" y="1082"/>
                    <a:pt x="13444" y="1277"/>
                    <a:pt x="13273" y="1376"/>
                  </a:cubicBezTo>
                  <a:cubicBezTo>
                    <a:pt x="13198" y="1420"/>
                    <a:pt x="13119" y="1440"/>
                    <a:pt x="13048" y="1440"/>
                  </a:cubicBezTo>
                  <a:cubicBezTo>
                    <a:pt x="12990" y="1440"/>
                    <a:pt x="12935" y="1427"/>
                    <a:pt x="12888" y="1396"/>
                  </a:cubicBezTo>
                  <a:cubicBezTo>
                    <a:pt x="12884" y="1396"/>
                    <a:pt x="12881" y="1393"/>
                    <a:pt x="12881" y="1393"/>
                  </a:cubicBezTo>
                  <a:lnTo>
                    <a:pt x="13017" y="1314"/>
                  </a:lnTo>
                  <a:lnTo>
                    <a:pt x="13048" y="1314"/>
                  </a:lnTo>
                  <a:cubicBezTo>
                    <a:pt x="13109" y="1314"/>
                    <a:pt x="13168" y="1290"/>
                    <a:pt x="13209" y="1267"/>
                  </a:cubicBezTo>
                  <a:cubicBezTo>
                    <a:pt x="13362" y="1178"/>
                    <a:pt x="13499" y="1001"/>
                    <a:pt x="13598" y="789"/>
                  </a:cubicBezTo>
                  <a:lnTo>
                    <a:pt x="13368" y="659"/>
                  </a:lnTo>
                  <a:lnTo>
                    <a:pt x="13368" y="1109"/>
                  </a:lnTo>
                  <a:lnTo>
                    <a:pt x="7683" y="4184"/>
                  </a:lnTo>
                  <a:cubicBezTo>
                    <a:pt x="7659" y="4202"/>
                    <a:pt x="7625" y="4209"/>
                    <a:pt x="7590" y="4209"/>
                  </a:cubicBezTo>
                  <a:cubicBezTo>
                    <a:pt x="7573" y="4209"/>
                    <a:pt x="7553" y="4205"/>
                    <a:pt x="7536" y="4202"/>
                  </a:cubicBezTo>
                  <a:cubicBezTo>
                    <a:pt x="7522" y="4198"/>
                    <a:pt x="7508" y="4192"/>
                    <a:pt x="7495" y="4184"/>
                  </a:cubicBezTo>
                  <a:lnTo>
                    <a:pt x="242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51" name="Google Shape;6701;p41">
              <a:extLst>
                <a:ext uri="{FF2B5EF4-FFF2-40B4-BE49-F238E27FC236}">
                  <a16:creationId xmlns:a16="http://schemas.microsoft.com/office/drawing/2014/main" id="{B65D765B-CBC1-6F42-9D19-A74F86A7D366}"/>
                </a:ext>
              </a:extLst>
            </p:cNvPr>
            <p:cNvSpPr/>
            <p:nvPr/>
          </p:nvSpPr>
          <p:spPr>
            <a:xfrm>
              <a:off x="5158875" y="3267225"/>
              <a:ext cx="10075" cy="5150"/>
            </a:xfrm>
            <a:custGeom>
              <a:avLst/>
              <a:gdLst/>
              <a:ahLst/>
              <a:cxnLst/>
              <a:rect l="l" t="t" r="r" b="b"/>
              <a:pathLst>
                <a:path w="403" h="206" extrusionOk="0">
                  <a:moveTo>
                    <a:pt x="403" y="1"/>
                  </a:moveTo>
                  <a:lnTo>
                    <a:pt x="1" y="206"/>
                  </a:lnTo>
                  <a:lnTo>
                    <a:pt x="1" y="206"/>
                  </a:lnTo>
                  <a:close/>
                </a:path>
              </a:pathLst>
            </a:custGeom>
            <a:solidFill>
              <a:srgbClr val="37485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52" name="Google Shape;6702;p41">
              <a:extLst>
                <a:ext uri="{FF2B5EF4-FFF2-40B4-BE49-F238E27FC236}">
                  <a16:creationId xmlns:a16="http://schemas.microsoft.com/office/drawing/2014/main" id="{65FC8B74-830E-394C-92E2-E9C072A93778}"/>
                </a:ext>
              </a:extLst>
            </p:cNvPr>
            <p:cNvSpPr/>
            <p:nvPr/>
          </p:nvSpPr>
          <p:spPr>
            <a:xfrm>
              <a:off x="5000500" y="3352050"/>
              <a:ext cx="800" cy="350"/>
            </a:xfrm>
            <a:custGeom>
              <a:avLst/>
              <a:gdLst/>
              <a:ahLst/>
              <a:cxnLst/>
              <a:rect l="l" t="t" r="r" b="b"/>
              <a:pathLst>
                <a:path w="32" h="14" extrusionOk="0">
                  <a:moveTo>
                    <a:pt x="32" y="1"/>
                  </a:moveTo>
                  <a:lnTo>
                    <a:pt x="32" y="1"/>
                  </a:lnTo>
                  <a:cubicBezTo>
                    <a:pt x="21" y="7"/>
                    <a:pt x="11" y="10"/>
                    <a:pt x="1" y="14"/>
                  </a:cubicBezTo>
                  <a:cubicBezTo>
                    <a:pt x="14" y="10"/>
                    <a:pt x="25" y="7"/>
                    <a:pt x="32" y="1"/>
                  </a:cubicBez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53" name="Google Shape;6703;p41">
              <a:extLst>
                <a:ext uri="{FF2B5EF4-FFF2-40B4-BE49-F238E27FC236}">
                  <a16:creationId xmlns:a16="http://schemas.microsoft.com/office/drawing/2014/main" id="{416AE301-6A8A-D647-BFDA-3B7A5B3356B2}"/>
                </a:ext>
              </a:extLst>
            </p:cNvPr>
            <p:cNvSpPr/>
            <p:nvPr/>
          </p:nvSpPr>
          <p:spPr>
            <a:xfrm>
              <a:off x="4999400" y="3263575"/>
              <a:ext cx="169550" cy="88900"/>
            </a:xfrm>
            <a:custGeom>
              <a:avLst/>
              <a:gdLst/>
              <a:ahLst/>
              <a:cxnLst/>
              <a:rect l="l" t="t" r="r" b="b"/>
              <a:pathLst>
                <a:path w="6782" h="3556" extrusionOk="0">
                  <a:moveTo>
                    <a:pt x="6782" y="0"/>
                  </a:moveTo>
                  <a:lnTo>
                    <a:pt x="6683" y="58"/>
                  </a:lnTo>
                  <a:lnTo>
                    <a:pt x="6673" y="54"/>
                  </a:lnTo>
                  <a:lnTo>
                    <a:pt x="76" y="3392"/>
                  </a:lnTo>
                  <a:cubicBezTo>
                    <a:pt x="55" y="3406"/>
                    <a:pt x="28" y="3409"/>
                    <a:pt x="0" y="3409"/>
                  </a:cubicBezTo>
                  <a:lnTo>
                    <a:pt x="0" y="3556"/>
                  </a:lnTo>
                  <a:cubicBezTo>
                    <a:pt x="14" y="3556"/>
                    <a:pt x="31" y="3556"/>
                    <a:pt x="45" y="3553"/>
                  </a:cubicBezTo>
                  <a:cubicBezTo>
                    <a:pt x="55" y="3549"/>
                    <a:pt x="65" y="3546"/>
                    <a:pt x="76" y="3540"/>
                  </a:cubicBezTo>
                  <a:lnTo>
                    <a:pt x="6380" y="352"/>
                  </a:lnTo>
                  <a:lnTo>
                    <a:pt x="6782" y="147"/>
                  </a:lnTo>
                  <a:lnTo>
                    <a:pt x="6782" y="0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54" name="Google Shape;6704;p41">
              <a:extLst>
                <a:ext uri="{FF2B5EF4-FFF2-40B4-BE49-F238E27FC236}">
                  <a16:creationId xmlns:a16="http://schemas.microsoft.com/office/drawing/2014/main" id="{1EBA948F-7742-634C-ABA6-A4C95BF30B83}"/>
                </a:ext>
              </a:extLst>
            </p:cNvPr>
            <p:cNvSpPr/>
            <p:nvPr/>
          </p:nvSpPr>
          <p:spPr>
            <a:xfrm>
              <a:off x="4975600" y="3105875"/>
              <a:ext cx="190900" cy="159175"/>
            </a:xfrm>
            <a:custGeom>
              <a:avLst/>
              <a:gdLst/>
              <a:ahLst/>
              <a:cxnLst/>
              <a:rect l="l" t="t" r="r" b="b"/>
              <a:pathLst>
                <a:path w="7636" h="6367" extrusionOk="0">
                  <a:moveTo>
                    <a:pt x="0" y="1"/>
                  </a:moveTo>
                  <a:lnTo>
                    <a:pt x="0" y="1964"/>
                  </a:lnTo>
                  <a:lnTo>
                    <a:pt x="7635" y="6366"/>
                  </a:lnTo>
                  <a:lnTo>
                    <a:pt x="7635" y="4427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55" name="Google Shape;6705;p41">
              <a:extLst>
                <a:ext uri="{FF2B5EF4-FFF2-40B4-BE49-F238E27FC236}">
                  <a16:creationId xmlns:a16="http://schemas.microsoft.com/office/drawing/2014/main" id="{A9CCB0EB-4F0F-8D48-A65A-1B7FB2200714}"/>
                </a:ext>
              </a:extLst>
            </p:cNvPr>
            <p:cNvSpPr/>
            <p:nvPr/>
          </p:nvSpPr>
          <p:spPr>
            <a:xfrm>
              <a:off x="5133525" y="3220050"/>
              <a:ext cx="32975" cy="45000"/>
            </a:xfrm>
            <a:custGeom>
              <a:avLst/>
              <a:gdLst/>
              <a:ahLst/>
              <a:cxnLst/>
              <a:rect l="l" t="t" r="r" b="b"/>
              <a:pathLst>
                <a:path w="1319" h="1800" extrusionOk="0">
                  <a:moveTo>
                    <a:pt x="618" y="427"/>
                  </a:moveTo>
                  <a:lnTo>
                    <a:pt x="69" y="761"/>
                  </a:lnTo>
                  <a:cubicBezTo>
                    <a:pt x="45" y="799"/>
                    <a:pt x="21" y="840"/>
                    <a:pt x="0" y="881"/>
                  </a:cubicBezTo>
                  <a:lnTo>
                    <a:pt x="413" y="1119"/>
                  </a:lnTo>
                  <a:lnTo>
                    <a:pt x="413" y="1280"/>
                  </a:lnTo>
                  <a:lnTo>
                    <a:pt x="643" y="1410"/>
                  </a:lnTo>
                  <a:cubicBezTo>
                    <a:pt x="717" y="1239"/>
                    <a:pt x="769" y="1045"/>
                    <a:pt x="772" y="864"/>
                  </a:cubicBezTo>
                  <a:cubicBezTo>
                    <a:pt x="779" y="653"/>
                    <a:pt x="725" y="489"/>
                    <a:pt x="622" y="427"/>
                  </a:cubicBezTo>
                  <a:close/>
                  <a:moveTo>
                    <a:pt x="1318" y="0"/>
                  </a:moveTo>
                  <a:lnTo>
                    <a:pt x="734" y="355"/>
                  </a:lnTo>
                  <a:cubicBezTo>
                    <a:pt x="847" y="454"/>
                    <a:pt x="909" y="635"/>
                    <a:pt x="898" y="867"/>
                  </a:cubicBezTo>
                  <a:cubicBezTo>
                    <a:pt x="895" y="1072"/>
                    <a:pt x="840" y="1283"/>
                    <a:pt x="752" y="1472"/>
                  </a:cubicBezTo>
                  <a:lnTo>
                    <a:pt x="1318" y="1799"/>
                  </a:lnTo>
                  <a:lnTo>
                    <a:pt x="1318" y="1792"/>
                  </a:lnTo>
                  <a:lnTo>
                    <a:pt x="1318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56" name="Google Shape;6706;p41">
              <a:extLst>
                <a:ext uri="{FF2B5EF4-FFF2-40B4-BE49-F238E27FC236}">
                  <a16:creationId xmlns:a16="http://schemas.microsoft.com/office/drawing/2014/main" id="{1305210B-CE2F-EE4D-A4A0-18573957B979}"/>
                </a:ext>
              </a:extLst>
            </p:cNvPr>
            <p:cNvSpPr/>
            <p:nvPr/>
          </p:nvSpPr>
          <p:spPr>
            <a:xfrm>
              <a:off x="4808525" y="3137875"/>
              <a:ext cx="335350" cy="202900"/>
            </a:xfrm>
            <a:custGeom>
              <a:avLst/>
              <a:gdLst/>
              <a:ahLst/>
              <a:cxnLst/>
              <a:rect l="l" t="t" r="r" b="b"/>
              <a:pathLst>
                <a:path w="13414" h="8116" extrusionOk="0">
                  <a:moveTo>
                    <a:pt x="5782" y="0"/>
                  </a:moveTo>
                  <a:lnTo>
                    <a:pt x="96" y="3079"/>
                  </a:lnTo>
                  <a:cubicBezTo>
                    <a:pt x="41" y="3106"/>
                    <a:pt x="0" y="3182"/>
                    <a:pt x="0" y="3239"/>
                  </a:cubicBezTo>
                  <a:lnTo>
                    <a:pt x="0" y="3636"/>
                  </a:lnTo>
                  <a:cubicBezTo>
                    <a:pt x="0" y="3697"/>
                    <a:pt x="41" y="3768"/>
                    <a:pt x="96" y="3796"/>
                  </a:cubicBezTo>
                  <a:lnTo>
                    <a:pt x="7544" y="8092"/>
                  </a:lnTo>
                  <a:cubicBezTo>
                    <a:pt x="7569" y="8108"/>
                    <a:pt x="7602" y="8116"/>
                    <a:pt x="7635" y="8116"/>
                  </a:cubicBezTo>
                  <a:cubicBezTo>
                    <a:pt x="7669" y="8116"/>
                    <a:pt x="7702" y="8108"/>
                    <a:pt x="7728" y="8092"/>
                  </a:cubicBezTo>
                  <a:lnTo>
                    <a:pt x="13413" y="5017"/>
                  </a:lnTo>
                  <a:lnTo>
                    <a:pt x="13413" y="4406"/>
                  </a:lnTo>
                  <a:lnTo>
                    <a:pt x="5782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57" name="Google Shape;6707;p41">
              <a:extLst>
                <a:ext uri="{FF2B5EF4-FFF2-40B4-BE49-F238E27FC236}">
                  <a16:creationId xmlns:a16="http://schemas.microsoft.com/office/drawing/2014/main" id="{033A64C5-B714-2B45-9B6B-1EA7710A5E07}"/>
                </a:ext>
              </a:extLst>
            </p:cNvPr>
            <p:cNvSpPr/>
            <p:nvPr/>
          </p:nvSpPr>
          <p:spPr>
            <a:xfrm>
              <a:off x="4809550" y="3137875"/>
              <a:ext cx="334325" cy="187625"/>
            </a:xfrm>
            <a:custGeom>
              <a:avLst/>
              <a:gdLst/>
              <a:ahLst/>
              <a:cxnLst/>
              <a:rect l="l" t="t" r="r" b="b"/>
              <a:pathLst>
                <a:path w="13373" h="7505" extrusionOk="0">
                  <a:moveTo>
                    <a:pt x="5741" y="0"/>
                  </a:moveTo>
                  <a:lnTo>
                    <a:pt x="55" y="3079"/>
                  </a:lnTo>
                  <a:cubicBezTo>
                    <a:pt x="0" y="3106"/>
                    <a:pt x="0" y="3154"/>
                    <a:pt x="55" y="3185"/>
                  </a:cubicBezTo>
                  <a:lnTo>
                    <a:pt x="7503" y="7482"/>
                  </a:lnTo>
                  <a:cubicBezTo>
                    <a:pt x="7528" y="7497"/>
                    <a:pt x="7561" y="7505"/>
                    <a:pt x="7594" y="7505"/>
                  </a:cubicBezTo>
                  <a:cubicBezTo>
                    <a:pt x="7628" y="7505"/>
                    <a:pt x="7661" y="7497"/>
                    <a:pt x="7687" y="7482"/>
                  </a:cubicBezTo>
                  <a:lnTo>
                    <a:pt x="13372" y="4406"/>
                  </a:lnTo>
                  <a:lnTo>
                    <a:pt x="5741" y="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58" name="Google Shape;6708;p41">
              <a:extLst>
                <a:ext uri="{FF2B5EF4-FFF2-40B4-BE49-F238E27FC236}">
                  <a16:creationId xmlns:a16="http://schemas.microsoft.com/office/drawing/2014/main" id="{455ECDBD-31E0-4A4A-B6CA-379F88359AF9}"/>
                </a:ext>
              </a:extLst>
            </p:cNvPr>
            <p:cNvSpPr/>
            <p:nvPr/>
          </p:nvSpPr>
          <p:spPr>
            <a:xfrm>
              <a:off x="5124225" y="3245950"/>
              <a:ext cx="7700" cy="4025"/>
            </a:xfrm>
            <a:custGeom>
              <a:avLst/>
              <a:gdLst/>
              <a:ahLst/>
              <a:cxnLst/>
              <a:rect l="l" t="t" r="r" b="b"/>
              <a:pathLst>
                <a:path w="308" h="161" extrusionOk="0">
                  <a:moveTo>
                    <a:pt x="136" y="1"/>
                  </a:moveTo>
                  <a:cubicBezTo>
                    <a:pt x="104" y="1"/>
                    <a:pt x="72" y="8"/>
                    <a:pt x="48" y="19"/>
                  </a:cubicBezTo>
                  <a:lnTo>
                    <a:pt x="38" y="29"/>
                  </a:lnTo>
                  <a:cubicBezTo>
                    <a:pt x="1" y="56"/>
                    <a:pt x="7" y="101"/>
                    <a:pt x="62" y="132"/>
                  </a:cubicBezTo>
                  <a:cubicBezTo>
                    <a:pt x="83" y="142"/>
                    <a:pt x="103" y="152"/>
                    <a:pt x="127" y="155"/>
                  </a:cubicBezTo>
                  <a:cubicBezTo>
                    <a:pt x="141" y="158"/>
                    <a:pt x="156" y="160"/>
                    <a:pt x="171" y="160"/>
                  </a:cubicBezTo>
                  <a:cubicBezTo>
                    <a:pt x="190" y="160"/>
                    <a:pt x="209" y="158"/>
                    <a:pt x="226" y="152"/>
                  </a:cubicBezTo>
                  <a:cubicBezTo>
                    <a:pt x="240" y="152"/>
                    <a:pt x="250" y="145"/>
                    <a:pt x="257" y="142"/>
                  </a:cubicBezTo>
                  <a:cubicBezTo>
                    <a:pt x="308" y="115"/>
                    <a:pt x="305" y="63"/>
                    <a:pt x="243" y="29"/>
                  </a:cubicBezTo>
                  <a:cubicBezTo>
                    <a:pt x="219" y="15"/>
                    <a:pt x="188" y="6"/>
                    <a:pt x="155" y="1"/>
                  </a:cubicBezTo>
                  <a:cubicBezTo>
                    <a:pt x="149" y="1"/>
                    <a:pt x="142" y="1"/>
                    <a:pt x="13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59" name="Google Shape;6709;p41">
              <a:extLst>
                <a:ext uri="{FF2B5EF4-FFF2-40B4-BE49-F238E27FC236}">
                  <a16:creationId xmlns:a16="http://schemas.microsoft.com/office/drawing/2014/main" id="{127E7B1E-E5CC-454C-B5F3-087F5B8B045D}"/>
                </a:ext>
              </a:extLst>
            </p:cNvPr>
            <p:cNvSpPr/>
            <p:nvPr/>
          </p:nvSpPr>
          <p:spPr>
            <a:xfrm>
              <a:off x="4808525" y="3215250"/>
              <a:ext cx="190900" cy="125550"/>
            </a:xfrm>
            <a:custGeom>
              <a:avLst/>
              <a:gdLst/>
              <a:ahLst/>
              <a:cxnLst/>
              <a:rect l="l" t="t" r="r" b="b"/>
              <a:pathLst>
                <a:path w="7636" h="5022" extrusionOk="0">
                  <a:moveTo>
                    <a:pt x="72" y="1"/>
                  </a:moveTo>
                  <a:cubicBezTo>
                    <a:pt x="31" y="35"/>
                    <a:pt x="0" y="93"/>
                    <a:pt x="0" y="144"/>
                  </a:cubicBezTo>
                  <a:lnTo>
                    <a:pt x="0" y="541"/>
                  </a:lnTo>
                  <a:cubicBezTo>
                    <a:pt x="0" y="599"/>
                    <a:pt x="41" y="673"/>
                    <a:pt x="93" y="704"/>
                  </a:cubicBezTo>
                  <a:lnTo>
                    <a:pt x="7540" y="4997"/>
                  </a:lnTo>
                  <a:cubicBezTo>
                    <a:pt x="7567" y="5015"/>
                    <a:pt x="7602" y="5022"/>
                    <a:pt x="7635" y="5022"/>
                  </a:cubicBezTo>
                  <a:lnTo>
                    <a:pt x="7635" y="4408"/>
                  </a:lnTo>
                  <a:cubicBezTo>
                    <a:pt x="7631" y="4408"/>
                    <a:pt x="7627" y="4408"/>
                    <a:pt x="7623" y="4408"/>
                  </a:cubicBezTo>
                  <a:cubicBezTo>
                    <a:pt x="7593" y="4408"/>
                    <a:pt x="7564" y="4399"/>
                    <a:pt x="7540" y="4387"/>
                  </a:cubicBezTo>
                  <a:lnTo>
                    <a:pt x="93" y="90"/>
                  </a:lnTo>
                  <a:cubicBezTo>
                    <a:pt x="52" y="66"/>
                    <a:pt x="45" y="29"/>
                    <a:pt x="72" y="1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60" name="Google Shape;6710;p41">
              <a:extLst>
                <a:ext uri="{FF2B5EF4-FFF2-40B4-BE49-F238E27FC236}">
                  <a16:creationId xmlns:a16="http://schemas.microsoft.com/office/drawing/2014/main" id="{89B48237-4465-DB4F-817D-76DB1D18E300}"/>
                </a:ext>
              </a:extLst>
            </p:cNvPr>
            <p:cNvSpPr/>
            <p:nvPr/>
          </p:nvSpPr>
          <p:spPr>
            <a:xfrm>
              <a:off x="5127900" y="3226975"/>
              <a:ext cx="28350" cy="44625"/>
            </a:xfrm>
            <a:custGeom>
              <a:avLst/>
              <a:gdLst/>
              <a:ahLst/>
              <a:cxnLst/>
              <a:rect l="l" t="t" r="r" b="b"/>
              <a:pathLst>
                <a:path w="1134" h="1785" extrusionOk="0">
                  <a:moveTo>
                    <a:pt x="749" y="0"/>
                  </a:moveTo>
                  <a:cubicBezTo>
                    <a:pt x="679" y="0"/>
                    <a:pt x="603" y="22"/>
                    <a:pt x="526" y="64"/>
                  </a:cubicBezTo>
                  <a:cubicBezTo>
                    <a:pt x="294" y="201"/>
                    <a:pt x="93" y="508"/>
                    <a:pt x="0" y="846"/>
                  </a:cubicBezTo>
                  <a:cubicBezTo>
                    <a:pt x="44" y="853"/>
                    <a:pt x="99" y="860"/>
                    <a:pt x="126" y="863"/>
                  </a:cubicBezTo>
                  <a:cubicBezTo>
                    <a:pt x="212" y="566"/>
                    <a:pt x="389" y="289"/>
                    <a:pt x="588" y="174"/>
                  </a:cubicBezTo>
                  <a:cubicBezTo>
                    <a:pt x="632" y="150"/>
                    <a:pt x="690" y="126"/>
                    <a:pt x="748" y="126"/>
                  </a:cubicBezTo>
                  <a:cubicBezTo>
                    <a:pt x="782" y="126"/>
                    <a:pt x="816" y="133"/>
                    <a:pt x="847" y="150"/>
                  </a:cubicBezTo>
                  <a:cubicBezTo>
                    <a:pt x="950" y="212"/>
                    <a:pt x="1004" y="376"/>
                    <a:pt x="997" y="587"/>
                  </a:cubicBezTo>
                  <a:cubicBezTo>
                    <a:pt x="986" y="993"/>
                    <a:pt x="755" y="1450"/>
                    <a:pt x="479" y="1611"/>
                  </a:cubicBezTo>
                  <a:cubicBezTo>
                    <a:pt x="435" y="1637"/>
                    <a:pt x="379" y="1661"/>
                    <a:pt x="319" y="1661"/>
                  </a:cubicBezTo>
                  <a:cubicBezTo>
                    <a:pt x="308" y="1661"/>
                    <a:pt x="298" y="1660"/>
                    <a:pt x="287" y="1658"/>
                  </a:cubicBezTo>
                  <a:lnTo>
                    <a:pt x="151" y="1737"/>
                  </a:lnTo>
                  <a:cubicBezTo>
                    <a:pt x="151" y="1737"/>
                    <a:pt x="154" y="1740"/>
                    <a:pt x="158" y="1740"/>
                  </a:cubicBezTo>
                  <a:cubicBezTo>
                    <a:pt x="205" y="1771"/>
                    <a:pt x="260" y="1784"/>
                    <a:pt x="318" y="1784"/>
                  </a:cubicBezTo>
                  <a:cubicBezTo>
                    <a:pt x="389" y="1784"/>
                    <a:pt x="468" y="1764"/>
                    <a:pt x="543" y="1720"/>
                  </a:cubicBezTo>
                  <a:cubicBezTo>
                    <a:pt x="857" y="1539"/>
                    <a:pt x="1113" y="1044"/>
                    <a:pt x="1123" y="590"/>
                  </a:cubicBezTo>
                  <a:cubicBezTo>
                    <a:pt x="1134" y="327"/>
                    <a:pt x="1055" y="130"/>
                    <a:pt x="912" y="44"/>
                  </a:cubicBezTo>
                  <a:cubicBezTo>
                    <a:pt x="862" y="15"/>
                    <a:pt x="808" y="0"/>
                    <a:pt x="74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61" name="Google Shape;6711;p41">
              <a:extLst>
                <a:ext uri="{FF2B5EF4-FFF2-40B4-BE49-F238E27FC236}">
                  <a16:creationId xmlns:a16="http://schemas.microsoft.com/office/drawing/2014/main" id="{D9287F65-3146-3E40-ADAD-BEAB46361D81}"/>
                </a:ext>
              </a:extLst>
            </p:cNvPr>
            <p:cNvSpPr/>
            <p:nvPr/>
          </p:nvSpPr>
          <p:spPr>
            <a:xfrm>
              <a:off x="4808525" y="3104600"/>
              <a:ext cx="360425" cy="216850"/>
            </a:xfrm>
            <a:custGeom>
              <a:avLst/>
              <a:gdLst/>
              <a:ahLst/>
              <a:cxnLst/>
              <a:rect l="l" t="t" r="r" b="b"/>
              <a:pathLst>
                <a:path w="14417" h="8674" extrusionOk="0">
                  <a:moveTo>
                    <a:pt x="6789" y="0"/>
                  </a:moveTo>
                  <a:lnTo>
                    <a:pt x="76" y="4099"/>
                  </a:lnTo>
                  <a:cubicBezTo>
                    <a:pt x="35" y="4124"/>
                    <a:pt x="0" y="4178"/>
                    <a:pt x="0" y="4219"/>
                  </a:cubicBezTo>
                  <a:cubicBezTo>
                    <a:pt x="0" y="4260"/>
                    <a:pt x="35" y="4311"/>
                    <a:pt x="76" y="4335"/>
                  </a:cubicBezTo>
                  <a:lnTo>
                    <a:pt x="7561" y="8656"/>
                  </a:lnTo>
                  <a:cubicBezTo>
                    <a:pt x="7581" y="8668"/>
                    <a:pt x="7608" y="8674"/>
                    <a:pt x="7636" y="8674"/>
                  </a:cubicBezTo>
                  <a:cubicBezTo>
                    <a:pt x="7663" y="8674"/>
                    <a:pt x="7690" y="8668"/>
                    <a:pt x="7711" y="8656"/>
                  </a:cubicBezTo>
                  <a:lnTo>
                    <a:pt x="14417" y="4554"/>
                  </a:lnTo>
                  <a:lnTo>
                    <a:pt x="14417" y="4406"/>
                  </a:lnTo>
                  <a:lnTo>
                    <a:pt x="6789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62" name="Google Shape;6712;p41">
              <a:extLst>
                <a:ext uri="{FF2B5EF4-FFF2-40B4-BE49-F238E27FC236}">
                  <a16:creationId xmlns:a16="http://schemas.microsoft.com/office/drawing/2014/main" id="{81D1CCFD-EBA1-FF43-B97A-D3780D93D4FB}"/>
                </a:ext>
              </a:extLst>
            </p:cNvPr>
            <p:cNvSpPr/>
            <p:nvPr/>
          </p:nvSpPr>
          <p:spPr>
            <a:xfrm>
              <a:off x="4809725" y="3207075"/>
              <a:ext cx="2575" cy="7025"/>
            </a:xfrm>
            <a:custGeom>
              <a:avLst/>
              <a:gdLst/>
              <a:ahLst/>
              <a:cxnLst/>
              <a:rect l="l" t="t" r="r" b="b"/>
              <a:pathLst>
                <a:path w="103" h="281" extrusionOk="0">
                  <a:moveTo>
                    <a:pt x="28" y="0"/>
                  </a:moveTo>
                  <a:cubicBezTo>
                    <a:pt x="25" y="3"/>
                    <a:pt x="21" y="6"/>
                    <a:pt x="18" y="9"/>
                  </a:cubicBezTo>
                  <a:lnTo>
                    <a:pt x="18" y="9"/>
                  </a:lnTo>
                  <a:cubicBezTo>
                    <a:pt x="19" y="9"/>
                    <a:pt x="20" y="8"/>
                    <a:pt x="21" y="8"/>
                  </a:cubicBezTo>
                  <a:cubicBezTo>
                    <a:pt x="24" y="4"/>
                    <a:pt x="24" y="4"/>
                    <a:pt x="28" y="0"/>
                  </a:cubicBezTo>
                  <a:close/>
                  <a:moveTo>
                    <a:pt x="18" y="9"/>
                  </a:moveTo>
                  <a:lnTo>
                    <a:pt x="18" y="9"/>
                  </a:lnTo>
                  <a:cubicBezTo>
                    <a:pt x="13" y="12"/>
                    <a:pt x="9" y="15"/>
                    <a:pt x="4" y="21"/>
                  </a:cubicBezTo>
                  <a:cubicBezTo>
                    <a:pt x="8" y="17"/>
                    <a:pt x="13" y="13"/>
                    <a:pt x="18" y="9"/>
                  </a:cubicBezTo>
                  <a:close/>
                  <a:moveTo>
                    <a:pt x="1" y="216"/>
                  </a:moveTo>
                  <a:cubicBezTo>
                    <a:pt x="8" y="223"/>
                    <a:pt x="13" y="228"/>
                    <a:pt x="20" y="232"/>
                  </a:cubicBezTo>
                  <a:lnTo>
                    <a:pt x="20" y="232"/>
                  </a:lnTo>
                  <a:cubicBezTo>
                    <a:pt x="14" y="228"/>
                    <a:pt x="7" y="222"/>
                    <a:pt x="1" y="216"/>
                  </a:cubicBezTo>
                  <a:close/>
                  <a:moveTo>
                    <a:pt x="20" y="232"/>
                  </a:moveTo>
                  <a:lnTo>
                    <a:pt x="20" y="232"/>
                  </a:lnTo>
                  <a:cubicBezTo>
                    <a:pt x="23" y="235"/>
                    <a:pt x="25" y="237"/>
                    <a:pt x="28" y="239"/>
                  </a:cubicBezTo>
                  <a:lnTo>
                    <a:pt x="103" y="280"/>
                  </a:lnTo>
                  <a:lnTo>
                    <a:pt x="103" y="280"/>
                  </a:lnTo>
                  <a:lnTo>
                    <a:pt x="28" y="236"/>
                  </a:lnTo>
                  <a:cubicBezTo>
                    <a:pt x="25" y="235"/>
                    <a:pt x="22" y="234"/>
                    <a:pt x="20" y="232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63" name="Google Shape;6713;p41">
              <a:extLst>
                <a:ext uri="{FF2B5EF4-FFF2-40B4-BE49-F238E27FC236}">
                  <a16:creationId xmlns:a16="http://schemas.microsoft.com/office/drawing/2014/main" id="{9B6922E6-4B32-D340-BA40-FCA6FFF6AD95}"/>
                </a:ext>
              </a:extLst>
            </p:cNvPr>
            <p:cNvSpPr/>
            <p:nvPr/>
          </p:nvSpPr>
          <p:spPr>
            <a:xfrm>
              <a:off x="4812300" y="3214075"/>
              <a:ext cx="185325" cy="106925"/>
            </a:xfrm>
            <a:custGeom>
              <a:avLst/>
              <a:gdLst/>
              <a:ahLst/>
              <a:cxnLst/>
              <a:rect l="l" t="t" r="r" b="b"/>
              <a:pathLst>
                <a:path w="7413" h="4277" extrusionOk="0">
                  <a:moveTo>
                    <a:pt x="0" y="0"/>
                  </a:moveTo>
                  <a:lnTo>
                    <a:pt x="0" y="0"/>
                  </a:lnTo>
                  <a:lnTo>
                    <a:pt x="7410" y="4277"/>
                  </a:lnTo>
                  <a:lnTo>
                    <a:pt x="7413" y="4277"/>
                  </a:lnTo>
                  <a:lnTo>
                    <a:pt x="7410" y="4277"/>
                  </a:ln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64" name="Google Shape;6714;p41">
              <a:extLst>
                <a:ext uri="{FF2B5EF4-FFF2-40B4-BE49-F238E27FC236}">
                  <a16:creationId xmlns:a16="http://schemas.microsoft.com/office/drawing/2014/main" id="{EE894ED6-40DB-4F46-A806-4507FB2F6FC3}"/>
                </a:ext>
              </a:extLst>
            </p:cNvPr>
            <p:cNvSpPr/>
            <p:nvPr/>
          </p:nvSpPr>
          <p:spPr>
            <a:xfrm>
              <a:off x="4808525" y="3207250"/>
              <a:ext cx="190900" cy="114200"/>
            </a:xfrm>
            <a:custGeom>
              <a:avLst/>
              <a:gdLst/>
              <a:ahLst/>
              <a:cxnLst/>
              <a:rect l="l" t="t" r="r" b="b"/>
              <a:pathLst>
                <a:path w="7636" h="4568" extrusionOk="0">
                  <a:moveTo>
                    <a:pt x="69" y="1"/>
                  </a:moveTo>
                  <a:cubicBezTo>
                    <a:pt x="62" y="4"/>
                    <a:pt x="58" y="7"/>
                    <a:pt x="52" y="14"/>
                  </a:cubicBezTo>
                  <a:cubicBezTo>
                    <a:pt x="38" y="28"/>
                    <a:pt x="25" y="45"/>
                    <a:pt x="14" y="62"/>
                  </a:cubicBezTo>
                  <a:cubicBezTo>
                    <a:pt x="8" y="79"/>
                    <a:pt x="0" y="96"/>
                    <a:pt x="0" y="113"/>
                  </a:cubicBezTo>
                  <a:cubicBezTo>
                    <a:pt x="0" y="130"/>
                    <a:pt x="8" y="147"/>
                    <a:pt x="17" y="164"/>
                  </a:cubicBezTo>
                  <a:cubicBezTo>
                    <a:pt x="25" y="182"/>
                    <a:pt x="35" y="198"/>
                    <a:pt x="49" y="209"/>
                  </a:cubicBezTo>
                  <a:cubicBezTo>
                    <a:pt x="58" y="218"/>
                    <a:pt x="66" y="226"/>
                    <a:pt x="76" y="229"/>
                  </a:cubicBezTo>
                  <a:lnTo>
                    <a:pt x="151" y="273"/>
                  </a:lnTo>
                  <a:lnTo>
                    <a:pt x="7561" y="4550"/>
                  </a:lnTo>
                  <a:lnTo>
                    <a:pt x="7564" y="4550"/>
                  </a:lnTo>
                  <a:cubicBezTo>
                    <a:pt x="7584" y="4560"/>
                    <a:pt x="7608" y="4567"/>
                    <a:pt x="7635" y="4567"/>
                  </a:cubicBezTo>
                  <a:lnTo>
                    <a:pt x="7635" y="4416"/>
                  </a:lnTo>
                  <a:cubicBezTo>
                    <a:pt x="7608" y="4416"/>
                    <a:pt x="7581" y="4413"/>
                    <a:pt x="7561" y="4400"/>
                  </a:cubicBezTo>
                  <a:lnTo>
                    <a:pt x="76" y="79"/>
                  </a:lnTo>
                  <a:cubicBezTo>
                    <a:pt x="55" y="69"/>
                    <a:pt x="45" y="51"/>
                    <a:pt x="45" y="38"/>
                  </a:cubicBezTo>
                  <a:cubicBezTo>
                    <a:pt x="45" y="24"/>
                    <a:pt x="55" y="10"/>
                    <a:pt x="69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65" name="Google Shape;6715;p41">
              <a:extLst>
                <a:ext uri="{FF2B5EF4-FFF2-40B4-BE49-F238E27FC236}">
                  <a16:creationId xmlns:a16="http://schemas.microsoft.com/office/drawing/2014/main" id="{0F79A271-93E4-6241-BEC7-C3DACFCA0729}"/>
                </a:ext>
              </a:extLst>
            </p:cNvPr>
            <p:cNvSpPr/>
            <p:nvPr/>
          </p:nvSpPr>
          <p:spPr>
            <a:xfrm>
              <a:off x="4809375" y="3104600"/>
              <a:ext cx="359575" cy="213075"/>
            </a:xfrm>
            <a:custGeom>
              <a:avLst/>
              <a:gdLst/>
              <a:ahLst/>
              <a:cxnLst/>
              <a:rect l="l" t="t" r="r" b="b"/>
              <a:pathLst>
                <a:path w="14383" h="8523" extrusionOk="0">
                  <a:moveTo>
                    <a:pt x="6755" y="0"/>
                  </a:moveTo>
                  <a:lnTo>
                    <a:pt x="42" y="4099"/>
                  </a:lnTo>
                  <a:cubicBezTo>
                    <a:pt x="1" y="4124"/>
                    <a:pt x="1" y="4165"/>
                    <a:pt x="42" y="4185"/>
                  </a:cubicBezTo>
                  <a:lnTo>
                    <a:pt x="7527" y="8506"/>
                  </a:lnTo>
                  <a:cubicBezTo>
                    <a:pt x="7547" y="8519"/>
                    <a:pt x="7574" y="8522"/>
                    <a:pt x="7601" y="8522"/>
                  </a:cubicBezTo>
                  <a:cubicBezTo>
                    <a:pt x="7629" y="8522"/>
                    <a:pt x="7656" y="8519"/>
                    <a:pt x="7677" y="8506"/>
                  </a:cubicBezTo>
                  <a:lnTo>
                    <a:pt x="14383" y="4406"/>
                  </a:lnTo>
                  <a:lnTo>
                    <a:pt x="6755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66" name="Google Shape;6716;p41">
              <a:extLst>
                <a:ext uri="{FF2B5EF4-FFF2-40B4-BE49-F238E27FC236}">
                  <a16:creationId xmlns:a16="http://schemas.microsoft.com/office/drawing/2014/main" id="{6D17C950-C235-FB4E-B66A-C1747CC4E219}"/>
                </a:ext>
              </a:extLst>
            </p:cNvPr>
            <p:cNvSpPr/>
            <p:nvPr/>
          </p:nvSpPr>
          <p:spPr>
            <a:xfrm>
              <a:off x="5135250" y="3220050"/>
              <a:ext cx="31250" cy="19050"/>
            </a:xfrm>
            <a:custGeom>
              <a:avLst/>
              <a:gdLst/>
              <a:ahLst/>
              <a:cxnLst/>
              <a:rect l="l" t="t" r="r" b="b"/>
              <a:pathLst>
                <a:path w="1250" h="762" extrusionOk="0">
                  <a:moveTo>
                    <a:pt x="549" y="427"/>
                  </a:moveTo>
                  <a:lnTo>
                    <a:pt x="0" y="761"/>
                  </a:lnTo>
                  <a:lnTo>
                    <a:pt x="0" y="761"/>
                  </a:lnTo>
                  <a:lnTo>
                    <a:pt x="549" y="427"/>
                  </a:lnTo>
                  <a:lnTo>
                    <a:pt x="549" y="427"/>
                  </a:lnTo>
                  <a:close/>
                  <a:moveTo>
                    <a:pt x="1249" y="0"/>
                  </a:moveTo>
                  <a:lnTo>
                    <a:pt x="665" y="355"/>
                  </a:lnTo>
                  <a:lnTo>
                    <a:pt x="665" y="355"/>
                  </a:lnTo>
                  <a:lnTo>
                    <a:pt x="1249" y="0"/>
                  </a:lnTo>
                  <a:close/>
                </a:path>
              </a:pathLst>
            </a:custGeom>
            <a:solidFill>
              <a:srgbClr val="0A352E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67" name="Google Shape;6717;p41">
              <a:extLst>
                <a:ext uri="{FF2B5EF4-FFF2-40B4-BE49-F238E27FC236}">
                  <a16:creationId xmlns:a16="http://schemas.microsoft.com/office/drawing/2014/main" id="{AE0FEFE8-10B2-314C-895F-61CA89628195}"/>
                </a:ext>
              </a:extLst>
            </p:cNvPr>
            <p:cNvSpPr/>
            <p:nvPr/>
          </p:nvSpPr>
          <p:spPr>
            <a:xfrm>
              <a:off x="5000500" y="3242300"/>
              <a:ext cx="129475" cy="78950"/>
            </a:xfrm>
            <a:custGeom>
              <a:avLst/>
              <a:gdLst/>
              <a:ahLst/>
              <a:cxnLst/>
              <a:rect l="l" t="t" r="r" b="b"/>
              <a:pathLst>
                <a:path w="5179" h="3158" extrusionOk="0">
                  <a:moveTo>
                    <a:pt x="5178" y="1"/>
                  </a:moveTo>
                  <a:lnTo>
                    <a:pt x="32" y="3148"/>
                  </a:lnTo>
                  <a:cubicBezTo>
                    <a:pt x="21" y="3151"/>
                    <a:pt x="11" y="3154"/>
                    <a:pt x="1" y="3158"/>
                  </a:cubicBezTo>
                  <a:cubicBezTo>
                    <a:pt x="11" y="3154"/>
                    <a:pt x="21" y="3151"/>
                    <a:pt x="32" y="3148"/>
                  </a:cubicBezTo>
                  <a:lnTo>
                    <a:pt x="5178" y="1"/>
                  </a:lnTo>
                  <a:close/>
                </a:path>
              </a:pathLst>
            </a:custGeom>
            <a:solidFill>
              <a:srgbClr val="C8C8C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68" name="Google Shape;6718;p41">
              <a:extLst>
                <a:ext uri="{FF2B5EF4-FFF2-40B4-BE49-F238E27FC236}">
                  <a16:creationId xmlns:a16="http://schemas.microsoft.com/office/drawing/2014/main" id="{451E7CFF-3DCC-644C-86F3-E1FB2110CF36}"/>
                </a:ext>
              </a:extLst>
            </p:cNvPr>
            <p:cNvSpPr/>
            <p:nvPr/>
          </p:nvSpPr>
          <p:spPr>
            <a:xfrm>
              <a:off x="5129950" y="3228925"/>
              <a:ext cx="21950" cy="13400"/>
            </a:xfrm>
            <a:custGeom>
              <a:avLst/>
              <a:gdLst/>
              <a:ahLst/>
              <a:cxnLst/>
              <a:rect l="l" t="t" r="r" b="b"/>
              <a:pathLst>
                <a:path w="878" h="536" extrusionOk="0">
                  <a:moveTo>
                    <a:pt x="212" y="406"/>
                  </a:moveTo>
                  <a:lnTo>
                    <a:pt x="0" y="536"/>
                  </a:lnTo>
                  <a:lnTo>
                    <a:pt x="0" y="536"/>
                  </a:lnTo>
                  <a:lnTo>
                    <a:pt x="212" y="406"/>
                  </a:lnTo>
                  <a:lnTo>
                    <a:pt x="212" y="406"/>
                  </a:lnTo>
                  <a:close/>
                  <a:moveTo>
                    <a:pt x="877" y="0"/>
                  </a:moveTo>
                  <a:lnTo>
                    <a:pt x="761" y="72"/>
                  </a:lnTo>
                  <a:lnTo>
                    <a:pt x="761" y="72"/>
                  </a:lnTo>
                  <a:lnTo>
                    <a:pt x="877" y="0"/>
                  </a:lnTo>
                  <a:close/>
                </a:path>
              </a:pathLst>
            </a:custGeom>
            <a:solidFill>
              <a:srgbClr val="1E282D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69" name="Google Shape;6719;p41">
              <a:extLst>
                <a:ext uri="{FF2B5EF4-FFF2-40B4-BE49-F238E27FC236}">
                  <a16:creationId xmlns:a16="http://schemas.microsoft.com/office/drawing/2014/main" id="{D4C09869-70C0-7748-9535-2FCF993F0A13}"/>
                </a:ext>
              </a:extLst>
            </p:cNvPr>
            <p:cNvSpPr/>
            <p:nvPr/>
          </p:nvSpPr>
          <p:spPr>
            <a:xfrm>
              <a:off x="4999400" y="3214750"/>
              <a:ext cx="169550" cy="106700"/>
            </a:xfrm>
            <a:custGeom>
              <a:avLst/>
              <a:gdLst/>
              <a:ahLst/>
              <a:cxnLst/>
              <a:rect l="l" t="t" r="r" b="b"/>
              <a:pathLst>
                <a:path w="6782" h="4268" extrusionOk="0">
                  <a:moveTo>
                    <a:pt x="6782" y="0"/>
                  </a:moveTo>
                  <a:lnTo>
                    <a:pt x="76" y="4100"/>
                  </a:lnTo>
                  <a:cubicBezTo>
                    <a:pt x="55" y="4113"/>
                    <a:pt x="28" y="4116"/>
                    <a:pt x="0" y="4116"/>
                  </a:cubicBezTo>
                  <a:lnTo>
                    <a:pt x="0" y="4267"/>
                  </a:lnTo>
                  <a:cubicBezTo>
                    <a:pt x="14" y="4267"/>
                    <a:pt x="31" y="4264"/>
                    <a:pt x="45" y="4260"/>
                  </a:cubicBezTo>
                  <a:cubicBezTo>
                    <a:pt x="55" y="4256"/>
                    <a:pt x="65" y="4253"/>
                    <a:pt x="76" y="4250"/>
                  </a:cubicBezTo>
                  <a:lnTo>
                    <a:pt x="5222" y="1103"/>
                  </a:lnTo>
                  <a:lnTo>
                    <a:pt x="5434" y="973"/>
                  </a:lnTo>
                  <a:lnTo>
                    <a:pt x="5983" y="639"/>
                  </a:lnTo>
                  <a:lnTo>
                    <a:pt x="6099" y="567"/>
                  </a:lnTo>
                  <a:lnTo>
                    <a:pt x="6683" y="212"/>
                  </a:lnTo>
                  <a:lnTo>
                    <a:pt x="6683" y="72"/>
                  </a:lnTo>
                  <a:lnTo>
                    <a:pt x="6782" y="4"/>
                  </a:lnTo>
                  <a:lnTo>
                    <a:pt x="678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70" name="Google Shape;6720;p41">
              <a:extLst>
                <a:ext uri="{FF2B5EF4-FFF2-40B4-BE49-F238E27FC236}">
                  <a16:creationId xmlns:a16="http://schemas.microsoft.com/office/drawing/2014/main" id="{BDD62B60-6638-FA4C-AEC6-FD9C35D65A6C}"/>
                </a:ext>
              </a:extLst>
            </p:cNvPr>
            <p:cNvSpPr/>
            <p:nvPr/>
          </p:nvSpPr>
          <p:spPr>
            <a:xfrm>
              <a:off x="5166475" y="3214850"/>
              <a:ext cx="2475" cy="50200"/>
            </a:xfrm>
            <a:custGeom>
              <a:avLst/>
              <a:gdLst/>
              <a:ahLst/>
              <a:cxnLst/>
              <a:rect l="l" t="t" r="r" b="b"/>
              <a:pathLst>
                <a:path w="99" h="2008" extrusionOk="0">
                  <a:moveTo>
                    <a:pt x="99" y="0"/>
                  </a:moveTo>
                  <a:lnTo>
                    <a:pt x="0" y="68"/>
                  </a:lnTo>
                  <a:lnTo>
                    <a:pt x="0" y="2007"/>
                  </a:lnTo>
                  <a:lnTo>
                    <a:pt x="99" y="1949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71" name="Google Shape;6721;p41">
              <a:extLst>
                <a:ext uri="{FF2B5EF4-FFF2-40B4-BE49-F238E27FC236}">
                  <a16:creationId xmlns:a16="http://schemas.microsoft.com/office/drawing/2014/main" id="{F6B47380-2804-A043-9CEC-7A235D1C6B3D}"/>
                </a:ext>
              </a:extLst>
            </p:cNvPr>
            <p:cNvSpPr/>
            <p:nvPr/>
          </p:nvSpPr>
          <p:spPr>
            <a:xfrm>
              <a:off x="5166475" y="3214850"/>
              <a:ext cx="2475" cy="50200"/>
            </a:xfrm>
            <a:custGeom>
              <a:avLst/>
              <a:gdLst/>
              <a:ahLst/>
              <a:cxnLst/>
              <a:rect l="l" t="t" r="r" b="b"/>
              <a:pathLst>
                <a:path w="99" h="2008" extrusionOk="0">
                  <a:moveTo>
                    <a:pt x="99" y="0"/>
                  </a:moveTo>
                  <a:lnTo>
                    <a:pt x="0" y="68"/>
                  </a:lnTo>
                  <a:lnTo>
                    <a:pt x="0" y="2007"/>
                  </a:lnTo>
                  <a:lnTo>
                    <a:pt x="99" y="1949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72" name="Google Shape;6722;p41">
              <a:extLst>
                <a:ext uri="{FF2B5EF4-FFF2-40B4-BE49-F238E27FC236}">
                  <a16:creationId xmlns:a16="http://schemas.microsoft.com/office/drawing/2014/main" id="{368C0E64-B8C8-B549-9545-B10E9EA1FC57}"/>
                </a:ext>
              </a:extLst>
            </p:cNvPr>
            <p:cNvSpPr/>
            <p:nvPr/>
          </p:nvSpPr>
          <p:spPr>
            <a:xfrm>
              <a:off x="4806825" y="3102800"/>
              <a:ext cx="357875" cy="206675"/>
            </a:xfrm>
            <a:custGeom>
              <a:avLst/>
              <a:gdLst/>
              <a:ahLst/>
              <a:cxnLst/>
              <a:rect l="l" t="t" r="r" b="b"/>
              <a:pathLst>
                <a:path w="14315" h="8267" extrusionOk="0">
                  <a:moveTo>
                    <a:pt x="6784" y="1"/>
                  </a:moveTo>
                  <a:cubicBezTo>
                    <a:pt x="6722" y="1"/>
                    <a:pt x="6661" y="15"/>
                    <a:pt x="6615" y="42"/>
                  </a:cubicBezTo>
                  <a:lnTo>
                    <a:pt x="0" y="3861"/>
                  </a:lnTo>
                  <a:lnTo>
                    <a:pt x="7632" y="8267"/>
                  </a:lnTo>
                  <a:lnTo>
                    <a:pt x="14246" y="4448"/>
                  </a:lnTo>
                  <a:cubicBezTo>
                    <a:pt x="14291" y="4421"/>
                    <a:pt x="14314" y="4387"/>
                    <a:pt x="14314" y="4349"/>
                  </a:cubicBezTo>
                  <a:lnTo>
                    <a:pt x="14314" y="4199"/>
                  </a:lnTo>
                  <a:lnTo>
                    <a:pt x="6956" y="42"/>
                  </a:lnTo>
                  <a:cubicBezTo>
                    <a:pt x="6908" y="15"/>
                    <a:pt x="6846" y="1"/>
                    <a:pt x="6784" y="1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73" name="Google Shape;6723;p41">
              <a:extLst>
                <a:ext uri="{FF2B5EF4-FFF2-40B4-BE49-F238E27FC236}">
                  <a16:creationId xmlns:a16="http://schemas.microsoft.com/office/drawing/2014/main" id="{D77B7E10-EFA3-C248-BBDD-426358D81F2C}"/>
                </a:ext>
              </a:extLst>
            </p:cNvPr>
            <p:cNvSpPr/>
            <p:nvPr/>
          </p:nvSpPr>
          <p:spPr>
            <a:xfrm>
              <a:off x="5000175" y="3207850"/>
              <a:ext cx="164525" cy="100100"/>
            </a:xfrm>
            <a:custGeom>
              <a:avLst/>
              <a:gdLst/>
              <a:ahLst/>
              <a:cxnLst/>
              <a:rect l="l" t="t" r="r" b="b"/>
              <a:pathLst>
                <a:path w="6581" h="4004" extrusionOk="0">
                  <a:moveTo>
                    <a:pt x="6580" y="0"/>
                  </a:moveTo>
                  <a:cubicBezTo>
                    <a:pt x="6580" y="35"/>
                    <a:pt x="6557" y="72"/>
                    <a:pt x="6512" y="99"/>
                  </a:cubicBezTo>
                  <a:lnTo>
                    <a:pt x="0" y="3857"/>
                  </a:lnTo>
                  <a:lnTo>
                    <a:pt x="0" y="4003"/>
                  </a:lnTo>
                  <a:lnTo>
                    <a:pt x="6512" y="246"/>
                  </a:lnTo>
                  <a:cubicBezTo>
                    <a:pt x="6557" y="219"/>
                    <a:pt x="6580" y="185"/>
                    <a:pt x="6580" y="147"/>
                  </a:cubicBezTo>
                  <a:lnTo>
                    <a:pt x="6580" y="126"/>
                  </a:lnTo>
                  <a:lnTo>
                    <a:pt x="6580" y="123"/>
                  </a:lnTo>
                  <a:lnTo>
                    <a:pt x="6580" y="120"/>
                  </a:lnTo>
                  <a:lnTo>
                    <a:pt x="6580" y="117"/>
                  </a:lnTo>
                  <a:lnTo>
                    <a:pt x="6580" y="113"/>
                  </a:lnTo>
                  <a:lnTo>
                    <a:pt x="6580" y="109"/>
                  </a:lnTo>
                  <a:lnTo>
                    <a:pt x="6580" y="106"/>
                  </a:lnTo>
                  <a:lnTo>
                    <a:pt x="6580" y="103"/>
                  </a:lnTo>
                  <a:lnTo>
                    <a:pt x="6580" y="99"/>
                  </a:lnTo>
                  <a:lnTo>
                    <a:pt x="6580" y="96"/>
                  </a:lnTo>
                  <a:lnTo>
                    <a:pt x="658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74" name="Google Shape;6724;p41">
              <a:extLst>
                <a:ext uri="{FF2B5EF4-FFF2-40B4-BE49-F238E27FC236}">
                  <a16:creationId xmlns:a16="http://schemas.microsoft.com/office/drawing/2014/main" id="{C00E3E51-8ACF-B64F-81F4-42777CC011D6}"/>
                </a:ext>
              </a:extLst>
            </p:cNvPr>
            <p:cNvSpPr/>
            <p:nvPr/>
          </p:nvSpPr>
          <p:spPr>
            <a:xfrm>
              <a:off x="4806825" y="3099150"/>
              <a:ext cx="358475" cy="206575"/>
            </a:xfrm>
            <a:custGeom>
              <a:avLst/>
              <a:gdLst/>
              <a:ahLst/>
              <a:cxnLst/>
              <a:rect l="l" t="t" r="r" b="b"/>
              <a:pathLst>
                <a:path w="14339" h="8263" extrusionOk="0">
                  <a:moveTo>
                    <a:pt x="6784" y="0"/>
                  </a:moveTo>
                  <a:cubicBezTo>
                    <a:pt x="6722" y="0"/>
                    <a:pt x="6661" y="14"/>
                    <a:pt x="6615" y="41"/>
                  </a:cubicBezTo>
                  <a:lnTo>
                    <a:pt x="0" y="3860"/>
                  </a:lnTo>
                  <a:lnTo>
                    <a:pt x="7632" y="8263"/>
                  </a:lnTo>
                  <a:lnTo>
                    <a:pt x="14246" y="4447"/>
                  </a:lnTo>
                  <a:cubicBezTo>
                    <a:pt x="14338" y="4393"/>
                    <a:pt x="14338" y="4304"/>
                    <a:pt x="14246" y="4249"/>
                  </a:cubicBezTo>
                  <a:lnTo>
                    <a:pt x="6956" y="41"/>
                  </a:lnTo>
                  <a:cubicBezTo>
                    <a:pt x="6908" y="14"/>
                    <a:pt x="6846" y="0"/>
                    <a:pt x="6784" y="0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75" name="Google Shape;6725;p41">
              <a:extLst>
                <a:ext uri="{FF2B5EF4-FFF2-40B4-BE49-F238E27FC236}">
                  <a16:creationId xmlns:a16="http://schemas.microsoft.com/office/drawing/2014/main" id="{30DC68DE-3141-B540-BC6C-A19A22295F6C}"/>
                </a:ext>
              </a:extLst>
            </p:cNvPr>
            <p:cNvSpPr/>
            <p:nvPr/>
          </p:nvSpPr>
          <p:spPr>
            <a:xfrm>
              <a:off x="5000175" y="3203575"/>
              <a:ext cx="164525" cy="100700"/>
            </a:xfrm>
            <a:custGeom>
              <a:avLst/>
              <a:gdLst/>
              <a:ahLst/>
              <a:cxnLst/>
              <a:rect l="l" t="t" r="r" b="b"/>
              <a:pathLst>
                <a:path w="6581" h="4028" extrusionOk="0">
                  <a:moveTo>
                    <a:pt x="0" y="3093"/>
                  </a:moveTo>
                  <a:lnTo>
                    <a:pt x="0" y="3287"/>
                  </a:lnTo>
                  <a:cubicBezTo>
                    <a:pt x="27" y="3298"/>
                    <a:pt x="54" y="3304"/>
                    <a:pt x="86" y="3304"/>
                  </a:cubicBezTo>
                  <a:cubicBezTo>
                    <a:pt x="140" y="3304"/>
                    <a:pt x="205" y="3284"/>
                    <a:pt x="270" y="3250"/>
                  </a:cubicBezTo>
                  <a:lnTo>
                    <a:pt x="294" y="3260"/>
                  </a:lnTo>
                  <a:lnTo>
                    <a:pt x="0" y="3093"/>
                  </a:lnTo>
                  <a:close/>
                  <a:moveTo>
                    <a:pt x="6386" y="1"/>
                  </a:moveTo>
                  <a:lnTo>
                    <a:pt x="6386" y="124"/>
                  </a:lnTo>
                  <a:lnTo>
                    <a:pt x="6376" y="130"/>
                  </a:lnTo>
                  <a:cubicBezTo>
                    <a:pt x="6396" y="175"/>
                    <a:pt x="6379" y="226"/>
                    <a:pt x="6314" y="263"/>
                  </a:cubicBezTo>
                  <a:lnTo>
                    <a:pt x="706" y="3499"/>
                  </a:lnTo>
                  <a:lnTo>
                    <a:pt x="369" y="3304"/>
                  </a:lnTo>
                  <a:cubicBezTo>
                    <a:pt x="355" y="3314"/>
                    <a:pt x="338" y="3322"/>
                    <a:pt x="325" y="3328"/>
                  </a:cubicBezTo>
                  <a:cubicBezTo>
                    <a:pt x="243" y="3376"/>
                    <a:pt x="161" y="3400"/>
                    <a:pt x="86" y="3400"/>
                  </a:cubicBezTo>
                  <a:cubicBezTo>
                    <a:pt x="54" y="3400"/>
                    <a:pt x="27" y="3396"/>
                    <a:pt x="0" y="3390"/>
                  </a:cubicBezTo>
                  <a:lnTo>
                    <a:pt x="0" y="4028"/>
                  </a:lnTo>
                  <a:lnTo>
                    <a:pt x="6512" y="270"/>
                  </a:lnTo>
                  <a:cubicBezTo>
                    <a:pt x="6557" y="243"/>
                    <a:pt x="6580" y="206"/>
                    <a:pt x="6580" y="171"/>
                  </a:cubicBezTo>
                  <a:cubicBezTo>
                    <a:pt x="6580" y="134"/>
                    <a:pt x="6557" y="99"/>
                    <a:pt x="6512" y="72"/>
                  </a:cubicBezTo>
                  <a:lnTo>
                    <a:pt x="638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76" name="Google Shape;6726;p41">
              <a:extLst>
                <a:ext uri="{FF2B5EF4-FFF2-40B4-BE49-F238E27FC236}">
                  <a16:creationId xmlns:a16="http://schemas.microsoft.com/office/drawing/2014/main" id="{CACD95CC-0826-344F-9A86-810B288C1EB5}"/>
                </a:ext>
              </a:extLst>
            </p:cNvPr>
            <p:cNvSpPr/>
            <p:nvPr/>
          </p:nvSpPr>
          <p:spPr>
            <a:xfrm>
              <a:off x="4827050" y="3098975"/>
              <a:ext cx="333050" cy="192075"/>
            </a:xfrm>
            <a:custGeom>
              <a:avLst/>
              <a:gdLst/>
              <a:ahLst/>
              <a:cxnLst/>
              <a:rect l="l" t="t" r="r" b="b"/>
              <a:pathLst>
                <a:path w="13322" h="7683" extrusionOk="0">
                  <a:moveTo>
                    <a:pt x="5781" y="0"/>
                  </a:moveTo>
                  <a:cubicBezTo>
                    <a:pt x="5719" y="0"/>
                    <a:pt x="5657" y="14"/>
                    <a:pt x="5612" y="41"/>
                  </a:cubicBezTo>
                  <a:lnTo>
                    <a:pt x="713" y="2867"/>
                  </a:lnTo>
                  <a:lnTo>
                    <a:pt x="1" y="2457"/>
                  </a:lnTo>
                  <a:lnTo>
                    <a:pt x="1" y="3280"/>
                  </a:lnTo>
                  <a:lnTo>
                    <a:pt x="7631" y="7683"/>
                  </a:lnTo>
                  <a:lnTo>
                    <a:pt x="13239" y="4447"/>
                  </a:lnTo>
                  <a:cubicBezTo>
                    <a:pt x="13304" y="4410"/>
                    <a:pt x="13321" y="4359"/>
                    <a:pt x="13301" y="4314"/>
                  </a:cubicBezTo>
                  <a:lnTo>
                    <a:pt x="13311" y="4308"/>
                  </a:lnTo>
                  <a:lnTo>
                    <a:pt x="13311" y="3553"/>
                  </a:lnTo>
                  <a:lnTo>
                    <a:pt x="12676" y="3922"/>
                  </a:lnTo>
                  <a:lnTo>
                    <a:pt x="5952" y="41"/>
                  </a:lnTo>
                  <a:cubicBezTo>
                    <a:pt x="5905" y="14"/>
                    <a:pt x="5843" y="0"/>
                    <a:pt x="5781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77" name="Google Shape;6727;p41">
              <a:extLst>
                <a:ext uri="{FF2B5EF4-FFF2-40B4-BE49-F238E27FC236}">
                  <a16:creationId xmlns:a16="http://schemas.microsoft.com/office/drawing/2014/main" id="{23DEE9DA-521E-7142-8CC6-28FAEB27E97F}"/>
                </a:ext>
              </a:extLst>
            </p:cNvPr>
            <p:cNvSpPr/>
            <p:nvPr/>
          </p:nvSpPr>
          <p:spPr>
            <a:xfrm>
              <a:off x="4827050" y="3078400"/>
              <a:ext cx="333375" cy="192100"/>
            </a:xfrm>
            <a:custGeom>
              <a:avLst/>
              <a:gdLst/>
              <a:ahLst/>
              <a:cxnLst/>
              <a:rect l="l" t="t" r="r" b="b"/>
              <a:pathLst>
                <a:path w="13335" h="7684" extrusionOk="0">
                  <a:moveTo>
                    <a:pt x="5781" y="0"/>
                  </a:moveTo>
                  <a:cubicBezTo>
                    <a:pt x="5719" y="0"/>
                    <a:pt x="5657" y="14"/>
                    <a:pt x="5612" y="42"/>
                  </a:cubicBezTo>
                  <a:lnTo>
                    <a:pt x="1" y="3280"/>
                  </a:lnTo>
                  <a:lnTo>
                    <a:pt x="7631" y="7683"/>
                  </a:lnTo>
                  <a:lnTo>
                    <a:pt x="13239" y="4448"/>
                  </a:lnTo>
                  <a:cubicBezTo>
                    <a:pt x="13335" y="4394"/>
                    <a:pt x="13335" y="4304"/>
                    <a:pt x="13239" y="4250"/>
                  </a:cubicBezTo>
                  <a:lnTo>
                    <a:pt x="5952" y="42"/>
                  </a:lnTo>
                  <a:cubicBezTo>
                    <a:pt x="5905" y="14"/>
                    <a:pt x="5843" y="0"/>
                    <a:pt x="5781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78" name="Google Shape;6728;p41">
              <a:extLst>
                <a:ext uri="{FF2B5EF4-FFF2-40B4-BE49-F238E27FC236}">
                  <a16:creationId xmlns:a16="http://schemas.microsoft.com/office/drawing/2014/main" id="{DD153A7E-70A4-044D-A992-A444269403FC}"/>
                </a:ext>
              </a:extLst>
            </p:cNvPr>
            <p:cNvSpPr/>
            <p:nvPr/>
          </p:nvSpPr>
          <p:spPr>
            <a:xfrm>
              <a:off x="4827050" y="3160400"/>
              <a:ext cx="190800" cy="130650"/>
            </a:xfrm>
            <a:custGeom>
              <a:avLst/>
              <a:gdLst/>
              <a:ahLst/>
              <a:cxnLst/>
              <a:rect l="l" t="t" r="r" b="b"/>
              <a:pathLst>
                <a:path w="7632" h="5226" extrusionOk="0">
                  <a:moveTo>
                    <a:pt x="1" y="0"/>
                  </a:moveTo>
                  <a:lnTo>
                    <a:pt x="1" y="823"/>
                  </a:lnTo>
                  <a:lnTo>
                    <a:pt x="7631" y="5226"/>
                  </a:lnTo>
                  <a:lnTo>
                    <a:pt x="7631" y="44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79" name="Google Shape;6729;p41">
              <a:extLst>
                <a:ext uri="{FF2B5EF4-FFF2-40B4-BE49-F238E27FC236}">
                  <a16:creationId xmlns:a16="http://schemas.microsoft.com/office/drawing/2014/main" id="{7A9F02DE-476A-F143-8584-550862906DD6}"/>
                </a:ext>
              </a:extLst>
            </p:cNvPr>
            <p:cNvSpPr/>
            <p:nvPr/>
          </p:nvSpPr>
          <p:spPr>
            <a:xfrm>
              <a:off x="5014000" y="3259100"/>
              <a:ext cx="7775" cy="4000"/>
            </a:xfrm>
            <a:custGeom>
              <a:avLst/>
              <a:gdLst/>
              <a:ahLst/>
              <a:cxnLst/>
              <a:rect l="l" t="t" r="r" b="b"/>
              <a:pathLst>
                <a:path w="311" h="160" extrusionOk="0">
                  <a:moveTo>
                    <a:pt x="137" y="1"/>
                  </a:moveTo>
                  <a:cubicBezTo>
                    <a:pt x="104" y="1"/>
                    <a:pt x="74" y="7"/>
                    <a:pt x="51" y="22"/>
                  </a:cubicBezTo>
                  <a:cubicBezTo>
                    <a:pt x="45" y="22"/>
                    <a:pt x="41" y="25"/>
                    <a:pt x="41" y="28"/>
                  </a:cubicBezTo>
                  <a:cubicBezTo>
                    <a:pt x="0" y="60"/>
                    <a:pt x="7" y="100"/>
                    <a:pt x="65" y="135"/>
                  </a:cubicBezTo>
                  <a:cubicBezTo>
                    <a:pt x="82" y="145"/>
                    <a:pt x="103" y="151"/>
                    <a:pt x="126" y="155"/>
                  </a:cubicBezTo>
                  <a:cubicBezTo>
                    <a:pt x="142" y="158"/>
                    <a:pt x="157" y="160"/>
                    <a:pt x="173" y="160"/>
                  </a:cubicBezTo>
                  <a:cubicBezTo>
                    <a:pt x="192" y="160"/>
                    <a:pt x="211" y="157"/>
                    <a:pt x="229" y="151"/>
                  </a:cubicBezTo>
                  <a:cubicBezTo>
                    <a:pt x="239" y="151"/>
                    <a:pt x="249" y="148"/>
                    <a:pt x="259" y="141"/>
                  </a:cubicBezTo>
                  <a:cubicBezTo>
                    <a:pt x="311" y="114"/>
                    <a:pt x="304" y="63"/>
                    <a:pt x="246" y="28"/>
                  </a:cubicBezTo>
                  <a:cubicBezTo>
                    <a:pt x="218" y="15"/>
                    <a:pt x="188" y="5"/>
                    <a:pt x="157" y="1"/>
                  </a:cubicBezTo>
                  <a:cubicBezTo>
                    <a:pt x="150" y="1"/>
                    <a:pt x="143" y="1"/>
                    <a:pt x="137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80" name="Google Shape;6730;p41">
              <a:extLst>
                <a:ext uri="{FF2B5EF4-FFF2-40B4-BE49-F238E27FC236}">
                  <a16:creationId xmlns:a16="http://schemas.microsoft.com/office/drawing/2014/main" id="{A81F9AE6-FC3C-824C-833D-300FDFCBB446}"/>
                </a:ext>
              </a:extLst>
            </p:cNvPr>
            <p:cNvSpPr/>
            <p:nvPr/>
          </p:nvSpPr>
          <p:spPr>
            <a:xfrm>
              <a:off x="4993950" y="3256325"/>
              <a:ext cx="25775" cy="32275"/>
            </a:xfrm>
            <a:custGeom>
              <a:avLst/>
              <a:gdLst/>
              <a:ahLst/>
              <a:cxnLst/>
              <a:rect l="l" t="t" r="r" b="b"/>
              <a:pathLst>
                <a:path w="1031" h="1291" extrusionOk="0">
                  <a:moveTo>
                    <a:pt x="713" y="0"/>
                  </a:moveTo>
                  <a:cubicBezTo>
                    <a:pt x="635" y="0"/>
                    <a:pt x="557" y="24"/>
                    <a:pt x="475" y="71"/>
                  </a:cubicBezTo>
                  <a:cubicBezTo>
                    <a:pt x="208" y="221"/>
                    <a:pt x="0" y="583"/>
                    <a:pt x="0" y="891"/>
                  </a:cubicBezTo>
                  <a:cubicBezTo>
                    <a:pt x="0" y="1007"/>
                    <a:pt x="31" y="1102"/>
                    <a:pt x="89" y="1174"/>
                  </a:cubicBezTo>
                  <a:cubicBezTo>
                    <a:pt x="147" y="1249"/>
                    <a:pt x="235" y="1290"/>
                    <a:pt x="335" y="1290"/>
                  </a:cubicBezTo>
                  <a:cubicBezTo>
                    <a:pt x="410" y="1290"/>
                    <a:pt x="492" y="1266"/>
                    <a:pt x="574" y="1218"/>
                  </a:cubicBezTo>
                  <a:cubicBezTo>
                    <a:pt x="587" y="1212"/>
                    <a:pt x="604" y="1204"/>
                    <a:pt x="618" y="1194"/>
                  </a:cubicBezTo>
                  <a:lnTo>
                    <a:pt x="519" y="1140"/>
                  </a:lnTo>
                  <a:cubicBezTo>
                    <a:pt x="453" y="1176"/>
                    <a:pt x="391" y="1194"/>
                    <a:pt x="336" y="1194"/>
                  </a:cubicBezTo>
                  <a:cubicBezTo>
                    <a:pt x="196" y="1194"/>
                    <a:pt x="99" y="1082"/>
                    <a:pt x="99" y="891"/>
                  </a:cubicBezTo>
                  <a:cubicBezTo>
                    <a:pt x="99" y="621"/>
                    <a:pt x="290" y="290"/>
                    <a:pt x="522" y="157"/>
                  </a:cubicBezTo>
                  <a:cubicBezTo>
                    <a:pt x="589" y="117"/>
                    <a:pt x="654" y="98"/>
                    <a:pt x="711" y="98"/>
                  </a:cubicBezTo>
                  <a:cubicBezTo>
                    <a:pt x="762" y="98"/>
                    <a:pt x="807" y="113"/>
                    <a:pt x="843" y="139"/>
                  </a:cubicBezTo>
                  <a:cubicBezTo>
                    <a:pt x="881" y="167"/>
                    <a:pt x="911" y="208"/>
                    <a:pt x="928" y="266"/>
                  </a:cubicBezTo>
                  <a:cubicBezTo>
                    <a:pt x="944" y="269"/>
                    <a:pt x="959" y="271"/>
                    <a:pt x="975" y="271"/>
                  </a:cubicBezTo>
                  <a:cubicBezTo>
                    <a:pt x="994" y="271"/>
                    <a:pt x="1013" y="268"/>
                    <a:pt x="1031" y="262"/>
                  </a:cubicBezTo>
                  <a:cubicBezTo>
                    <a:pt x="1017" y="205"/>
                    <a:pt x="993" y="153"/>
                    <a:pt x="959" y="112"/>
                  </a:cubicBezTo>
                  <a:cubicBezTo>
                    <a:pt x="901" y="41"/>
                    <a:pt x="815" y="0"/>
                    <a:pt x="71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81" name="Google Shape;6731;p41">
              <a:extLst>
                <a:ext uri="{FF2B5EF4-FFF2-40B4-BE49-F238E27FC236}">
                  <a16:creationId xmlns:a16="http://schemas.microsoft.com/office/drawing/2014/main" id="{5583E87E-A71F-2E45-9B4A-D77096988925}"/>
                </a:ext>
              </a:extLst>
            </p:cNvPr>
            <p:cNvSpPr/>
            <p:nvPr/>
          </p:nvSpPr>
          <p:spPr>
            <a:xfrm>
              <a:off x="5000100" y="3178675"/>
              <a:ext cx="164600" cy="84125"/>
            </a:xfrm>
            <a:custGeom>
              <a:avLst/>
              <a:gdLst/>
              <a:ahLst/>
              <a:cxnLst/>
              <a:rect l="l" t="t" r="r" b="b"/>
              <a:pathLst>
                <a:path w="6584" h="3365" extrusionOk="0">
                  <a:moveTo>
                    <a:pt x="6583" y="0"/>
                  </a:moveTo>
                  <a:lnTo>
                    <a:pt x="0" y="3215"/>
                  </a:lnTo>
                  <a:lnTo>
                    <a:pt x="0" y="3365"/>
                  </a:lnTo>
                  <a:lnTo>
                    <a:pt x="6498" y="256"/>
                  </a:lnTo>
                  <a:cubicBezTo>
                    <a:pt x="6546" y="229"/>
                    <a:pt x="6583" y="161"/>
                    <a:pt x="6583" y="106"/>
                  </a:cubicBezTo>
                  <a:lnTo>
                    <a:pt x="6583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82" name="Google Shape;6732;p41">
              <a:extLst>
                <a:ext uri="{FF2B5EF4-FFF2-40B4-BE49-F238E27FC236}">
                  <a16:creationId xmlns:a16="http://schemas.microsoft.com/office/drawing/2014/main" id="{D97D3F89-7A05-294F-9B13-53A3E191C9AF}"/>
                </a:ext>
              </a:extLst>
            </p:cNvPr>
            <p:cNvSpPr/>
            <p:nvPr/>
          </p:nvSpPr>
          <p:spPr>
            <a:xfrm>
              <a:off x="5000175" y="3178675"/>
              <a:ext cx="164525" cy="84125"/>
            </a:xfrm>
            <a:custGeom>
              <a:avLst/>
              <a:gdLst/>
              <a:ahLst/>
              <a:cxnLst/>
              <a:rect l="l" t="t" r="r" b="b"/>
              <a:pathLst>
                <a:path w="6581" h="3365" extrusionOk="0">
                  <a:moveTo>
                    <a:pt x="6580" y="0"/>
                  </a:moveTo>
                  <a:cubicBezTo>
                    <a:pt x="6580" y="34"/>
                    <a:pt x="6557" y="71"/>
                    <a:pt x="6512" y="99"/>
                  </a:cubicBezTo>
                  <a:lnTo>
                    <a:pt x="0" y="3222"/>
                  </a:lnTo>
                  <a:lnTo>
                    <a:pt x="0" y="3365"/>
                  </a:lnTo>
                  <a:lnTo>
                    <a:pt x="6495" y="256"/>
                  </a:lnTo>
                  <a:cubicBezTo>
                    <a:pt x="6543" y="229"/>
                    <a:pt x="6580" y="161"/>
                    <a:pt x="6580" y="106"/>
                  </a:cubicBezTo>
                  <a:lnTo>
                    <a:pt x="658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83" name="Google Shape;6733;p41">
              <a:extLst>
                <a:ext uri="{FF2B5EF4-FFF2-40B4-BE49-F238E27FC236}">
                  <a16:creationId xmlns:a16="http://schemas.microsoft.com/office/drawing/2014/main" id="{9574946A-FB83-0841-8A41-497D8DEB0372}"/>
                </a:ext>
              </a:extLst>
            </p:cNvPr>
            <p:cNvSpPr/>
            <p:nvPr/>
          </p:nvSpPr>
          <p:spPr>
            <a:xfrm>
              <a:off x="4806825" y="3069950"/>
              <a:ext cx="358475" cy="190575"/>
            </a:xfrm>
            <a:custGeom>
              <a:avLst/>
              <a:gdLst/>
              <a:ahLst/>
              <a:cxnLst/>
              <a:rect l="l" t="t" r="r" b="b"/>
              <a:pathLst>
                <a:path w="14339" h="7623" extrusionOk="0">
                  <a:moveTo>
                    <a:pt x="6784" y="1"/>
                  </a:moveTo>
                  <a:cubicBezTo>
                    <a:pt x="6722" y="1"/>
                    <a:pt x="6661" y="15"/>
                    <a:pt x="6615" y="42"/>
                  </a:cubicBezTo>
                  <a:lnTo>
                    <a:pt x="0" y="3216"/>
                  </a:lnTo>
                  <a:lnTo>
                    <a:pt x="7632" y="7622"/>
                  </a:lnTo>
                  <a:lnTo>
                    <a:pt x="14246" y="4448"/>
                  </a:lnTo>
                  <a:cubicBezTo>
                    <a:pt x="14338" y="4393"/>
                    <a:pt x="14338" y="4305"/>
                    <a:pt x="14246" y="4250"/>
                  </a:cubicBezTo>
                  <a:lnTo>
                    <a:pt x="6956" y="42"/>
                  </a:lnTo>
                  <a:cubicBezTo>
                    <a:pt x="6908" y="15"/>
                    <a:pt x="6846" y="1"/>
                    <a:pt x="678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84" name="Google Shape;6734;p41">
              <a:extLst>
                <a:ext uri="{FF2B5EF4-FFF2-40B4-BE49-F238E27FC236}">
                  <a16:creationId xmlns:a16="http://schemas.microsoft.com/office/drawing/2014/main" id="{1DD41419-B045-094A-A073-448CFB5ACEA2}"/>
                </a:ext>
              </a:extLst>
            </p:cNvPr>
            <p:cNvSpPr/>
            <p:nvPr/>
          </p:nvSpPr>
          <p:spPr>
            <a:xfrm>
              <a:off x="4806825" y="3150250"/>
              <a:ext cx="190800" cy="159225"/>
            </a:xfrm>
            <a:custGeom>
              <a:avLst/>
              <a:gdLst/>
              <a:ahLst/>
              <a:cxnLst/>
              <a:rect l="l" t="t" r="r" b="b"/>
              <a:pathLst>
                <a:path w="7632" h="6369" extrusionOk="0">
                  <a:moveTo>
                    <a:pt x="0" y="0"/>
                  </a:moveTo>
                  <a:lnTo>
                    <a:pt x="0" y="1963"/>
                  </a:lnTo>
                  <a:lnTo>
                    <a:pt x="7632" y="6369"/>
                  </a:lnTo>
                  <a:lnTo>
                    <a:pt x="7632" y="44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85" name="Google Shape;6735;p41">
              <a:extLst>
                <a:ext uri="{FF2B5EF4-FFF2-40B4-BE49-F238E27FC236}">
                  <a16:creationId xmlns:a16="http://schemas.microsoft.com/office/drawing/2014/main" id="{53821433-C0DE-5542-8703-A9FEAB2016DE}"/>
                </a:ext>
              </a:extLst>
            </p:cNvPr>
            <p:cNvSpPr/>
            <p:nvPr/>
          </p:nvSpPr>
          <p:spPr>
            <a:xfrm>
              <a:off x="4806825" y="3150350"/>
              <a:ext cx="190800" cy="159125"/>
            </a:xfrm>
            <a:custGeom>
              <a:avLst/>
              <a:gdLst/>
              <a:ahLst/>
              <a:cxnLst/>
              <a:rect l="l" t="t" r="r" b="b"/>
              <a:pathLst>
                <a:path w="7632" h="6365" extrusionOk="0">
                  <a:moveTo>
                    <a:pt x="0" y="0"/>
                  </a:moveTo>
                  <a:lnTo>
                    <a:pt x="0" y="1959"/>
                  </a:lnTo>
                  <a:lnTo>
                    <a:pt x="7632" y="6365"/>
                  </a:lnTo>
                  <a:lnTo>
                    <a:pt x="7632" y="4877"/>
                  </a:lnTo>
                  <a:lnTo>
                    <a:pt x="7632" y="4645"/>
                  </a:lnTo>
                  <a:lnTo>
                    <a:pt x="7632" y="4406"/>
                  </a:lnTo>
                  <a:lnTo>
                    <a:pt x="5843" y="33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86" name="Google Shape;6736;p41">
              <a:extLst>
                <a:ext uri="{FF2B5EF4-FFF2-40B4-BE49-F238E27FC236}">
                  <a16:creationId xmlns:a16="http://schemas.microsoft.com/office/drawing/2014/main" id="{90E9788F-71B5-B246-94C5-890CC4D26EC4}"/>
                </a:ext>
              </a:extLst>
            </p:cNvPr>
            <p:cNvSpPr/>
            <p:nvPr/>
          </p:nvSpPr>
          <p:spPr>
            <a:xfrm>
              <a:off x="4942150" y="3245650"/>
              <a:ext cx="26225" cy="32350"/>
            </a:xfrm>
            <a:custGeom>
              <a:avLst/>
              <a:gdLst/>
              <a:ahLst/>
              <a:cxnLst/>
              <a:rect l="l" t="t" r="r" b="b"/>
              <a:pathLst>
                <a:path w="1049" h="1294" extrusionOk="0">
                  <a:moveTo>
                    <a:pt x="335" y="0"/>
                  </a:moveTo>
                  <a:cubicBezTo>
                    <a:pt x="137" y="0"/>
                    <a:pt x="0" y="161"/>
                    <a:pt x="0" y="403"/>
                  </a:cubicBezTo>
                  <a:cubicBezTo>
                    <a:pt x="0" y="710"/>
                    <a:pt x="209" y="1069"/>
                    <a:pt x="475" y="1222"/>
                  </a:cubicBezTo>
                  <a:cubicBezTo>
                    <a:pt x="557" y="1270"/>
                    <a:pt x="639" y="1294"/>
                    <a:pt x="713" y="1294"/>
                  </a:cubicBezTo>
                  <a:cubicBezTo>
                    <a:pt x="813" y="1294"/>
                    <a:pt x="901" y="1253"/>
                    <a:pt x="959" y="1177"/>
                  </a:cubicBezTo>
                  <a:cubicBezTo>
                    <a:pt x="1017" y="1106"/>
                    <a:pt x="1048" y="1007"/>
                    <a:pt x="1048" y="891"/>
                  </a:cubicBezTo>
                  <a:cubicBezTo>
                    <a:pt x="1048" y="584"/>
                    <a:pt x="840" y="226"/>
                    <a:pt x="573" y="72"/>
                  </a:cubicBezTo>
                  <a:cubicBezTo>
                    <a:pt x="491" y="24"/>
                    <a:pt x="410" y="0"/>
                    <a:pt x="335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87" name="Google Shape;6737;p41">
              <a:extLst>
                <a:ext uri="{FF2B5EF4-FFF2-40B4-BE49-F238E27FC236}">
                  <a16:creationId xmlns:a16="http://schemas.microsoft.com/office/drawing/2014/main" id="{83D7909D-5C5F-B848-9573-0AA15C80FE1E}"/>
                </a:ext>
              </a:extLst>
            </p:cNvPr>
            <p:cNvSpPr/>
            <p:nvPr/>
          </p:nvSpPr>
          <p:spPr>
            <a:xfrm>
              <a:off x="4944625" y="3248100"/>
              <a:ext cx="21275" cy="27425"/>
            </a:xfrm>
            <a:custGeom>
              <a:avLst/>
              <a:gdLst/>
              <a:ahLst/>
              <a:cxnLst/>
              <a:rect l="l" t="t" r="r" b="b"/>
              <a:pathLst>
                <a:path w="851" h="1097" extrusionOk="0">
                  <a:moveTo>
                    <a:pt x="236" y="1"/>
                  </a:moveTo>
                  <a:cubicBezTo>
                    <a:pt x="97" y="1"/>
                    <a:pt x="0" y="113"/>
                    <a:pt x="0" y="305"/>
                  </a:cubicBezTo>
                  <a:cubicBezTo>
                    <a:pt x="0" y="575"/>
                    <a:pt x="192" y="903"/>
                    <a:pt x="427" y="1038"/>
                  </a:cubicBezTo>
                  <a:cubicBezTo>
                    <a:pt x="494" y="1078"/>
                    <a:pt x="558" y="1097"/>
                    <a:pt x="614" y="1097"/>
                  </a:cubicBezTo>
                  <a:cubicBezTo>
                    <a:pt x="754" y="1097"/>
                    <a:pt x="850" y="984"/>
                    <a:pt x="850" y="793"/>
                  </a:cubicBezTo>
                  <a:cubicBezTo>
                    <a:pt x="850" y="523"/>
                    <a:pt x="659" y="196"/>
                    <a:pt x="424" y="59"/>
                  </a:cubicBezTo>
                  <a:cubicBezTo>
                    <a:pt x="357" y="20"/>
                    <a:pt x="293" y="1"/>
                    <a:pt x="236" y="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88" name="Google Shape;6738;p41">
              <a:extLst>
                <a:ext uri="{FF2B5EF4-FFF2-40B4-BE49-F238E27FC236}">
                  <a16:creationId xmlns:a16="http://schemas.microsoft.com/office/drawing/2014/main" id="{D75E771B-F888-4745-BD85-3AC761CF16B0}"/>
                </a:ext>
              </a:extLst>
            </p:cNvPr>
            <p:cNvSpPr/>
            <p:nvPr/>
          </p:nvSpPr>
          <p:spPr>
            <a:xfrm>
              <a:off x="4821425" y="3173825"/>
              <a:ext cx="106000" cy="81550"/>
            </a:xfrm>
            <a:custGeom>
              <a:avLst/>
              <a:gdLst/>
              <a:ahLst/>
              <a:cxnLst/>
              <a:rect l="l" t="t" r="r" b="b"/>
              <a:pathLst>
                <a:path w="4240" h="3262" extrusionOk="0">
                  <a:moveTo>
                    <a:pt x="257" y="0"/>
                  </a:moveTo>
                  <a:cubicBezTo>
                    <a:pt x="105" y="0"/>
                    <a:pt x="0" y="123"/>
                    <a:pt x="0" y="334"/>
                  </a:cubicBezTo>
                  <a:lnTo>
                    <a:pt x="0" y="481"/>
                  </a:lnTo>
                  <a:cubicBezTo>
                    <a:pt x="0" y="777"/>
                    <a:pt x="208" y="1139"/>
                    <a:pt x="464" y="1286"/>
                  </a:cubicBezTo>
                  <a:lnTo>
                    <a:pt x="3772" y="3198"/>
                  </a:lnTo>
                  <a:cubicBezTo>
                    <a:pt x="3847" y="3241"/>
                    <a:pt x="3917" y="3262"/>
                    <a:pt x="3980" y="3262"/>
                  </a:cubicBezTo>
                  <a:cubicBezTo>
                    <a:pt x="4134" y="3262"/>
                    <a:pt x="4239" y="3139"/>
                    <a:pt x="4239" y="2927"/>
                  </a:cubicBezTo>
                  <a:lnTo>
                    <a:pt x="4239" y="2781"/>
                  </a:lnTo>
                  <a:cubicBezTo>
                    <a:pt x="4239" y="2484"/>
                    <a:pt x="4030" y="2122"/>
                    <a:pt x="3772" y="1972"/>
                  </a:cubicBezTo>
                  <a:lnTo>
                    <a:pt x="464" y="65"/>
                  </a:lnTo>
                  <a:cubicBezTo>
                    <a:pt x="390" y="21"/>
                    <a:pt x="319" y="0"/>
                    <a:pt x="257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89" name="Google Shape;6739;p41">
              <a:extLst>
                <a:ext uri="{FF2B5EF4-FFF2-40B4-BE49-F238E27FC236}">
                  <a16:creationId xmlns:a16="http://schemas.microsoft.com/office/drawing/2014/main" id="{54657B23-47B8-AC40-A488-BBD1A55D1DA8}"/>
                </a:ext>
              </a:extLst>
            </p:cNvPr>
            <p:cNvSpPr/>
            <p:nvPr/>
          </p:nvSpPr>
          <p:spPr>
            <a:xfrm>
              <a:off x="4997625" y="3259200"/>
              <a:ext cx="2575" cy="50275"/>
            </a:xfrm>
            <a:custGeom>
              <a:avLst/>
              <a:gdLst/>
              <a:ahLst/>
              <a:cxnLst/>
              <a:rect l="l" t="t" r="r" b="b"/>
              <a:pathLst>
                <a:path w="103" h="2011" extrusionOk="0">
                  <a:moveTo>
                    <a:pt x="102" y="1"/>
                  </a:moveTo>
                  <a:lnTo>
                    <a:pt x="0" y="52"/>
                  </a:lnTo>
                  <a:lnTo>
                    <a:pt x="0" y="2011"/>
                  </a:lnTo>
                  <a:lnTo>
                    <a:pt x="102" y="1953"/>
                  </a:lnTo>
                  <a:lnTo>
                    <a:pt x="102" y="1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90" name="Google Shape;6740;p41">
              <a:extLst>
                <a:ext uri="{FF2B5EF4-FFF2-40B4-BE49-F238E27FC236}">
                  <a16:creationId xmlns:a16="http://schemas.microsoft.com/office/drawing/2014/main" id="{6767AABB-0DBC-F643-A328-42548A942C23}"/>
                </a:ext>
              </a:extLst>
            </p:cNvPr>
            <p:cNvSpPr/>
            <p:nvPr/>
          </p:nvSpPr>
          <p:spPr>
            <a:xfrm>
              <a:off x="4997625" y="3259200"/>
              <a:ext cx="2575" cy="50275"/>
            </a:xfrm>
            <a:custGeom>
              <a:avLst/>
              <a:gdLst/>
              <a:ahLst/>
              <a:cxnLst/>
              <a:rect l="l" t="t" r="r" b="b"/>
              <a:pathLst>
                <a:path w="103" h="2011" extrusionOk="0">
                  <a:moveTo>
                    <a:pt x="102" y="1"/>
                  </a:moveTo>
                  <a:lnTo>
                    <a:pt x="65" y="21"/>
                  </a:lnTo>
                  <a:lnTo>
                    <a:pt x="0" y="52"/>
                  </a:lnTo>
                  <a:lnTo>
                    <a:pt x="0" y="2011"/>
                  </a:lnTo>
                  <a:lnTo>
                    <a:pt x="102" y="1953"/>
                  </a:lnTo>
                  <a:lnTo>
                    <a:pt x="102" y="315"/>
                  </a:lnTo>
                  <a:lnTo>
                    <a:pt x="102" y="147"/>
                  </a:lnTo>
                  <a:lnTo>
                    <a:pt x="102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91" name="Google Shape;6741;p41">
              <a:extLst>
                <a:ext uri="{FF2B5EF4-FFF2-40B4-BE49-F238E27FC236}">
                  <a16:creationId xmlns:a16="http://schemas.microsoft.com/office/drawing/2014/main" id="{31984EEA-8400-9A42-99B3-69839D6EE114}"/>
                </a:ext>
              </a:extLst>
            </p:cNvPr>
            <p:cNvSpPr/>
            <p:nvPr/>
          </p:nvSpPr>
          <p:spPr>
            <a:xfrm>
              <a:off x="4808525" y="3051950"/>
              <a:ext cx="360425" cy="199200"/>
            </a:xfrm>
            <a:custGeom>
              <a:avLst/>
              <a:gdLst/>
              <a:ahLst/>
              <a:cxnLst/>
              <a:rect l="l" t="t" r="r" b="b"/>
              <a:pathLst>
                <a:path w="14417" h="7968" extrusionOk="0">
                  <a:moveTo>
                    <a:pt x="6789" y="0"/>
                  </a:moveTo>
                  <a:lnTo>
                    <a:pt x="76" y="3393"/>
                  </a:lnTo>
                  <a:cubicBezTo>
                    <a:pt x="35" y="3417"/>
                    <a:pt x="0" y="3472"/>
                    <a:pt x="0" y="3513"/>
                  </a:cubicBezTo>
                  <a:cubicBezTo>
                    <a:pt x="0" y="3554"/>
                    <a:pt x="35" y="3609"/>
                    <a:pt x="76" y="3632"/>
                  </a:cubicBezTo>
                  <a:lnTo>
                    <a:pt x="7561" y="7950"/>
                  </a:lnTo>
                  <a:cubicBezTo>
                    <a:pt x="7581" y="7962"/>
                    <a:pt x="7608" y="7968"/>
                    <a:pt x="7636" y="7968"/>
                  </a:cubicBezTo>
                  <a:cubicBezTo>
                    <a:pt x="7663" y="7968"/>
                    <a:pt x="7690" y="7962"/>
                    <a:pt x="7711" y="7950"/>
                  </a:cubicBezTo>
                  <a:lnTo>
                    <a:pt x="14417" y="4554"/>
                  </a:lnTo>
                  <a:lnTo>
                    <a:pt x="14417" y="4407"/>
                  </a:lnTo>
                  <a:lnTo>
                    <a:pt x="6789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92" name="Google Shape;6742;p41">
              <a:extLst>
                <a:ext uri="{FF2B5EF4-FFF2-40B4-BE49-F238E27FC236}">
                  <a16:creationId xmlns:a16="http://schemas.microsoft.com/office/drawing/2014/main" id="{5676A277-6182-454F-B879-AA4C1C4D0FE3}"/>
                </a:ext>
              </a:extLst>
            </p:cNvPr>
            <p:cNvSpPr/>
            <p:nvPr/>
          </p:nvSpPr>
          <p:spPr>
            <a:xfrm>
              <a:off x="4809800" y="3136775"/>
              <a:ext cx="625" cy="525"/>
            </a:xfrm>
            <a:custGeom>
              <a:avLst/>
              <a:gdLst/>
              <a:ahLst/>
              <a:cxnLst/>
              <a:rect l="l" t="t" r="r" b="b"/>
              <a:pathLst>
                <a:path w="25" h="21" extrusionOk="0">
                  <a:moveTo>
                    <a:pt x="24" y="0"/>
                  </a:moveTo>
                  <a:cubicBezTo>
                    <a:pt x="22" y="3"/>
                    <a:pt x="20" y="5"/>
                    <a:pt x="18" y="7"/>
                  </a:cubicBezTo>
                  <a:lnTo>
                    <a:pt x="18" y="7"/>
                  </a:lnTo>
                  <a:cubicBezTo>
                    <a:pt x="18" y="7"/>
                    <a:pt x="18" y="7"/>
                    <a:pt x="18" y="7"/>
                  </a:cubicBezTo>
                  <a:lnTo>
                    <a:pt x="24" y="0"/>
                  </a:lnTo>
                  <a:close/>
                  <a:moveTo>
                    <a:pt x="18" y="7"/>
                  </a:moveTo>
                  <a:cubicBezTo>
                    <a:pt x="11" y="11"/>
                    <a:pt x="7" y="14"/>
                    <a:pt x="1" y="21"/>
                  </a:cubicBezTo>
                  <a:cubicBezTo>
                    <a:pt x="7" y="16"/>
                    <a:pt x="13" y="11"/>
                    <a:pt x="18" y="7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93" name="Google Shape;6743;p41">
              <a:extLst>
                <a:ext uri="{FF2B5EF4-FFF2-40B4-BE49-F238E27FC236}">
                  <a16:creationId xmlns:a16="http://schemas.microsoft.com/office/drawing/2014/main" id="{11AB3FB3-E703-8F4C-A573-ABC630A2510B}"/>
                </a:ext>
              </a:extLst>
            </p:cNvPr>
            <p:cNvSpPr/>
            <p:nvPr/>
          </p:nvSpPr>
          <p:spPr>
            <a:xfrm>
              <a:off x="4816025" y="3145900"/>
              <a:ext cx="181600" cy="104800"/>
            </a:xfrm>
            <a:custGeom>
              <a:avLst/>
              <a:gdLst/>
              <a:ahLst/>
              <a:cxnLst/>
              <a:rect l="l" t="t" r="r" b="b"/>
              <a:pathLst>
                <a:path w="7264" h="4192" extrusionOk="0">
                  <a:moveTo>
                    <a:pt x="1" y="0"/>
                  </a:moveTo>
                  <a:lnTo>
                    <a:pt x="1" y="0"/>
                  </a:lnTo>
                  <a:lnTo>
                    <a:pt x="7261" y="4192"/>
                  </a:lnTo>
                  <a:lnTo>
                    <a:pt x="7264" y="4192"/>
                  </a:lnTo>
                  <a:lnTo>
                    <a:pt x="7261" y="4192"/>
                  </a:lnTo>
                  <a:close/>
                </a:path>
              </a:pathLst>
            </a:custGeom>
            <a:solidFill>
              <a:srgbClr val="23C7AC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94" name="Google Shape;6744;p41">
              <a:extLst>
                <a:ext uri="{FF2B5EF4-FFF2-40B4-BE49-F238E27FC236}">
                  <a16:creationId xmlns:a16="http://schemas.microsoft.com/office/drawing/2014/main" id="{2D868508-E4B0-9940-AFDC-0A9E454D72B9}"/>
                </a:ext>
              </a:extLst>
            </p:cNvPr>
            <p:cNvSpPr/>
            <p:nvPr/>
          </p:nvSpPr>
          <p:spPr>
            <a:xfrm>
              <a:off x="4808525" y="3136925"/>
              <a:ext cx="190900" cy="114200"/>
            </a:xfrm>
            <a:custGeom>
              <a:avLst/>
              <a:gdLst/>
              <a:ahLst/>
              <a:cxnLst/>
              <a:rect l="l" t="t" r="r" b="b"/>
              <a:pathLst>
                <a:path w="7636" h="4568" extrusionOk="0">
                  <a:moveTo>
                    <a:pt x="69" y="1"/>
                  </a:moveTo>
                  <a:cubicBezTo>
                    <a:pt x="62" y="5"/>
                    <a:pt x="58" y="8"/>
                    <a:pt x="52" y="15"/>
                  </a:cubicBezTo>
                  <a:cubicBezTo>
                    <a:pt x="38" y="29"/>
                    <a:pt x="25" y="46"/>
                    <a:pt x="14" y="62"/>
                  </a:cubicBezTo>
                  <a:cubicBezTo>
                    <a:pt x="8" y="79"/>
                    <a:pt x="0" y="97"/>
                    <a:pt x="0" y="114"/>
                  </a:cubicBezTo>
                  <a:cubicBezTo>
                    <a:pt x="0" y="131"/>
                    <a:pt x="8" y="148"/>
                    <a:pt x="17" y="165"/>
                  </a:cubicBezTo>
                  <a:cubicBezTo>
                    <a:pt x="25" y="182"/>
                    <a:pt x="35" y="199"/>
                    <a:pt x="49" y="210"/>
                  </a:cubicBezTo>
                  <a:cubicBezTo>
                    <a:pt x="58" y="219"/>
                    <a:pt x="66" y="226"/>
                    <a:pt x="76" y="233"/>
                  </a:cubicBezTo>
                  <a:lnTo>
                    <a:pt x="301" y="359"/>
                  </a:lnTo>
                  <a:lnTo>
                    <a:pt x="7561" y="4551"/>
                  </a:lnTo>
                  <a:lnTo>
                    <a:pt x="7564" y="4551"/>
                  </a:lnTo>
                  <a:cubicBezTo>
                    <a:pt x="7584" y="4561"/>
                    <a:pt x="7608" y="4567"/>
                    <a:pt x="7635" y="4567"/>
                  </a:cubicBezTo>
                  <a:lnTo>
                    <a:pt x="7635" y="4417"/>
                  </a:lnTo>
                  <a:cubicBezTo>
                    <a:pt x="7608" y="4417"/>
                    <a:pt x="7581" y="4414"/>
                    <a:pt x="7561" y="4400"/>
                  </a:cubicBezTo>
                  <a:lnTo>
                    <a:pt x="76" y="83"/>
                  </a:lnTo>
                  <a:cubicBezTo>
                    <a:pt x="55" y="69"/>
                    <a:pt x="45" y="56"/>
                    <a:pt x="45" y="38"/>
                  </a:cubicBezTo>
                  <a:cubicBezTo>
                    <a:pt x="45" y="25"/>
                    <a:pt x="55" y="11"/>
                    <a:pt x="69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95" name="Google Shape;6745;p41">
              <a:extLst>
                <a:ext uri="{FF2B5EF4-FFF2-40B4-BE49-F238E27FC236}">
                  <a16:creationId xmlns:a16="http://schemas.microsoft.com/office/drawing/2014/main" id="{FFA53F4C-372C-1146-81BD-33BD9C71C9D1}"/>
                </a:ext>
              </a:extLst>
            </p:cNvPr>
            <p:cNvSpPr/>
            <p:nvPr/>
          </p:nvSpPr>
          <p:spPr>
            <a:xfrm>
              <a:off x="4810250" y="3134125"/>
              <a:ext cx="5450" cy="2825"/>
            </a:xfrm>
            <a:custGeom>
              <a:avLst/>
              <a:gdLst/>
              <a:ahLst/>
              <a:cxnLst/>
              <a:rect l="l" t="t" r="r" b="b"/>
              <a:pathLst>
                <a:path w="218" h="113" extrusionOk="0">
                  <a:moveTo>
                    <a:pt x="218" y="0"/>
                  </a:moveTo>
                  <a:lnTo>
                    <a:pt x="7" y="106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0" y="113"/>
                  </a:lnTo>
                  <a:lnTo>
                    <a:pt x="7" y="106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7D7D7D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96" name="Google Shape;6746;p41">
              <a:extLst>
                <a:ext uri="{FF2B5EF4-FFF2-40B4-BE49-F238E27FC236}">
                  <a16:creationId xmlns:a16="http://schemas.microsoft.com/office/drawing/2014/main" id="{CD2E8AAA-B4E2-D14D-9AAA-04973074226E}"/>
                </a:ext>
              </a:extLst>
            </p:cNvPr>
            <p:cNvSpPr/>
            <p:nvPr/>
          </p:nvSpPr>
          <p:spPr>
            <a:xfrm>
              <a:off x="4809650" y="3134125"/>
              <a:ext cx="356575" cy="113250"/>
            </a:xfrm>
            <a:custGeom>
              <a:avLst/>
              <a:gdLst/>
              <a:ahLst/>
              <a:cxnLst/>
              <a:rect l="l" t="t" r="r" b="b"/>
              <a:pathLst>
                <a:path w="14263" h="4530" extrusionOk="0">
                  <a:moveTo>
                    <a:pt x="242" y="0"/>
                  </a:moveTo>
                  <a:lnTo>
                    <a:pt x="31" y="106"/>
                  </a:lnTo>
                  <a:lnTo>
                    <a:pt x="24" y="113"/>
                  </a:lnTo>
                  <a:cubicBezTo>
                    <a:pt x="10" y="123"/>
                    <a:pt x="0" y="137"/>
                    <a:pt x="0" y="150"/>
                  </a:cubicBezTo>
                  <a:cubicBezTo>
                    <a:pt x="0" y="168"/>
                    <a:pt x="10" y="181"/>
                    <a:pt x="31" y="195"/>
                  </a:cubicBezTo>
                  <a:lnTo>
                    <a:pt x="7516" y="4512"/>
                  </a:lnTo>
                  <a:cubicBezTo>
                    <a:pt x="7536" y="4526"/>
                    <a:pt x="7563" y="4529"/>
                    <a:pt x="7590" y="4529"/>
                  </a:cubicBezTo>
                  <a:cubicBezTo>
                    <a:pt x="7618" y="4529"/>
                    <a:pt x="7645" y="4526"/>
                    <a:pt x="7666" y="4512"/>
                  </a:cubicBezTo>
                  <a:lnTo>
                    <a:pt x="14263" y="1174"/>
                  </a:lnTo>
                  <a:lnTo>
                    <a:pt x="13707" y="854"/>
                  </a:lnTo>
                  <a:cubicBezTo>
                    <a:pt x="13601" y="1083"/>
                    <a:pt x="13444" y="1277"/>
                    <a:pt x="13273" y="1376"/>
                  </a:cubicBezTo>
                  <a:cubicBezTo>
                    <a:pt x="13198" y="1420"/>
                    <a:pt x="13119" y="1444"/>
                    <a:pt x="13048" y="1444"/>
                  </a:cubicBezTo>
                  <a:cubicBezTo>
                    <a:pt x="12990" y="1444"/>
                    <a:pt x="12935" y="1427"/>
                    <a:pt x="12888" y="1400"/>
                  </a:cubicBezTo>
                  <a:cubicBezTo>
                    <a:pt x="12884" y="1396"/>
                    <a:pt x="12881" y="1396"/>
                    <a:pt x="12881" y="1393"/>
                  </a:cubicBezTo>
                  <a:lnTo>
                    <a:pt x="13017" y="1314"/>
                  </a:lnTo>
                  <a:cubicBezTo>
                    <a:pt x="13028" y="1314"/>
                    <a:pt x="13037" y="1318"/>
                    <a:pt x="13048" y="1318"/>
                  </a:cubicBezTo>
                  <a:cubicBezTo>
                    <a:pt x="13109" y="1318"/>
                    <a:pt x="13168" y="1294"/>
                    <a:pt x="13209" y="1267"/>
                  </a:cubicBezTo>
                  <a:cubicBezTo>
                    <a:pt x="13362" y="1178"/>
                    <a:pt x="13499" y="1001"/>
                    <a:pt x="13598" y="788"/>
                  </a:cubicBezTo>
                  <a:lnTo>
                    <a:pt x="13368" y="659"/>
                  </a:lnTo>
                  <a:lnTo>
                    <a:pt x="13368" y="1110"/>
                  </a:lnTo>
                  <a:lnTo>
                    <a:pt x="7683" y="4188"/>
                  </a:lnTo>
                  <a:cubicBezTo>
                    <a:pt x="7659" y="4202"/>
                    <a:pt x="7625" y="4208"/>
                    <a:pt x="7590" y="4208"/>
                  </a:cubicBezTo>
                  <a:cubicBezTo>
                    <a:pt x="7573" y="4208"/>
                    <a:pt x="7553" y="4205"/>
                    <a:pt x="7536" y="4202"/>
                  </a:cubicBezTo>
                  <a:cubicBezTo>
                    <a:pt x="7522" y="4198"/>
                    <a:pt x="7508" y="4195"/>
                    <a:pt x="7495" y="4188"/>
                  </a:cubicBezTo>
                  <a:lnTo>
                    <a:pt x="242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97" name="Google Shape;6747;p41">
              <a:extLst>
                <a:ext uri="{FF2B5EF4-FFF2-40B4-BE49-F238E27FC236}">
                  <a16:creationId xmlns:a16="http://schemas.microsoft.com/office/drawing/2014/main" id="{88C5FFBB-727D-3041-A49A-A1C59793D76F}"/>
                </a:ext>
              </a:extLst>
            </p:cNvPr>
            <p:cNvSpPr/>
            <p:nvPr/>
          </p:nvSpPr>
          <p:spPr>
            <a:xfrm>
              <a:off x="5156225" y="3165775"/>
              <a:ext cx="12725" cy="6500"/>
            </a:xfrm>
            <a:custGeom>
              <a:avLst/>
              <a:gdLst/>
              <a:ahLst/>
              <a:cxnLst/>
              <a:rect l="l" t="t" r="r" b="b"/>
              <a:pathLst>
                <a:path w="509" h="260" extrusionOk="0">
                  <a:moveTo>
                    <a:pt x="509" y="1"/>
                  </a:moveTo>
                  <a:lnTo>
                    <a:pt x="1" y="260"/>
                  </a:lnTo>
                  <a:lnTo>
                    <a:pt x="1" y="260"/>
                  </a:lnTo>
                  <a:close/>
                </a:path>
              </a:pathLst>
            </a:custGeom>
            <a:solidFill>
              <a:srgbClr val="37485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98" name="Google Shape;6748;p41">
              <a:extLst>
                <a:ext uri="{FF2B5EF4-FFF2-40B4-BE49-F238E27FC236}">
                  <a16:creationId xmlns:a16="http://schemas.microsoft.com/office/drawing/2014/main" id="{FF92D787-D4BC-3946-AA09-D87BBC8690F1}"/>
                </a:ext>
              </a:extLst>
            </p:cNvPr>
            <p:cNvSpPr/>
            <p:nvPr/>
          </p:nvSpPr>
          <p:spPr>
            <a:xfrm>
              <a:off x="5000500" y="3250675"/>
              <a:ext cx="800" cy="275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1"/>
                  </a:moveTo>
                  <a:lnTo>
                    <a:pt x="32" y="1"/>
                  </a:lnTo>
                  <a:cubicBezTo>
                    <a:pt x="21" y="4"/>
                    <a:pt x="11" y="7"/>
                    <a:pt x="1" y="11"/>
                  </a:cubicBezTo>
                  <a:cubicBezTo>
                    <a:pt x="14" y="7"/>
                    <a:pt x="25" y="4"/>
                    <a:pt x="32" y="1"/>
                  </a:cubicBez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99" name="Google Shape;6749;p41">
              <a:extLst>
                <a:ext uri="{FF2B5EF4-FFF2-40B4-BE49-F238E27FC236}">
                  <a16:creationId xmlns:a16="http://schemas.microsoft.com/office/drawing/2014/main" id="{442F973C-EEA1-5C45-BE87-92400EE3C42C}"/>
                </a:ext>
              </a:extLst>
            </p:cNvPr>
            <p:cNvSpPr/>
            <p:nvPr/>
          </p:nvSpPr>
          <p:spPr>
            <a:xfrm>
              <a:off x="4999400" y="3162125"/>
              <a:ext cx="169550" cy="89000"/>
            </a:xfrm>
            <a:custGeom>
              <a:avLst/>
              <a:gdLst/>
              <a:ahLst/>
              <a:cxnLst/>
              <a:rect l="l" t="t" r="r" b="b"/>
              <a:pathLst>
                <a:path w="6782" h="3560" extrusionOk="0">
                  <a:moveTo>
                    <a:pt x="6782" y="0"/>
                  </a:moveTo>
                  <a:lnTo>
                    <a:pt x="6683" y="58"/>
                  </a:lnTo>
                  <a:lnTo>
                    <a:pt x="6673" y="54"/>
                  </a:lnTo>
                  <a:lnTo>
                    <a:pt x="76" y="3392"/>
                  </a:lnTo>
                  <a:cubicBezTo>
                    <a:pt x="55" y="3406"/>
                    <a:pt x="28" y="3409"/>
                    <a:pt x="0" y="3409"/>
                  </a:cubicBezTo>
                  <a:lnTo>
                    <a:pt x="0" y="3559"/>
                  </a:lnTo>
                  <a:cubicBezTo>
                    <a:pt x="17" y="3559"/>
                    <a:pt x="31" y="3556"/>
                    <a:pt x="45" y="3553"/>
                  </a:cubicBezTo>
                  <a:cubicBezTo>
                    <a:pt x="55" y="3549"/>
                    <a:pt x="65" y="3546"/>
                    <a:pt x="76" y="3543"/>
                  </a:cubicBezTo>
                  <a:lnTo>
                    <a:pt x="6274" y="406"/>
                  </a:lnTo>
                  <a:lnTo>
                    <a:pt x="6782" y="147"/>
                  </a:lnTo>
                  <a:lnTo>
                    <a:pt x="678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00" name="Google Shape;6750;p41">
              <a:extLst>
                <a:ext uri="{FF2B5EF4-FFF2-40B4-BE49-F238E27FC236}">
                  <a16:creationId xmlns:a16="http://schemas.microsoft.com/office/drawing/2014/main" id="{2958DCEB-734F-5C4E-8383-B30B7BE30DBA}"/>
                </a:ext>
              </a:extLst>
            </p:cNvPr>
            <p:cNvSpPr/>
            <p:nvPr/>
          </p:nvSpPr>
          <p:spPr>
            <a:xfrm>
              <a:off x="4975600" y="3004425"/>
              <a:ext cx="190900" cy="159150"/>
            </a:xfrm>
            <a:custGeom>
              <a:avLst/>
              <a:gdLst/>
              <a:ahLst/>
              <a:cxnLst/>
              <a:rect l="l" t="t" r="r" b="b"/>
              <a:pathLst>
                <a:path w="7636" h="6366" extrusionOk="0">
                  <a:moveTo>
                    <a:pt x="0" y="1"/>
                  </a:moveTo>
                  <a:lnTo>
                    <a:pt x="0" y="1963"/>
                  </a:lnTo>
                  <a:lnTo>
                    <a:pt x="7635" y="6366"/>
                  </a:lnTo>
                  <a:lnTo>
                    <a:pt x="7635" y="442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01" name="Google Shape;6751;p41">
              <a:extLst>
                <a:ext uri="{FF2B5EF4-FFF2-40B4-BE49-F238E27FC236}">
                  <a16:creationId xmlns:a16="http://schemas.microsoft.com/office/drawing/2014/main" id="{F08334C8-8824-AC43-9F2E-FC18166F0BCD}"/>
                </a:ext>
              </a:extLst>
            </p:cNvPr>
            <p:cNvSpPr/>
            <p:nvPr/>
          </p:nvSpPr>
          <p:spPr>
            <a:xfrm>
              <a:off x="5133525" y="3118600"/>
              <a:ext cx="32975" cy="44975"/>
            </a:xfrm>
            <a:custGeom>
              <a:avLst/>
              <a:gdLst/>
              <a:ahLst/>
              <a:cxnLst/>
              <a:rect l="l" t="t" r="r" b="b"/>
              <a:pathLst>
                <a:path w="1319" h="1799" extrusionOk="0">
                  <a:moveTo>
                    <a:pt x="618" y="427"/>
                  </a:moveTo>
                  <a:lnTo>
                    <a:pt x="69" y="762"/>
                  </a:lnTo>
                  <a:cubicBezTo>
                    <a:pt x="45" y="802"/>
                    <a:pt x="21" y="840"/>
                    <a:pt x="0" y="881"/>
                  </a:cubicBezTo>
                  <a:lnTo>
                    <a:pt x="413" y="1119"/>
                  </a:lnTo>
                  <a:lnTo>
                    <a:pt x="413" y="1280"/>
                  </a:lnTo>
                  <a:lnTo>
                    <a:pt x="643" y="1409"/>
                  </a:lnTo>
                  <a:cubicBezTo>
                    <a:pt x="717" y="1239"/>
                    <a:pt x="769" y="1045"/>
                    <a:pt x="772" y="864"/>
                  </a:cubicBezTo>
                  <a:cubicBezTo>
                    <a:pt x="779" y="652"/>
                    <a:pt x="725" y="488"/>
                    <a:pt x="622" y="431"/>
                  </a:cubicBezTo>
                  <a:lnTo>
                    <a:pt x="618" y="427"/>
                  </a:lnTo>
                  <a:close/>
                  <a:moveTo>
                    <a:pt x="1318" y="1"/>
                  </a:moveTo>
                  <a:lnTo>
                    <a:pt x="734" y="355"/>
                  </a:lnTo>
                  <a:cubicBezTo>
                    <a:pt x="847" y="454"/>
                    <a:pt x="909" y="639"/>
                    <a:pt x="898" y="867"/>
                  </a:cubicBezTo>
                  <a:cubicBezTo>
                    <a:pt x="895" y="1072"/>
                    <a:pt x="840" y="1283"/>
                    <a:pt x="752" y="1475"/>
                  </a:cubicBezTo>
                  <a:lnTo>
                    <a:pt x="1318" y="1799"/>
                  </a:lnTo>
                  <a:lnTo>
                    <a:pt x="1318" y="1792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02" name="Google Shape;6752;p41">
              <a:extLst>
                <a:ext uri="{FF2B5EF4-FFF2-40B4-BE49-F238E27FC236}">
                  <a16:creationId xmlns:a16="http://schemas.microsoft.com/office/drawing/2014/main" id="{1EF107FB-4458-7D4B-9161-30F2655BE6F6}"/>
                </a:ext>
              </a:extLst>
            </p:cNvPr>
            <p:cNvSpPr/>
            <p:nvPr/>
          </p:nvSpPr>
          <p:spPr>
            <a:xfrm>
              <a:off x="4808525" y="3036425"/>
              <a:ext cx="335350" cy="202925"/>
            </a:xfrm>
            <a:custGeom>
              <a:avLst/>
              <a:gdLst/>
              <a:ahLst/>
              <a:cxnLst/>
              <a:rect l="l" t="t" r="r" b="b"/>
              <a:pathLst>
                <a:path w="13414" h="8117" extrusionOk="0">
                  <a:moveTo>
                    <a:pt x="5782" y="0"/>
                  </a:moveTo>
                  <a:lnTo>
                    <a:pt x="96" y="3079"/>
                  </a:lnTo>
                  <a:cubicBezTo>
                    <a:pt x="41" y="3110"/>
                    <a:pt x="0" y="3181"/>
                    <a:pt x="0" y="3239"/>
                  </a:cubicBezTo>
                  <a:lnTo>
                    <a:pt x="0" y="3636"/>
                  </a:lnTo>
                  <a:cubicBezTo>
                    <a:pt x="0" y="3697"/>
                    <a:pt x="41" y="3768"/>
                    <a:pt x="96" y="3800"/>
                  </a:cubicBezTo>
                  <a:lnTo>
                    <a:pt x="7544" y="8096"/>
                  </a:lnTo>
                  <a:cubicBezTo>
                    <a:pt x="7569" y="8110"/>
                    <a:pt x="7602" y="8117"/>
                    <a:pt x="7635" y="8117"/>
                  </a:cubicBezTo>
                  <a:cubicBezTo>
                    <a:pt x="7669" y="8117"/>
                    <a:pt x="7702" y="8110"/>
                    <a:pt x="7728" y="8096"/>
                  </a:cubicBezTo>
                  <a:lnTo>
                    <a:pt x="13413" y="5018"/>
                  </a:lnTo>
                  <a:lnTo>
                    <a:pt x="13413" y="4406"/>
                  </a:lnTo>
                  <a:lnTo>
                    <a:pt x="5782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03" name="Google Shape;6753;p41">
              <a:extLst>
                <a:ext uri="{FF2B5EF4-FFF2-40B4-BE49-F238E27FC236}">
                  <a16:creationId xmlns:a16="http://schemas.microsoft.com/office/drawing/2014/main" id="{07EFA3A0-B296-234B-8D5C-D3B2FA60307C}"/>
                </a:ext>
              </a:extLst>
            </p:cNvPr>
            <p:cNvSpPr/>
            <p:nvPr/>
          </p:nvSpPr>
          <p:spPr>
            <a:xfrm>
              <a:off x="4809550" y="3036425"/>
              <a:ext cx="334325" cy="187625"/>
            </a:xfrm>
            <a:custGeom>
              <a:avLst/>
              <a:gdLst/>
              <a:ahLst/>
              <a:cxnLst/>
              <a:rect l="l" t="t" r="r" b="b"/>
              <a:pathLst>
                <a:path w="13373" h="7505" extrusionOk="0">
                  <a:moveTo>
                    <a:pt x="5741" y="0"/>
                  </a:moveTo>
                  <a:lnTo>
                    <a:pt x="55" y="3079"/>
                  </a:lnTo>
                  <a:cubicBezTo>
                    <a:pt x="0" y="3110"/>
                    <a:pt x="0" y="3157"/>
                    <a:pt x="55" y="3185"/>
                  </a:cubicBezTo>
                  <a:lnTo>
                    <a:pt x="7503" y="7481"/>
                  </a:lnTo>
                  <a:cubicBezTo>
                    <a:pt x="7528" y="7497"/>
                    <a:pt x="7561" y="7505"/>
                    <a:pt x="7594" y="7505"/>
                  </a:cubicBezTo>
                  <a:cubicBezTo>
                    <a:pt x="7628" y="7505"/>
                    <a:pt x="7661" y="7497"/>
                    <a:pt x="7687" y="7481"/>
                  </a:cubicBezTo>
                  <a:lnTo>
                    <a:pt x="13372" y="4406"/>
                  </a:lnTo>
                  <a:lnTo>
                    <a:pt x="5741" y="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04" name="Google Shape;6754;p41">
              <a:extLst>
                <a:ext uri="{FF2B5EF4-FFF2-40B4-BE49-F238E27FC236}">
                  <a16:creationId xmlns:a16="http://schemas.microsoft.com/office/drawing/2014/main" id="{310D32EF-D258-D940-9943-992BED226D98}"/>
                </a:ext>
              </a:extLst>
            </p:cNvPr>
            <p:cNvSpPr/>
            <p:nvPr/>
          </p:nvSpPr>
          <p:spPr>
            <a:xfrm>
              <a:off x="5124225" y="3144500"/>
              <a:ext cx="7700" cy="4025"/>
            </a:xfrm>
            <a:custGeom>
              <a:avLst/>
              <a:gdLst/>
              <a:ahLst/>
              <a:cxnLst/>
              <a:rect l="l" t="t" r="r" b="b"/>
              <a:pathLst>
                <a:path w="308" h="161" extrusionOk="0">
                  <a:moveTo>
                    <a:pt x="136" y="1"/>
                  </a:moveTo>
                  <a:cubicBezTo>
                    <a:pt x="104" y="1"/>
                    <a:pt x="71" y="8"/>
                    <a:pt x="48" y="22"/>
                  </a:cubicBezTo>
                  <a:cubicBezTo>
                    <a:pt x="45" y="22"/>
                    <a:pt x="42" y="25"/>
                    <a:pt x="38" y="29"/>
                  </a:cubicBezTo>
                  <a:cubicBezTo>
                    <a:pt x="1" y="60"/>
                    <a:pt x="7" y="101"/>
                    <a:pt x="62" y="135"/>
                  </a:cubicBezTo>
                  <a:cubicBezTo>
                    <a:pt x="83" y="142"/>
                    <a:pt x="103" y="152"/>
                    <a:pt x="127" y="156"/>
                  </a:cubicBezTo>
                  <a:cubicBezTo>
                    <a:pt x="141" y="159"/>
                    <a:pt x="156" y="160"/>
                    <a:pt x="171" y="160"/>
                  </a:cubicBezTo>
                  <a:cubicBezTo>
                    <a:pt x="190" y="160"/>
                    <a:pt x="209" y="158"/>
                    <a:pt x="226" y="152"/>
                  </a:cubicBezTo>
                  <a:cubicBezTo>
                    <a:pt x="240" y="152"/>
                    <a:pt x="250" y="148"/>
                    <a:pt x="257" y="142"/>
                  </a:cubicBezTo>
                  <a:cubicBezTo>
                    <a:pt x="308" y="115"/>
                    <a:pt x="305" y="63"/>
                    <a:pt x="243" y="29"/>
                  </a:cubicBezTo>
                  <a:cubicBezTo>
                    <a:pt x="219" y="16"/>
                    <a:pt x="188" y="5"/>
                    <a:pt x="155" y="2"/>
                  </a:cubicBezTo>
                  <a:cubicBezTo>
                    <a:pt x="148" y="1"/>
                    <a:pt x="142" y="1"/>
                    <a:pt x="13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05" name="Google Shape;6755;p41">
              <a:extLst>
                <a:ext uri="{FF2B5EF4-FFF2-40B4-BE49-F238E27FC236}">
                  <a16:creationId xmlns:a16="http://schemas.microsoft.com/office/drawing/2014/main" id="{A88CE3E5-D6EA-4245-BB16-4AF0826B641A}"/>
                </a:ext>
              </a:extLst>
            </p:cNvPr>
            <p:cNvSpPr/>
            <p:nvPr/>
          </p:nvSpPr>
          <p:spPr>
            <a:xfrm>
              <a:off x="4808525" y="3113800"/>
              <a:ext cx="190900" cy="125550"/>
            </a:xfrm>
            <a:custGeom>
              <a:avLst/>
              <a:gdLst/>
              <a:ahLst/>
              <a:cxnLst/>
              <a:rect l="l" t="t" r="r" b="b"/>
              <a:pathLst>
                <a:path w="7636" h="5022" extrusionOk="0">
                  <a:moveTo>
                    <a:pt x="72" y="1"/>
                  </a:moveTo>
                  <a:cubicBezTo>
                    <a:pt x="31" y="35"/>
                    <a:pt x="0" y="97"/>
                    <a:pt x="0" y="144"/>
                  </a:cubicBezTo>
                  <a:lnTo>
                    <a:pt x="0" y="544"/>
                  </a:lnTo>
                  <a:cubicBezTo>
                    <a:pt x="0" y="602"/>
                    <a:pt x="41" y="673"/>
                    <a:pt x="93" y="705"/>
                  </a:cubicBezTo>
                  <a:lnTo>
                    <a:pt x="7540" y="5001"/>
                  </a:lnTo>
                  <a:cubicBezTo>
                    <a:pt x="7567" y="5015"/>
                    <a:pt x="7602" y="5021"/>
                    <a:pt x="7635" y="5021"/>
                  </a:cubicBezTo>
                  <a:lnTo>
                    <a:pt x="7635" y="4407"/>
                  </a:lnTo>
                  <a:cubicBezTo>
                    <a:pt x="7630" y="4408"/>
                    <a:pt x="7625" y="4408"/>
                    <a:pt x="7620" y="4408"/>
                  </a:cubicBezTo>
                  <a:cubicBezTo>
                    <a:pt x="7592" y="4408"/>
                    <a:pt x="7563" y="4398"/>
                    <a:pt x="7540" y="4386"/>
                  </a:cubicBezTo>
                  <a:lnTo>
                    <a:pt x="93" y="90"/>
                  </a:lnTo>
                  <a:cubicBezTo>
                    <a:pt x="52" y="66"/>
                    <a:pt x="45" y="29"/>
                    <a:pt x="72" y="1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06" name="Google Shape;6756;p41">
              <a:extLst>
                <a:ext uri="{FF2B5EF4-FFF2-40B4-BE49-F238E27FC236}">
                  <a16:creationId xmlns:a16="http://schemas.microsoft.com/office/drawing/2014/main" id="{C0151202-A1E8-0145-8BE3-A0F28AF69086}"/>
                </a:ext>
              </a:extLst>
            </p:cNvPr>
            <p:cNvSpPr/>
            <p:nvPr/>
          </p:nvSpPr>
          <p:spPr>
            <a:xfrm>
              <a:off x="5127900" y="3125500"/>
              <a:ext cx="28350" cy="44725"/>
            </a:xfrm>
            <a:custGeom>
              <a:avLst/>
              <a:gdLst/>
              <a:ahLst/>
              <a:cxnLst/>
              <a:rect l="l" t="t" r="r" b="b"/>
              <a:pathLst>
                <a:path w="1134" h="1789" extrusionOk="0">
                  <a:moveTo>
                    <a:pt x="749" y="1"/>
                  </a:moveTo>
                  <a:cubicBezTo>
                    <a:pt x="678" y="1"/>
                    <a:pt x="603" y="22"/>
                    <a:pt x="526" y="65"/>
                  </a:cubicBezTo>
                  <a:cubicBezTo>
                    <a:pt x="294" y="202"/>
                    <a:pt x="93" y="509"/>
                    <a:pt x="0" y="847"/>
                  </a:cubicBezTo>
                  <a:cubicBezTo>
                    <a:pt x="44" y="854"/>
                    <a:pt x="99" y="861"/>
                    <a:pt x="126" y="864"/>
                  </a:cubicBezTo>
                  <a:cubicBezTo>
                    <a:pt x="212" y="567"/>
                    <a:pt x="389" y="291"/>
                    <a:pt x="588" y="178"/>
                  </a:cubicBezTo>
                  <a:cubicBezTo>
                    <a:pt x="632" y="151"/>
                    <a:pt x="690" y="127"/>
                    <a:pt x="748" y="127"/>
                  </a:cubicBezTo>
                  <a:cubicBezTo>
                    <a:pt x="782" y="127"/>
                    <a:pt x="816" y="134"/>
                    <a:pt x="847" y="155"/>
                  </a:cubicBezTo>
                  <a:cubicBezTo>
                    <a:pt x="950" y="212"/>
                    <a:pt x="1004" y="376"/>
                    <a:pt x="997" y="588"/>
                  </a:cubicBezTo>
                  <a:cubicBezTo>
                    <a:pt x="986" y="994"/>
                    <a:pt x="755" y="1455"/>
                    <a:pt x="479" y="1612"/>
                  </a:cubicBezTo>
                  <a:cubicBezTo>
                    <a:pt x="435" y="1638"/>
                    <a:pt x="379" y="1662"/>
                    <a:pt x="319" y="1662"/>
                  </a:cubicBezTo>
                  <a:cubicBezTo>
                    <a:pt x="308" y="1662"/>
                    <a:pt x="298" y="1661"/>
                    <a:pt x="287" y="1659"/>
                  </a:cubicBezTo>
                  <a:lnTo>
                    <a:pt x="151" y="1738"/>
                  </a:lnTo>
                  <a:cubicBezTo>
                    <a:pt x="151" y="1741"/>
                    <a:pt x="154" y="1741"/>
                    <a:pt x="158" y="1745"/>
                  </a:cubicBezTo>
                  <a:cubicBezTo>
                    <a:pt x="205" y="1772"/>
                    <a:pt x="260" y="1789"/>
                    <a:pt x="318" y="1789"/>
                  </a:cubicBezTo>
                  <a:cubicBezTo>
                    <a:pt x="389" y="1789"/>
                    <a:pt x="468" y="1765"/>
                    <a:pt x="543" y="1721"/>
                  </a:cubicBezTo>
                  <a:cubicBezTo>
                    <a:pt x="857" y="1540"/>
                    <a:pt x="1113" y="1045"/>
                    <a:pt x="1123" y="591"/>
                  </a:cubicBezTo>
                  <a:cubicBezTo>
                    <a:pt x="1134" y="328"/>
                    <a:pt x="1055" y="130"/>
                    <a:pt x="912" y="45"/>
                  </a:cubicBezTo>
                  <a:cubicBezTo>
                    <a:pt x="862" y="16"/>
                    <a:pt x="807" y="1"/>
                    <a:pt x="74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07" name="Google Shape;6757;p41">
              <a:extLst>
                <a:ext uri="{FF2B5EF4-FFF2-40B4-BE49-F238E27FC236}">
                  <a16:creationId xmlns:a16="http://schemas.microsoft.com/office/drawing/2014/main" id="{48537864-96F2-994C-9625-A4D6014E6FD1}"/>
                </a:ext>
              </a:extLst>
            </p:cNvPr>
            <p:cNvSpPr/>
            <p:nvPr/>
          </p:nvSpPr>
          <p:spPr>
            <a:xfrm>
              <a:off x="4808525" y="3003150"/>
              <a:ext cx="360425" cy="216850"/>
            </a:xfrm>
            <a:custGeom>
              <a:avLst/>
              <a:gdLst/>
              <a:ahLst/>
              <a:cxnLst/>
              <a:rect l="l" t="t" r="r" b="b"/>
              <a:pathLst>
                <a:path w="14417" h="8674" extrusionOk="0">
                  <a:moveTo>
                    <a:pt x="6789" y="0"/>
                  </a:moveTo>
                  <a:lnTo>
                    <a:pt x="76" y="4103"/>
                  </a:lnTo>
                  <a:cubicBezTo>
                    <a:pt x="35" y="4127"/>
                    <a:pt x="0" y="4178"/>
                    <a:pt x="0" y="4219"/>
                  </a:cubicBezTo>
                  <a:cubicBezTo>
                    <a:pt x="0" y="4260"/>
                    <a:pt x="35" y="4315"/>
                    <a:pt x="76" y="4338"/>
                  </a:cubicBezTo>
                  <a:lnTo>
                    <a:pt x="7561" y="8656"/>
                  </a:lnTo>
                  <a:cubicBezTo>
                    <a:pt x="7581" y="8668"/>
                    <a:pt x="7608" y="8674"/>
                    <a:pt x="7636" y="8674"/>
                  </a:cubicBezTo>
                  <a:cubicBezTo>
                    <a:pt x="7663" y="8674"/>
                    <a:pt x="7690" y="8668"/>
                    <a:pt x="7711" y="8656"/>
                  </a:cubicBezTo>
                  <a:lnTo>
                    <a:pt x="14417" y="4557"/>
                  </a:lnTo>
                  <a:lnTo>
                    <a:pt x="14417" y="4406"/>
                  </a:lnTo>
                  <a:lnTo>
                    <a:pt x="6789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08" name="Google Shape;6758;p41">
              <a:extLst>
                <a:ext uri="{FF2B5EF4-FFF2-40B4-BE49-F238E27FC236}">
                  <a16:creationId xmlns:a16="http://schemas.microsoft.com/office/drawing/2014/main" id="{261B33FC-1423-AF4F-945D-CC65D49F42D1}"/>
                </a:ext>
              </a:extLst>
            </p:cNvPr>
            <p:cNvSpPr/>
            <p:nvPr/>
          </p:nvSpPr>
          <p:spPr>
            <a:xfrm>
              <a:off x="4809800" y="3105625"/>
              <a:ext cx="625" cy="525"/>
            </a:xfrm>
            <a:custGeom>
              <a:avLst/>
              <a:gdLst/>
              <a:ahLst/>
              <a:cxnLst/>
              <a:rect l="l" t="t" r="r" b="b"/>
              <a:pathLst>
                <a:path w="25" h="21" extrusionOk="0">
                  <a:moveTo>
                    <a:pt x="25" y="0"/>
                  </a:moveTo>
                  <a:lnTo>
                    <a:pt x="25" y="0"/>
                  </a:lnTo>
                  <a:cubicBezTo>
                    <a:pt x="24" y="1"/>
                    <a:pt x="23" y="2"/>
                    <a:pt x="22" y="3"/>
                  </a:cubicBezTo>
                  <a:lnTo>
                    <a:pt x="22" y="3"/>
                  </a:lnTo>
                  <a:cubicBezTo>
                    <a:pt x="23" y="2"/>
                    <a:pt x="24" y="1"/>
                    <a:pt x="25" y="0"/>
                  </a:cubicBezTo>
                  <a:close/>
                  <a:moveTo>
                    <a:pt x="22" y="3"/>
                  </a:moveTo>
                  <a:cubicBezTo>
                    <a:pt x="20" y="5"/>
                    <a:pt x="17" y="7"/>
                    <a:pt x="14" y="10"/>
                  </a:cubicBezTo>
                  <a:lnTo>
                    <a:pt x="14" y="10"/>
                  </a:lnTo>
                  <a:cubicBezTo>
                    <a:pt x="15" y="9"/>
                    <a:pt x="17" y="8"/>
                    <a:pt x="18" y="8"/>
                  </a:cubicBezTo>
                  <a:cubicBezTo>
                    <a:pt x="18" y="8"/>
                    <a:pt x="20" y="5"/>
                    <a:pt x="22" y="3"/>
                  </a:cubicBezTo>
                  <a:close/>
                  <a:moveTo>
                    <a:pt x="14" y="10"/>
                  </a:moveTo>
                  <a:lnTo>
                    <a:pt x="14" y="10"/>
                  </a:lnTo>
                  <a:cubicBezTo>
                    <a:pt x="8" y="13"/>
                    <a:pt x="4" y="18"/>
                    <a:pt x="1" y="21"/>
                  </a:cubicBezTo>
                  <a:cubicBezTo>
                    <a:pt x="5" y="17"/>
                    <a:pt x="9" y="13"/>
                    <a:pt x="14" y="10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09" name="Google Shape;6759;p41">
              <a:extLst>
                <a:ext uri="{FF2B5EF4-FFF2-40B4-BE49-F238E27FC236}">
                  <a16:creationId xmlns:a16="http://schemas.microsoft.com/office/drawing/2014/main" id="{DA8553CF-7735-6A41-B4DB-1813E6F00DEC}"/>
                </a:ext>
              </a:extLst>
            </p:cNvPr>
            <p:cNvSpPr/>
            <p:nvPr/>
          </p:nvSpPr>
          <p:spPr>
            <a:xfrm>
              <a:off x="4812300" y="3112625"/>
              <a:ext cx="185325" cy="106925"/>
            </a:xfrm>
            <a:custGeom>
              <a:avLst/>
              <a:gdLst/>
              <a:ahLst/>
              <a:cxnLst/>
              <a:rect l="l" t="t" r="r" b="b"/>
              <a:pathLst>
                <a:path w="7413" h="4277" extrusionOk="0">
                  <a:moveTo>
                    <a:pt x="0" y="0"/>
                  </a:moveTo>
                  <a:lnTo>
                    <a:pt x="0" y="0"/>
                  </a:lnTo>
                  <a:lnTo>
                    <a:pt x="7410" y="4277"/>
                  </a:lnTo>
                  <a:lnTo>
                    <a:pt x="7413" y="4277"/>
                  </a:lnTo>
                  <a:lnTo>
                    <a:pt x="7410" y="4277"/>
                  </a:ln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10" name="Google Shape;6760;p41">
              <a:extLst>
                <a:ext uri="{FF2B5EF4-FFF2-40B4-BE49-F238E27FC236}">
                  <a16:creationId xmlns:a16="http://schemas.microsoft.com/office/drawing/2014/main" id="{4E22CC36-D0FA-0C4E-86B6-D6A4CA283799}"/>
                </a:ext>
              </a:extLst>
            </p:cNvPr>
            <p:cNvSpPr/>
            <p:nvPr/>
          </p:nvSpPr>
          <p:spPr>
            <a:xfrm>
              <a:off x="4808525" y="3105800"/>
              <a:ext cx="190900" cy="114200"/>
            </a:xfrm>
            <a:custGeom>
              <a:avLst/>
              <a:gdLst/>
              <a:ahLst/>
              <a:cxnLst/>
              <a:rect l="l" t="t" r="r" b="b"/>
              <a:pathLst>
                <a:path w="7636" h="4568" extrusionOk="0">
                  <a:moveTo>
                    <a:pt x="69" y="1"/>
                  </a:moveTo>
                  <a:lnTo>
                    <a:pt x="69" y="1"/>
                  </a:lnTo>
                  <a:cubicBezTo>
                    <a:pt x="62" y="4"/>
                    <a:pt x="55" y="10"/>
                    <a:pt x="52" y="14"/>
                  </a:cubicBezTo>
                  <a:cubicBezTo>
                    <a:pt x="35" y="28"/>
                    <a:pt x="25" y="45"/>
                    <a:pt x="14" y="62"/>
                  </a:cubicBezTo>
                  <a:cubicBezTo>
                    <a:pt x="8" y="78"/>
                    <a:pt x="0" y="96"/>
                    <a:pt x="0" y="113"/>
                  </a:cubicBezTo>
                  <a:cubicBezTo>
                    <a:pt x="0" y="130"/>
                    <a:pt x="8" y="147"/>
                    <a:pt x="17" y="168"/>
                  </a:cubicBezTo>
                  <a:cubicBezTo>
                    <a:pt x="25" y="181"/>
                    <a:pt x="35" y="198"/>
                    <a:pt x="49" y="209"/>
                  </a:cubicBezTo>
                  <a:cubicBezTo>
                    <a:pt x="58" y="219"/>
                    <a:pt x="66" y="226"/>
                    <a:pt x="76" y="232"/>
                  </a:cubicBezTo>
                  <a:lnTo>
                    <a:pt x="151" y="273"/>
                  </a:lnTo>
                  <a:lnTo>
                    <a:pt x="7561" y="4550"/>
                  </a:lnTo>
                  <a:lnTo>
                    <a:pt x="7564" y="4550"/>
                  </a:lnTo>
                  <a:cubicBezTo>
                    <a:pt x="7584" y="4560"/>
                    <a:pt x="7608" y="4567"/>
                    <a:pt x="7635" y="4567"/>
                  </a:cubicBezTo>
                  <a:lnTo>
                    <a:pt x="7635" y="4416"/>
                  </a:lnTo>
                  <a:cubicBezTo>
                    <a:pt x="7608" y="4416"/>
                    <a:pt x="7581" y="4413"/>
                    <a:pt x="7561" y="4399"/>
                  </a:cubicBezTo>
                  <a:lnTo>
                    <a:pt x="76" y="83"/>
                  </a:lnTo>
                  <a:cubicBezTo>
                    <a:pt x="55" y="69"/>
                    <a:pt x="45" y="55"/>
                    <a:pt x="45" y="37"/>
                  </a:cubicBezTo>
                  <a:cubicBezTo>
                    <a:pt x="45" y="24"/>
                    <a:pt x="52" y="10"/>
                    <a:pt x="69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11" name="Google Shape;6761;p41">
              <a:extLst>
                <a:ext uri="{FF2B5EF4-FFF2-40B4-BE49-F238E27FC236}">
                  <a16:creationId xmlns:a16="http://schemas.microsoft.com/office/drawing/2014/main" id="{46D2225A-4881-7D45-A8A7-27C29AEBE2D8}"/>
                </a:ext>
              </a:extLst>
            </p:cNvPr>
            <p:cNvSpPr/>
            <p:nvPr/>
          </p:nvSpPr>
          <p:spPr>
            <a:xfrm>
              <a:off x="4809375" y="3003150"/>
              <a:ext cx="359575" cy="213075"/>
            </a:xfrm>
            <a:custGeom>
              <a:avLst/>
              <a:gdLst/>
              <a:ahLst/>
              <a:cxnLst/>
              <a:rect l="l" t="t" r="r" b="b"/>
              <a:pathLst>
                <a:path w="14383" h="8523" extrusionOk="0">
                  <a:moveTo>
                    <a:pt x="6755" y="0"/>
                  </a:moveTo>
                  <a:lnTo>
                    <a:pt x="42" y="4099"/>
                  </a:lnTo>
                  <a:cubicBezTo>
                    <a:pt x="1" y="4123"/>
                    <a:pt x="1" y="4164"/>
                    <a:pt x="42" y="4189"/>
                  </a:cubicBezTo>
                  <a:lnTo>
                    <a:pt x="7527" y="8505"/>
                  </a:lnTo>
                  <a:cubicBezTo>
                    <a:pt x="7547" y="8519"/>
                    <a:pt x="7574" y="8522"/>
                    <a:pt x="7601" y="8522"/>
                  </a:cubicBezTo>
                  <a:cubicBezTo>
                    <a:pt x="7629" y="8522"/>
                    <a:pt x="7656" y="8519"/>
                    <a:pt x="7677" y="8505"/>
                  </a:cubicBezTo>
                  <a:lnTo>
                    <a:pt x="14383" y="4406"/>
                  </a:lnTo>
                  <a:lnTo>
                    <a:pt x="6755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12" name="Google Shape;6762;p41">
              <a:extLst>
                <a:ext uri="{FF2B5EF4-FFF2-40B4-BE49-F238E27FC236}">
                  <a16:creationId xmlns:a16="http://schemas.microsoft.com/office/drawing/2014/main" id="{88B5F9C8-0434-084D-B79F-64338549973F}"/>
                </a:ext>
              </a:extLst>
            </p:cNvPr>
            <p:cNvSpPr/>
            <p:nvPr/>
          </p:nvSpPr>
          <p:spPr>
            <a:xfrm>
              <a:off x="5135250" y="3118600"/>
              <a:ext cx="31250" cy="19050"/>
            </a:xfrm>
            <a:custGeom>
              <a:avLst/>
              <a:gdLst/>
              <a:ahLst/>
              <a:cxnLst/>
              <a:rect l="l" t="t" r="r" b="b"/>
              <a:pathLst>
                <a:path w="1250" h="762" extrusionOk="0">
                  <a:moveTo>
                    <a:pt x="549" y="427"/>
                  </a:moveTo>
                  <a:lnTo>
                    <a:pt x="0" y="762"/>
                  </a:lnTo>
                  <a:lnTo>
                    <a:pt x="0" y="762"/>
                  </a:lnTo>
                  <a:lnTo>
                    <a:pt x="549" y="427"/>
                  </a:lnTo>
                  <a:lnTo>
                    <a:pt x="549" y="427"/>
                  </a:lnTo>
                  <a:close/>
                  <a:moveTo>
                    <a:pt x="1249" y="1"/>
                  </a:moveTo>
                  <a:lnTo>
                    <a:pt x="665" y="355"/>
                  </a:lnTo>
                  <a:lnTo>
                    <a:pt x="665" y="355"/>
                  </a:lnTo>
                  <a:lnTo>
                    <a:pt x="1249" y="1"/>
                  </a:lnTo>
                  <a:close/>
                </a:path>
              </a:pathLst>
            </a:custGeom>
            <a:solidFill>
              <a:srgbClr val="0A352E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13" name="Google Shape;6763;p41">
              <a:extLst>
                <a:ext uri="{FF2B5EF4-FFF2-40B4-BE49-F238E27FC236}">
                  <a16:creationId xmlns:a16="http://schemas.microsoft.com/office/drawing/2014/main" id="{329B9525-1275-9D41-8FC4-7D06E3FA0F00}"/>
                </a:ext>
              </a:extLst>
            </p:cNvPr>
            <p:cNvSpPr/>
            <p:nvPr/>
          </p:nvSpPr>
          <p:spPr>
            <a:xfrm>
              <a:off x="5000500" y="3219550"/>
              <a:ext cx="800" cy="250"/>
            </a:xfrm>
            <a:custGeom>
              <a:avLst/>
              <a:gdLst/>
              <a:ahLst/>
              <a:cxnLst/>
              <a:rect l="l" t="t" r="r" b="b"/>
              <a:pathLst>
                <a:path w="32" h="10" extrusionOk="0">
                  <a:moveTo>
                    <a:pt x="32" y="0"/>
                  </a:moveTo>
                  <a:lnTo>
                    <a:pt x="32" y="0"/>
                  </a:lnTo>
                  <a:cubicBezTo>
                    <a:pt x="21" y="3"/>
                    <a:pt x="11" y="7"/>
                    <a:pt x="1" y="10"/>
                  </a:cubicBezTo>
                  <a:cubicBezTo>
                    <a:pt x="11" y="10"/>
                    <a:pt x="25" y="3"/>
                    <a:pt x="32" y="0"/>
                  </a:cubicBezTo>
                  <a:close/>
                </a:path>
              </a:pathLst>
            </a:custGeom>
            <a:solidFill>
              <a:srgbClr val="C8C8C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14" name="Google Shape;6764;p41">
              <a:extLst>
                <a:ext uri="{FF2B5EF4-FFF2-40B4-BE49-F238E27FC236}">
                  <a16:creationId xmlns:a16="http://schemas.microsoft.com/office/drawing/2014/main" id="{6A55621F-2BC7-934F-A06F-7B5C681BEEFA}"/>
                </a:ext>
              </a:extLst>
            </p:cNvPr>
            <p:cNvSpPr/>
            <p:nvPr/>
          </p:nvSpPr>
          <p:spPr>
            <a:xfrm>
              <a:off x="5129950" y="3127475"/>
              <a:ext cx="21950" cy="13400"/>
            </a:xfrm>
            <a:custGeom>
              <a:avLst/>
              <a:gdLst/>
              <a:ahLst/>
              <a:cxnLst/>
              <a:rect l="l" t="t" r="r" b="b"/>
              <a:pathLst>
                <a:path w="878" h="536" extrusionOk="0">
                  <a:moveTo>
                    <a:pt x="212" y="407"/>
                  </a:moveTo>
                  <a:lnTo>
                    <a:pt x="0" y="536"/>
                  </a:lnTo>
                  <a:lnTo>
                    <a:pt x="0" y="536"/>
                  </a:lnTo>
                  <a:lnTo>
                    <a:pt x="212" y="407"/>
                  </a:lnTo>
                  <a:lnTo>
                    <a:pt x="212" y="407"/>
                  </a:lnTo>
                  <a:close/>
                  <a:moveTo>
                    <a:pt x="877" y="0"/>
                  </a:moveTo>
                  <a:lnTo>
                    <a:pt x="761" y="72"/>
                  </a:lnTo>
                  <a:lnTo>
                    <a:pt x="761" y="72"/>
                  </a:lnTo>
                  <a:lnTo>
                    <a:pt x="877" y="0"/>
                  </a:lnTo>
                  <a:close/>
                </a:path>
              </a:pathLst>
            </a:custGeom>
            <a:solidFill>
              <a:srgbClr val="1E282D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15" name="Google Shape;6765;p41">
              <a:extLst>
                <a:ext uri="{FF2B5EF4-FFF2-40B4-BE49-F238E27FC236}">
                  <a16:creationId xmlns:a16="http://schemas.microsoft.com/office/drawing/2014/main" id="{6DD97177-6045-574F-BE5F-9F6730B59D86}"/>
                </a:ext>
              </a:extLst>
            </p:cNvPr>
            <p:cNvSpPr/>
            <p:nvPr/>
          </p:nvSpPr>
          <p:spPr>
            <a:xfrm>
              <a:off x="4999400" y="3113300"/>
              <a:ext cx="169550" cy="106700"/>
            </a:xfrm>
            <a:custGeom>
              <a:avLst/>
              <a:gdLst/>
              <a:ahLst/>
              <a:cxnLst/>
              <a:rect l="l" t="t" r="r" b="b"/>
              <a:pathLst>
                <a:path w="6782" h="4268" extrusionOk="0">
                  <a:moveTo>
                    <a:pt x="6782" y="0"/>
                  </a:moveTo>
                  <a:lnTo>
                    <a:pt x="76" y="4099"/>
                  </a:lnTo>
                  <a:cubicBezTo>
                    <a:pt x="55" y="4113"/>
                    <a:pt x="28" y="4116"/>
                    <a:pt x="0" y="4116"/>
                  </a:cubicBezTo>
                  <a:lnTo>
                    <a:pt x="0" y="4267"/>
                  </a:lnTo>
                  <a:cubicBezTo>
                    <a:pt x="14" y="4267"/>
                    <a:pt x="31" y="4263"/>
                    <a:pt x="45" y="4260"/>
                  </a:cubicBezTo>
                  <a:cubicBezTo>
                    <a:pt x="55" y="4257"/>
                    <a:pt x="65" y="4253"/>
                    <a:pt x="76" y="4250"/>
                  </a:cubicBezTo>
                  <a:lnTo>
                    <a:pt x="5222" y="1103"/>
                  </a:lnTo>
                  <a:lnTo>
                    <a:pt x="5434" y="974"/>
                  </a:lnTo>
                  <a:lnTo>
                    <a:pt x="5983" y="639"/>
                  </a:lnTo>
                  <a:lnTo>
                    <a:pt x="6099" y="567"/>
                  </a:lnTo>
                  <a:lnTo>
                    <a:pt x="6683" y="213"/>
                  </a:lnTo>
                  <a:lnTo>
                    <a:pt x="6683" y="73"/>
                  </a:lnTo>
                  <a:lnTo>
                    <a:pt x="6782" y="4"/>
                  </a:lnTo>
                  <a:lnTo>
                    <a:pt x="678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16" name="Google Shape;6766;p41">
              <a:extLst>
                <a:ext uri="{FF2B5EF4-FFF2-40B4-BE49-F238E27FC236}">
                  <a16:creationId xmlns:a16="http://schemas.microsoft.com/office/drawing/2014/main" id="{F9839B37-37CA-A441-9A05-CE19910AD321}"/>
                </a:ext>
              </a:extLst>
            </p:cNvPr>
            <p:cNvSpPr/>
            <p:nvPr/>
          </p:nvSpPr>
          <p:spPr>
            <a:xfrm>
              <a:off x="5166475" y="3113375"/>
              <a:ext cx="2475" cy="50200"/>
            </a:xfrm>
            <a:custGeom>
              <a:avLst/>
              <a:gdLst/>
              <a:ahLst/>
              <a:cxnLst/>
              <a:rect l="l" t="t" r="r" b="b"/>
              <a:pathLst>
                <a:path w="99" h="2008" extrusionOk="0">
                  <a:moveTo>
                    <a:pt x="99" y="1"/>
                  </a:moveTo>
                  <a:lnTo>
                    <a:pt x="0" y="70"/>
                  </a:lnTo>
                  <a:lnTo>
                    <a:pt x="0" y="2008"/>
                  </a:lnTo>
                  <a:lnTo>
                    <a:pt x="99" y="1950"/>
                  </a:lnTo>
                  <a:lnTo>
                    <a:pt x="99" y="1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17" name="Google Shape;6767;p41">
              <a:extLst>
                <a:ext uri="{FF2B5EF4-FFF2-40B4-BE49-F238E27FC236}">
                  <a16:creationId xmlns:a16="http://schemas.microsoft.com/office/drawing/2014/main" id="{411250B4-39A4-0B45-8230-E734B43312BA}"/>
                </a:ext>
              </a:extLst>
            </p:cNvPr>
            <p:cNvSpPr/>
            <p:nvPr/>
          </p:nvSpPr>
          <p:spPr>
            <a:xfrm>
              <a:off x="5166475" y="3113375"/>
              <a:ext cx="2475" cy="50200"/>
            </a:xfrm>
            <a:custGeom>
              <a:avLst/>
              <a:gdLst/>
              <a:ahLst/>
              <a:cxnLst/>
              <a:rect l="l" t="t" r="r" b="b"/>
              <a:pathLst>
                <a:path w="99" h="2008" extrusionOk="0">
                  <a:moveTo>
                    <a:pt x="99" y="1"/>
                  </a:moveTo>
                  <a:lnTo>
                    <a:pt x="0" y="70"/>
                  </a:lnTo>
                  <a:lnTo>
                    <a:pt x="0" y="2008"/>
                  </a:lnTo>
                  <a:lnTo>
                    <a:pt x="99" y="1950"/>
                  </a:lnTo>
                  <a:lnTo>
                    <a:pt x="9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18" name="Google Shape;6768;p41">
              <a:extLst>
                <a:ext uri="{FF2B5EF4-FFF2-40B4-BE49-F238E27FC236}">
                  <a16:creationId xmlns:a16="http://schemas.microsoft.com/office/drawing/2014/main" id="{161185B5-B34B-3740-B789-C4C5164CFE32}"/>
                </a:ext>
              </a:extLst>
            </p:cNvPr>
            <p:cNvSpPr/>
            <p:nvPr/>
          </p:nvSpPr>
          <p:spPr>
            <a:xfrm>
              <a:off x="4806825" y="3001350"/>
              <a:ext cx="357875" cy="206675"/>
            </a:xfrm>
            <a:custGeom>
              <a:avLst/>
              <a:gdLst/>
              <a:ahLst/>
              <a:cxnLst/>
              <a:rect l="l" t="t" r="r" b="b"/>
              <a:pathLst>
                <a:path w="14315" h="8267" extrusionOk="0">
                  <a:moveTo>
                    <a:pt x="6784" y="1"/>
                  </a:moveTo>
                  <a:cubicBezTo>
                    <a:pt x="6722" y="1"/>
                    <a:pt x="6661" y="15"/>
                    <a:pt x="6615" y="42"/>
                  </a:cubicBezTo>
                  <a:lnTo>
                    <a:pt x="0" y="3861"/>
                  </a:lnTo>
                  <a:lnTo>
                    <a:pt x="7632" y="8267"/>
                  </a:lnTo>
                  <a:lnTo>
                    <a:pt x="14246" y="4448"/>
                  </a:lnTo>
                  <a:cubicBezTo>
                    <a:pt x="14291" y="4420"/>
                    <a:pt x="14314" y="4387"/>
                    <a:pt x="14314" y="4349"/>
                  </a:cubicBezTo>
                  <a:lnTo>
                    <a:pt x="14314" y="4199"/>
                  </a:lnTo>
                  <a:lnTo>
                    <a:pt x="6956" y="42"/>
                  </a:lnTo>
                  <a:cubicBezTo>
                    <a:pt x="6908" y="15"/>
                    <a:pt x="6846" y="1"/>
                    <a:pt x="6784" y="1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19" name="Google Shape;6769;p41">
              <a:extLst>
                <a:ext uri="{FF2B5EF4-FFF2-40B4-BE49-F238E27FC236}">
                  <a16:creationId xmlns:a16="http://schemas.microsoft.com/office/drawing/2014/main" id="{A196D783-1FAD-7444-AA49-09D3384121B7}"/>
                </a:ext>
              </a:extLst>
            </p:cNvPr>
            <p:cNvSpPr/>
            <p:nvPr/>
          </p:nvSpPr>
          <p:spPr>
            <a:xfrm>
              <a:off x="5000175" y="3106400"/>
              <a:ext cx="164525" cy="100100"/>
            </a:xfrm>
            <a:custGeom>
              <a:avLst/>
              <a:gdLst/>
              <a:ahLst/>
              <a:cxnLst/>
              <a:rect l="l" t="t" r="r" b="b"/>
              <a:pathLst>
                <a:path w="6581" h="4004" extrusionOk="0">
                  <a:moveTo>
                    <a:pt x="6580" y="0"/>
                  </a:moveTo>
                  <a:cubicBezTo>
                    <a:pt x="6580" y="34"/>
                    <a:pt x="6557" y="72"/>
                    <a:pt x="6512" y="99"/>
                  </a:cubicBezTo>
                  <a:lnTo>
                    <a:pt x="0" y="3857"/>
                  </a:lnTo>
                  <a:lnTo>
                    <a:pt x="0" y="4003"/>
                  </a:lnTo>
                  <a:lnTo>
                    <a:pt x="6512" y="246"/>
                  </a:lnTo>
                  <a:cubicBezTo>
                    <a:pt x="6557" y="218"/>
                    <a:pt x="6580" y="185"/>
                    <a:pt x="6580" y="147"/>
                  </a:cubicBezTo>
                  <a:lnTo>
                    <a:pt x="6580" y="127"/>
                  </a:lnTo>
                  <a:lnTo>
                    <a:pt x="6580" y="120"/>
                  </a:lnTo>
                  <a:lnTo>
                    <a:pt x="6580" y="116"/>
                  </a:lnTo>
                  <a:lnTo>
                    <a:pt x="6580" y="113"/>
                  </a:lnTo>
                  <a:lnTo>
                    <a:pt x="6580" y="109"/>
                  </a:lnTo>
                  <a:lnTo>
                    <a:pt x="6580" y="106"/>
                  </a:lnTo>
                  <a:lnTo>
                    <a:pt x="6580" y="103"/>
                  </a:lnTo>
                  <a:lnTo>
                    <a:pt x="6580" y="99"/>
                  </a:lnTo>
                  <a:lnTo>
                    <a:pt x="6580" y="95"/>
                  </a:lnTo>
                  <a:lnTo>
                    <a:pt x="6580" y="0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20" name="Google Shape;6770;p41">
              <a:extLst>
                <a:ext uri="{FF2B5EF4-FFF2-40B4-BE49-F238E27FC236}">
                  <a16:creationId xmlns:a16="http://schemas.microsoft.com/office/drawing/2014/main" id="{CC44EE35-DD1D-3E45-8DC1-55AA3FC1C32E}"/>
                </a:ext>
              </a:extLst>
            </p:cNvPr>
            <p:cNvSpPr/>
            <p:nvPr/>
          </p:nvSpPr>
          <p:spPr>
            <a:xfrm>
              <a:off x="4806825" y="2997700"/>
              <a:ext cx="358475" cy="206575"/>
            </a:xfrm>
            <a:custGeom>
              <a:avLst/>
              <a:gdLst/>
              <a:ahLst/>
              <a:cxnLst/>
              <a:rect l="l" t="t" r="r" b="b"/>
              <a:pathLst>
                <a:path w="14339" h="8263" extrusionOk="0">
                  <a:moveTo>
                    <a:pt x="6784" y="0"/>
                  </a:moveTo>
                  <a:cubicBezTo>
                    <a:pt x="6722" y="0"/>
                    <a:pt x="6661" y="14"/>
                    <a:pt x="6615" y="41"/>
                  </a:cubicBezTo>
                  <a:lnTo>
                    <a:pt x="0" y="3860"/>
                  </a:lnTo>
                  <a:lnTo>
                    <a:pt x="7632" y="8263"/>
                  </a:lnTo>
                  <a:lnTo>
                    <a:pt x="14246" y="4447"/>
                  </a:lnTo>
                  <a:cubicBezTo>
                    <a:pt x="14338" y="4393"/>
                    <a:pt x="14338" y="4304"/>
                    <a:pt x="14246" y="4249"/>
                  </a:cubicBezTo>
                  <a:lnTo>
                    <a:pt x="6956" y="41"/>
                  </a:lnTo>
                  <a:cubicBezTo>
                    <a:pt x="6908" y="14"/>
                    <a:pt x="6846" y="0"/>
                    <a:pt x="6784" y="0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21" name="Google Shape;6771;p41">
              <a:extLst>
                <a:ext uri="{FF2B5EF4-FFF2-40B4-BE49-F238E27FC236}">
                  <a16:creationId xmlns:a16="http://schemas.microsoft.com/office/drawing/2014/main" id="{08A82529-C8FB-8E48-960C-88E82F862E8C}"/>
                </a:ext>
              </a:extLst>
            </p:cNvPr>
            <p:cNvSpPr/>
            <p:nvPr/>
          </p:nvSpPr>
          <p:spPr>
            <a:xfrm>
              <a:off x="5000175" y="3102125"/>
              <a:ext cx="164525" cy="100700"/>
            </a:xfrm>
            <a:custGeom>
              <a:avLst/>
              <a:gdLst/>
              <a:ahLst/>
              <a:cxnLst/>
              <a:rect l="l" t="t" r="r" b="b"/>
              <a:pathLst>
                <a:path w="6581" h="4028" extrusionOk="0">
                  <a:moveTo>
                    <a:pt x="0" y="3092"/>
                  </a:moveTo>
                  <a:lnTo>
                    <a:pt x="0" y="3287"/>
                  </a:lnTo>
                  <a:cubicBezTo>
                    <a:pt x="27" y="3297"/>
                    <a:pt x="54" y="3305"/>
                    <a:pt x="86" y="3305"/>
                  </a:cubicBezTo>
                  <a:cubicBezTo>
                    <a:pt x="140" y="3305"/>
                    <a:pt x="205" y="3287"/>
                    <a:pt x="270" y="3250"/>
                  </a:cubicBezTo>
                  <a:lnTo>
                    <a:pt x="270" y="3250"/>
                  </a:lnTo>
                  <a:lnTo>
                    <a:pt x="294" y="3264"/>
                  </a:lnTo>
                  <a:lnTo>
                    <a:pt x="270" y="3250"/>
                  </a:lnTo>
                  <a:cubicBezTo>
                    <a:pt x="270" y="3250"/>
                    <a:pt x="270" y="3250"/>
                    <a:pt x="270" y="3250"/>
                  </a:cubicBezTo>
                  <a:lnTo>
                    <a:pt x="270" y="3250"/>
                  </a:lnTo>
                  <a:lnTo>
                    <a:pt x="0" y="3092"/>
                  </a:lnTo>
                  <a:close/>
                  <a:moveTo>
                    <a:pt x="6386" y="0"/>
                  </a:moveTo>
                  <a:lnTo>
                    <a:pt x="6386" y="123"/>
                  </a:lnTo>
                  <a:lnTo>
                    <a:pt x="6376" y="130"/>
                  </a:lnTo>
                  <a:cubicBezTo>
                    <a:pt x="6396" y="178"/>
                    <a:pt x="6379" y="230"/>
                    <a:pt x="6314" y="263"/>
                  </a:cubicBezTo>
                  <a:lnTo>
                    <a:pt x="706" y="3502"/>
                  </a:lnTo>
                  <a:lnTo>
                    <a:pt x="369" y="3305"/>
                  </a:lnTo>
                  <a:cubicBezTo>
                    <a:pt x="355" y="3314"/>
                    <a:pt x="338" y="3322"/>
                    <a:pt x="325" y="3332"/>
                  </a:cubicBezTo>
                  <a:cubicBezTo>
                    <a:pt x="243" y="3376"/>
                    <a:pt x="161" y="3400"/>
                    <a:pt x="86" y="3400"/>
                  </a:cubicBezTo>
                  <a:cubicBezTo>
                    <a:pt x="54" y="3400"/>
                    <a:pt x="27" y="3396"/>
                    <a:pt x="0" y="3390"/>
                  </a:cubicBezTo>
                  <a:lnTo>
                    <a:pt x="0" y="4028"/>
                  </a:lnTo>
                  <a:lnTo>
                    <a:pt x="6512" y="270"/>
                  </a:lnTo>
                  <a:cubicBezTo>
                    <a:pt x="6557" y="243"/>
                    <a:pt x="6580" y="205"/>
                    <a:pt x="6580" y="171"/>
                  </a:cubicBezTo>
                  <a:cubicBezTo>
                    <a:pt x="6580" y="134"/>
                    <a:pt x="6557" y="99"/>
                    <a:pt x="6512" y="72"/>
                  </a:cubicBezTo>
                  <a:lnTo>
                    <a:pt x="638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22" name="Google Shape;6772;p41">
              <a:extLst>
                <a:ext uri="{FF2B5EF4-FFF2-40B4-BE49-F238E27FC236}">
                  <a16:creationId xmlns:a16="http://schemas.microsoft.com/office/drawing/2014/main" id="{B7A50DF6-FD3C-F047-97CE-923027745DC2}"/>
                </a:ext>
              </a:extLst>
            </p:cNvPr>
            <p:cNvSpPr/>
            <p:nvPr/>
          </p:nvSpPr>
          <p:spPr>
            <a:xfrm>
              <a:off x="4827050" y="2997600"/>
              <a:ext cx="333050" cy="192075"/>
            </a:xfrm>
            <a:custGeom>
              <a:avLst/>
              <a:gdLst/>
              <a:ahLst/>
              <a:cxnLst/>
              <a:rect l="l" t="t" r="r" b="b"/>
              <a:pathLst>
                <a:path w="13322" h="7683" extrusionOk="0">
                  <a:moveTo>
                    <a:pt x="5781" y="1"/>
                  </a:moveTo>
                  <a:cubicBezTo>
                    <a:pt x="5719" y="1"/>
                    <a:pt x="5657" y="14"/>
                    <a:pt x="5612" y="41"/>
                  </a:cubicBezTo>
                  <a:lnTo>
                    <a:pt x="713" y="2867"/>
                  </a:lnTo>
                  <a:lnTo>
                    <a:pt x="1" y="2454"/>
                  </a:lnTo>
                  <a:lnTo>
                    <a:pt x="1" y="3277"/>
                  </a:lnTo>
                  <a:lnTo>
                    <a:pt x="7631" y="7683"/>
                  </a:lnTo>
                  <a:lnTo>
                    <a:pt x="13239" y="4444"/>
                  </a:lnTo>
                  <a:cubicBezTo>
                    <a:pt x="13304" y="4411"/>
                    <a:pt x="13321" y="4359"/>
                    <a:pt x="13301" y="4311"/>
                  </a:cubicBezTo>
                  <a:lnTo>
                    <a:pt x="13311" y="4304"/>
                  </a:lnTo>
                  <a:lnTo>
                    <a:pt x="13311" y="3550"/>
                  </a:lnTo>
                  <a:lnTo>
                    <a:pt x="12676" y="3922"/>
                  </a:lnTo>
                  <a:lnTo>
                    <a:pt x="5952" y="41"/>
                  </a:lnTo>
                  <a:cubicBezTo>
                    <a:pt x="5905" y="14"/>
                    <a:pt x="5843" y="1"/>
                    <a:pt x="5781" y="1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23" name="Google Shape;6773;p41">
              <a:extLst>
                <a:ext uri="{FF2B5EF4-FFF2-40B4-BE49-F238E27FC236}">
                  <a16:creationId xmlns:a16="http://schemas.microsoft.com/office/drawing/2014/main" id="{6FE8E0C4-4228-C74F-AC54-0AFACB548902}"/>
                </a:ext>
              </a:extLst>
            </p:cNvPr>
            <p:cNvSpPr/>
            <p:nvPr/>
          </p:nvSpPr>
          <p:spPr>
            <a:xfrm>
              <a:off x="4827050" y="2976950"/>
              <a:ext cx="333375" cy="192100"/>
            </a:xfrm>
            <a:custGeom>
              <a:avLst/>
              <a:gdLst/>
              <a:ahLst/>
              <a:cxnLst/>
              <a:rect l="l" t="t" r="r" b="b"/>
              <a:pathLst>
                <a:path w="13335" h="7684" extrusionOk="0">
                  <a:moveTo>
                    <a:pt x="5781" y="1"/>
                  </a:moveTo>
                  <a:cubicBezTo>
                    <a:pt x="5719" y="1"/>
                    <a:pt x="5657" y="14"/>
                    <a:pt x="5612" y="42"/>
                  </a:cubicBezTo>
                  <a:lnTo>
                    <a:pt x="1" y="3280"/>
                  </a:lnTo>
                  <a:lnTo>
                    <a:pt x="7631" y="7683"/>
                  </a:lnTo>
                  <a:lnTo>
                    <a:pt x="13239" y="4448"/>
                  </a:lnTo>
                  <a:cubicBezTo>
                    <a:pt x="13335" y="4393"/>
                    <a:pt x="13335" y="4304"/>
                    <a:pt x="13239" y="4250"/>
                  </a:cubicBezTo>
                  <a:lnTo>
                    <a:pt x="5952" y="42"/>
                  </a:lnTo>
                  <a:cubicBezTo>
                    <a:pt x="5905" y="14"/>
                    <a:pt x="5843" y="1"/>
                    <a:pt x="5781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24" name="Google Shape;6774;p41">
              <a:extLst>
                <a:ext uri="{FF2B5EF4-FFF2-40B4-BE49-F238E27FC236}">
                  <a16:creationId xmlns:a16="http://schemas.microsoft.com/office/drawing/2014/main" id="{8E875A3F-6F23-D24E-90F2-AAC87ADB85E4}"/>
                </a:ext>
              </a:extLst>
            </p:cNvPr>
            <p:cNvSpPr/>
            <p:nvPr/>
          </p:nvSpPr>
          <p:spPr>
            <a:xfrm>
              <a:off x="4827050" y="3058950"/>
              <a:ext cx="190800" cy="130725"/>
            </a:xfrm>
            <a:custGeom>
              <a:avLst/>
              <a:gdLst/>
              <a:ahLst/>
              <a:cxnLst/>
              <a:rect l="l" t="t" r="r" b="b"/>
              <a:pathLst>
                <a:path w="7632" h="5229" extrusionOk="0">
                  <a:moveTo>
                    <a:pt x="1" y="0"/>
                  </a:moveTo>
                  <a:lnTo>
                    <a:pt x="1" y="823"/>
                  </a:lnTo>
                  <a:lnTo>
                    <a:pt x="7631" y="5229"/>
                  </a:lnTo>
                  <a:lnTo>
                    <a:pt x="7631" y="44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25" name="Google Shape;6775;p41">
              <a:extLst>
                <a:ext uri="{FF2B5EF4-FFF2-40B4-BE49-F238E27FC236}">
                  <a16:creationId xmlns:a16="http://schemas.microsoft.com/office/drawing/2014/main" id="{0A16CC33-3B15-F64D-82D0-A3C1B2836A75}"/>
                </a:ext>
              </a:extLst>
            </p:cNvPr>
            <p:cNvSpPr/>
            <p:nvPr/>
          </p:nvSpPr>
          <p:spPr>
            <a:xfrm>
              <a:off x="5014000" y="3157700"/>
              <a:ext cx="7775" cy="4025"/>
            </a:xfrm>
            <a:custGeom>
              <a:avLst/>
              <a:gdLst/>
              <a:ahLst/>
              <a:cxnLst/>
              <a:rect l="l" t="t" r="r" b="b"/>
              <a:pathLst>
                <a:path w="311" h="161" extrusionOk="0">
                  <a:moveTo>
                    <a:pt x="126" y="0"/>
                  </a:moveTo>
                  <a:cubicBezTo>
                    <a:pt x="98" y="0"/>
                    <a:pt x="72" y="7"/>
                    <a:pt x="51" y="20"/>
                  </a:cubicBezTo>
                  <a:cubicBezTo>
                    <a:pt x="45" y="20"/>
                    <a:pt x="41" y="23"/>
                    <a:pt x="41" y="26"/>
                  </a:cubicBezTo>
                  <a:cubicBezTo>
                    <a:pt x="0" y="58"/>
                    <a:pt x="7" y="102"/>
                    <a:pt x="65" y="132"/>
                  </a:cubicBezTo>
                  <a:cubicBezTo>
                    <a:pt x="82" y="143"/>
                    <a:pt x="103" y="149"/>
                    <a:pt x="126" y="153"/>
                  </a:cubicBezTo>
                  <a:cubicBezTo>
                    <a:pt x="144" y="158"/>
                    <a:pt x="161" y="161"/>
                    <a:pt x="179" y="161"/>
                  </a:cubicBezTo>
                  <a:cubicBezTo>
                    <a:pt x="196" y="161"/>
                    <a:pt x="213" y="158"/>
                    <a:pt x="229" y="153"/>
                  </a:cubicBezTo>
                  <a:cubicBezTo>
                    <a:pt x="239" y="149"/>
                    <a:pt x="249" y="146"/>
                    <a:pt x="259" y="140"/>
                  </a:cubicBezTo>
                  <a:cubicBezTo>
                    <a:pt x="311" y="112"/>
                    <a:pt x="304" y="61"/>
                    <a:pt x="246" y="26"/>
                  </a:cubicBezTo>
                  <a:cubicBezTo>
                    <a:pt x="218" y="13"/>
                    <a:pt x="188" y="3"/>
                    <a:pt x="157" y="3"/>
                  </a:cubicBezTo>
                  <a:cubicBezTo>
                    <a:pt x="146" y="1"/>
                    <a:pt x="136" y="0"/>
                    <a:pt x="12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26" name="Google Shape;6776;p41">
              <a:extLst>
                <a:ext uri="{FF2B5EF4-FFF2-40B4-BE49-F238E27FC236}">
                  <a16:creationId xmlns:a16="http://schemas.microsoft.com/office/drawing/2014/main" id="{0561CD3D-C958-AB47-AFFF-E5FE7D50BEDE}"/>
                </a:ext>
              </a:extLst>
            </p:cNvPr>
            <p:cNvSpPr/>
            <p:nvPr/>
          </p:nvSpPr>
          <p:spPr>
            <a:xfrm>
              <a:off x="4993950" y="3154850"/>
              <a:ext cx="25775" cy="32275"/>
            </a:xfrm>
            <a:custGeom>
              <a:avLst/>
              <a:gdLst/>
              <a:ahLst/>
              <a:cxnLst/>
              <a:rect l="l" t="t" r="r" b="b"/>
              <a:pathLst>
                <a:path w="1031" h="1291" extrusionOk="0">
                  <a:moveTo>
                    <a:pt x="713" y="0"/>
                  </a:moveTo>
                  <a:cubicBezTo>
                    <a:pt x="635" y="0"/>
                    <a:pt x="557" y="25"/>
                    <a:pt x="475" y="72"/>
                  </a:cubicBezTo>
                  <a:cubicBezTo>
                    <a:pt x="208" y="226"/>
                    <a:pt x="0" y="584"/>
                    <a:pt x="0" y="892"/>
                  </a:cubicBezTo>
                  <a:cubicBezTo>
                    <a:pt x="0" y="1008"/>
                    <a:pt x="31" y="1103"/>
                    <a:pt x="89" y="1175"/>
                  </a:cubicBezTo>
                  <a:cubicBezTo>
                    <a:pt x="147" y="1250"/>
                    <a:pt x="235" y="1291"/>
                    <a:pt x="335" y="1291"/>
                  </a:cubicBezTo>
                  <a:cubicBezTo>
                    <a:pt x="410" y="1291"/>
                    <a:pt x="492" y="1267"/>
                    <a:pt x="574" y="1223"/>
                  </a:cubicBezTo>
                  <a:cubicBezTo>
                    <a:pt x="587" y="1213"/>
                    <a:pt x="604" y="1205"/>
                    <a:pt x="618" y="1196"/>
                  </a:cubicBezTo>
                  <a:lnTo>
                    <a:pt x="519" y="1141"/>
                  </a:lnTo>
                  <a:cubicBezTo>
                    <a:pt x="453" y="1177"/>
                    <a:pt x="390" y="1195"/>
                    <a:pt x="335" y="1195"/>
                  </a:cubicBezTo>
                  <a:cubicBezTo>
                    <a:pt x="195" y="1195"/>
                    <a:pt x="99" y="1084"/>
                    <a:pt x="99" y="892"/>
                  </a:cubicBezTo>
                  <a:cubicBezTo>
                    <a:pt x="99" y="622"/>
                    <a:pt x="290" y="291"/>
                    <a:pt x="522" y="158"/>
                  </a:cubicBezTo>
                  <a:cubicBezTo>
                    <a:pt x="589" y="118"/>
                    <a:pt x="654" y="99"/>
                    <a:pt x="711" y="99"/>
                  </a:cubicBezTo>
                  <a:cubicBezTo>
                    <a:pt x="761" y="99"/>
                    <a:pt x="806" y="113"/>
                    <a:pt x="843" y="140"/>
                  </a:cubicBezTo>
                  <a:cubicBezTo>
                    <a:pt x="881" y="168"/>
                    <a:pt x="911" y="209"/>
                    <a:pt x="928" y="267"/>
                  </a:cubicBezTo>
                  <a:cubicBezTo>
                    <a:pt x="946" y="272"/>
                    <a:pt x="963" y="275"/>
                    <a:pt x="981" y="275"/>
                  </a:cubicBezTo>
                  <a:cubicBezTo>
                    <a:pt x="998" y="275"/>
                    <a:pt x="1015" y="272"/>
                    <a:pt x="1031" y="267"/>
                  </a:cubicBezTo>
                  <a:cubicBezTo>
                    <a:pt x="1017" y="205"/>
                    <a:pt x="993" y="154"/>
                    <a:pt x="959" y="117"/>
                  </a:cubicBezTo>
                  <a:cubicBezTo>
                    <a:pt x="901" y="41"/>
                    <a:pt x="815" y="0"/>
                    <a:pt x="71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27" name="Google Shape;6777;p41">
              <a:extLst>
                <a:ext uri="{FF2B5EF4-FFF2-40B4-BE49-F238E27FC236}">
                  <a16:creationId xmlns:a16="http://schemas.microsoft.com/office/drawing/2014/main" id="{69B537DA-5A04-844F-9B27-50D1ABEE9DEE}"/>
                </a:ext>
              </a:extLst>
            </p:cNvPr>
            <p:cNvSpPr/>
            <p:nvPr/>
          </p:nvSpPr>
          <p:spPr>
            <a:xfrm>
              <a:off x="5000100" y="3077225"/>
              <a:ext cx="164600" cy="84150"/>
            </a:xfrm>
            <a:custGeom>
              <a:avLst/>
              <a:gdLst/>
              <a:ahLst/>
              <a:cxnLst/>
              <a:rect l="l" t="t" r="r" b="b"/>
              <a:pathLst>
                <a:path w="6584" h="3366" extrusionOk="0">
                  <a:moveTo>
                    <a:pt x="6583" y="0"/>
                  </a:moveTo>
                  <a:lnTo>
                    <a:pt x="0" y="3218"/>
                  </a:lnTo>
                  <a:lnTo>
                    <a:pt x="0" y="3365"/>
                  </a:lnTo>
                  <a:lnTo>
                    <a:pt x="6498" y="256"/>
                  </a:lnTo>
                  <a:cubicBezTo>
                    <a:pt x="6546" y="229"/>
                    <a:pt x="6583" y="161"/>
                    <a:pt x="6583" y="106"/>
                  </a:cubicBezTo>
                  <a:lnTo>
                    <a:pt x="6583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28" name="Google Shape;6778;p41">
              <a:extLst>
                <a:ext uri="{FF2B5EF4-FFF2-40B4-BE49-F238E27FC236}">
                  <a16:creationId xmlns:a16="http://schemas.microsoft.com/office/drawing/2014/main" id="{3637C2A9-2079-8646-9195-DBEACB1D61FB}"/>
                </a:ext>
              </a:extLst>
            </p:cNvPr>
            <p:cNvSpPr/>
            <p:nvPr/>
          </p:nvSpPr>
          <p:spPr>
            <a:xfrm>
              <a:off x="5000175" y="3077225"/>
              <a:ext cx="164525" cy="84150"/>
            </a:xfrm>
            <a:custGeom>
              <a:avLst/>
              <a:gdLst/>
              <a:ahLst/>
              <a:cxnLst/>
              <a:rect l="l" t="t" r="r" b="b"/>
              <a:pathLst>
                <a:path w="6581" h="3366" extrusionOk="0">
                  <a:moveTo>
                    <a:pt x="6580" y="0"/>
                  </a:moveTo>
                  <a:cubicBezTo>
                    <a:pt x="6580" y="34"/>
                    <a:pt x="6557" y="71"/>
                    <a:pt x="6512" y="99"/>
                  </a:cubicBezTo>
                  <a:lnTo>
                    <a:pt x="0" y="3222"/>
                  </a:lnTo>
                  <a:lnTo>
                    <a:pt x="0" y="3365"/>
                  </a:lnTo>
                  <a:lnTo>
                    <a:pt x="6495" y="256"/>
                  </a:lnTo>
                  <a:cubicBezTo>
                    <a:pt x="6543" y="229"/>
                    <a:pt x="6580" y="161"/>
                    <a:pt x="6580" y="106"/>
                  </a:cubicBezTo>
                  <a:lnTo>
                    <a:pt x="658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29" name="Google Shape;6779;p41">
              <a:extLst>
                <a:ext uri="{FF2B5EF4-FFF2-40B4-BE49-F238E27FC236}">
                  <a16:creationId xmlns:a16="http://schemas.microsoft.com/office/drawing/2014/main" id="{9D8C63FD-1F33-4348-965E-4A5CCE267FF5}"/>
                </a:ext>
              </a:extLst>
            </p:cNvPr>
            <p:cNvSpPr/>
            <p:nvPr/>
          </p:nvSpPr>
          <p:spPr>
            <a:xfrm>
              <a:off x="4806825" y="2968500"/>
              <a:ext cx="358475" cy="190575"/>
            </a:xfrm>
            <a:custGeom>
              <a:avLst/>
              <a:gdLst/>
              <a:ahLst/>
              <a:cxnLst/>
              <a:rect l="l" t="t" r="r" b="b"/>
              <a:pathLst>
                <a:path w="14339" h="7623" extrusionOk="0">
                  <a:moveTo>
                    <a:pt x="6784" y="1"/>
                  </a:moveTo>
                  <a:cubicBezTo>
                    <a:pt x="6722" y="1"/>
                    <a:pt x="6661" y="14"/>
                    <a:pt x="6615" y="41"/>
                  </a:cubicBezTo>
                  <a:lnTo>
                    <a:pt x="0" y="3215"/>
                  </a:lnTo>
                  <a:lnTo>
                    <a:pt x="7632" y="7622"/>
                  </a:lnTo>
                  <a:lnTo>
                    <a:pt x="14246" y="4448"/>
                  </a:lnTo>
                  <a:cubicBezTo>
                    <a:pt x="14338" y="4393"/>
                    <a:pt x="14338" y="4305"/>
                    <a:pt x="14246" y="4250"/>
                  </a:cubicBezTo>
                  <a:lnTo>
                    <a:pt x="6956" y="41"/>
                  </a:lnTo>
                  <a:cubicBezTo>
                    <a:pt x="6908" y="14"/>
                    <a:pt x="6846" y="1"/>
                    <a:pt x="678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30" name="Google Shape;6780;p41">
              <a:extLst>
                <a:ext uri="{FF2B5EF4-FFF2-40B4-BE49-F238E27FC236}">
                  <a16:creationId xmlns:a16="http://schemas.microsoft.com/office/drawing/2014/main" id="{A852CB56-8E79-5646-83F2-51C040328E59}"/>
                </a:ext>
              </a:extLst>
            </p:cNvPr>
            <p:cNvSpPr/>
            <p:nvPr/>
          </p:nvSpPr>
          <p:spPr>
            <a:xfrm>
              <a:off x="4806825" y="3048875"/>
              <a:ext cx="190800" cy="159150"/>
            </a:xfrm>
            <a:custGeom>
              <a:avLst/>
              <a:gdLst/>
              <a:ahLst/>
              <a:cxnLst/>
              <a:rect l="l" t="t" r="r" b="b"/>
              <a:pathLst>
                <a:path w="7632" h="6366" extrusionOk="0">
                  <a:moveTo>
                    <a:pt x="0" y="0"/>
                  </a:moveTo>
                  <a:lnTo>
                    <a:pt x="0" y="1960"/>
                  </a:lnTo>
                  <a:lnTo>
                    <a:pt x="7632" y="6366"/>
                  </a:lnTo>
                  <a:lnTo>
                    <a:pt x="7632" y="44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31" name="Google Shape;6781;p41">
              <a:extLst>
                <a:ext uri="{FF2B5EF4-FFF2-40B4-BE49-F238E27FC236}">
                  <a16:creationId xmlns:a16="http://schemas.microsoft.com/office/drawing/2014/main" id="{4DAFE2C4-21B6-9F43-9A7B-C677C86B3919}"/>
                </a:ext>
              </a:extLst>
            </p:cNvPr>
            <p:cNvSpPr/>
            <p:nvPr/>
          </p:nvSpPr>
          <p:spPr>
            <a:xfrm>
              <a:off x="4806825" y="3048875"/>
              <a:ext cx="190800" cy="159150"/>
            </a:xfrm>
            <a:custGeom>
              <a:avLst/>
              <a:gdLst/>
              <a:ahLst/>
              <a:cxnLst/>
              <a:rect l="l" t="t" r="r" b="b"/>
              <a:pathLst>
                <a:path w="7632" h="6366" extrusionOk="0">
                  <a:moveTo>
                    <a:pt x="0" y="0"/>
                  </a:moveTo>
                  <a:lnTo>
                    <a:pt x="0" y="1960"/>
                  </a:lnTo>
                  <a:lnTo>
                    <a:pt x="7632" y="6366"/>
                  </a:lnTo>
                  <a:lnTo>
                    <a:pt x="7632" y="4878"/>
                  </a:lnTo>
                  <a:lnTo>
                    <a:pt x="7632" y="4646"/>
                  </a:lnTo>
                  <a:lnTo>
                    <a:pt x="7632" y="4407"/>
                  </a:lnTo>
                  <a:lnTo>
                    <a:pt x="5792" y="33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32" name="Google Shape;6782;p41">
              <a:extLst>
                <a:ext uri="{FF2B5EF4-FFF2-40B4-BE49-F238E27FC236}">
                  <a16:creationId xmlns:a16="http://schemas.microsoft.com/office/drawing/2014/main" id="{06D5A1A1-A879-B848-B833-44D8C3E8BDC1}"/>
                </a:ext>
              </a:extLst>
            </p:cNvPr>
            <p:cNvSpPr/>
            <p:nvPr/>
          </p:nvSpPr>
          <p:spPr>
            <a:xfrm>
              <a:off x="4942150" y="3144200"/>
              <a:ext cx="26225" cy="32350"/>
            </a:xfrm>
            <a:custGeom>
              <a:avLst/>
              <a:gdLst/>
              <a:ahLst/>
              <a:cxnLst/>
              <a:rect l="l" t="t" r="r" b="b"/>
              <a:pathLst>
                <a:path w="1049" h="1294" extrusionOk="0">
                  <a:moveTo>
                    <a:pt x="335" y="0"/>
                  </a:moveTo>
                  <a:cubicBezTo>
                    <a:pt x="137" y="0"/>
                    <a:pt x="0" y="164"/>
                    <a:pt x="0" y="403"/>
                  </a:cubicBezTo>
                  <a:cubicBezTo>
                    <a:pt x="0" y="710"/>
                    <a:pt x="209" y="1069"/>
                    <a:pt x="475" y="1222"/>
                  </a:cubicBezTo>
                  <a:cubicBezTo>
                    <a:pt x="557" y="1270"/>
                    <a:pt x="639" y="1294"/>
                    <a:pt x="713" y="1294"/>
                  </a:cubicBezTo>
                  <a:cubicBezTo>
                    <a:pt x="813" y="1294"/>
                    <a:pt x="901" y="1253"/>
                    <a:pt x="959" y="1178"/>
                  </a:cubicBezTo>
                  <a:cubicBezTo>
                    <a:pt x="1017" y="1106"/>
                    <a:pt x="1048" y="1007"/>
                    <a:pt x="1048" y="891"/>
                  </a:cubicBezTo>
                  <a:cubicBezTo>
                    <a:pt x="1048" y="587"/>
                    <a:pt x="840" y="226"/>
                    <a:pt x="573" y="72"/>
                  </a:cubicBezTo>
                  <a:cubicBezTo>
                    <a:pt x="491" y="24"/>
                    <a:pt x="410" y="0"/>
                    <a:pt x="335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33" name="Google Shape;6783;p41">
              <a:extLst>
                <a:ext uri="{FF2B5EF4-FFF2-40B4-BE49-F238E27FC236}">
                  <a16:creationId xmlns:a16="http://schemas.microsoft.com/office/drawing/2014/main" id="{6C2E672B-1521-B44C-B990-F9781DAC2201}"/>
                </a:ext>
              </a:extLst>
            </p:cNvPr>
            <p:cNvSpPr/>
            <p:nvPr/>
          </p:nvSpPr>
          <p:spPr>
            <a:xfrm>
              <a:off x="4944625" y="3146700"/>
              <a:ext cx="21275" cy="27400"/>
            </a:xfrm>
            <a:custGeom>
              <a:avLst/>
              <a:gdLst/>
              <a:ahLst/>
              <a:cxnLst/>
              <a:rect l="l" t="t" r="r" b="b"/>
              <a:pathLst>
                <a:path w="851" h="1096" extrusionOk="0">
                  <a:moveTo>
                    <a:pt x="237" y="0"/>
                  </a:moveTo>
                  <a:cubicBezTo>
                    <a:pt x="97" y="0"/>
                    <a:pt x="0" y="111"/>
                    <a:pt x="0" y="303"/>
                  </a:cubicBezTo>
                  <a:cubicBezTo>
                    <a:pt x="0" y="572"/>
                    <a:pt x="192" y="904"/>
                    <a:pt x="427" y="1037"/>
                  </a:cubicBezTo>
                  <a:cubicBezTo>
                    <a:pt x="495" y="1077"/>
                    <a:pt x="559" y="1095"/>
                    <a:pt x="616" y="1095"/>
                  </a:cubicBezTo>
                  <a:cubicBezTo>
                    <a:pt x="754" y="1095"/>
                    <a:pt x="850" y="984"/>
                    <a:pt x="850" y="791"/>
                  </a:cubicBezTo>
                  <a:cubicBezTo>
                    <a:pt x="850" y="521"/>
                    <a:pt x="659" y="194"/>
                    <a:pt x="424" y="57"/>
                  </a:cubicBezTo>
                  <a:cubicBezTo>
                    <a:pt x="357" y="19"/>
                    <a:pt x="293" y="0"/>
                    <a:pt x="237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34" name="Google Shape;6784;p41">
              <a:extLst>
                <a:ext uri="{FF2B5EF4-FFF2-40B4-BE49-F238E27FC236}">
                  <a16:creationId xmlns:a16="http://schemas.microsoft.com/office/drawing/2014/main" id="{9E408A67-D5BD-9A44-891C-47E68B8906FB}"/>
                </a:ext>
              </a:extLst>
            </p:cNvPr>
            <p:cNvSpPr/>
            <p:nvPr/>
          </p:nvSpPr>
          <p:spPr>
            <a:xfrm>
              <a:off x="4821425" y="3072400"/>
              <a:ext cx="106000" cy="81525"/>
            </a:xfrm>
            <a:custGeom>
              <a:avLst/>
              <a:gdLst/>
              <a:ahLst/>
              <a:cxnLst/>
              <a:rect l="l" t="t" r="r" b="b"/>
              <a:pathLst>
                <a:path w="4240" h="3261" extrusionOk="0">
                  <a:moveTo>
                    <a:pt x="258" y="0"/>
                  </a:moveTo>
                  <a:cubicBezTo>
                    <a:pt x="105" y="0"/>
                    <a:pt x="0" y="122"/>
                    <a:pt x="0" y="333"/>
                  </a:cubicBezTo>
                  <a:lnTo>
                    <a:pt x="0" y="480"/>
                  </a:lnTo>
                  <a:cubicBezTo>
                    <a:pt x="0" y="776"/>
                    <a:pt x="208" y="1138"/>
                    <a:pt x="464" y="1288"/>
                  </a:cubicBezTo>
                  <a:lnTo>
                    <a:pt x="3772" y="3196"/>
                  </a:lnTo>
                  <a:cubicBezTo>
                    <a:pt x="3847" y="3240"/>
                    <a:pt x="3918" y="3261"/>
                    <a:pt x="3981" y="3261"/>
                  </a:cubicBezTo>
                  <a:cubicBezTo>
                    <a:pt x="4134" y="3261"/>
                    <a:pt x="4239" y="3137"/>
                    <a:pt x="4239" y="2927"/>
                  </a:cubicBezTo>
                  <a:lnTo>
                    <a:pt x="4239" y="2780"/>
                  </a:lnTo>
                  <a:cubicBezTo>
                    <a:pt x="4239" y="2483"/>
                    <a:pt x="4030" y="2121"/>
                    <a:pt x="3772" y="1975"/>
                  </a:cubicBezTo>
                  <a:lnTo>
                    <a:pt x="464" y="63"/>
                  </a:lnTo>
                  <a:cubicBezTo>
                    <a:pt x="390" y="20"/>
                    <a:pt x="320" y="0"/>
                    <a:pt x="258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35" name="Google Shape;6785;p41">
              <a:extLst>
                <a:ext uri="{FF2B5EF4-FFF2-40B4-BE49-F238E27FC236}">
                  <a16:creationId xmlns:a16="http://schemas.microsoft.com/office/drawing/2014/main" id="{17AE3FC3-3D54-F642-8BE4-44A908863385}"/>
                </a:ext>
              </a:extLst>
            </p:cNvPr>
            <p:cNvSpPr/>
            <p:nvPr/>
          </p:nvSpPr>
          <p:spPr>
            <a:xfrm>
              <a:off x="4997625" y="3157750"/>
              <a:ext cx="2575" cy="50275"/>
            </a:xfrm>
            <a:custGeom>
              <a:avLst/>
              <a:gdLst/>
              <a:ahLst/>
              <a:cxnLst/>
              <a:rect l="l" t="t" r="r" b="b"/>
              <a:pathLst>
                <a:path w="103" h="2011" extrusionOk="0">
                  <a:moveTo>
                    <a:pt x="102" y="1"/>
                  </a:moveTo>
                  <a:lnTo>
                    <a:pt x="0" y="52"/>
                  </a:lnTo>
                  <a:lnTo>
                    <a:pt x="0" y="2011"/>
                  </a:lnTo>
                  <a:lnTo>
                    <a:pt x="102" y="1953"/>
                  </a:lnTo>
                  <a:lnTo>
                    <a:pt x="102" y="1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36" name="Google Shape;6786;p41">
              <a:extLst>
                <a:ext uri="{FF2B5EF4-FFF2-40B4-BE49-F238E27FC236}">
                  <a16:creationId xmlns:a16="http://schemas.microsoft.com/office/drawing/2014/main" id="{0C920072-3701-4246-9012-30C938600658}"/>
                </a:ext>
              </a:extLst>
            </p:cNvPr>
            <p:cNvSpPr/>
            <p:nvPr/>
          </p:nvSpPr>
          <p:spPr>
            <a:xfrm>
              <a:off x="4997625" y="3157750"/>
              <a:ext cx="2575" cy="50275"/>
            </a:xfrm>
            <a:custGeom>
              <a:avLst/>
              <a:gdLst/>
              <a:ahLst/>
              <a:cxnLst/>
              <a:rect l="l" t="t" r="r" b="b"/>
              <a:pathLst>
                <a:path w="103" h="2011" extrusionOk="0">
                  <a:moveTo>
                    <a:pt x="102" y="1"/>
                  </a:moveTo>
                  <a:lnTo>
                    <a:pt x="65" y="21"/>
                  </a:lnTo>
                  <a:lnTo>
                    <a:pt x="0" y="52"/>
                  </a:lnTo>
                  <a:lnTo>
                    <a:pt x="0" y="2011"/>
                  </a:lnTo>
                  <a:lnTo>
                    <a:pt x="102" y="1953"/>
                  </a:lnTo>
                  <a:lnTo>
                    <a:pt x="102" y="314"/>
                  </a:lnTo>
                  <a:lnTo>
                    <a:pt x="102" y="147"/>
                  </a:lnTo>
                  <a:lnTo>
                    <a:pt x="102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37" name="Google Shape;6787;p41">
              <a:extLst>
                <a:ext uri="{FF2B5EF4-FFF2-40B4-BE49-F238E27FC236}">
                  <a16:creationId xmlns:a16="http://schemas.microsoft.com/office/drawing/2014/main" id="{FF5E7398-F8F8-4748-8AD5-C11E68F0EA92}"/>
                </a:ext>
              </a:extLst>
            </p:cNvPr>
            <p:cNvSpPr/>
            <p:nvPr/>
          </p:nvSpPr>
          <p:spPr>
            <a:xfrm>
              <a:off x="4869275" y="2622425"/>
              <a:ext cx="334750" cy="386225"/>
            </a:xfrm>
            <a:custGeom>
              <a:avLst/>
              <a:gdLst/>
              <a:ahLst/>
              <a:cxnLst/>
              <a:rect l="l" t="t" r="r" b="b"/>
              <a:pathLst>
                <a:path w="13390" h="15449" extrusionOk="0">
                  <a:moveTo>
                    <a:pt x="4287" y="0"/>
                  </a:moveTo>
                  <a:cubicBezTo>
                    <a:pt x="3134" y="76"/>
                    <a:pt x="1793" y="1038"/>
                    <a:pt x="1455" y="2311"/>
                  </a:cubicBezTo>
                  <a:cubicBezTo>
                    <a:pt x="1065" y="3765"/>
                    <a:pt x="1" y="9663"/>
                    <a:pt x="21" y="10383"/>
                  </a:cubicBezTo>
                  <a:cubicBezTo>
                    <a:pt x="45" y="11154"/>
                    <a:pt x="530" y="11359"/>
                    <a:pt x="1424" y="11649"/>
                  </a:cubicBezTo>
                  <a:cubicBezTo>
                    <a:pt x="2710" y="12066"/>
                    <a:pt x="6943" y="13250"/>
                    <a:pt x="8127" y="13594"/>
                  </a:cubicBezTo>
                  <a:cubicBezTo>
                    <a:pt x="8127" y="13594"/>
                    <a:pt x="8745" y="13960"/>
                    <a:pt x="9113" y="14171"/>
                  </a:cubicBezTo>
                  <a:cubicBezTo>
                    <a:pt x="9549" y="14418"/>
                    <a:pt x="9996" y="14463"/>
                    <a:pt x="10265" y="14463"/>
                  </a:cubicBezTo>
                  <a:cubicBezTo>
                    <a:pt x="10421" y="14463"/>
                    <a:pt x="10516" y="14448"/>
                    <a:pt x="10516" y="14448"/>
                  </a:cubicBezTo>
                  <a:cubicBezTo>
                    <a:pt x="10516" y="14448"/>
                    <a:pt x="10854" y="14769"/>
                    <a:pt x="11164" y="14984"/>
                  </a:cubicBezTo>
                  <a:cubicBezTo>
                    <a:pt x="11535" y="15239"/>
                    <a:pt x="11907" y="15449"/>
                    <a:pt x="12328" y="15449"/>
                  </a:cubicBezTo>
                  <a:cubicBezTo>
                    <a:pt x="12458" y="15449"/>
                    <a:pt x="12593" y="15429"/>
                    <a:pt x="12735" y="15383"/>
                  </a:cubicBezTo>
                  <a:cubicBezTo>
                    <a:pt x="13390" y="15179"/>
                    <a:pt x="12929" y="14530"/>
                    <a:pt x="12735" y="14209"/>
                  </a:cubicBezTo>
                  <a:cubicBezTo>
                    <a:pt x="12544" y="13892"/>
                    <a:pt x="11547" y="12783"/>
                    <a:pt x="11339" y="12591"/>
                  </a:cubicBezTo>
                  <a:cubicBezTo>
                    <a:pt x="11131" y="12400"/>
                    <a:pt x="10154" y="12144"/>
                    <a:pt x="9611" y="12086"/>
                  </a:cubicBezTo>
                  <a:cubicBezTo>
                    <a:pt x="8929" y="12014"/>
                    <a:pt x="7779" y="11639"/>
                    <a:pt x="6922" y="11226"/>
                  </a:cubicBezTo>
                  <a:cubicBezTo>
                    <a:pt x="5202" y="10397"/>
                    <a:pt x="3035" y="9270"/>
                    <a:pt x="3035" y="9270"/>
                  </a:cubicBezTo>
                  <a:cubicBezTo>
                    <a:pt x="3035" y="9270"/>
                    <a:pt x="3475" y="6547"/>
                    <a:pt x="3850" y="5049"/>
                  </a:cubicBezTo>
                  <a:cubicBezTo>
                    <a:pt x="4865" y="4151"/>
                    <a:pt x="4670" y="1277"/>
                    <a:pt x="4287" y="0"/>
                  </a:cubicBezTo>
                  <a:close/>
                </a:path>
              </a:pathLst>
            </a:custGeom>
            <a:solidFill>
              <a:srgbClr val="FFA8A7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38" name="Google Shape;6788;p41">
              <a:extLst>
                <a:ext uri="{FF2B5EF4-FFF2-40B4-BE49-F238E27FC236}">
                  <a16:creationId xmlns:a16="http://schemas.microsoft.com/office/drawing/2014/main" id="{A9B6767C-42A1-A14E-9A7B-546535C24E72}"/>
                </a:ext>
              </a:extLst>
            </p:cNvPr>
            <p:cNvSpPr/>
            <p:nvPr/>
          </p:nvSpPr>
          <p:spPr>
            <a:xfrm>
              <a:off x="5305100" y="2720275"/>
              <a:ext cx="326750" cy="433800"/>
            </a:xfrm>
            <a:custGeom>
              <a:avLst/>
              <a:gdLst/>
              <a:ahLst/>
              <a:cxnLst/>
              <a:rect l="l" t="t" r="r" b="b"/>
              <a:pathLst>
                <a:path w="13070" h="17352" extrusionOk="0">
                  <a:moveTo>
                    <a:pt x="12227" y="0"/>
                  </a:moveTo>
                  <a:cubicBezTo>
                    <a:pt x="12058" y="0"/>
                    <a:pt x="11884" y="39"/>
                    <a:pt x="11749" y="117"/>
                  </a:cubicBezTo>
                  <a:lnTo>
                    <a:pt x="1322" y="6138"/>
                  </a:lnTo>
                  <a:cubicBezTo>
                    <a:pt x="1066" y="6284"/>
                    <a:pt x="837" y="6646"/>
                    <a:pt x="813" y="6944"/>
                  </a:cubicBezTo>
                  <a:lnTo>
                    <a:pt x="29" y="16466"/>
                  </a:lnTo>
                  <a:cubicBezTo>
                    <a:pt x="1" y="16759"/>
                    <a:pt x="179" y="17114"/>
                    <a:pt x="421" y="17254"/>
                  </a:cubicBezTo>
                  <a:cubicBezTo>
                    <a:pt x="535" y="17319"/>
                    <a:pt x="688" y="17352"/>
                    <a:pt x="844" y="17352"/>
                  </a:cubicBezTo>
                  <a:cubicBezTo>
                    <a:pt x="1014" y="17352"/>
                    <a:pt x="1188" y="17313"/>
                    <a:pt x="1322" y="17237"/>
                  </a:cubicBezTo>
                  <a:lnTo>
                    <a:pt x="11749" y="11216"/>
                  </a:lnTo>
                  <a:cubicBezTo>
                    <a:pt x="12008" y="11066"/>
                    <a:pt x="12237" y="10708"/>
                    <a:pt x="12261" y="10411"/>
                  </a:cubicBezTo>
                  <a:lnTo>
                    <a:pt x="13045" y="889"/>
                  </a:lnTo>
                  <a:cubicBezTo>
                    <a:pt x="13070" y="591"/>
                    <a:pt x="12895" y="240"/>
                    <a:pt x="12653" y="100"/>
                  </a:cubicBezTo>
                  <a:cubicBezTo>
                    <a:pt x="12537" y="33"/>
                    <a:pt x="12384" y="0"/>
                    <a:pt x="12227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39" name="Google Shape;6789;p41">
              <a:extLst>
                <a:ext uri="{FF2B5EF4-FFF2-40B4-BE49-F238E27FC236}">
                  <a16:creationId xmlns:a16="http://schemas.microsoft.com/office/drawing/2014/main" id="{1D190FDE-6B3C-4B4F-AB5C-EA03A5AD92B8}"/>
                </a:ext>
              </a:extLst>
            </p:cNvPr>
            <p:cNvSpPr/>
            <p:nvPr/>
          </p:nvSpPr>
          <p:spPr>
            <a:xfrm>
              <a:off x="5329675" y="2720275"/>
              <a:ext cx="302175" cy="412425"/>
            </a:xfrm>
            <a:custGeom>
              <a:avLst/>
              <a:gdLst/>
              <a:ahLst/>
              <a:cxnLst/>
              <a:rect l="l" t="t" r="r" b="b"/>
              <a:pathLst>
                <a:path w="12087" h="16497" extrusionOk="0">
                  <a:moveTo>
                    <a:pt x="11244" y="0"/>
                  </a:moveTo>
                  <a:cubicBezTo>
                    <a:pt x="11075" y="0"/>
                    <a:pt x="10901" y="39"/>
                    <a:pt x="10766" y="117"/>
                  </a:cubicBezTo>
                  <a:lnTo>
                    <a:pt x="339" y="6138"/>
                  </a:lnTo>
                  <a:cubicBezTo>
                    <a:pt x="213" y="6210"/>
                    <a:pt x="93" y="6336"/>
                    <a:pt x="1" y="6479"/>
                  </a:cubicBezTo>
                  <a:lnTo>
                    <a:pt x="1623" y="7415"/>
                  </a:lnTo>
                  <a:lnTo>
                    <a:pt x="1623" y="16496"/>
                  </a:lnTo>
                  <a:lnTo>
                    <a:pt x="10766" y="11216"/>
                  </a:lnTo>
                  <a:cubicBezTo>
                    <a:pt x="11025" y="11066"/>
                    <a:pt x="11254" y="10708"/>
                    <a:pt x="11278" y="10411"/>
                  </a:cubicBezTo>
                  <a:lnTo>
                    <a:pt x="12062" y="889"/>
                  </a:lnTo>
                  <a:cubicBezTo>
                    <a:pt x="12087" y="591"/>
                    <a:pt x="11912" y="240"/>
                    <a:pt x="11670" y="100"/>
                  </a:cubicBezTo>
                  <a:cubicBezTo>
                    <a:pt x="11554" y="33"/>
                    <a:pt x="11401" y="0"/>
                    <a:pt x="11244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40" name="Google Shape;6790;p41">
              <a:extLst>
                <a:ext uri="{FF2B5EF4-FFF2-40B4-BE49-F238E27FC236}">
                  <a16:creationId xmlns:a16="http://schemas.microsoft.com/office/drawing/2014/main" id="{19FD000A-611A-C446-8D78-A3E87BCAA13D}"/>
                </a:ext>
              </a:extLst>
            </p:cNvPr>
            <p:cNvSpPr/>
            <p:nvPr/>
          </p:nvSpPr>
          <p:spPr>
            <a:xfrm>
              <a:off x="5327150" y="2734200"/>
              <a:ext cx="304525" cy="418575"/>
            </a:xfrm>
            <a:custGeom>
              <a:avLst/>
              <a:gdLst/>
              <a:ahLst/>
              <a:cxnLst/>
              <a:rect l="l" t="t" r="r" b="b"/>
              <a:pathLst>
                <a:path w="12181" h="16743" extrusionOk="0">
                  <a:moveTo>
                    <a:pt x="11947" y="1"/>
                  </a:moveTo>
                  <a:cubicBezTo>
                    <a:pt x="11886" y="1"/>
                    <a:pt x="11817" y="22"/>
                    <a:pt x="11741" y="66"/>
                  </a:cubicBezTo>
                  <a:lnTo>
                    <a:pt x="1314" y="6086"/>
                  </a:lnTo>
                  <a:cubicBezTo>
                    <a:pt x="1058" y="6233"/>
                    <a:pt x="829" y="6595"/>
                    <a:pt x="805" y="6891"/>
                  </a:cubicBezTo>
                  <a:lnTo>
                    <a:pt x="20" y="16414"/>
                  </a:lnTo>
                  <a:cubicBezTo>
                    <a:pt x="1" y="16622"/>
                    <a:pt x="91" y="16743"/>
                    <a:pt x="237" y="16743"/>
                  </a:cubicBezTo>
                  <a:cubicBezTo>
                    <a:pt x="297" y="16743"/>
                    <a:pt x="366" y="16722"/>
                    <a:pt x="440" y="16680"/>
                  </a:cubicBezTo>
                  <a:lnTo>
                    <a:pt x="10867" y="10659"/>
                  </a:lnTo>
                  <a:cubicBezTo>
                    <a:pt x="11126" y="10509"/>
                    <a:pt x="11355" y="10151"/>
                    <a:pt x="11379" y="9854"/>
                  </a:cubicBezTo>
                  <a:lnTo>
                    <a:pt x="12163" y="332"/>
                  </a:lnTo>
                  <a:cubicBezTo>
                    <a:pt x="12181" y="122"/>
                    <a:pt x="12092" y="1"/>
                    <a:pt x="11947" y="1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41" name="Google Shape;6791;p41">
              <a:extLst>
                <a:ext uri="{FF2B5EF4-FFF2-40B4-BE49-F238E27FC236}">
                  <a16:creationId xmlns:a16="http://schemas.microsoft.com/office/drawing/2014/main" id="{D0C600F8-3675-DD4B-A455-221DFE61C252}"/>
                </a:ext>
              </a:extLst>
            </p:cNvPr>
            <p:cNvSpPr/>
            <p:nvPr/>
          </p:nvSpPr>
          <p:spPr>
            <a:xfrm>
              <a:off x="5461450" y="2919250"/>
              <a:ext cx="36000" cy="48475"/>
            </a:xfrm>
            <a:custGeom>
              <a:avLst/>
              <a:gdLst/>
              <a:ahLst/>
              <a:cxnLst/>
              <a:rect l="l" t="t" r="r" b="b"/>
              <a:pathLst>
                <a:path w="1440" h="1939" extrusionOk="0">
                  <a:moveTo>
                    <a:pt x="1070" y="0"/>
                  </a:moveTo>
                  <a:cubicBezTo>
                    <a:pt x="987" y="0"/>
                    <a:pt x="893" y="28"/>
                    <a:pt x="791" y="86"/>
                  </a:cubicBezTo>
                  <a:cubicBezTo>
                    <a:pt x="410" y="308"/>
                    <a:pt x="68" y="882"/>
                    <a:pt x="30" y="1370"/>
                  </a:cubicBezTo>
                  <a:cubicBezTo>
                    <a:pt x="0" y="1728"/>
                    <a:pt x="141" y="1939"/>
                    <a:pt x="367" y="1939"/>
                  </a:cubicBezTo>
                  <a:cubicBezTo>
                    <a:pt x="450" y="1939"/>
                    <a:pt x="544" y="1911"/>
                    <a:pt x="645" y="1852"/>
                  </a:cubicBezTo>
                  <a:cubicBezTo>
                    <a:pt x="1027" y="1633"/>
                    <a:pt x="1369" y="1056"/>
                    <a:pt x="1410" y="571"/>
                  </a:cubicBezTo>
                  <a:cubicBezTo>
                    <a:pt x="1440" y="213"/>
                    <a:pt x="1298" y="0"/>
                    <a:pt x="1070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42" name="Google Shape;6792;p41">
              <a:extLst>
                <a:ext uri="{FF2B5EF4-FFF2-40B4-BE49-F238E27FC236}">
                  <a16:creationId xmlns:a16="http://schemas.microsoft.com/office/drawing/2014/main" id="{DB750A5B-A7DD-7847-901C-5F91CE673ADE}"/>
                </a:ext>
              </a:extLst>
            </p:cNvPr>
            <p:cNvSpPr/>
            <p:nvPr/>
          </p:nvSpPr>
          <p:spPr>
            <a:xfrm>
              <a:off x="5446675" y="2975000"/>
              <a:ext cx="98325" cy="56750"/>
            </a:xfrm>
            <a:custGeom>
              <a:avLst/>
              <a:gdLst/>
              <a:ahLst/>
              <a:cxnLst/>
              <a:rect l="l" t="t" r="r" b="b"/>
              <a:pathLst>
                <a:path w="3933" h="2270" extrusionOk="0">
                  <a:moveTo>
                    <a:pt x="3496" y="0"/>
                  </a:moveTo>
                  <a:lnTo>
                    <a:pt x="0" y="2021"/>
                  </a:lnTo>
                  <a:lnTo>
                    <a:pt x="437" y="2270"/>
                  </a:lnTo>
                  <a:lnTo>
                    <a:pt x="3932" y="252"/>
                  </a:lnTo>
                  <a:lnTo>
                    <a:pt x="3496" y="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43" name="Google Shape;6793;p41">
              <a:extLst>
                <a:ext uri="{FF2B5EF4-FFF2-40B4-BE49-F238E27FC236}">
                  <a16:creationId xmlns:a16="http://schemas.microsoft.com/office/drawing/2014/main" id="{9F8F3E3A-FDB6-4546-A106-618732F3D170}"/>
                </a:ext>
              </a:extLst>
            </p:cNvPr>
            <p:cNvSpPr/>
            <p:nvPr/>
          </p:nvSpPr>
          <p:spPr>
            <a:xfrm>
              <a:off x="5435750" y="2981300"/>
              <a:ext cx="130575" cy="162425"/>
            </a:xfrm>
            <a:custGeom>
              <a:avLst/>
              <a:gdLst/>
              <a:ahLst/>
              <a:cxnLst/>
              <a:rect l="l" t="t" r="r" b="b"/>
              <a:pathLst>
                <a:path w="5223" h="6497" extrusionOk="0">
                  <a:moveTo>
                    <a:pt x="4369" y="0"/>
                  </a:moveTo>
                  <a:lnTo>
                    <a:pt x="874" y="2021"/>
                  </a:lnTo>
                  <a:lnTo>
                    <a:pt x="437" y="1769"/>
                  </a:lnTo>
                  <a:lnTo>
                    <a:pt x="1161" y="5529"/>
                  </a:lnTo>
                  <a:lnTo>
                    <a:pt x="1202" y="5738"/>
                  </a:lnTo>
                  <a:lnTo>
                    <a:pt x="1202" y="5738"/>
                  </a:lnTo>
                  <a:lnTo>
                    <a:pt x="1014" y="5632"/>
                  </a:lnTo>
                  <a:lnTo>
                    <a:pt x="185" y="5154"/>
                  </a:lnTo>
                  <a:cubicBezTo>
                    <a:pt x="155" y="5136"/>
                    <a:pt x="127" y="5128"/>
                    <a:pt x="103" y="5128"/>
                  </a:cubicBezTo>
                  <a:cubicBezTo>
                    <a:pt x="42" y="5128"/>
                    <a:pt x="1" y="5178"/>
                    <a:pt x="1" y="5260"/>
                  </a:cubicBezTo>
                  <a:lnTo>
                    <a:pt x="1" y="5335"/>
                  </a:lnTo>
                  <a:cubicBezTo>
                    <a:pt x="1" y="5452"/>
                    <a:pt x="79" y="5591"/>
                    <a:pt x="178" y="5652"/>
                  </a:cubicBezTo>
                  <a:cubicBezTo>
                    <a:pt x="181" y="5656"/>
                    <a:pt x="181" y="5656"/>
                    <a:pt x="185" y="5656"/>
                  </a:cubicBezTo>
                  <a:lnTo>
                    <a:pt x="1560" y="6451"/>
                  </a:lnTo>
                  <a:cubicBezTo>
                    <a:pt x="1560" y="6451"/>
                    <a:pt x="1560" y="6455"/>
                    <a:pt x="1564" y="6455"/>
                  </a:cubicBezTo>
                  <a:cubicBezTo>
                    <a:pt x="1611" y="6479"/>
                    <a:pt x="1673" y="6492"/>
                    <a:pt x="1734" y="6496"/>
                  </a:cubicBezTo>
                  <a:cubicBezTo>
                    <a:pt x="1740" y="6496"/>
                    <a:pt x="1746" y="6496"/>
                    <a:pt x="1752" y="6496"/>
                  </a:cubicBezTo>
                  <a:cubicBezTo>
                    <a:pt x="1818" y="6496"/>
                    <a:pt x="1882" y="6480"/>
                    <a:pt x="1932" y="6451"/>
                  </a:cubicBezTo>
                  <a:lnTo>
                    <a:pt x="5055" y="4649"/>
                  </a:lnTo>
                  <a:cubicBezTo>
                    <a:pt x="5157" y="4592"/>
                    <a:pt x="5223" y="4444"/>
                    <a:pt x="5202" y="4329"/>
                  </a:cubicBezTo>
                  <a:lnTo>
                    <a:pt x="4369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44" name="Google Shape;6794;p41">
              <a:extLst>
                <a:ext uri="{FF2B5EF4-FFF2-40B4-BE49-F238E27FC236}">
                  <a16:creationId xmlns:a16="http://schemas.microsoft.com/office/drawing/2014/main" id="{445F4B8B-60CF-C64E-A631-28FC67E6FC17}"/>
                </a:ext>
              </a:extLst>
            </p:cNvPr>
            <p:cNvSpPr/>
            <p:nvPr/>
          </p:nvSpPr>
          <p:spPr>
            <a:xfrm>
              <a:off x="5437200" y="3094350"/>
              <a:ext cx="32025" cy="35875"/>
            </a:xfrm>
            <a:custGeom>
              <a:avLst/>
              <a:gdLst/>
              <a:ahLst/>
              <a:cxnLst/>
              <a:rect l="l" t="t" r="r" b="b"/>
              <a:pathLst>
                <a:path w="1281" h="1435" extrusionOk="0">
                  <a:moveTo>
                    <a:pt x="1065" y="1"/>
                  </a:moveTo>
                  <a:lnTo>
                    <a:pt x="0" y="615"/>
                  </a:lnTo>
                  <a:lnTo>
                    <a:pt x="1280" y="1434"/>
                  </a:lnTo>
                  <a:lnTo>
                    <a:pt x="1065" y="1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45" name="Google Shape;6795;p41">
              <a:extLst>
                <a:ext uri="{FF2B5EF4-FFF2-40B4-BE49-F238E27FC236}">
                  <a16:creationId xmlns:a16="http://schemas.microsoft.com/office/drawing/2014/main" id="{AAB7AB2D-601A-2E49-A614-0E20A968CEE8}"/>
                </a:ext>
              </a:extLst>
            </p:cNvPr>
            <p:cNvSpPr/>
            <p:nvPr/>
          </p:nvSpPr>
          <p:spPr>
            <a:xfrm>
              <a:off x="5435750" y="3025500"/>
              <a:ext cx="43375" cy="118200"/>
            </a:xfrm>
            <a:custGeom>
              <a:avLst/>
              <a:gdLst/>
              <a:ahLst/>
              <a:cxnLst/>
              <a:rect l="l" t="t" r="r" b="b"/>
              <a:pathLst>
                <a:path w="1735" h="4728" extrusionOk="0">
                  <a:moveTo>
                    <a:pt x="437" y="1"/>
                  </a:moveTo>
                  <a:lnTo>
                    <a:pt x="1161" y="3761"/>
                  </a:lnTo>
                  <a:cubicBezTo>
                    <a:pt x="1175" y="3843"/>
                    <a:pt x="1147" y="3889"/>
                    <a:pt x="1094" y="3889"/>
                  </a:cubicBezTo>
                  <a:cubicBezTo>
                    <a:pt x="1072" y="3889"/>
                    <a:pt x="1045" y="3881"/>
                    <a:pt x="1014" y="3864"/>
                  </a:cubicBezTo>
                  <a:lnTo>
                    <a:pt x="185" y="3386"/>
                  </a:lnTo>
                  <a:cubicBezTo>
                    <a:pt x="155" y="3368"/>
                    <a:pt x="127" y="3360"/>
                    <a:pt x="103" y="3360"/>
                  </a:cubicBezTo>
                  <a:cubicBezTo>
                    <a:pt x="42" y="3360"/>
                    <a:pt x="1" y="3410"/>
                    <a:pt x="1" y="3492"/>
                  </a:cubicBezTo>
                  <a:lnTo>
                    <a:pt x="1" y="3567"/>
                  </a:lnTo>
                  <a:cubicBezTo>
                    <a:pt x="1" y="3684"/>
                    <a:pt x="79" y="3823"/>
                    <a:pt x="178" y="3884"/>
                  </a:cubicBezTo>
                  <a:cubicBezTo>
                    <a:pt x="181" y="3888"/>
                    <a:pt x="181" y="3888"/>
                    <a:pt x="185" y="3888"/>
                  </a:cubicBezTo>
                  <a:lnTo>
                    <a:pt x="1560" y="4683"/>
                  </a:lnTo>
                  <a:cubicBezTo>
                    <a:pt x="1560" y="4683"/>
                    <a:pt x="1560" y="4687"/>
                    <a:pt x="1564" y="4687"/>
                  </a:cubicBezTo>
                  <a:cubicBezTo>
                    <a:pt x="1611" y="4711"/>
                    <a:pt x="1673" y="4724"/>
                    <a:pt x="1734" y="4728"/>
                  </a:cubicBezTo>
                  <a:lnTo>
                    <a:pt x="874" y="253"/>
                  </a:lnTo>
                  <a:lnTo>
                    <a:pt x="437" y="1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46" name="Google Shape;6796;p41">
              <a:extLst>
                <a:ext uri="{FF2B5EF4-FFF2-40B4-BE49-F238E27FC236}">
                  <a16:creationId xmlns:a16="http://schemas.microsoft.com/office/drawing/2014/main" id="{4AC52E00-D73F-514D-AFC0-5241ECE861C7}"/>
                </a:ext>
              </a:extLst>
            </p:cNvPr>
            <p:cNvSpPr/>
            <p:nvPr/>
          </p:nvSpPr>
          <p:spPr>
            <a:xfrm>
              <a:off x="5035575" y="2643850"/>
              <a:ext cx="68125" cy="34200"/>
            </a:xfrm>
            <a:custGeom>
              <a:avLst/>
              <a:gdLst/>
              <a:ahLst/>
              <a:cxnLst/>
              <a:rect l="l" t="t" r="r" b="b"/>
              <a:pathLst>
                <a:path w="2725" h="1368" extrusionOk="0">
                  <a:moveTo>
                    <a:pt x="1792" y="0"/>
                  </a:moveTo>
                  <a:lnTo>
                    <a:pt x="1663" y="772"/>
                  </a:lnTo>
                  <a:lnTo>
                    <a:pt x="782" y="14"/>
                  </a:lnTo>
                  <a:lnTo>
                    <a:pt x="1" y="696"/>
                  </a:lnTo>
                  <a:cubicBezTo>
                    <a:pt x="292" y="1043"/>
                    <a:pt x="943" y="1368"/>
                    <a:pt x="1519" y="1368"/>
                  </a:cubicBezTo>
                  <a:cubicBezTo>
                    <a:pt x="1545" y="1368"/>
                    <a:pt x="1570" y="1367"/>
                    <a:pt x="1595" y="1366"/>
                  </a:cubicBezTo>
                  <a:cubicBezTo>
                    <a:pt x="2185" y="1339"/>
                    <a:pt x="2523" y="1188"/>
                    <a:pt x="2724" y="782"/>
                  </a:cubicBezTo>
                  <a:lnTo>
                    <a:pt x="1792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47" name="Google Shape;6797;p41">
              <a:extLst>
                <a:ext uri="{FF2B5EF4-FFF2-40B4-BE49-F238E27FC236}">
                  <a16:creationId xmlns:a16="http://schemas.microsoft.com/office/drawing/2014/main" id="{3C8A1DFD-F106-3C47-9412-CE22A8731DEB}"/>
                </a:ext>
              </a:extLst>
            </p:cNvPr>
            <p:cNvSpPr/>
            <p:nvPr/>
          </p:nvSpPr>
          <p:spPr>
            <a:xfrm>
              <a:off x="5035575" y="2643850"/>
              <a:ext cx="68125" cy="31850"/>
            </a:xfrm>
            <a:custGeom>
              <a:avLst/>
              <a:gdLst/>
              <a:ahLst/>
              <a:cxnLst/>
              <a:rect l="l" t="t" r="r" b="b"/>
              <a:pathLst>
                <a:path w="2725" h="1274" extrusionOk="0">
                  <a:moveTo>
                    <a:pt x="1792" y="0"/>
                  </a:moveTo>
                  <a:lnTo>
                    <a:pt x="1663" y="772"/>
                  </a:lnTo>
                  <a:lnTo>
                    <a:pt x="2277" y="523"/>
                  </a:lnTo>
                  <a:cubicBezTo>
                    <a:pt x="2277" y="523"/>
                    <a:pt x="2373" y="857"/>
                    <a:pt x="2342" y="1199"/>
                  </a:cubicBezTo>
                  <a:cubicBezTo>
                    <a:pt x="2506" y="1106"/>
                    <a:pt x="2628" y="970"/>
                    <a:pt x="2724" y="782"/>
                  </a:cubicBezTo>
                  <a:lnTo>
                    <a:pt x="1792" y="0"/>
                  </a:lnTo>
                  <a:close/>
                  <a:moveTo>
                    <a:pt x="782" y="14"/>
                  </a:moveTo>
                  <a:lnTo>
                    <a:pt x="1" y="696"/>
                  </a:lnTo>
                  <a:cubicBezTo>
                    <a:pt x="199" y="929"/>
                    <a:pt x="557" y="1150"/>
                    <a:pt x="943" y="1273"/>
                  </a:cubicBezTo>
                  <a:cubicBezTo>
                    <a:pt x="875" y="1076"/>
                    <a:pt x="840" y="860"/>
                    <a:pt x="867" y="628"/>
                  </a:cubicBezTo>
                  <a:lnTo>
                    <a:pt x="867" y="628"/>
                  </a:lnTo>
                  <a:lnTo>
                    <a:pt x="1663" y="772"/>
                  </a:lnTo>
                  <a:lnTo>
                    <a:pt x="782" y="14"/>
                  </a:lnTo>
                  <a:close/>
                </a:path>
              </a:pathLst>
            </a:custGeom>
            <a:solidFill>
              <a:srgbClr val="23C7AC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48" name="Google Shape;6798;p41">
              <a:extLst>
                <a:ext uri="{FF2B5EF4-FFF2-40B4-BE49-F238E27FC236}">
                  <a16:creationId xmlns:a16="http://schemas.microsoft.com/office/drawing/2014/main" id="{561E726F-838C-E248-BB8B-A581FA66DE79}"/>
                </a:ext>
              </a:extLst>
            </p:cNvPr>
            <p:cNvSpPr/>
            <p:nvPr/>
          </p:nvSpPr>
          <p:spPr>
            <a:xfrm>
              <a:off x="5055700" y="2656900"/>
              <a:ext cx="39800" cy="37800"/>
            </a:xfrm>
            <a:custGeom>
              <a:avLst/>
              <a:gdLst/>
              <a:ahLst/>
              <a:cxnLst/>
              <a:rect l="l" t="t" r="r" b="b"/>
              <a:pathLst>
                <a:path w="1592" h="1512" extrusionOk="0">
                  <a:moveTo>
                    <a:pt x="1472" y="1"/>
                  </a:moveTo>
                  <a:lnTo>
                    <a:pt x="858" y="250"/>
                  </a:lnTo>
                  <a:lnTo>
                    <a:pt x="62" y="106"/>
                  </a:lnTo>
                  <a:lnTo>
                    <a:pt x="62" y="106"/>
                  </a:lnTo>
                  <a:cubicBezTo>
                    <a:pt x="1" y="666"/>
                    <a:pt x="288" y="1148"/>
                    <a:pt x="582" y="1455"/>
                  </a:cubicBezTo>
                  <a:cubicBezTo>
                    <a:pt x="696" y="1497"/>
                    <a:pt x="799" y="1512"/>
                    <a:pt x="886" y="1512"/>
                  </a:cubicBezTo>
                  <a:cubicBezTo>
                    <a:pt x="1094" y="1512"/>
                    <a:pt x="1216" y="1427"/>
                    <a:pt x="1216" y="1427"/>
                  </a:cubicBezTo>
                  <a:cubicBezTo>
                    <a:pt x="1216" y="1427"/>
                    <a:pt x="1442" y="1195"/>
                    <a:pt x="1519" y="792"/>
                  </a:cubicBezTo>
                  <a:cubicBezTo>
                    <a:pt x="1592" y="414"/>
                    <a:pt x="1472" y="1"/>
                    <a:pt x="1472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49" name="Google Shape;6799;p41">
              <a:extLst>
                <a:ext uri="{FF2B5EF4-FFF2-40B4-BE49-F238E27FC236}">
                  <a16:creationId xmlns:a16="http://schemas.microsoft.com/office/drawing/2014/main" id="{15B7425E-1813-DF49-8997-6E4ABFE44C50}"/>
                </a:ext>
              </a:extLst>
            </p:cNvPr>
            <p:cNvSpPr/>
            <p:nvPr/>
          </p:nvSpPr>
          <p:spPr>
            <a:xfrm>
              <a:off x="5051275" y="2692550"/>
              <a:ext cx="50875" cy="190750"/>
            </a:xfrm>
            <a:custGeom>
              <a:avLst/>
              <a:gdLst/>
              <a:ahLst/>
              <a:cxnLst/>
              <a:rect l="l" t="t" r="r" b="b"/>
              <a:pathLst>
                <a:path w="2035" h="7630" extrusionOk="0">
                  <a:moveTo>
                    <a:pt x="1393" y="1"/>
                  </a:moveTo>
                  <a:lnTo>
                    <a:pt x="759" y="29"/>
                  </a:lnTo>
                  <a:cubicBezTo>
                    <a:pt x="759" y="29"/>
                    <a:pt x="28" y="5438"/>
                    <a:pt x="14" y="5824"/>
                  </a:cubicBezTo>
                  <a:cubicBezTo>
                    <a:pt x="1" y="6210"/>
                    <a:pt x="625" y="7619"/>
                    <a:pt x="990" y="7629"/>
                  </a:cubicBezTo>
                  <a:cubicBezTo>
                    <a:pt x="992" y="7629"/>
                    <a:pt x="993" y="7629"/>
                    <a:pt x="994" y="7629"/>
                  </a:cubicBezTo>
                  <a:cubicBezTo>
                    <a:pt x="1357" y="7629"/>
                    <a:pt x="2035" y="6171"/>
                    <a:pt x="2024" y="5745"/>
                  </a:cubicBezTo>
                  <a:cubicBezTo>
                    <a:pt x="2011" y="5319"/>
                    <a:pt x="1393" y="1"/>
                    <a:pt x="1393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50" name="Google Shape;6800;p41">
              <a:extLst>
                <a:ext uri="{FF2B5EF4-FFF2-40B4-BE49-F238E27FC236}">
                  <a16:creationId xmlns:a16="http://schemas.microsoft.com/office/drawing/2014/main" id="{2CC386B8-F823-DA4B-BCB2-6948A5846842}"/>
                </a:ext>
              </a:extLst>
            </p:cNvPr>
            <p:cNvSpPr/>
            <p:nvPr/>
          </p:nvSpPr>
          <p:spPr>
            <a:xfrm>
              <a:off x="5086100" y="26925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51" name="Google Shape;6801;p41">
              <a:extLst>
                <a:ext uri="{FF2B5EF4-FFF2-40B4-BE49-F238E27FC236}">
                  <a16:creationId xmlns:a16="http://schemas.microsoft.com/office/drawing/2014/main" id="{4D6DC958-D9C1-8047-ABB8-722959796F2D}"/>
                </a:ext>
              </a:extLst>
            </p:cNvPr>
            <p:cNvSpPr/>
            <p:nvPr/>
          </p:nvSpPr>
          <p:spPr>
            <a:xfrm>
              <a:off x="5086100" y="26925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52" name="Google Shape;6802;p41">
              <a:extLst>
                <a:ext uri="{FF2B5EF4-FFF2-40B4-BE49-F238E27FC236}">
                  <a16:creationId xmlns:a16="http://schemas.microsoft.com/office/drawing/2014/main" id="{A97459D3-BE90-E547-9E22-21E96925FD8C}"/>
                </a:ext>
              </a:extLst>
            </p:cNvPr>
            <p:cNvSpPr/>
            <p:nvPr/>
          </p:nvSpPr>
          <p:spPr>
            <a:xfrm>
              <a:off x="5069725" y="2696650"/>
              <a:ext cx="25" cy="300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"/>
                  </a:lnTo>
                  <a:close/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53" name="Google Shape;6803;p41">
              <a:extLst>
                <a:ext uri="{FF2B5EF4-FFF2-40B4-BE49-F238E27FC236}">
                  <a16:creationId xmlns:a16="http://schemas.microsoft.com/office/drawing/2014/main" id="{1EC66280-EE95-5044-B930-2C7A7D516199}"/>
                </a:ext>
              </a:extLst>
            </p:cNvPr>
            <p:cNvSpPr/>
            <p:nvPr/>
          </p:nvSpPr>
          <p:spPr>
            <a:xfrm>
              <a:off x="5069725" y="2692550"/>
              <a:ext cx="16650" cy="5425"/>
            </a:xfrm>
            <a:custGeom>
              <a:avLst/>
              <a:gdLst/>
              <a:ahLst/>
              <a:cxnLst/>
              <a:rect l="l" t="t" r="r" b="b"/>
              <a:pathLst>
                <a:path w="666" h="217" extrusionOk="0">
                  <a:moveTo>
                    <a:pt x="655" y="1"/>
                  </a:moveTo>
                  <a:cubicBezTo>
                    <a:pt x="539" y="79"/>
                    <a:pt x="420" y="103"/>
                    <a:pt x="320" y="103"/>
                  </a:cubicBezTo>
                  <a:cubicBezTo>
                    <a:pt x="147" y="103"/>
                    <a:pt x="21" y="29"/>
                    <a:pt x="21" y="29"/>
                  </a:cubicBezTo>
                  <a:lnTo>
                    <a:pt x="0" y="165"/>
                  </a:lnTo>
                  <a:lnTo>
                    <a:pt x="0" y="175"/>
                  </a:lnTo>
                  <a:cubicBezTo>
                    <a:pt x="89" y="206"/>
                    <a:pt x="174" y="216"/>
                    <a:pt x="249" y="216"/>
                  </a:cubicBezTo>
                  <a:cubicBezTo>
                    <a:pt x="498" y="216"/>
                    <a:pt x="665" y="87"/>
                    <a:pt x="665" y="87"/>
                  </a:cubicBezTo>
                  <a:lnTo>
                    <a:pt x="655" y="1"/>
                  </a:lnTo>
                  <a:close/>
                </a:path>
              </a:pathLst>
            </a:custGeom>
            <a:solidFill>
              <a:srgbClr val="23C7AC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54" name="Google Shape;6804;p41">
              <a:extLst>
                <a:ext uri="{FF2B5EF4-FFF2-40B4-BE49-F238E27FC236}">
                  <a16:creationId xmlns:a16="http://schemas.microsoft.com/office/drawing/2014/main" id="{B2ACB26B-29B8-BA47-AB47-F8CE34AC9D62}"/>
                </a:ext>
              </a:extLst>
            </p:cNvPr>
            <p:cNvSpPr/>
            <p:nvPr/>
          </p:nvSpPr>
          <p:spPr>
            <a:xfrm>
              <a:off x="4992150" y="2590600"/>
              <a:ext cx="85000" cy="93200"/>
            </a:xfrm>
            <a:custGeom>
              <a:avLst/>
              <a:gdLst/>
              <a:ahLst/>
              <a:cxnLst/>
              <a:rect l="l" t="t" r="r" b="b"/>
              <a:pathLst>
                <a:path w="3400" h="3728" extrusionOk="0">
                  <a:moveTo>
                    <a:pt x="823" y="0"/>
                  </a:moveTo>
                  <a:cubicBezTo>
                    <a:pt x="823" y="0"/>
                    <a:pt x="451" y="69"/>
                    <a:pt x="0" y="1168"/>
                  </a:cubicBezTo>
                  <a:cubicBezTo>
                    <a:pt x="328" y="2079"/>
                    <a:pt x="997" y="3083"/>
                    <a:pt x="1977" y="3727"/>
                  </a:cubicBezTo>
                  <a:lnTo>
                    <a:pt x="2604" y="2758"/>
                  </a:lnTo>
                  <a:lnTo>
                    <a:pt x="3400" y="2902"/>
                  </a:lnTo>
                  <a:lnTo>
                    <a:pt x="806" y="679"/>
                  </a:lnTo>
                  <a:lnTo>
                    <a:pt x="823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55" name="Google Shape;6805;p41">
              <a:extLst>
                <a:ext uri="{FF2B5EF4-FFF2-40B4-BE49-F238E27FC236}">
                  <a16:creationId xmlns:a16="http://schemas.microsoft.com/office/drawing/2014/main" id="{26D4F10D-679F-D947-8A23-4F866668A3D7}"/>
                </a:ext>
              </a:extLst>
            </p:cNvPr>
            <p:cNvSpPr/>
            <p:nvPr/>
          </p:nvSpPr>
          <p:spPr>
            <a:xfrm>
              <a:off x="5077125" y="2601525"/>
              <a:ext cx="30500" cy="71000"/>
            </a:xfrm>
            <a:custGeom>
              <a:avLst/>
              <a:gdLst/>
              <a:ahLst/>
              <a:cxnLst/>
              <a:rect l="l" t="t" r="r" b="b"/>
              <a:pathLst>
                <a:path w="1220" h="2840" extrusionOk="0">
                  <a:moveTo>
                    <a:pt x="322" y="1"/>
                  </a:moveTo>
                  <a:lnTo>
                    <a:pt x="270" y="885"/>
                  </a:lnTo>
                  <a:cubicBezTo>
                    <a:pt x="270" y="885"/>
                    <a:pt x="96" y="1905"/>
                    <a:pt x="1" y="2465"/>
                  </a:cubicBezTo>
                  <a:lnTo>
                    <a:pt x="615" y="2216"/>
                  </a:lnTo>
                  <a:lnTo>
                    <a:pt x="1219" y="2840"/>
                  </a:lnTo>
                  <a:cubicBezTo>
                    <a:pt x="1219" y="2840"/>
                    <a:pt x="1195" y="1144"/>
                    <a:pt x="966" y="677"/>
                  </a:cubicBezTo>
                  <a:cubicBezTo>
                    <a:pt x="687" y="99"/>
                    <a:pt x="322" y="1"/>
                    <a:pt x="322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356" name="Google Shape;6806;p41">
              <a:extLst>
                <a:ext uri="{FF2B5EF4-FFF2-40B4-BE49-F238E27FC236}">
                  <a16:creationId xmlns:a16="http://schemas.microsoft.com/office/drawing/2014/main" id="{3160C4EB-B3E2-1741-8E29-2E87ADD5D40E}"/>
                </a:ext>
              </a:extLst>
            </p:cNvPr>
            <p:cNvSpPr/>
            <p:nvPr/>
          </p:nvSpPr>
          <p:spPr>
            <a:xfrm>
              <a:off x="4876025" y="2622325"/>
              <a:ext cx="118275" cy="214050"/>
            </a:xfrm>
            <a:custGeom>
              <a:avLst/>
              <a:gdLst/>
              <a:ahLst/>
              <a:cxnLst/>
              <a:rect l="l" t="t" r="r" b="b"/>
              <a:pathLst>
                <a:path w="4731" h="8562" extrusionOk="0">
                  <a:moveTo>
                    <a:pt x="3886" y="1"/>
                  </a:moveTo>
                  <a:cubicBezTo>
                    <a:pt x="3542" y="1"/>
                    <a:pt x="2590" y="62"/>
                    <a:pt x="1908" y="697"/>
                  </a:cubicBezTo>
                  <a:cubicBezTo>
                    <a:pt x="1062" y="1489"/>
                    <a:pt x="912" y="2172"/>
                    <a:pt x="573" y="4165"/>
                  </a:cubicBezTo>
                  <a:cubicBezTo>
                    <a:pt x="236" y="6158"/>
                    <a:pt x="0" y="7855"/>
                    <a:pt x="0" y="7855"/>
                  </a:cubicBezTo>
                  <a:cubicBezTo>
                    <a:pt x="0" y="7855"/>
                    <a:pt x="996" y="8562"/>
                    <a:pt x="2344" y="8562"/>
                  </a:cubicBezTo>
                  <a:cubicBezTo>
                    <a:pt x="2599" y="8562"/>
                    <a:pt x="2867" y="8536"/>
                    <a:pt x="3144" y="8476"/>
                  </a:cubicBezTo>
                  <a:lnTo>
                    <a:pt x="3744" y="5148"/>
                  </a:lnTo>
                  <a:cubicBezTo>
                    <a:pt x="3744" y="5148"/>
                    <a:pt x="4311" y="4046"/>
                    <a:pt x="4478" y="3142"/>
                  </a:cubicBezTo>
                  <a:cubicBezTo>
                    <a:pt x="4730" y="1783"/>
                    <a:pt x="4434" y="448"/>
                    <a:pt x="4017" y="4"/>
                  </a:cubicBezTo>
                  <a:cubicBezTo>
                    <a:pt x="4017" y="4"/>
                    <a:pt x="3969" y="1"/>
                    <a:pt x="3886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155459" tIns="155459" rIns="155459" bIns="155459" anchor="ctr" anchorCtr="0">
              <a:noAutofit/>
            </a:bodyPr>
            <a:lstStyle/>
            <a:p>
              <a:pPr marL="0" marR="0" lvl="0" indent="0" algn="l" defTabSz="7679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38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57" name="Oval 356">
            <a:extLst>
              <a:ext uri="{FF2B5EF4-FFF2-40B4-BE49-F238E27FC236}">
                <a16:creationId xmlns:a16="http://schemas.microsoft.com/office/drawing/2014/main" id="{ED908CC4-2740-3D41-BB34-26C750923764}"/>
              </a:ext>
            </a:extLst>
          </p:cNvPr>
          <p:cNvSpPr/>
          <p:nvPr/>
        </p:nvSpPr>
        <p:spPr>
          <a:xfrm>
            <a:off x="10085506" y="3978343"/>
            <a:ext cx="966428" cy="9664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79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1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</a:rPr>
              <a:t>2</a:t>
            </a:r>
          </a:p>
        </p:txBody>
      </p:sp>
      <p:sp>
        <p:nvSpPr>
          <p:cNvPr id="360" name="Google Shape;642;p21">
            <a:extLst>
              <a:ext uri="{FF2B5EF4-FFF2-40B4-BE49-F238E27FC236}">
                <a16:creationId xmlns:a16="http://schemas.microsoft.com/office/drawing/2014/main" id="{C218E0D1-D96E-AF4C-BD59-DAE3F731B5A7}"/>
              </a:ext>
            </a:extLst>
          </p:cNvPr>
          <p:cNvSpPr txBox="1">
            <a:spLocks/>
          </p:cNvSpPr>
          <p:nvPr/>
        </p:nvSpPr>
        <p:spPr>
          <a:xfrm>
            <a:off x="4252451" y="5063536"/>
            <a:ext cx="4434282" cy="1689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6594" tIns="116594" rIns="116594" bIns="11659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Arvo"/>
              <a:buChar char="●"/>
              <a:defRPr sz="18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●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●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pPr marL="0" marR="0" lvl="0" indent="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Arvo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TERTIB PEMANFAATAN </a:t>
            </a:r>
          </a:p>
          <a:p>
            <a:pPr marL="0" marR="0" lvl="0" indent="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Arvo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PRODUK JAKO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Century Gothic" charset="0"/>
              <a:cs typeface="Century Gothic" charset="0"/>
              <a:sym typeface="Arvo"/>
            </a:endParaRP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434343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fung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lang="en-US" sz="1400" kern="0" dirty="0">
                <a:solidFill>
                  <a:srgbClr val="1D3166"/>
                </a:solidFill>
                <a:latin typeface="Montserrat Medium" pitchFamily="2" charset="77"/>
                <a:ea typeface="Century Gothic" charset="0"/>
                <a:cs typeface="Century Gothic" charset="0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runtuk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onstruk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;</a:t>
            </a: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434343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rencan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umur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onstruk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;</a:t>
            </a: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434343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laksana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apasita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dan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beb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; </a:t>
            </a: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434343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melihara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roduk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Jasa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onstruk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.</a:t>
            </a:r>
          </a:p>
        </p:txBody>
      </p:sp>
      <p:sp>
        <p:nvSpPr>
          <p:cNvPr id="365" name="Google Shape;642;p21">
            <a:extLst>
              <a:ext uri="{FF2B5EF4-FFF2-40B4-BE49-F238E27FC236}">
                <a16:creationId xmlns:a16="http://schemas.microsoft.com/office/drawing/2014/main" id="{8CC65073-4FAB-DA4E-9862-C706E17D7435}"/>
              </a:ext>
            </a:extLst>
          </p:cNvPr>
          <p:cNvSpPr txBox="1">
            <a:spLocks/>
          </p:cNvSpPr>
          <p:nvPr/>
        </p:nvSpPr>
        <p:spPr>
          <a:xfrm>
            <a:off x="4252451" y="6192"/>
            <a:ext cx="6270308" cy="1689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6594" tIns="116594" rIns="116594" bIns="11659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Arvo"/>
              <a:buChar char="●"/>
              <a:defRPr sz="18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●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●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pPr marL="0" marR="0" lvl="0" indent="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D3166"/>
              </a:buClr>
              <a:buSzPts val="1800"/>
              <a:buFont typeface="Arvo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TERTIB USAHA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Century Gothic" charset="0"/>
              <a:cs typeface="Century Gothic" charset="0"/>
              <a:sym typeface="Arvo"/>
            </a:endParaRP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1D3166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menuh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rsyarat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usah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ranta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asok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sumber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day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onstruk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pada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lingkup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wilayah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rovin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; </a:t>
            </a: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1D3166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esesuai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jeni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,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sifat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,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lasifika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, dan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Layan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Usaha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deng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egiat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usah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Jasa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onstruk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;</a:t>
            </a: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1D3166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esesuai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bentuk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dan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ualifika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usah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deng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egiat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usah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Jasa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onstruk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dan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segmenta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pasar Jasa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onstruk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;</a:t>
            </a: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1D3166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menuh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rsyarat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usah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Jasa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Konstruks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; dan</a:t>
            </a:r>
          </a:p>
          <a:p>
            <a:pPr marL="342900" marR="0" lvl="0" indent="-34290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1D3166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laksana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pengembang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usah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 Medium" pitchFamily="2" charset="77"/>
                <a:ea typeface="Century Gothic" charset="0"/>
                <a:cs typeface="Century Gothic" charset="0"/>
                <a:sym typeface="Arvo"/>
              </a:rPr>
              <a:t>berkelanjut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.</a:t>
            </a:r>
          </a:p>
        </p:txBody>
      </p:sp>
      <p:sp>
        <p:nvSpPr>
          <p:cNvPr id="364" name="Google Shape;642;p21">
            <a:extLst>
              <a:ext uri="{FF2B5EF4-FFF2-40B4-BE49-F238E27FC236}">
                <a16:creationId xmlns:a16="http://schemas.microsoft.com/office/drawing/2014/main" id="{6F15B2A9-5362-524F-80A7-0C09BDE08DFA}"/>
              </a:ext>
            </a:extLst>
          </p:cNvPr>
          <p:cNvSpPr txBox="1">
            <a:spLocks/>
          </p:cNvSpPr>
          <p:nvPr/>
        </p:nvSpPr>
        <p:spPr>
          <a:xfrm>
            <a:off x="-443453" y="202081"/>
            <a:ext cx="4897244" cy="5272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6594" tIns="116594" rIns="116594" bIns="11659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Arvo"/>
              <a:buChar char="●"/>
              <a:defRPr sz="18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●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●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pPr marL="0" marR="0" lvl="0" indent="0" algn="ctr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Arvo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LINGKUP</a:t>
            </a:r>
          </a:p>
          <a:p>
            <a:pPr marL="0" marR="0" lvl="0" indent="0" algn="ctr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Arvo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PENGAWASAN </a:t>
            </a:r>
          </a:p>
        </p:txBody>
      </p:sp>
      <p:sp>
        <p:nvSpPr>
          <p:cNvPr id="366" name="Freeform: Shape 90">
            <a:extLst>
              <a:ext uri="{FF2B5EF4-FFF2-40B4-BE49-F238E27FC236}">
                <a16:creationId xmlns:a16="http://schemas.microsoft.com/office/drawing/2014/main" id="{E1845BB1-251C-E841-812D-82538987179B}"/>
              </a:ext>
            </a:extLst>
          </p:cNvPr>
          <p:cNvSpPr/>
          <p:nvPr/>
        </p:nvSpPr>
        <p:spPr>
          <a:xfrm>
            <a:off x="470160" y="1626759"/>
            <a:ext cx="3225573" cy="601998"/>
          </a:xfrm>
          <a:custGeom>
            <a:avLst/>
            <a:gdLst>
              <a:gd name="connsiteX0" fmla="*/ 325384 w 4047850"/>
              <a:gd name="connsiteY0" fmla="*/ 0 h 651348"/>
              <a:gd name="connsiteX1" fmla="*/ 593248 w 4047850"/>
              <a:gd name="connsiteY1" fmla="*/ 0 h 651348"/>
              <a:gd name="connsiteX2" fmla="*/ 1005630 w 4047850"/>
              <a:gd name="connsiteY2" fmla="*/ 0 h 651348"/>
              <a:gd name="connsiteX3" fmla="*/ 1022869 w 4047850"/>
              <a:gd name="connsiteY3" fmla="*/ 0 h 651348"/>
              <a:gd name="connsiteX4" fmla="*/ 3042220 w 4047850"/>
              <a:gd name="connsiteY4" fmla="*/ 0 h 651348"/>
              <a:gd name="connsiteX5" fmla="*/ 3394765 w 4047850"/>
              <a:gd name="connsiteY5" fmla="*/ 0 h 651348"/>
              <a:gd name="connsiteX6" fmla="*/ 3722465 w 4047850"/>
              <a:gd name="connsiteY6" fmla="*/ 0 h 651348"/>
              <a:gd name="connsiteX7" fmla="*/ 3739704 w 4047850"/>
              <a:gd name="connsiteY7" fmla="*/ 0 h 651348"/>
              <a:gd name="connsiteX8" fmla="*/ 3739704 w 4047850"/>
              <a:gd name="connsiteY8" fmla="*/ 385 h 651348"/>
              <a:gd name="connsiteX9" fmla="*/ 4047850 w 4047850"/>
              <a:gd name="connsiteY9" fmla="*/ 385 h 651348"/>
              <a:gd name="connsiteX10" fmla="*/ 4047850 w 4047850"/>
              <a:gd name="connsiteY10" fmla="*/ 325477 h 651348"/>
              <a:gd name="connsiteX11" fmla="*/ 4047850 w 4047850"/>
              <a:gd name="connsiteY11" fmla="*/ 325669 h 651348"/>
              <a:gd name="connsiteX12" fmla="*/ 4047850 w 4047850"/>
              <a:gd name="connsiteY12" fmla="*/ 325672 h 651348"/>
              <a:gd name="connsiteX13" fmla="*/ 4047850 w 4047850"/>
              <a:gd name="connsiteY13" fmla="*/ 325675 h 651348"/>
              <a:gd name="connsiteX14" fmla="*/ 4047850 w 4047850"/>
              <a:gd name="connsiteY14" fmla="*/ 340954 h 651348"/>
              <a:gd name="connsiteX15" fmla="*/ 4047117 w 4047850"/>
              <a:gd name="connsiteY15" fmla="*/ 340954 h 651348"/>
              <a:gd name="connsiteX16" fmla="*/ 4046371 w 4047850"/>
              <a:gd name="connsiteY16" fmla="*/ 356703 h 651348"/>
              <a:gd name="connsiteX17" fmla="*/ 4046235 w 4047850"/>
              <a:gd name="connsiteY17" fmla="*/ 357658 h 651348"/>
              <a:gd name="connsiteX18" fmla="*/ 4046171 w 4047850"/>
              <a:gd name="connsiteY18" fmla="*/ 358931 h 651348"/>
              <a:gd name="connsiteX19" fmla="*/ 4035441 w 4047850"/>
              <a:gd name="connsiteY19" fmla="*/ 414965 h 651348"/>
              <a:gd name="connsiteX20" fmla="*/ 4035003 w 4047850"/>
              <a:gd name="connsiteY20" fmla="*/ 416283 h 651348"/>
              <a:gd name="connsiteX21" fmla="*/ 4034948 w 4047850"/>
              <a:gd name="connsiteY21" fmla="*/ 416510 h 651348"/>
              <a:gd name="connsiteX22" fmla="*/ 4034176 w 4047850"/>
              <a:gd name="connsiteY22" fmla="*/ 418772 h 651348"/>
              <a:gd name="connsiteX23" fmla="*/ 4026589 w 4047850"/>
              <a:gd name="connsiteY23" fmla="*/ 441591 h 651348"/>
              <a:gd name="connsiteX24" fmla="*/ 4025578 w 4047850"/>
              <a:gd name="connsiteY24" fmla="*/ 443933 h 651348"/>
              <a:gd name="connsiteX25" fmla="*/ 4025273 w 4047850"/>
              <a:gd name="connsiteY25" fmla="*/ 444823 h 651348"/>
              <a:gd name="connsiteX26" fmla="*/ 4023116 w 4047850"/>
              <a:gd name="connsiteY26" fmla="*/ 449636 h 651348"/>
              <a:gd name="connsiteX27" fmla="*/ 4015559 w 4047850"/>
              <a:gd name="connsiteY27" fmla="*/ 467142 h 651348"/>
              <a:gd name="connsiteX28" fmla="*/ 4013802 w 4047850"/>
              <a:gd name="connsiteY28" fmla="*/ 470409 h 651348"/>
              <a:gd name="connsiteX29" fmla="*/ 4013136 w 4047850"/>
              <a:gd name="connsiteY29" fmla="*/ 471896 h 651348"/>
              <a:gd name="connsiteX30" fmla="*/ 4010197 w 4047850"/>
              <a:gd name="connsiteY30" fmla="*/ 477118 h 651348"/>
              <a:gd name="connsiteX31" fmla="*/ 4002462 w 4047850"/>
              <a:gd name="connsiteY31" fmla="*/ 491507 h 651348"/>
              <a:gd name="connsiteX32" fmla="*/ 3999801 w 4047850"/>
              <a:gd name="connsiteY32" fmla="*/ 495585 h 651348"/>
              <a:gd name="connsiteX33" fmla="*/ 3998671 w 4047850"/>
              <a:gd name="connsiteY33" fmla="*/ 497594 h 651348"/>
              <a:gd name="connsiteX34" fmla="*/ 3995246 w 4047850"/>
              <a:gd name="connsiteY34" fmla="*/ 502566 h 651348"/>
              <a:gd name="connsiteX35" fmla="*/ 3987410 w 4047850"/>
              <a:gd name="connsiteY35" fmla="*/ 514574 h 651348"/>
              <a:gd name="connsiteX36" fmla="*/ 3983699 w 4047850"/>
              <a:gd name="connsiteY36" fmla="*/ 519333 h 651348"/>
              <a:gd name="connsiteX37" fmla="*/ 3982012 w 4047850"/>
              <a:gd name="connsiteY37" fmla="*/ 521781 h 651348"/>
              <a:gd name="connsiteX38" fmla="*/ 3978310 w 4047850"/>
              <a:gd name="connsiteY38" fmla="*/ 526240 h 651348"/>
              <a:gd name="connsiteX39" fmla="*/ 3970514 w 4047850"/>
              <a:gd name="connsiteY39" fmla="*/ 536234 h 651348"/>
              <a:gd name="connsiteX40" fmla="*/ 3965618 w 4047850"/>
              <a:gd name="connsiteY40" fmla="*/ 541527 h 651348"/>
              <a:gd name="connsiteX41" fmla="*/ 3963295 w 4047850"/>
              <a:gd name="connsiteY41" fmla="*/ 544324 h 651348"/>
              <a:gd name="connsiteX42" fmla="*/ 3959482 w 4047850"/>
              <a:gd name="connsiteY42" fmla="*/ 548161 h 651348"/>
              <a:gd name="connsiteX43" fmla="*/ 3951885 w 4047850"/>
              <a:gd name="connsiteY43" fmla="*/ 556374 h 651348"/>
              <a:gd name="connsiteX44" fmla="*/ 3945682 w 4047850"/>
              <a:gd name="connsiteY44" fmla="*/ 562043 h 651348"/>
              <a:gd name="connsiteX45" fmla="*/ 3942656 w 4047850"/>
              <a:gd name="connsiteY45" fmla="*/ 565087 h 651348"/>
              <a:gd name="connsiteX46" fmla="*/ 3938872 w 4047850"/>
              <a:gd name="connsiteY46" fmla="*/ 568267 h 651348"/>
              <a:gd name="connsiteX47" fmla="*/ 3931633 w 4047850"/>
              <a:gd name="connsiteY47" fmla="*/ 574884 h 651348"/>
              <a:gd name="connsiteX48" fmla="*/ 3924011 w 4047850"/>
              <a:gd name="connsiteY48" fmla="*/ 580756 h 651348"/>
              <a:gd name="connsiteX49" fmla="*/ 3920227 w 4047850"/>
              <a:gd name="connsiteY49" fmla="*/ 583936 h 651348"/>
              <a:gd name="connsiteX50" fmla="*/ 3916599 w 4047850"/>
              <a:gd name="connsiteY50" fmla="*/ 586467 h 651348"/>
              <a:gd name="connsiteX51" fmla="*/ 3909870 w 4047850"/>
              <a:gd name="connsiteY51" fmla="*/ 591652 h 651348"/>
              <a:gd name="connsiteX52" fmla="*/ 3900723 w 4047850"/>
              <a:gd name="connsiteY52" fmla="*/ 597543 h 651348"/>
              <a:gd name="connsiteX53" fmla="*/ 3896145 w 4047850"/>
              <a:gd name="connsiteY53" fmla="*/ 600736 h 651348"/>
              <a:gd name="connsiteX54" fmla="*/ 3892785 w 4047850"/>
              <a:gd name="connsiteY54" fmla="*/ 602655 h 651348"/>
              <a:gd name="connsiteX55" fmla="*/ 3886706 w 4047850"/>
              <a:gd name="connsiteY55" fmla="*/ 606569 h 651348"/>
              <a:gd name="connsiteX56" fmla="*/ 3875923 w 4047850"/>
              <a:gd name="connsiteY56" fmla="*/ 612281 h 651348"/>
              <a:gd name="connsiteX57" fmla="*/ 3870544 w 4047850"/>
              <a:gd name="connsiteY57" fmla="*/ 615352 h 651348"/>
              <a:gd name="connsiteX58" fmla="*/ 3867552 w 4047850"/>
              <a:gd name="connsiteY58" fmla="*/ 616715 h 651348"/>
              <a:gd name="connsiteX59" fmla="*/ 3862253 w 4047850"/>
              <a:gd name="connsiteY59" fmla="*/ 619522 h 651348"/>
              <a:gd name="connsiteX60" fmla="*/ 3849702 w 4047850"/>
              <a:gd name="connsiteY60" fmla="*/ 624849 h 651348"/>
              <a:gd name="connsiteX61" fmla="*/ 3843559 w 4047850"/>
              <a:gd name="connsiteY61" fmla="*/ 627649 h 651348"/>
              <a:gd name="connsiteX62" fmla="*/ 3841026 w 4047850"/>
              <a:gd name="connsiteY62" fmla="*/ 628532 h 651348"/>
              <a:gd name="connsiteX63" fmla="*/ 3836622 w 4047850"/>
              <a:gd name="connsiteY63" fmla="*/ 630401 h 651348"/>
              <a:gd name="connsiteX64" fmla="*/ 3822109 w 4047850"/>
              <a:gd name="connsiteY64" fmla="*/ 635127 h 651348"/>
              <a:gd name="connsiteX65" fmla="*/ 3815324 w 4047850"/>
              <a:gd name="connsiteY65" fmla="*/ 637492 h 651348"/>
              <a:gd name="connsiteX66" fmla="*/ 3813334 w 4047850"/>
              <a:gd name="connsiteY66" fmla="*/ 637984 h 651348"/>
              <a:gd name="connsiteX67" fmla="*/ 3809924 w 4047850"/>
              <a:gd name="connsiteY67" fmla="*/ 639095 h 651348"/>
              <a:gd name="connsiteX68" fmla="*/ 3793067 w 4047850"/>
              <a:gd name="connsiteY68" fmla="*/ 642994 h 651348"/>
              <a:gd name="connsiteX69" fmla="*/ 3785975 w 4047850"/>
              <a:gd name="connsiteY69" fmla="*/ 644747 h 651348"/>
              <a:gd name="connsiteX70" fmla="*/ 3784601 w 4047850"/>
              <a:gd name="connsiteY70" fmla="*/ 644952 h 651348"/>
              <a:gd name="connsiteX71" fmla="*/ 3782269 w 4047850"/>
              <a:gd name="connsiteY71" fmla="*/ 645492 h 651348"/>
              <a:gd name="connsiteX72" fmla="*/ 3761990 w 4047850"/>
              <a:gd name="connsiteY72" fmla="*/ 648331 h 651348"/>
              <a:gd name="connsiteX73" fmla="*/ 3755647 w 4047850"/>
              <a:gd name="connsiteY73" fmla="*/ 649279 h 651348"/>
              <a:gd name="connsiteX74" fmla="*/ 3754979 w 4047850"/>
              <a:gd name="connsiteY74" fmla="*/ 649313 h 651348"/>
              <a:gd name="connsiteX75" fmla="*/ 3753769 w 4047850"/>
              <a:gd name="connsiteY75" fmla="*/ 649482 h 651348"/>
              <a:gd name="connsiteX76" fmla="*/ 3739704 w 4047850"/>
              <a:gd name="connsiteY76" fmla="*/ 650148 h 651348"/>
              <a:gd name="connsiteX77" fmla="*/ 3739704 w 4047850"/>
              <a:gd name="connsiteY77" fmla="*/ 650959 h 651348"/>
              <a:gd name="connsiteX78" fmla="*/ 3726737 w 4047850"/>
              <a:gd name="connsiteY78" fmla="*/ 650959 h 651348"/>
              <a:gd name="connsiteX79" fmla="*/ 3722563 w 4047850"/>
              <a:gd name="connsiteY79" fmla="*/ 650959 h 651348"/>
              <a:gd name="connsiteX80" fmla="*/ 3722465 w 4047850"/>
              <a:gd name="connsiteY80" fmla="*/ 650959 h 651348"/>
              <a:gd name="connsiteX81" fmla="*/ 3722465 w 4047850"/>
              <a:gd name="connsiteY81" fmla="*/ 651348 h 651348"/>
              <a:gd name="connsiteX82" fmla="*/ 3394765 w 4047850"/>
              <a:gd name="connsiteY82" fmla="*/ 651348 h 651348"/>
              <a:gd name="connsiteX83" fmla="*/ 3042220 w 4047850"/>
              <a:gd name="connsiteY83" fmla="*/ 651348 h 651348"/>
              <a:gd name="connsiteX84" fmla="*/ 3024981 w 4047850"/>
              <a:gd name="connsiteY84" fmla="*/ 651348 h 651348"/>
              <a:gd name="connsiteX85" fmla="*/ 1005630 w 4047850"/>
              <a:gd name="connsiteY85" fmla="*/ 651348 h 651348"/>
              <a:gd name="connsiteX86" fmla="*/ 593248 w 4047850"/>
              <a:gd name="connsiteY86" fmla="*/ 651348 h 651348"/>
              <a:gd name="connsiteX87" fmla="*/ 325384 w 4047850"/>
              <a:gd name="connsiteY87" fmla="*/ 651348 h 651348"/>
              <a:gd name="connsiteX88" fmla="*/ 308146 w 4047850"/>
              <a:gd name="connsiteY88" fmla="*/ 651348 h 651348"/>
              <a:gd name="connsiteX89" fmla="*/ 308146 w 4047850"/>
              <a:gd name="connsiteY89" fmla="*/ 650963 h 651348"/>
              <a:gd name="connsiteX90" fmla="*/ 0 w 4047850"/>
              <a:gd name="connsiteY90" fmla="*/ 650963 h 651348"/>
              <a:gd name="connsiteX91" fmla="*/ 0 w 4047850"/>
              <a:gd name="connsiteY91" fmla="*/ 325871 h 651348"/>
              <a:gd name="connsiteX92" fmla="*/ 0 w 4047850"/>
              <a:gd name="connsiteY92" fmla="*/ 325679 h 651348"/>
              <a:gd name="connsiteX93" fmla="*/ 0 w 4047850"/>
              <a:gd name="connsiteY93" fmla="*/ 325676 h 651348"/>
              <a:gd name="connsiteX94" fmla="*/ 0 w 4047850"/>
              <a:gd name="connsiteY94" fmla="*/ 325673 h 651348"/>
              <a:gd name="connsiteX95" fmla="*/ 0 w 4047850"/>
              <a:gd name="connsiteY95" fmla="*/ 310394 h 651348"/>
              <a:gd name="connsiteX96" fmla="*/ 733 w 4047850"/>
              <a:gd name="connsiteY96" fmla="*/ 310394 h 651348"/>
              <a:gd name="connsiteX97" fmla="*/ 1478 w 4047850"/>
              <a:gd name="connsiteY97" fmla="*/ 294646 h 651348"/>
              <a:gd name="connsiteX98" fmla="*/ 1615 w 4047850"/>
              <a:gd name="connsiteY98" fmla="*/ 293690 h 651348"/>
              <a:gd name="connsiteX99" fmla="*/ 1679 w 4047850"/>
              <a:gd name="connsiteY99" fmla="*/ 292417 h 651348"/>
              <a:gd name="connsiteX100" fmla="*/ 12408 w 4047850"/>
              <a:gd name="connsiteY100" fmla="*/ 236384 h 651348"/>
              <a:gd name="connsiteX101" fmla="*/ 12847 w 4047850"/>
              <a:gd name="connsiteY101" fmla="*/ 235065 h 651348"/>
              <a:gd name="connsiteX102" fmla="*/ 12901 w 4047850"/>
              <a:gd name="connsiteY102" fmla="*/ 234838 h 651348"/>
              <a:gd name="connsiteX103" fmla="*/ 13674 w 4047850"/>
              <a:gd name="connsiteY103" fmla="*/ 232576 h 651348"/>
              <a:gd name="connsiteX104" fmla="*/ 21261 w 4047850"/>
              <a:gd name="connsiteY104" fmla="*/ 209757 h 651348"/>
              <a:gd name="connsiteX105" fmla="*/ 22272 w 4047850"/>
              <a:gd name="connsiteY105" fmla="*/ 207415 h 651348"/>
              <a:gd name="connsiteX106" fmla="*/ 22576 w 4047850"/>
              <a:gd name="connsiteY106" fmla="*/ 206525 h 651348"/>
              <a:gd name="connsiteX107" fmla="*/ 24734 w 4047850"/>
              <a:gd name="connsiteY107" fmla="*/ 201713 h 651348"/>
              <a:gd name="connsiteX108" fmla="*/ 32291 w 4047850"/>
              <a:gd name="connsiteY108" fmla="*/ 184206 h 651348"/>
              <a:gd name="connsiteX109" fmla="*/ 34047 w 4047850"/>
              <a:gd name="connsiteY109" fmla="*/ 180939 h 651348"/>
              <a:gd name="connsiteX110" fmla="*/ 34714 w 4047850"/>
              <a:gd name="connsiteY110" fmla="*/ 179452 h 651348"/>
              <a:gd name="connsiteX111" fmla="*/ 37653 w 4047850"/>
              <a:gd name="connsiteY111" fmla="*/ 174231 h 651348"/>
              <a:gd name="connsiteX112" fmla="*/ 45388 w 4047850"/>
              <a:gd name="connsiteY112" fmla="*/ 159842 h 651348"/>
              <a:gd name="connsiteX113" fmla="*/ 48048 w 4047850"/>
              <a:gd name="connsiteY113" fmla="*/ 155764 h 651348"/>
              <a:gd name="connsiteX114" fmla="*/ 49179 w 4047850"/>
              <a:gd name="connsiteY114" fmla="*/ 153755 h 651348"/>
              <a:gd name="connsiteX115" fmla="*/ 52604 w 4047850"/>
              <a:gd name="connsiteY115" fmla="*/ 148783 h 651348"/>
              <a:gd name="connsiteX116" fmla="*/ 60439 w 4047850"/>
              <a:gd name="connsiteY116" fmla="*/ 136774 h 651348"/>
              <a:gd name="connsiteX117" fmla="*/ 64151 w 4047850"/>
              <a:gd name="connsiteY117" fmla="*/ 132016 h 651348"/>
              <a:gd name="connsiteX118" fmla="*/ 65838 w 4047850"/>
              <a:gd name="connsiteY118" fmla="*/ 129567 h 651348"/>
              <a:gd name="connsiteX119" fmla="*/ 69540 w 4047850"/>
              <a:gd name="connsiteY119" fmla="*/ 125108 h 651348"/>
              <a:gd name="connsiteX120" fmla="*/ 77336 w 4047850"/>
              <a:gd name="connsiteY120" fmla="*/ 115115 h 651348"/>
              <a:gd name="connsiteX121" fmla="*/ 82232 w 4047850"/>
              <a:gd name="connsiteY121" fmla="*/ 109821 h 651348"/>
              <a:gd name="connsiteX122" fmla="*/ 84554 w 4047850"/>
              <a:gd name="connsiteY122" fmla="*/ 107024 h 651348"/>
              <a:gd name="connsiteX123" fmla="*/ 88368 w 4047850"/>
              <a:gd name="connsiteY123" fmla="*/ 103188 h 651348"/>
              <a:gd name="connsiteX124" fmla="*/ 95965 w 4047850"/>
              <a:gd name="connsiteY124" fmla="*/ 94974 h 651348"/>
              <a:gd name="connsiteX125" fmla="*/ 102168 w 4047850"/>
              <a:gd name="connsiteY125" fmla="*/ 89305 h 651348"/>
              <a:gd name="connsiteX126" fmla="*/ 105194 w 4047850"/>
              <a:gd name="connsiteY126" fmla="*/ 86261 h 651348"/>
              <a:gd name="connsiteX127" fmla="*/ 108977 w 4047850"/>
              <a:gd name="connsiteY127" fmla="*/ 83081 h 651348"/>
              <a:gd name="connsiteX128" fmla="*/ 116217 w 4047850"/>
              <a:gd name="connsiteY128" fmla="*/ 76465 h 651348"/>
              <a:gd name="connsiteX129" fmla="*/ 123838 w 4047850"/>
              <a:gd name="connsiteY129" fmla="*/ 70592 h 651348"/>
              <a:gd name="connsiteX130" fmla="*/ 127623 w 4047850"/>
              <a:gd name="connsiteY130" fmla="*/ 67412 h 651348"/>
              <a:gd name="connsiteX131" fmla="*/ 131250 w 4047850"/>
              <a:gd name="connsiteY131" fmla="*/ 64881 h 651348"/>
              <a:gd name="connsiteX132" fmla="*/ 137980 w 4047850"/>
              <a:gd name="connsiteY132" fmla="*/ 59696 h 651348"/>
              <a:gd name="connsiteX133" fmla="*/ 147127 w 4047850"/>
              <a:gd name="connsiteY133" fmla="*/ 53805 h 651348"/>
              <a:gd name="connsiteX134" fmla="*/ 151705 w 4047850"/>
              <a:gd name="connsiteY134" fmla="*/ 50612 h 651348"/>
              <a:gd name="connsiteX135" fmla="*/ 155065 w 4047850"/>
              <a:gd name="connsiteY135" fmla="*/ 48694 h 651348"/>
              <a:gd name="connsiteX136" fmla="*/ 161144 w 4047850"/>
              <a:gd name="connsiteY136" fmla="*/ 44779 h 651348"/>
              <a:gd name="connsiteX137" fmla="*/ 171927 w 4047850"/>
              <a:gd name="connsiteY137" fmla="*/ 39067 h 651348"/>
              <a:gd name="connsiteX138" fmla="*/ 177306 w 4047850"/>
              <a:gd name="connsiteY138" fmla="*/ 35997 h 651348"/>
              <a:gd name="connsiteX139" fmla="*/ 180298 w 4047850"/>
              <a:gd name="connsiteY139" fmla="*/ 34633 h 651348"/>
              <a:gd name="connsiteX140" fmla="*/ 185596 w 4047850"/>
              <a:gd name="connsiteY140" fmla="*/ 31826 h 651348"/>
              <a:gd name="connsiteX141" fmla="*/ 198148 w 4047850"/>
              <a:gd name="connsiteY141" fmla="*/ 26499 h 651348"/>
              <a:gd name="connsiteX142" fmla="*/ 204291 w 4047850"/>
              <a:gd name="connsiteY142" fmla="*/ 23700 h 651348"/>
              <a:gd name="connsiteX143" fmla="*/ 206823 w 4047850"/>
              <a:gd name="connsiteY143" fmla="*/ 22817 h 651348"/>
              <a:gd name="connsiteX144" fmla="*/ 211228 w 4047850"/>
              <a:gd name="connsiteY144" fmla="*/ 20947 h 651348"/>
              <a:gd name="connsiteX145" fmla="*/ 225741 w 4047850"/>
              <a:gd name="connsiteY145" fmla="*/ 16221 h 651348"/>
              <a:gd name="connsiteX146" fmla="*/ 232526 w 4047850"/>
              <a:gd name="connsiteY146" fmla="*/ 13856 h 651348"/>
              <a:gd name="connsiteX147" fmla="*/ 234516 w 4047850"/>
              <a:gd name="connsiteY147" fmla="*/ 13364 h 651348"/>
              <a:gd name="connsiteX148" fmla="*/ 237926 w 4047850"/>
              <a:gd name="connsiteY148" fmla="*/ 12254 h 651348"/>
              <a:gd name="connsiteX149" fmla="*/ 254783 w 4047850"/>
              <a:gd name="connsiteY149" fmla="*/ 8354 h 651348"/>
              <a:gd name="connsiteX150" fmla="*/ 261875 w 4047850"/>
              <a:gd name="connsiteY150" fmla="*/ 6601 h 651348"/>
              <a:gd name="connsiteX151" fmla="*/ 263248 w 4047850"/>
              <a:gd name="connsiteY151" fmla="*/ 6396 h 651348"/>
              <a:gd name="connsiteX152" fmla="*/ 265581 w 4047850"/>
              <a:gd name="connsiteY152" fmla="*/ 5856 h 651348"/>
              <a:gd name="connsiteX153" fmla="*/ 285860 w 4047850"/>
              <a:gd name="connsiteY153" fmla="*/ 3017 h 651348"/>
              <a:gd name="connsiteX154" fmla="*/ 292203 w 4047850"/>
              <a:gd name="connsiteY154" fmla="*/ 2069 h 651348"/>
              <a:gd name="connsiteX155" fmla="*/ 292871 w 4047850"/>
              <a:gd name="connsiteY155" fmla="*/ 2036 h 651348"/>
              <a:gd name="connsiteX156" fmla="*/ 294080 w 4047850"/>
              <a:gd name="connsiteY156" fmla="*/ 1866 h 651348"/>
              <a:gd name="connsiteX157" fmla="*/ 308146 w 4047850"/>
              <a:gd name="connsiteY157" fmla="*/ 1201 h 651348"/>
              <a:gd name="connsiteX158" fmla="*/ 308146 w 4047850"/>
              <a:gd name="connsiteY158" fmla="*/ 389 h 651348"/>
              <a:gd name="connsiteX159" fmla="*/ 321113 w 4047850"/>
              <a:gd name="connsiteY159" fmla="*/ 389 h 651348"/>
              <a:gd name="connsiteX160" fmla="*/ 325287 w 4047850"/>
              <a:gd name="connsiteY160" fmla="*/ 389 h 651348"/>
              <a:gd name="connsiteX161" fmla="*/ 325384 w 4047850"/>
              <a:gd name="connsiteY161" fmla="*/ 389 h 651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4047850" h="651348">
                <a:moveTo>
                  <a:pt x="325384" y="0"/>
                </a:moveTo>
                <a:lnTo>
                  <a:pt x="593248" y="0"/>
                </a:lnTo>
                <a:lnTo>
                  <a:pt x="1005630" y="0"/>
                </a:lnTo>
                <a:lnTo>
                  <a:pt x="1022869" y="0"/>
                </a:lnTo>
                <a:lnTo>
                  <a:pt x="3042220" y="0"/>
                </a:lnTo>
                <a:lnTo>
                  <a:pt x="3394765" y="0"/>
                </a:lnTo>
                <a:lnTo>
                  <a:pt x="3722465" y="0"/>
                </a:lnTo>
                <a:lnTo>
                  <a:pt x="3739704" y="0"/>
                </a:lnTo>
                <a:lnTo>
                  <a:pt x="3739704" y="385"/>
                </a:lnTo>
                <a:lnTo>
                  <a:pt x="4047850" y="385"/>
                </a:lnTo>
                <a:lnTo>
                  <a:pt x="4047850" y="325477"/>
                </a:lnTo>
                <a:lnTo>
                  <a:pt x="4047850" y="325669"/>
                </a:lnTo>
                <a:lnTo>
                  <a:pt x="4047850" y="325672"/>
                </a:lnTo>
                <a:lnTo>
                  <a:pt x="4047850" y="325675"/>
                </a:lnTo>
                <a:lnTo>
                  <a:pt x="4047850" y="340954"/>
                </a:lnTo>
                <a:lnTo>
                  <a:pt x="4047117" y="340954"/>
                </a:lnTo>
                <a:lnTo>
                  <a:pt x="4046371" y="356703"/>
                </a:lnTo>
                <a:lnTo>
                  <a:pt x="4046235" y="357658"/>
                </a:lnTo>
                <a:lnTo>
                  <a:pt x="4046171" y="358931"/>
                </a:lnTo>
                <a:cubicBezTo>
                  <a:pt x="4044218" y="378153"/>
                  <a:pt x="4040593" y="396880"/>
                  <a:pt x="4035441" y="414965"/>
                </a:cubicBezTo>
                <a:lnTo>
                  <a:pt x="4035003" y="416283"/>
                </a:lnTo>
                <a:lnTo>
                  <a:pt x="4034948" y="416510"/>
                </a:lnTo>
                <a:lnTo>
                  <a:pt x="4034176" y="418772"/>
                </a:lnTo>
                <a:lnTo>
                  <a:pt x="4026589" y="441591"/>
                </a:lnTo>
                <a:lnTo>
                  <a:pt x="4025578" y="443933"/>
                </a:lnTo>
                <a:lnTo>
                  <a:pt x="4025273" y="444823"/>
                </a:lnTo>
                <a:lnTo>
                  <a:pt x="4023116" y="449636"/>
                </a:lnTo>
                <a:lnTo>
                  <a:pt x="4015559" y="467142"/>
                </a:lnTo>
                <a:lnTo>
                  <a:pt x="4013802" y="470409"/>
                </a:lnTo>
                <a:lnTo>
                  <a:pt x="4013136" y="471896"/>
                </a:lnTo>
                <a:lnTo>
                  <a:pt x="4010197" y="477118"/>
                </a:lnTo>
                <a:lnTo>
                  <a:pt x="4002462" y="491507"/>
                </a:lnTo>
                <a:lnTo>
                  <a:pt x="3999801" y="495585"/>
                </a:lnTo>
                <a:lnTo>
                  <a:pt x="3998671" y="497594"/>
                </a:lnTo>
                <a:lnTo>
                  <a:pt x="3995246" y="502566"/>
                </a:lnTo>
                <a:lnTo>
                  <a:pt x="3987410" y="514574"/>
                </a:lnTo>
                <a:lnTo>
                  <a:pt x="3983699" y="519333"/>
                </a:lnTo>
                <a:lnTo>
                  <a:pt x="3982012" y="521781"/>
                </a:lnTo>
                <a:lnTo>
                  <a:pt x="3978310" y="526240"/>
                </a:lnTo>
                <a:lnTo>
                  <a:pt x="3970514" y="536234"/>
                </a:lnTo>
                <a:lnTo>
                  <a:pt x="3965618" y="541527"/>
                </a:lnTo>
                <a:lnTo>
                  <a:pt x="3963295" y="544324"/>
                </a:lnTo>
                <a:lnTo>
                  <a:pt x="3959482" y="548161"/>
                </a:lnTo>
                <a:lnTo>
                  <a:pt x="3951885" y="556374"/>
                </a:lnTo>
                <a:lnTo>
                  <a:pt x="3945682" y="562043"/>
                </a:lnTo>
                <a:lnTo>
                  <a:pt x="3942656" y="565087"/>
                </a:lnTo>
                <a:lnTo>
                  <a:pt x="3938872" y="568267"/>
                </a:lnTo>
                <a:lnTo>
                  <a:pt x="3931633" y="574884"/>
                </a:lnTo>
                <a:lnTo>
                  <a:pt x="3924011" y="580756"/>
                </a:lnTo>
                <a:lnTo>
                  <a:pt x="3920227" y="583936"/>
                </a:lnTo>
                <a:lnTo>
                  <a:pt x="3916599" y="586467"/>
                </a:lnTo>
                <a:lnTo>
                  <a:pt x="3909870" y="591652"/>
                </a:lnTo>
                <a:lnTo>
                  <a:pt x="3900723" y="597543"/>
                </a:lnTo>
                <a:lnTo>
                  <a:pt x="3896145" y="600736"/>
                </a:lnTo>
                <a:lnTo>
                  <a:pt x="3892785" y="602655"/>
                </a:lnTo>
                <a:lnTo>
                  <a:pt x="3886706" y="606569"/>
                </a:lnTo>
                <a:lnTo>
                  <a:pt x="3875923" y="612281"/>
                </a:lnTo>
                <a:lnTo>
                  <a:pt x="3870544" y="615352"/>
                </a:lnTo>
                <a:lnTo>
                  <a:pt x="3867552" y="616715"/>
                </a:lnTo>
                <a:lnTo>
                  <a:pt x="3862253" y="619522"/>
                </a:lnTo>
                <a:lnTo>
                  <a:pt x="3849702" y="624849"/>
                </a:lnTo>
                <a:lnTo>
                  <a:pt x="3843559" y="627649"/>
                </a:lnTo>
                <a:lnTo>
                  <a:pt x="3841026" y="628532"/>
                </a:lnTo>
                <a:lnTo>
                  <a:pt x="3836622" y="630401"/>
                </a:lnTo>
                <a:lnTo>
                  <a:pt x="3822109" y="635127"/>
                </a:lnTo>
                <a:lnTo>
                  <a:pt x="3815324" y="637492"/>
                </a:lnTo>
                <a:lnTo>
                  <a:pt x="3813334" y="637984"/>
                </a:lnTo>
                <a:lnTo>
                  <a:pt x="3809924" y="639095"/>
                </a:lnTo>
                <a:lnTo>
                  <a:pt x="3793067" y="642994"/>
                </a:lnTo>
                <a:lnTo>
                  <a:pt x="3785975" y="644747"/>
                </a:lnTo>
                <a:lnTo>
                  <a:pt x="3784601" y="644952"/>
                </a:lnTo>
                <a:lnTo>
                  <a:pt x="3782269" y="645492"/>
                </a:lnTo>
                <a:lnTo>
                  <a:pt x="3761990" y="648331"/>
                </a:lnTo>
                <a:lnTo>
                  <a:pt x="3755647" y="649279"/>
                </a:lnTo>
                <a:lnTo>
                  <a:pt x="3754979" y="649313"/>
                </a:lnTo>
                <a:lnTo>
                  <a:pt x="3753769" y="649482"/>
                </a:lnTo>
                <a:lnTo>
                  <a:pt x="3739704" y="650148"/>
                </a:lnTo>
                <a:lnTo>
                  <a:pt x="3739704" y="650959"/>
                </a:lnTo>
                <a:lnTo>
                  <a:pt x="3726737" y="650959"/>
                </a:lnTo>
                <a:lnTo>
                  <a:pt x="3722563" y="650959"/>
                </a:lnTo>
                <a:lnTo>
                  <a:pt x="3722465" y="650959"/>
                </a:lnTo>
                <a:lnTo>
                  <a:pt x="3722465" y="651348"/>
                </a:lnTo>
                <a:lnTo>
                  <a:pt x="3394765" y="651348"/>
                </a:lnTo>
                <a:lnTo>
                  <a:pt x="3042220" y="651348"/>
                </a:lnTo>
                <a:lnTo>
                  <a:pt x="3024981" y="651348"/>
                </a:lnTo>
                <a:lnTo>
                  <a:pt x="1005630" y="651348"/>
                </a:lnTo>
                <a:lnTo>
                  <a:pt x="593248" y="651348"/>
                </a:lnTo>
                <a:lnTo>
                  <a:pt x="325384" y="651348"/>
                </a:lnTo>
                <a:lnTo>
                  <a:pt x="308146" y="651348"/>
                </a:lnTo>
                <a:lnTo>
                  <a:pt x="308146" y="650963"/>
                </a:lnTo>
                <a:lnTo>
                  <a:pt x="0" y="650963"/>
                </a:lnTo>
                <a:lnTo>
                  <a:pt x="0" y="325871"/>
                </a:lnTo>
                <a:lnTo>
                  <a:pt x="0" y="325679"/>
                </a:lnTo>
                <a:lnTo>
                  <a:pt x="0" y="325676"/>
                </a:lnTo>
                <a:lnTo>
                  <a:pt x="0" y="325673"/>
                </a:lnTo>
                <a:lnTo>
                  <a:pt x="0" y="310394"/>
                </a:lnTo>
                <a:lnTo>
                  <a:pt x="733" y="310394"/>
                </a:lnTo>
                <a:lnTo>
                  <a:pt x="1478" y="294646"/>
                </a:lnTo>
                <a:lnTo>
                  <a:pt x="1615" y="293690"/>
                </a:lnTo>
                <a:lnTo>
                  <a:pt x="1679" y="292417"/>
                </a:lnTo>
                <a:cubicBezTo>
                  <a:pt x="3631" y="273195"/>
                  <a:pt x="7257" y="254468"/>
                  <a:pt x="12408" y="236384"/>
                </a:cubicBezTo>
                <a:lnTo>
                  <a:pt x="12847" y="235065"/>
                </a:lnTo>
                <a:lnTo>
                  <a:pt x="12901" y="234838"/>
                </a:lnTo>
                <a:lnTo>
                  <a:pt x="13674" y="232576"/>
                </a:lnTo>
                <a:lnTo>
                  <a:pt x="21261" y="209757"/>
                </a:lnTo>
                <a:lnTo>
                  <a:pt x="22272" y="207415"/>
                </a:lnTo>
                <a:lnTo>
                  <a:pt x="22576" y="206525"/>
                </a:lnTo>
                <a:lnTo>
                  <a:pt x="24734" y="201713"/>
                </a:lnTo>
                <a:lnTo>
                  <a:pt x="32291" y="184206"/>
                </a:lnTo>
                <a:lnTo>
                  <a:pt x="34047" y="180939"/>
                </a:lnTo>
                <a:lnTo>
                  <a:pt x="34714" y="179452"/>
                </a:lnTo>
                <a:lnTo>
                  <a:pt x="37653" y="174231"/>
                </a:lnTo>
                <a:lnTo>
                  <a:pt x="45388" y="159842"/>
                </a:lnTo>
                <a:lnTo>
                  <a:pt x="48048" y="155764"/>
                </a:lnTo>
                <a:lnTo>
                  <a:pt x="49179" y="153755"/>
                </a:lnTo>
                <a:lnTo>
                  <a:pt x="52604" y="148783"/>
                </a:lnTo>
                <a:lnTo>
                  <a:pt x="60439" y="136774"/>
                </a:lnTo>
                <a:lnTo>
                  <a:pt x="64151" y="132016"/>
                </a:lnTo>
                <a:lnTo>
                  <a:pt x="65838" y="129567"/>
                </a:lnTo>
                <a:lnTo>
                  <a:pt x="69540" y="125108"/>
                </a:lnTo>
                <a:lnTo>
                  <a:pt x="77336" y="115115"/>
                </a:lnTo>
                <a:lnTo>
                  <a:pt x="82232" y="109821"/>
                </a:lnTo>
                <a:lnTo>
                  <a:pt x="84554" y="107024"/>
                </a:lnTo>
                <a:lnTo>
                  <a:pt x="88368" y="103188"/>
                </a:lnTo>
                <a:lnTo>
                  <a:pt x="95965" y="94974"/>
                </a:lnTo>
                <a:lnTo>
                  <a:pt x="102168" y="89305"/>
                </a:lnTo>
                <a:lnTo>
                  <a:pt x="105194" y="86261"/>
                </a:lnTo>
                <a:lnTo>
                  <a:pt x="108977" y="83081"/>
                </a:lnTo>
                <a:lnTo>
                  <a:pt x="116217" y="76465"/>
                </a:lnTo>
                <a:lnTo>
                  <a:pt x="123838" y="70592"/>
                </a:lnTo>
                <a:lnTo>
                  <a:pt x="127623" y="67412"/>
                </a:lnTo>
                <a:lnTo>
                  <a:pt x="131250" y="64881"/>
                </a:lnTo>
                <a:lnTo>
                  <a:pt x="137980" y="59696"/>
                </a:lnTo>
                <a:lnTo>
                  <a:pt x="147127" y="53805"/>
                </a:lnTo>
                <a:lnTo>
                  <a:pt x="151705" y="50612"/>
                </a:lnTo>
                <a:lnTo>
                  <a:pt x="155065" y="48694"/>
                </a:lnTo>
                <a:lnTo>
                  <a:pt x="161144" y="44779"/>
                </a:lnTo>
                <a:lnTo>
                  <a:pt x="171927" y="39067"/>
                </a:lnTo>
                <a:lnTo>
                  <a:pt x="177306" y="35997"/>
                </a:lnTo>
                <a:lnTo>
                  <a:pt x="180298" y="34633"/>
                </a:lnTo>
                <a:lnTo>
                  <a:pt x="185596" y="31826"/>
                </a:lnTo>
                <a:lnTo>
                  <a:pt x="198148" y="26499"/>
                </a:lnTo>
                <a:lnTo>
                  <a:pt x="204291" y="23700"/>
                </a:lnTo>
                <a:lnTo>
                  <a:pt x="206823" y="22817"/>
                </a:lnTo>
                <a:lnTo>
                  <a:pt x="211228" y="20947"/>
                </a:lnTo>
                <a:lnTo>
                  <a:pt x="225741" y="16221"/>
                </a:lnTo>
                <a:lnTo>
                  <a:pt x="232526" y="13856"/>
                </a:lnTo>
                <a:lnTo>
                  <a:pt x="234516" y="13364"/>
                </a:lnTo>
                <a:lnTo>
                  <a:pt x="237926" y="12254"/>
                </a:lnTo>
                <a:lnTo>
                  <a:pt x="254783" y="8354"/>
                </a:lnTo>
                <a:lnTo>
                  <a:pt x="261875" y="6601"/>
                </a:lnTo>
                <a:lnTo>
                  <a:pt x="263248" y="6396"/>
                </a:lnTo>
                <a:lnTo>
                  <a:pt x="265581" y="5856"/>
                </a:lnTo>
                <a:lnTo>
                  <a:pt x="285860" y="3017"/>
                </a:lnTo>
                <a:lnTo>
                  <a:pt x="292203" y="2069"/>
                </a:lnTo>
                <a:lnTo>
                  <a:pt x="292871" y="2036"/>
                </a:lnTo>
                <a:lnTo>
                  <a:pt x="294080" y="1866"/>
                </a:lnTo>
                <a:lnTo>
                  <a:pt x="308146" y="1201"/>
                </a:lnTo>
                <a:lnTo>
                  <a:pt x="308146" y="389"/>
                </a:lnTo>
                <a:lnTo>
                  <a:pt x="321113" y="389"/>
                </a:lnTo>
                <a:lnTo>
                  <a:pt x="325287" y="389"/>
                </a:lnTo>
                <a:lnTo>
                  <a:pt x="325384" y="389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70" name="Title 1">
            <a:extLst>
              <a:ext uri="{FF2B5EF4-FFF2-40B4-BE49-F238E27FC236}">
                <a16:creationId xmlns:a16="http://schemas.microsoft.com/office/drawing/2014/main" id="{05B7A514-0371-8547-B95B-04231BA51DEC}"/>
              </a:ext>
            </a:extLst>
          </p:cNvPr>
          <p:cNvSpPr txBox="1">
            <a:spLocks/>
          </p:cNvSpPr>
          <p:nvPr/>
        </p:nvSpPr>
        <p:spPr>
          <a:xfrm>
            <a:off x="-250874" y="1706227"/>
            <a:ext cx="4395380" cy="443061"/>
          </a:xfrm>
          <a:prstGeom prst="rect">
            <a:avLst/>
          </a:prstGeom>
        </p:spPr>
        <p:txBody>
          <a:bodyPr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PASAL 6-PASAL 10</a:t>
            </a:r>
          </a:p>
        </p:txBody>
      </p:sp>
      <p:sp>
        <p:nvSpPr>
          <p:cNvPr id="372" name="Google Shape;642;p21">
            <a:extLst>
              <a:ext uri="{FF2B5EF4-FFF2-40B4-BE49-F238E27FC236}">
                <a16:creationId xmlns:a16="http://schemas.microsoft.com/office/drawing/2014/main" id="{29C5C224-875B-F84C-86D0-BC29DB6F1DFA}"/>
              </a:ext>
            </a:extLst>
          </p:cNvPr>
          <p:cNvSpPr txBox="1">
            <a:spLocks/>
          </p:cNvSpPr>
          <p:nvPr/>
        </p:nvSpPr>
        <p:spPr>
          <a:xfrm>
            <a:off x="-93345" y="6101362"/>
            <a:ext cx="4197029" cy="1513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6594" tIns="116594" rIns="116594" bIns="11659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Arvo"/>
              <a:buChar char="●"/>
              <a:defRPr sz="18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●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●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pPr marL="0" marR="0" lvl="0" indent="0" algn="ctr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Arvo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*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Hanya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lang="en-US" sz="1400" b="1" kern="0" dirty="0">
                <a:solidFill>
                  <a:srgbClr val="C00000"/>
                </a:solidFill>
                <a:latin typeface="Montserrat" pitchFamily="2" charset="77"/>
                <a:ea typeface="Century Gothic" charset="0"/>
                <a:cs typeface="Century Gothic" charset="0"/>
              </a:rPr>
              <a:t>u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ntuk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Pemerintah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 Daerah </a:t>
            </a:r>
            <a:r>
              <a:rPr lang="en-US" sz="1400" b="1" kern="0" dirty="0" err="1">
                <a:solidFill>
                  <a:srgbClr val="C00000"/>
                </a:solidFill>
                <a:latin typeface="Montserrat" pitchFamily="2" charset="77"/>
                <a:ea typeface="Century Gothic" charset="0"/>
                <a:cs typeface="Century Gothic" charset="0"/>
              </a:rPr>
              <a:t>Kab</a:t>
            </a:r>
            <a:r>
              <a:rPr lang="en-US" sz="1400" b="1" kern="0" dirty="0">
                <a:solidFill>
                  <a:srgbClr val="C00000"/>
                </a:solidFill>
                <a:latin typeface="Montserrat" pitchFamily="2" charset="77"/>
                <a:ea typeface="Century Gothic" charset="0"/>
                <a:cs typeface="Century Gothic" charset="0"/>
              </a:rPr>
              <a:t>/Kota (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Bupati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/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Walikota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)</a:t>
            </a:r>
          </a:p>
          <a:p>
            <a:pPr marL="0" marR="0" lvl="0" indent="0" algn="l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83"/>
              </a:spcAft>
              <a:buClr>
                <a:srgbClr val="434343"/>
              </a:buClr>
              <a:buSzPct val="100000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ontserrat" pitchFamily="2" charset="77"/>
              <a:ea typeface="Century Gothic" charset="0"/>
              <a:cs typeface="Century Gothic" charset="0"/>
              <a:sym typeface="Arvo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566487D-375B-3BDF-0CE2-8FD5DE61C691}"/>
              </a:ext>
            </a:extLst>
          </p:cNvPr>
          <p:cNvSpPr/>
          <p:nvPr/>
        </p:nvSpPr>
        <p:spPr>
          <a:xfrm>
            <a:off x="4144506" y="67232"/>
            <a:ext cx="6167737" cy="2461859"/>
          </a:xfrm>
          <a:prstGeom prst="roundRect">
            <a:avLst/>
          </a:prstGeom>
          <a:noFill/>
          <a:ln w="2540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F59A3BCC-8E18-97AF-9032-33229A5763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0750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hqprint">
            <a:alphaModFix amt="14852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Placeholder 7">
            <a:extLst>
              <a:ext uri="{FF2B5EF4-FFF2-40B4-BE49-F238E27FC236}">
                <a16:creationId xmlns:a16="http://schemas.microsoft.com/office/drawing/2014/main" id="{535A8CCB-F0F5-8844-8565-C54EF3FDCB3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603" y="941122"/>
            <a:ext cx="4443347" cy="5632045"/>
          </a:xfrm>
          <a:custGeom>
            <a:avLst/>
            <a:gdLst>
              <a:gd name="connsiteX0" fmla="*/ 0 w 5410553"/>
              <a:gd name="connsiteY0" fmla="*/ 0 h 6858000"/>
              <a:gd name="connsiteX1" fmla="*/ 1627873 w 5410553"/>
              <a:gd name="connsiteY1" fmla="*/ 0 h 6858000"/>
              <a:gd name="connsiteX2" fmla="*/ 2168929 w 5410553"/>
              <a:gd name="connsiteY2" fmla="*/ 0 h 6858000"/>
              <a:gd name="connsiteX3" fmla="*/ 3241609 w 5410553"/>
              <a:gd name="connsiteY3" fmla="*/ 0 h 6858000"/>
              <a:gd name="connsiteX4" fmla="*/ 3782664 w 5410553"/>
              <a:gd name="connsiteY4" fmla="*/ 0 h 6858000"/>
              <a:gd name="connsiteX5" fmla="*/ 3825750 w 5410553"/>
              <a:gd name="connsiteY5" fmla="*/ 0 h 6858000"/>
              <a:gd name="connsiteX6" fmla="*/ 3825750 w 5410553"/>
              <a:gd name="connsiteY6" fmla="*/ 1 h 6858000"/>
              <a:gd name="connsiteX7" fmla="*/ 3859050 w 5410553"/>
              <a:gd name="connsiteY7" fmla="*/ 1 h 6858000"/>
              <a:gd name="connsiteX8" fmla="*/ 3859050 w 5410553"/>
              <a:gd name="connsiteY8" fmla="*/ 3976 h 6858000"/>
              <a:gd name="connsiteX9" fmla="*/ 3937767 w 5410553"/>
              <a:gd name="connsiteY9" fmla="*/ 8022 h 6858000"/>
              <a:gd name="connsiteX10" fmla="*/ 3942543 w 5410553"/>
              <a:gd name="connsiteY10" fmla="*/ 8764 h 6858000"/>
              <a:gd name="connsiteX11" fmla="*/ 3948907 w 5410553"/>
              <a:gd name="connsiteY11" fmla="*/ 9111 h 6858000"/>
              <a:gd name="connsiteX12" fmla="*/ 4228992 w 5410553"/>
              <a:gd name="connsiteY12" fmla="*/ 67312 h 6858000"/>
              <a:gd name="connsiteX13" fmla="*/ 4235582 w 5410553"/>
              <a:gd name="connsiteY13" fmla="*/ 69688 h 6858000"/>
              <a:gd name="connsiteX14" fmla="*/ 4236717 w 5410553"/>
              <a:gd name="connsiteY14" fmla="*/ 69985 h 6858000"/>
              <a:gd name="connsiteX15" fmla="*/ 4248022 w 5410553"/>
              <a:gd name="connsiteY15" fmla="*/ 74178 h 6858000"/>
              <a:gd name="connsiteX16" fmla="*/ 4362084 w 5410553"/>
              <a:gd name="connsiteY16" fmla="*/ 115332 h 6858000"/>
              <a:gd name="connsiteX17" fmla="*/ 4373791 w 5410553"/>
              <a:gd name="connsiteY17" fmla="*/ 120816 h 6858000"/>
              <a:gd name="connsiteX18" fmla="*/ 4378240 w 5410553"/>
              <a:gd name="connsiteY18" fmla="*/ 122467 h 6858000"/>
              <a:gd name="connsiteX19" fmla="*/ 4402294 w 5410553"/>
              <a:gd name="connsiteY19" fmla="*/ 134171 h 6858000"/>
              <a:gd name="connsiteX20" fmla="*/ 4489799 w 5410553"/>
              <a:gd name="connsiteY20" fmla="*/ 175163 h 6858000"/>
              <a:gd name="connsiteX21" fmla="*/ 4506131 w 5410553"/>
              <a:gd name="connsiteY21" fmla="*/ 184690 h 6858000"/>
              <a:gd name="connsiteX22" fmla="*/ 4513564 w 5410553"/>
              <a:gd name="connsiteY22" fmla="*/ 188306 h 6858000"/>
              <a:gd name="connsiteX23" fmla="*/ 4539665 w 5410553"/>
              <a:gd name="connsiteY23" fmla="*/ 204251 h 6858000"/>
              <a:gd name="connsiteX24" fmla="*/ 4611586 w 5410553"/>
              <a:gd name="connsiteY24" fmla="*/ 246206 h 6858000"/>
              <a:gd name="connsiteX25" fmla="*/ 4631969 w 5410553"/>
              <a:gd name="connsiteY25" fmla="*/ 260639 h 6858000"/>
              <a:gd name="connsiteX26" fmla="*/ 4642014 w 5410553"/>
              <a:gd name="connsiteY26" fmla="*/ 266773 h 6858000"/>
              <a:gd name="connsiteX27" fmla="*/ 4666865 w 5410553"/>
              <a:gd name="connsiteY27" fmla="*/ 285348 h 6858000"/>
              <a:gd name="connsiteX28" fmla="*/ 4726890 w 5410553"/>
              <a:gd name="connsiteY28" fmla="*/ 327853 h 6858000"/>
              <a:gd name="connsiteX29" fmla="*/ 4750674 w 5410553"/>
              <a:gd name="connsiteY29" fmla="*/ 347987 h 6858000"/>
              <a:gd name="connsiteX30" fmla="*/ 4762915 w 5410553"/>
              <a:gd name="connsiteY30" fmla="*/ 357135 h 6858000"/>
              <a:gd name="connsiteX31" fmla="*/ 4785202 w 5410553"/>
              <a:gd name="connsiteY31" fmla="*/ 377217 h 6858000"/>
              <a:gd name="connsiteX32" fmla="*/ 4835155 w 5410553"/>
              <a:gd name="connsiteY32" fmla="*/ 419505 h 6858000"/>
              <a:gd name="connsiteX33" fmla="*/ 4861614 w 5410553"/>
              <a:gd name="connsiteY33" fmla="*/ 446067 h 6858000"/>
              <a:gd name="connsiteX34" fmla="*/ 4875593 w 5410553"/>
              <a:gd name="connsiteY34" fmla="*/ 458661 h 6858000"/>
              <a:gd name="connsiteX35" fmla="*/ 4894771 w 5410553"/>
              <a:gd name="connsiteY35" fmla="*/ 479349 h 6858000"/>
              <a:gd name="connsiteX36" fmla="*/ 4935827 w 5410553"/>
              <a:gd name="connsiteY36" fmla="*/ 520560 h 6858000"/>
              <a:gd name="connsiteX37" fmla="*/ 4964164 w 5410553"/>
              <a:gd name="connsiteY37" fmla="*/ 554208 h 6858000"/>
              <a:gd name="connsiteX38" fmla="*/ 4979380 w 5410553"/>
              <a:gd name="connsiteY38" fmla="*/ 570622 h 6858000"/>
              <a:gd name="connsiteX39" fmla="*/ 4995273 w 5410553"/>
              <a:gd name="connsiteY39" fmla="*/ 591145 h 6858000"/>
              <a:gd name="connsiteX40" fmla="*/ 5028346 w 5410553"/>
              <a:gd name="connsiteY40" fmla="*/ 630415 h 6858000"/>
              <a:gd name="connsiteX41" fmla="*/ 5057701 w 5410553"/>
              <a:gd name="connsiteY41" fmla="*/ 671758 h 6858000"/>
              <a:gd name="connsiteX42" fmla="*/ 5073596 w 5410553"/>
              <a:gd name="connsiteY42" fmla="*/ 692284 h 6858000"/>
              <a:gd name="connsiteX43" fmla="*/ 5086246 w 5410553"/>
              <a:gd name="connsiteY43" fmla="*/ 711964 h 6858000"/>
              <a:gd name="connsiteX44" fmla="*/ 5112165 w 5410553"/>
              <a:gd name="connsiteY44" fmla="*/ 748469 h 6858000"/>
              <a:gd name="connsiteX45" fmla="*/ 5141608 w 5410553"/>
              <a:gd name="connsiteY45" fmla="*/ 798086 h 6858000"/>
              <a:gd name="connsiteX46" fmla="*/ 5157568 w 5410553"/>
              <a:gd name="connsiteY46" fmla="*/ 822915 h 6858000"/>
              <a:gd name="connsiteX47" fmla="*/ 5167158 w 5410553"/>
              <a:gd name="connsiteY47" fmla="*/ 841145 h 6858000"/>
              <a:gd name="connsiteX48" fmla="*/ 5186726 w 5410553"/>
              <a:gd name="connsiteY48" fmla="*/ 874117 h 6858000"/>
              <a:gd name="connsiteX49" fmla="*/ 5215275 w 5410553"/>
              <a:gd name="connsiteY49" fmla="*/ 932612 h 6858000"/>
              <a:gd name="connsiteX50" fmla="*/ 5230626 w 5410553"/>
              <a:gd name="connsiteY50" fmla="*/ 961788 h 6858000"/>
              <a:gd name="connsiteX51" fmla="*/ 5237440 w 5410553"/>
              <a:gd name="connsiteY51" fmla="*/ 978019 h 6858000"/>
              <a:gd name="connsiteX52" fmla="*/ 5251470 w 5410553"/>
              <a:gd name="connsiteY52" fmla="*/ 1006759 h 6858000"/>
              <a:gd name="connsiteX53" fmla="*/ 5278100 w 5410553"/>
              <a:gd name="connsiteY53" fmla="*/ 1074845 h 6858000"/>
              <a:gd name="connsiteX54" fmla="*/ 5292092 w 5410553"/>
              <a:gd name="connsiteY54" fmla="*/ 1108170 h 6858000"/>
              <a:gd name="connsiteX55" fmla="*/ 5296506 w 5410553"/>
              <a:gd name="connsiteY55" fmla="*/ 1121904 h 6858000"/>
              <a:gd name="connsiteX56" fmla="*/ 5305849 w 5410553"/>
              <a:gd name="connsiteY56" fmla="*/ 1145796 h 6858000"/>
              <a:gd name="connsiteX57" fmla="*/ 5329473 w 5410553"/>
              <a:gd name="connsiteY57" fmla="*/ 1224524 h 6858000"/>
              <a:gd name="connsiteX58" fmla="*/ 5341296 w 5410553"/>
              <a:gd name="connsiteY58" fmla="*/ 1261324 h 6858000"/>
              <a:gd name="connsiteX59" fmla="*/ 5343755 w 5410553"/>
              <a:gd name="connsiteY59" fmla="*/ 1272119 h 6858000"/>
              <a:gd name="connsiteX60" fmla="*/ 5349304 w 5410553"/>
              <a:gd name="connsiteY60" fmla="*/ 1290618 h 6858000"/>
              <a:gd name="connsiteX61" fmla="*/ 5368796 w 5410553"/>
              <a:gd name="connsiteY61" fmla="*/ 1382061 h 6858000"/>
              <a:gd name="connsiteX62" fmla="*/ 5377559 w 5410553"/>
              <a:gd name="connsiteY62" fmla="*/ 1420528 h 6858000"/>
              <a:gd name="connsiteX63" fmla="*/ 5378584 w 5410553"/>
              <a:gd name="connsiteY63" fmla="*/ 1427980 h 6858000"/>
              <a:gd name="connsiteX64" fmla="*/ 5381281 w 5410553"/>
              <a:gd name="connsiteY64" fmla="*/ 1440629 h 6858000"/>
              <a:gd name="connsiteX65" fmla="*/ 5395472 w 5410553"/>
              <a:gd name="connsiteY65" fmla="*/ 1550634 h 6858000"/>
              <a:gd name="connsiteX66" fmla="*/ 5400211 w 5410553"/>
              <a:gd name="connsiteY66" fmla="*/ 1585042 h 6858000"/>
              <a:gd name="connsiteX67" fmla="*/ 5400379 w 5410553"/>
              <a:gd name="connsiteY67" fmla="*/ 1588666 h 6858000"/>
              <a:gd name="connsiteX68" fmla="*/ 5401224 w 5410553"/>
              <a:gd name="connsiteY68" fmla="*/ 1595226 h 6858000"/>
              <a:gd name="connsiteX69" fmla="*/ 5404555 w 5410553"/>
              <a:gd name="connsiteY69" fmla="*/ 1671522 h 6858000"/>
              <a:gd name="connsiteX70" fmla="*/ 5408611 w 5410553"/>
              <a:gd name="connsiteY70" fmla="*/ 1671522 h 6858000"/>
              <a:gd name="connsiteX71" fmla="*/ 5408611 w 5410553"/>
              <a:gd name="connsiteY71" fmla="*/ 1741862 h 6858000"/>
              <a:gd name="connsiteX72" fmla="*/ 5408611 w 5410553"/>
              <a:gd name="connsiteY72" fmla="*/ 1764504 h 6858000"/>
              <a:gd name="connsiteX73" fmla="*/ 5408611 w 5410553"/>
              <a:gd name="connsiteY73" fmla="*/ 1765033 h 6858000"/>
              <a:gd name="connsiteX74" fmla="*/ 5410553 w 5410553"/>
              <a:gd name="connsiteY74" fmla="*/ 1765033 h 6858000"/>
              <a:gd name="connsiteX75" fmla="*/ 5410553 w 5410553"/>
              <a:gd name="connsiteY75" fmla="*/ 1944433 h 6858000"/>
              <a:gd name="connsiteX76" fmla="*/ 3825750 w 5410553"/>
              <a:gd name="connsiteY76" fmla="*/ 1944433 h 6858000"/>
              <a:gd name="connsiteX77" fmla="*/ 3825750 w 5410553"/>
              <a:gd name="connsiteY77" fmla="*/ 1944434 h 6858000"/>
              <a:gd name="connsiteX78" fmla="*/ 3859049 w 5410553"/>
              <a:gd name="connsiteY78" fmla="*/ 1944434 h 6858000"/>
              <a:gd name="connsiteX79" fmla="*/ 3859049 w 5410553"/>
              <a:gd name="connsiteY79" fmla="*/ 1948409 h 6858000"/>
              <a:gd name="connsiteX80" fmla="*/ 3937767 w 5410553"/>
              <a:gd name="connsiteY80" fmla="*/ 1952454 h 6858000"/>
              <a:gd name="connsiteX81" fmla="*/ 3942543 w 5410553"/>
              <a:gd name="connsiteY81" fmla="*/ 1953195 h 6858000"/>
              <a:gd name="connsiteX82" fmla="*/ 3948906 w 5410553"/>
              <a:gd name="connsiteY82" fmla="*/ 1953545 h 6858000"/>
              <a:gd name="connsiteX83" fmla="*/ 4228992 w 5410553"/>
              <a:gd name="connsiteY83" fmla="*/ 2011744 h 6858000"/>
              <a:gd name="connsiteX84" fmla="*/ 4235581 w 5410553"/>
              <a:gd name="connsiteY84" fmla="*/ 2014120 h 6858000"/>
              <a:gd name="connsiteX85" fmla="*/ 4236717 w 5410553"/>
              <a:gd name="connsiteY85" fmla="*/ 2014418 h 6858000"/>
              <a:gd name="connsiteX86" fmla="*/ 4248022 w 5410553"/>
              <a:gd name="connsiteY86" fmla="*/ 2018611 h 6858000"/>
              <a:gd name="connsiteX87" fmla="*/ 4362083 w 5410553"/>
              <a:gd name="connsiteY87" fmla="*/ 2059764 h 6858000"/>
              <a:gd name="connsiteX88" fmla="*/ 4373790 w 5410553"/>
              <a:gd name="connsiteY88" fmla="*/ 2065249 h 6858000"/>
              <a:gd name="connsiteX89" fmla="*/ 4378239 w 5410553"/>
              <a:gd name="connsiteY89" fmla="*/ 2066899 h 6858000"/>
              <a:gd name="connsiteX90" fmla="*/ 4402293 w 5410553"/>
              <a:gd name="connsiteY90" fmla="*/ 2078604 h 6858000"/>
              <a:gd name="connsiteX91" fmla="*/ 4489798 w 5410553"/>
              <a:gd name="connsiteY91" fmla="*/ 2119596 h 6858000"/>
              <a:gd name="connsiteX92" fmla="*/ 4506130 w 5410553"/>
              <a:gd name="connsiteY92" fmla="*/ 2129123 h 6858000"/>
              <a:gd name="connsiteX93" fmla="*/ 4513563 w 5410553"/>
              <a:gd name="connsiteY93" fmla="*/ 2132739 h 6858000"/>
              <a:gd name="connsiteX94" fmla="*/ 4539663 w 5410553"/>
              <a:gd name="connsiteY94" fmla="*/ 2148684 h 6858000"/>
              <a:gd name="connsiteX95" fmla="*/ 4611586 w 5410553"/>
              <a:gd name="connsiteY95" fmla="*/ 2190639 h 6858000"/>
              <a:gd name="connsiteX96" fmla="*/ 4631969 w 5410553"/>
              <a:gd name="connsiteY96" fmla="*/ 2205072 h 6858000"/>
              <a:gd name="connsiteX97" fmla="*/ 4642011 w 5410553"/>
              <a:gd name="connsiteY97" fmla="*/ 2211205 h 6858000"/>
              <a:gd name="connsiteX98" fmla="*/ 4666865 w 5410553"/>
              <a:gd name="connsiteY98" fmla="*/ 2229781 h 6858000"/>
              <a:gd name="connsiteX99" fmla="*/ 4726888 w 5410553"/>
              <a:gd name="connsiteY99" fmla="*/ 2272285 h 6858000"/>
              <a:gd name="connsiteX100" fmla="*/ 4750674 w 5410553"/>
              <a:gd name="connsiteY100" fmla="*/ 2292420 h 6858000"/>
              <a:gd name="connsiteX101" fmla="*/ 4762912 w 5410553"/>
              <a:gd name="connsiteY101" fmla="*/ 2301568 h 6858000"/>
              <a:gd name="connsiteX102" fmla="*/ 4785201 w 5410553"/>
              <a:gd name="connsiteY102" fmla="*/ 2321651 h 6858000"/>
              <a:gd name="connsiteX103" fmla="*/ 4835155 w 5410553"/>
              <a:gd name="connsiteY103" fmla="*/ 2363938 h 6858000"/>
              <a:gd name="connsiteX104" fmla="*/ 4861613 w 5410553"/>
              <a:gd name="connsiteY104" fmla="*/ 2390499 h 6858000"/>
              <a:gd name="connsiteX105" fmla="*/ 4875593 w 5410553"/>
              <a:gd name="connsiteY105" fmla="*/ 2403094 h 6858000"/>
              <a:gd name="connsiteX106" fmla="*/ 4894769 w 5410553"/>
              <a:gd name="connsiteY106" fmla="*/ 2423782 h 6858000"/>
              <a:gd name="connsiteX107" fmla="*/ 4935824 w 5410553"/>
              <a:gd name="connsiteY107" fmla="*/ 2464992 h 6858000"/>
              <a:gd name="connsiteX108" fmla="*/ 4964163 w 5410553"/>
              <a:gd name="connsiteY108" fmla="*/ 2498639 h 6858000"/>
              <a:gd name="connsiteX109" fmla="*/ 4979380 w 5410553"/>
              <a:gd name="connsiteY109" fmla="*/ 2515055 h 6858000"/>
              <a:gd name="connsiteX110" fmla="*/ 4995273 w 5410553"/>
              <a:gd name="connsiteY110" fmla="*/ 2535578 h 6858000"/>
              <a:gd name="connsiteX111" fmla="*/ 5028344 w 5410553"/>
              <a:gd name="connsiteY111" fmla="*/ 2574846 h 6858000"/>
              <a:gd name="connsiteX112" fmla="*/ 5057698 w 5410553"/>
              <a:gd name="connsiteY112" fmla="*/ 2616189 h 6858000"/>
              <a:gd name="connsiteX113" fmla="*/ 5073596 w 5410553"/>
              <a:gd name="connsiteY113" fmla="*/ 2636717 h 6858000"/>
              <a:gd name="connsiteX114" fmla="*/ 5086244 w 5410553"/>
              <a:gd name="connsiteY114" fmla="*/ 2656395 h 6858000"/>
              <a:gd name="connsiteX115" fmla="*/ 5112164 w 5410553"/>
              <a:gd name="connsiteY115" fmla="*/ 2692902 h 6858000"/>
              <a:gd name="connsiteX116" fmla="*/ 5141608 w 5410553"/>
              <a:gd name="connsiteY116" fmla="*/ 2742519 h 6858000"/>
              <a:gd name="connsiteX117" fmla="*/ 5157568 w 5410553"/>
              <a:gd name="connsiteY117" fmla="*/ 2767348 h 6858000"/>
              <a:gd name="connsiteX118" fmla="*/ 5167158 w 5410553"/>
              <a:gd name="connsiteY118" fmla="*/ 2785577 h 6858000"/>
              <a:gd name="connsiteX119" fmla="*/ 5186724 w 5410553"/>
              <a:gd name="connsiteY119" fmla="*/ 2818550 h 6858000"/>
              <a:gd name="connsiteX120" fmla="*/ 5215275 w 5410553"/>
              <a:gd name="connsiteY120" fmla="*/ 2877044 h 6858000"/>
              <a:gd name="connsiteX121" fmla="*/ 5230624 w 5410553"/>
              <a:gd name="connsiteY121" fmla="*/ 2906220 h 6858000"/>
              <a:gd name="connsiteX122" fmla="*/ 5237439 w 5410553"/>
              <a:gd name="connsiteY122" fmla="*/ 2922452 h 6858000"/>
              <a:gd name="connsiteX123" fmla="*/ 5251470 w 5410553"/>
              <a:gd name="connsiteY123" fmla="*/ 2951192 h 6858000"/>
              <a:gd name="connsiteX124" fmla="*/ 5278100 w 5410553"/>
              <a:gd name="connsiteY124" fmla="*/ 3019278 h 6858000"/>
              <a:gd name="connsiteX125" fmla="*/ 5292092 w 5410553"/>
              <a:gd name="connsiteY125" fmla="*/ 3052600 h 6858000"/>
              <a:gd name="connsiteX126" fmla="*/ 5296504 w 5410553"/>
              <a:gd name="connsiteY126" fmla="*/ 3066337 h 6858000"/>
              <a:gd name="connsiteX127" fmla="*/ 5305849 w 5410553"/>
              <a:gd name="connsiteY127" fmla="*/ 3090227 h 6858000"/>
              <a:gd name="connsiteX128" fmla="*/ 5329471 w 5410553"/>
              <a:gd name="connsiteY128" fmla="*/ 3168956 h 6858000"/>
              <a:gd name="connsiteX129" fmla="*/ 5341293 w 5410553"/>
              <a:gd name="connsiteY129" fmla="*/ 3205756 h 6858000"/>
              <a:gd name="connsiteX130" fmla="*/ 5343751 w 5410553"/>
              <a:gd name="connsiteY130" fmla="*/ 3216552 h 6858000"/>
              <a:gd name="connsiteX131" fmla="*/ 5349304 w 5410553"/>
              <a:gd name="connsiteY131" fmla="*/ 3235051 h 6858000"/>
              <a:gd name="connsiteX132" fmla="*/ 5368795 w 5410553"/>
              <a:gd name="connsiteY132" fmla="*/ 3326492 h 6858000"/>
              <a:gd name="connsiteX133" fmla="*/ 5377557 w 5410553"/>
              <a:gd name="connsiteY133" fmla="*/ 3364959 h 6858000"/>
              <a:gd name="connsiteX134" fmla="*/ 5378582 w 5410553"/>
              <a:gd name="connsiteY134" fmla="*/ 3372411 h 6858000"/>
              <a:gd name="connsiteX135" fmla="*/ 5381281 w 5410553"/>
              <a:gd name="connsiteY135" fmla="*/ 3385062 h 6858000"/>
              <a:gd name="connsiteX136" fmla="*/ 5395472 w 5410553"/>
              <a:gd name="connsiteY136" fmla="*/ 3495066 h 6858000"/>
              <a:gd name="connsiteX137" fmla="*/ 5400210 w 5410553"/>
              <a:gd name="connsiteY137" fmla="*/ 3529474 h 6858000"/>
              <a:gd name="connsiteX138" fmla="*/ 5400377 w 5410553"/>
              <a:gd name="connsiteY138" fmla="*/ 3533097 h 6858000"/>
              <a:gd name="connsiteX139" fmla="*/ 5401224 w 5410553"/>
              <a:gd name="connsiteY139" fmla="*/ 3539659 h 6858000"/>
              <a:gd name="connsiteX140" fmla="*/ 5404554 w 5410553"/>
              <a:gd name="connsiteY140" fmla="*/ 3615954 h 6858000"/>
              <a:gd name="connsiteX141" fmla="*/ 5408611 w 5410553"/>
              <a:gd name="connsiteY141" fmla="*/ 3615954 h 6858000"/>
              <a:gd name="connsiteX142" fmla="*/ 5408611 w 5410553"/>
              <a:gd name="connsiteY142" fmla="*/ 3686294 h 6858000"/>
              <a:gd name="connsiteX143" fmla="*/ 5408611 w 5410553"/>
              <a:gd name="connsiteY143" fmla="*/ 3708935 h 6858000"/>
              <a:gd name="connsiteX144" fmla="*/ 5408611 w 5410553"/>
              <a:gd name="connsiteY144" fmla="*/ 3709464 h 6858000"/>
              <a:gd name="connsiteX145" fmla="*/ 5410552 w 5410553"/>
              <a:gd name="connsiteY145" fmla="*/ 3709464 h 6858000"/>
              <a:gd name="connsiteX146" fmla="*/ 5410552 w 5410553"/>
              <a:gd name="connsiteY146" fmla="*/ 4047423 h 6858000"/>
              <a:gd name="connsiteX147" fmla="*/ 5410552 w 5410553"/>
              <a:gd name="connsiteY147" fmla="*/ 4755011 h 6858000"/>
              <a:gd name="connsiteX148" fmla="*/ 5410552 w 5410553"/>
              <a:gd name="connsiteY148" fmla="*/ 5092970 h 6858000"/>
              <a:gd name="connsiteX149" fmla="*/ 5410552 w 5410553"/>
              <a:gd name="connsiteY149" fmla="*/ 5186482 h 6858000"/>
              <a:gd name="connsiteX150" fmla="*/ 5408629 w 5410553"/>
              <a:gd name="connsiteY150" fmla="*/ 5186482 h 6858000"/>
              <a:gd name="connsiteX151" fmla="*/ 5408629 w 5410553"/>
              <a:gd name="connsiteY151" fmla="*/ 6857999 h 6858000"/>
              <a:gd name="connsiteX152" fmla="*/ 4867572 w 5410553"/>
              <a:gd name="connsiteY152" fmla="*/ 6857999 h 6858000"/>
              <a:gd name="connsiteX153" fmla="*/ 3794895 w 5410553"/>
              <a:gd name="connsiteY153" fmla="*/ 6857999 h 6858000"/>
              <a:gd name="connsiteX154" fmla="*/ 3783656 w 5410553"/>
              <a:gd name="connsiteY154" fmla="*/ 6857999 h 6858000"/>
              <a:gd name="connsiteX155" fmla="*/ 3782698 w 5410553"/>
              <a:gd name="connsiteY155" fmla="*/ 6857999 h 6858000"/>
              <a:gd name="connsiteX156" fmla="*/ 3782682 w 5410553"/>
              <a:gd name="connsiteY156" fmla="*/ 6858000 h 6858000"/>
              <a:gd name="connsiteX157" fmla="*/ 3782667 w 5410553"/>
              <a:gd name="connsiteY157" fmla="*/ 6857999 h 6858000"/>
              <a:gd name="connsiteX158" fmla="*/ 3706296 w 5410553"/>
              <a:gd name="connsiteY158" fmla="*/ 6857999 h 6858000"/>
              <a:gd name="connsiteX159" fmla="*/ 3253837 w 5410553"/>
              <a:gd name="connsiteY159" fmla="*/ 6857999 h 6858000"/>
              <a:gd name="connsiteX160" fmla="*/ 3242599 w 5410553"/>
              <a:gd name="connsiteY160" fmla="*/ 6857999 h 6858000"/>
              <a:gd name="connsiteX161" fmla="*/ 3241641 w 5410553"/>
              <a:gd name="connsiteY161" fmla="*/ 6857999 h 6858000"/>
              <a:gd name="connsiteX162" fmla="*/ 3241626 w 5410553"/>
              <a:gd name="connsiteY162" fmla="*/ 6858000 h 6858000"/>
              <a:gd name="connsiteX163" fmla="*/ 3241609 w 5410553"/>
              <a:gd name="connsiteY163" fmla="*/ 6857999 h 6858000"/>
              <a:gd name="connsiteX164" fmla="*/ 3165240 w 5410553"/>
              <a:gd name="connsiteY164" fmla="*/ 6857999 h 6858000"/>
              <a:gd name="connsiteX165" fmla="*/ 2169922 w 5410553"/>
              <a:gd name="connsiteY165" fmla="*/ 6857999 h 6858000"/>
              <a:gd name="connsiteX166" fmla="*/ 2168963 w 5410553"/>
              <a:gd name="connsiteY166" fmla="*/ 6857999 h 6858000"/>
              <a:gd name="connsiteX167" fmla="*/ 2168947 w 5410553"/>
              <a:gd name="connsiteY167" fmla="*/ 6858000 h 6858000"/>
              <a:gd name="connsiteX168" fmla="*/ 2168931 w 5410553"/>
              <a:gd name="connsiteY168" fmla="*/ 6857999 h 6858000"/>
              <a:gd name="connsiteX169" fmla="*/ 2092561 w 5410553"/>
              <a:gd name="connsiteY169" fmla="*/ 6857999 h 6858000"/>
              <a:gd name="connsiteX170" fmla="*/ 1628865 w 5410553"/>
              <a:gd name="connsiteY170" fmla="*/ 6857999 h 6858000"/>
              <a:gd name="connsiteX171" fmla="*/ 1627906 w 5410553"/>
              <a:gd name="connsiteY171" fmla="*/ 6857999 h 6858000"/>
              <a:gd name="connsiteX172" fmla="*/ 1627892 w 5410553"/>
              <a:gd name="connsiteY172" fmla="*/ 6858000 h 6858000"/>
              <a:gd name="connsiteX173" fmla="*/ 1627875 w 5410553"/>
              <a:gd name="connsiteY173" fmla="*/ 6857999 h 6858000"/>
              <a:gd name="connsiteX174" fmla="*/ 1551506 w 5410553"/>
              <a:gd name="connsiteY174" fmla="*/ 6857999 h 6858000"/>
              <a:gd name="connsiteX175" fmla="*/ 1551506 w 5410553"/>
              <a:gd name="connsiteY175" fmla="*/ 6854025 h 6858000"/>
              <a:gd name="connsiteX176" fmla="*/ 1472786 w 5410553"/>
              <a:gd name="connsiteY176" fmla="*/ 6849979 h 6858000"/>
              <a:gd name="connsiteX177" fmla="*/ 1468010 w 5410553"/>
              <a:gd name="connsiteY177" fmla="*/ 6849239 h 6858000"/>
              <a:gd name="connsiteX178" fmla="*/ 1461647 w 5410553"/>
              <a:gd name="connsiteY178" fmla="*/ 6848892 h 6858000"/>
              <a:gd name="connsiteX179" fmla="*/ 1181563 w 5410553"/>
              <a:gd name="connsiteY179" fmla="*/ 6790692 h 6858000"/>
              <a:gd name="connsiteX180" fmla="*/ 1174972 w 5410553"/>
              <a:gd name="connsiteY180" fmla="*/ 6788314 h 6858000"/>
              <a:gd name="connsiteX181" fmla="*/ 1173836 w 5410553"/>
              <a:gd name="connsiteY181" fmla="*/ 6788017 h 6858000"/>
              <a:gd name="connsiteX182" fmla="*/ 1162533 w 5410553"/>
              <a:gd name="connsiteY182" fmla="*/ 6783825 h 6858000"/>
              <a:gd name="connsiteX183" fmla="*/ 1048471 w 5410553"/>
              <a:gd name="connsiteY183" fmla="*/ 6742670 h 6858000"/>
              <a:gd name="connsiteX184" fmla="*/ 1036764 w 5410553"/>
              <a:gd name="connsiteY184" fmla="*/ 6737186 h 6858000"/>
              <a:gd name="connsiteX185" fmla="*/ 1032314 w 5410553"/>
              <a:gd name="connsiteY185" fmla="*/ 6735535 h 6858000"/>
              <a:gd name="connsiteX186" fmla="*/ 1008260 w 5410553"/>
              <a:gd name="connsiteY186" fmla="*/ 6723832 h 6858000"/>
              <a:gd name="connsiteX187" fmla="*/ 920755 w 5410553"/>
              <a:gd name="connsiteY187" fmla="*/ 6682839 h 6858000"/>
              <a:gd name="connsiteX188" fmla="*/ 904423 w 5410553"/>
              <a:gd name="connsiteY188" fmla="*/ 6673313 h 6858000"/>
              <a:gd name="connsiteX189" fmla="*/ 896991 w 5410553"/>
              <a:gd name="connsiteY189" fmla="*/ 6669695 h 6858000"/>
              <a:gd name="connsiteX190" fmla="*/ 870891 w 5410553"/>
              <a:gd name="connsiteY190" fmla="*/ 6653750 h 6858000"/>
              <a:gd name="connsiteX191" fmla="*/ 798968 w 5410553"/>
              <a:gd name="connsiteY191" fmla="*/ 6611797 h 6858000"/>
              <a:gd name="connsiteX192" fmla="*/ 778585 w 5410553"/>
              <a:gd name="connsiteY192" fmla="*/ 6597363 h 6858000"/>
              <a:gd name="connsiteX193" fmla="*/ 768542 w 5410553"/>
              <a:gd name="connsiteY193" fmla="*/ 6591229 h 6858000"/>
              <a:gd name="connsiteX194" fmla="*/ 743688 w 5410553"/>
              <a:gd name="connsiteY194" fmla="*/ 6572653 h 6858000"/>
              <a:gd name="connsiteX195" fmla="*/ 683666 w 5410553"/>
              <a:gd name="connsiteY195" fmla="*/ 6530149 h 6858000"/>
              <a:gd name="connsiteX196" fmla="*/ 659881 w 5410553"/>
              <a:gd name="connsiteY196" fmla="*/ 6510014 h 6858000"/>
              <a:gd name="connsiteX197" fmla="*/ 647641 w 5410553"/>
              <a:gd name="connsiteY197" fmla="*/ 6500867 h 6858000"/>
              <a:gd name="connsiteX198" fmla="*/ 625351 w 5410553"/>
              <a:gd name="connsiteY198" fmla="*/ 6480784 h 6858000"/>
              <a:gd name="connsiteX199" fmla="*/ 575400 w 5410553"/>
              <a:gd name="connsiteY199" fmla="*/ 6438495 h 6858000"/>
              <a:gd name="connsiteX200" fmla="*/ 548941 w 5410553"/>
              <a:gd name="connsiteY200" fmla="*/ 6411937 h 6858000"/>
              <a:gd name="connsiteX201" fmla="*/ 534961 w 5410553"/>
              <a:gd name="connsiteY201" fmla="*/ 6399339 h 6858000"/>
              <a:gd name="connsiteX202" fmla="*/ 515783 w 5410553"/>
              <a:gd name="connsiteY202" fmla="*/ 6378653 h 6858000"/>
              <a:gd name="connsiteX203" fmla="*/ 474729 w 5410553"/>
              <a:gd name="connsiteY203" fmla="*/ 6337442 h 6858000"/>
              <a:gd name="connsiteX204" fmla="*/ 446391 w 5410553"/>
              <a:gd name="connsiteY204" fmla="*/ 6303796 h 6858000"/>
              <a:gd name="connsiteX205" fmla="*/ 431175 w 5410553"/>
              <a:gd name="connsiteY205" fmla="*/ 6287380 h 6858000"/>
              <a:gd name="connsiteX206" fmla="*/ 415281 w 5410553"/>
              <a:gd name="connsiteY206" fmla="*/ 6266857 h 6858000"/>
              <a:gd name="connsiteX207" fmla="*/ 382208 w 5410553"/>
              <a:gd name="connsiteY207" fmla="*/ 6227587 h 6858000"/>
              <a:gd name="connsiteX208" fmla="*/ 352856 w 5410553"/>
              <a:gd name="connsiteY208" fmla="*/ 6186244 h 6858000"/>
              <a:gd name="connsiteX209" fmla="*/ 336959 w 5410553"/>
              <a:gd name="connsiteY209" fmla="*/ 6165720 h 6858000"/>
              <a:gd name="connsiteX210" fmla="*/ 324308 w 5410553"/>
              <a:gd name="connsiteY210" fmla="*/ 6146039 h 6858000"/>
              <a:gd name="connsiteX211" fmla="*/ 298389 w 5410553"/>
              <a:gd name="connsiteY211" fmla="*/ 6109534 h 6858000"/>
              <a:gd name="connsiteX212" fmla="*/ 268946 w 5410553"/>
              <a:gd name="connsiteY212" fmla="*/ 6059914 h 6858000"/>
              <a:gd name="connsiteX213" fmla="*/ 252985 w 5410553"/>
              <a:gd name="connsiteY213" fmla="*/ 6035086 h 6858000"/>
              <a:gd name="connsiteX214" fmla="*/ 243395 w 5410553"/>
              <a:gd name="connsiteY214" fmla="*/ 6016857 h 6858000"/>
              <a:gd name="connsiteX215" fmla="*/ 223831 w 5410553"/>
              <a:gd name="connsiteY215" fmla="*/ 5983884 h 6858000"/>
              <a:gd name="connsiteX216" fmla="*/ 195278 w 5410553"/>
              <a:gd name="connsiteY216" fmla="*/ 5925391 h 6858000"/>
              <a:gd name="connsiteX217" fmla="*/ 179929 w 5410553"/>
              <a:gd name="connsiteY217" fmla="*/ 5896214 h 6858000"/>
              <a:gd name="connsiteX218" fmla="*/ 173113 w 5410553"/>
              <a:gd name="connsiteY218" fmla="*/ 5879983 h 6858000"/>
              <a:gd name="connsiteX219" fmla="*/ 159084 w 5410553"/>
              <a:gd name="connsiteY219" fmla="*/ 5851242 h 6858000"/>
              <a:gd name="connsiteX220" fmla="*/ 132456 w 5410553"/>
              <a:gd name="connsiteY220" fmla="*/ 5783156 h 6858000"/>
              <a:gd name="connsiteX221" fmla="*/ 118462 w 5410553"/>
              <a:gd name="connsiteY221" fmla="*/ 5749834 h 6858000"/>
              <a:gd name="connsiteX222" fmla="*/ 114051 w 5410553"/>
              <a:gd name="connsiteY222" fmla="*/ 5736099 h 6858000"/>
              <a:gd name="connsiteX223" fmla="*/ 104705 w 5410553"/>
              <a:gd name="connsiteY223" fmla="*/ 5712207 h 6858000"/>
              <a:gd name="connsiteX224" fmla="*/ 81084 w 5410553"/>
              <a:gd name="connsiteY224" fmla="*/ 5633479 h 6858000"/>
              <a:gd name="connsiteX225" fmla="*/ 69261 w 5410553"/>
              <a:gd name="connsiteY225" fmla="*/ 5596679 h 6858000"/>
              <a:gd name="connsiteX226" fmla="*/ 66802 w 5410553"/>
              <a:gd name="connsiteY226" fmla="*/ 5585881 h 6858000"/>
              <a:gd name="connsiteX227" fmla="*/ 61250 w 5410553"/>
              <a:gd name="connsiteY227" fmla="*/ 5567382 h 6858000"/>
              <a:gd name="connsiteX228" fmla="*/ 41759 w 5410553"/>
              <a:gd name="connsiteY228" fmla="*/ 5475943 h 6858000"/>
              <a:gd name="connsiteX229" fmla="*/ 32996 w 5410553"/>
              <a:gd name="connsiteY229" fmla="*/ 5437474 h 6858000"/>
              <a:gd name="connsiteX230" fmla="*/ 31970 w 5410553"/>
              <a:gd name="connsiteY230" fmla="*/ 5430024 h 6858000"/>
              <a:gd name="connsiteX231" fmla="*/ 29274 w 5410553"/>
              <a:gd name="connsiteY231" fmla="*/ 5417371 h 6858000"/>
              <a:gd name="connsiteX232" fmla="*/ 15083 w 5410553"/>
              <a:gd name="connsiteY232" fmla="*/ 5307370 h 6858000"/>
              <a:gd name="connsiteX233" fmla="*/ 10345 w 5410553"/>
              <a:gd name="connsiteY233" fmla="*/ 5272959 h 6858000"/>
              <a:gd name="connsiteX234" fmla="*/ 10177 w 5410553"/>
              <a:gd name="connsiteY234" fmla="*/ 5269337 h 6858000"/>
              <a:gd name="connsiteX235" fmla="*/ 9329 w 5410553"/>
              <a:gd name="connsiteY235" fmla="*/ 5262776 h 6858000"/>
              <a:gd name="connsiteX236" fmla="*/ 6002 w 5410553"/>
              <a:gd name="connsiteY236" fmla="*/ 5186482 h 6858000"/>
              <a:gd name="connsiteX237" fmla="*/ 1944 w 5410553"/>
              <a:gd name="connsiteY237" fmla="*/ 5186482 h 6858000"/>
              <a:gd name="connsiteX238" fmla="*/ 1944 w 5410553"/>
              <a:gd name="connsiteY238" fmla="*/ 5116140 h 6858000"/>
              <a:gd name="connsiteX239" fmla="*/ 1944 w 5410553"/>
              <a:gd name="connsiteY239" fmla="*/ 5093498 h 6858000"/>
              <a:gd name="connsiteX240" fmla="*/ 1944 w 5410553"/>
              <a:gd name="connsiteY240" fmla="*/ 5092970 h 6858000"/>
              <a:gd name="connsiteX241" fmla="*/ 0 w 5410553"/>
              <a:gd name="connsiteY241" fmla="*/ 5092970 h 6858000"/>
              <a:gd name="connsiteX242" fmla="*/ 0 w 5410553"/>
              <a:gd name="connsiteY242" fmla="*/ 4755011 h 6858000"/>
              <a:gd name="connsiteX243" fmla="*/ 0 w 5410553"/>
              <a:gd name="connsiteY243" fmla="*/ 4047423 h 6858000"/>
              <a:gd name="connsiteX244" fmla="*/ 0 w 5410553"/>
              <a:gd name="connsiteY244" fmla="*/ 3709464 h 6858000"/>
              <a:gd name="connsiteX245" fmla="*/ 0 w 5410553"/>
              <a:gd name="connsiteY245" fmla="*/ 3615954 h 6858000"/>
              <a:gd name="connsiteX246" fmla="*/ 1925 w 5410553"/>
              <a:gd name="connsiteY246" fmla="*/ 3615954 h 6858000"/>
              <a:gd name="connsiteX247" fmla="*/ 1925 w 5410553"/>
              <a:gd name="connsiteY247" fmla="*/ 3603350 h 6858000"/>
              <a:gd name="connsiteX248" fmla="*/ 0 w 5410553"/>
              <a:gd name="connsiteY248" fmla="*/ 3603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5410553" h="6858000">
                <a:moveTo>
                  <a:pt x="0" y="0"/>
                </a:moveTo>
                <a:lnTo>
                  <a:pt x="1627873" y="0"/>
                </a:lnTo>
                <a:lnTo>
                  <a:pt x="2168929" y="0"/>
                </a:lnTo>
                <a:lnTo>
                  <a:pt x="3241609" y="0"/>
                </a:lnTo>
                <a:lnTo>
                  <a:pt x="3782664" y="0"/>
                </a:lnTo>
                <a:lnTo>
                  <a:pt x="3825750" y="0"/>
                </a:lnTo>
                <a:lnTo>
                  <a:pt x="3825750" y="1"/>
                </a:lnTo>
                <a:lnTo>
                  <a:pt x="3859050" y="1"/>
                </a:lnTo>
                <a:lnTo>
                  <a:pt x="3859050" y="3976"/>
                </a:lnTo>
                <a:lnTo>
                  <a:pt x="3937767" y="8022"/>
                </a:lnTo>
                <a:lnTo>
                  <a:pt x="3942543" y="8764"/>
                </a:lnTo>
                <a:lnTo>
                  <a:pt x="3948907" y="9111"/>
                </a:lnTo>
                <a:cubicBezTo>
                  <a:pt x="4044989" y="19700"/>
                  <a:pt x="4138597" y="39368"/>
                  <a:pt x="4228992" y="67312"/>
                </a:cubicBezTo>
                <a:lnTo>
                  <a:pt x="4235582" y="69688"/>
                </a:lnTo>
                <a:lnTo>
                  <a:pt x="4236717" y="69985"/>
                </a:lnTo>
                <a:lnTo>
                  <a:pt x="4248022" y="74178"/>
                </a:lnTo>
                <a:lnTo>
                  <a:pt x="4362084" y="115332"/>
                </a:lnTo>
                <a:lnTo>
                  <a:pt x="4373791" y="120816"/>
                </a:lnTo>
                <a:lnTo>
                  <a:pt x="4378240" y="122467"/>
                </a:lnTo>
                <a:lnTo>
                  <a:pt x="4402294" y="134171"/>
                </a:lnTo>
                <a:lnTo>
                  <a:pt x="4489799" y="175163"/>
                </a:lnTo>
                <a:lnTo>
                  <a:pt x="4506131" y="184690"/>
                </a:lnTo>
                <a:lnTo>
                  <a:pt x="4513564" y="188306"/>
                </a:lnTo>
                <a:lnTo>
                  <a:pt x="4539665" y="204251"/>
                </a:lnTo>
                <a:lnTo>
                  <a:pt x="4611586" y="246206"/>
                </a:lnTo>
                <a:lnTo>
                  <a:pt x="4631969" y="260639"/>
                </a:lnTo>
                <a:lnTo>
                  <a:pt x="4642014" y="266773"/>
                </a:lnTo>
                <a:lnTo>
                  <a:pt x="4666865" y="285348"/>
                </a:lnTo>
                <a:lnTo>
                  <a:pt x="4726890" y="327853"/>
                </a:lnTo>
                <a:lnTo>
                  <a:pt x="4750674" y="347987"/>
                </a:lnTo>
                <a:lnTo>
                  <a:pt x="4762915" y="357135"/>
                </a:lnTo>
                <a:lnTo>
                  <a:pt x="4785202" y="377217"/>
                </a:lnTo>
                <a:lnTo>
                  <a:pt x="4835155" y="419505"/>
                </a:lnTo>
                <a:lnTo>
                  <a:pt x="4861614" y="446067"/>
                </a:lnTo>
                <a:lnTo>
                  <a:pt x="4875593" y="458661"/>
                </a:lnTo>
                <a:lnTo>
                  <a:pt x="4894771" y="479349"/>
                </a:lnTo>
                <a:lnTo>
                  <a:pt x="4935827" y="520560"/>
                </a:lnTo>
                <a:lnTo>
                  <a:pt x="4964164" y="554208"/>
                </a:lnTo>
                <a:lnTo>
                  <a:pt x="4979380" y="570622"/>
                </a:lnTo>
                <a:lnTo>
                  <a:pt x="4995273" y="591145"/>
                </a:lnTo>
                <a:lnTo>
                  <a:pt x="5028346" y="630415"/>
                </a:lnTo>
                <a:lnTo>
                  <a:pt x="5057701" y="671758"/>
                </a:lnTo>
                <a:lnTo>
                  <a:pt x="5073596" y="692284"/>
                </a:lnTo>
                <a:lnTo>
                  <a:pt x="5086246" y="711964"/>
                </a:lnTo>
                <a:lnTo>
                  <a:pt x="5112165" y="748469"/>
                </a:lnTo>
                <a:lnTo>
                  <a:pt x="5141608" y="798086"/>
                </a:lnTo>
                <a:lnTo>
                  <a:pt x="5157568" y="822915"/>
                </a:lnTo>
                <a:lnTo>
                  <a:pt x="5167158" y="841145"/>
                </a:lnTo>
                <a:lnTo>
                  <a:pt x="5186726" y="874117"/>
                </a:lnTo>
                <a:lnTo>
                  <a:pt x="5215275" y="932612"/>
                </a:lnTo>
                <a:lnTo>
                  <a:pt x="5230626" y="961788"/>
                </a:lnTo>
                <a:lnTo>
                  <a:pt x="5237440" y="978019"/>
                </a:lnTo>
                <a:lnTo>
                  <a:pt x="5251470" y="1006759"/>
                </a:lnTo>
                <a:lnTo>
                  <a:pt x="5278100" y="1074845"/>
                </a:lnTo>
                <a:lnTo>
                  <a:pt x="5292092" y="1108170"/>
                </a:lnTo>
                <a:lnTo>
                  <a:pt x="5296506" y="1121904"/>
                </a:lnTo>
                <a:lnTo>
                  <a:pt x="5305849" y="1145796"/>
                </a:lnTo>
                <a:lnTo>
                  <a:pt x="5329473" y="1224524"/>
                </a:lnTo>
                <a:lnTo>
                  <a:pt x="5341296" y="1261324"/>
                </a:lnTo>
                <a:lnTo>
                  <a:pt x="5343755" y="1272119"/>
                </a:lnTo>
                <a:lnTo>
                  <a:pt x="5349304" y="1290618"/>
                </a:lnTo>
                <a:lnTo>
                  <a:pt x="5368796" y="1382061"/>
                </a:lnTo>
                <a:lnTo>
                  <a:pt x="5377559" y="1420528"/>
                </a:lnTo>
                <a:lnTo>
                  <a:pt x="5378584" y="1427980"/>
                </a:lnTo>
                <a:lnTo>
                  <a:pt x="5381281" y="1440629"/>
                </a:lnTo>
                <a:lnTo>
                  <a:pt x="5395472" y="1550634"/>
                </a:lnTo>
                <a:lnTo>
                  <a:pt x="5400211" y="1585042"/>
                </a:lnTo>
                <a:lnTo>
                  <a:pt x="5400379" y="1588666"/>
                </a:lnTo>
                <a:lnTo>
                  <a:pt x="5401224" y="1595226"/>
                </a:lnTo>
                <a:lnTo>
                  <a:pt x="5404555" y="1671522"/>
                </a:lnTo>
                <a:lnTo>
                  <a:pt x="5408611" y="1671522"/>
                </a:lnTo>
                <a:lnTo>
                  <a:pt x="5408611" y="1741862"/>
                </a:lnTo>
                <a:lnTo>
                  <a:pt x="5408611" y="1764504"/>
                </a:lnTo>
                <a:lnTo>
                  <a:pt x="5408611" y="1765033"/>
                </a:lnTo>
                <a:lnTo>
                  <a:pt x="5410553" y="1765033"/>
                </a:lnTo>
                <a:lnTo>
                  <a:pt x="5410553" y="1944433"/>
                </a:lnTo>
                <a:lnTo>
                  <a:pt x="3825750" y="1944433"/>
                </a:lnTo>
                <a:lnTo>
                  <a:pt x="3825750" y="1944434"/>
                </a:lnTo>
                <a:lnTo>
                  <a:pt x="3859049" y="1944434"/>
                </a:lnTo>
                <a:lnTo>
                  <a:pt x="3859049" y="1948409"/>
                </a:lnTo>
                <a:lnTo>
                  <a:pt x="3937767" y="1952454"/>
                </a:lnTo>
                <a:lnTo>
                  <a:pt x="3942543" y="1953195"/>
                </a:lnTo>
                <a:lnTo>
                  <a:pt x="3948906" y="1953545"/>
                </a:lnTo>
                <a:cubicBezTo>
                  <a:pt x="4044987" y="1964132"/>
                  <a:pt x="4138597" y="1983799"/>
                  <a:pt x="4228992" y="2011744"/>
                </a:cubicBezTo>
                <a:lnTo>
                  <a:pt x="4235581" y="2014120"/>
                </a:lnTo>
                <a:lnTo>
                  <a:pt x="4236717" y="2014418"/>
                </a:lnTo>
                <a:lnTo>
                  <a:pt x="4248022" y="2018611"/>
                </a:lnTo>
                <a:lnTo>
                  <a:pt x="4362083" y="2059764"/>
                </a:lnTo>
                <a:lnTo>
                  <a:pt x="4373790" y="2065249"/>
                </a:lnTo>
                <a:lnTo>
                  <a:pt x="4378239" y="2066899"/>
                </a:lnTo>
                <a:lnTo>
                  <a:pt x="4402293" y="2078604"/>
                </a:lnTo>
                <a:lnTo>
                  <a:pt x="4489798" y="2119596"/>
                </a:lnTo>
                <a:lnTo>
                  <a:pt x="4506130" y="2129123"/>
                </a:lnTo>
                <a:lnTo>
                  <a:pt x="4513563" y="2132739"/>
                </a:lnTo>
                <a:lnTo>
                  <a:pt x="4539663" y="2148684"/>
                </a:lnTo>
                <a:lnTo>
                  <a:pt x="4611586" y="2190639"/>
                </a:lnTo>
                <a:lnTo>
                  <a:pt x="4631969" y="2205072"/>
                </a:lnTo>
                <a:lnTo>
                  <a:pt x="4642011" y="2211205"/>
                </a:lnTo>
                <a:lnTo>
                  <a:pt x="4666865" y="2229781"/>
                </a:lnTo>
                <a:lnTo>
                  <a:pt x="4726888" y="2272285"/>
                </a:lnTo>
                <a:lnTo>
                  <a:pt x="4750674" y="2292420"/>
                </a:lnTo>
                <a:lnTo>
                  <a:pt x="4762912" y="2301568"/>
                </a:lnTo>
                <a:lnTo>
                  <a:pt x="4785201" y="2321651"/>
                </a:lnTo>
                <a:lnTo>
                  <a:pt x="4835155" y="2363938"/>
                </a:lnTo>
                <a:lnTo>
                  <a:pt x="4861613" y="2390499"/>
                </a:lnTo>
                <a:lnTo>
                  <a:pt x="4875593" y="2403094"/>
                </a:lnTo>
                <a:lnTo>
                  <a:pt x="4894769" y="2423782"/>
                </a:lnTo>
                <a:lnTo>
                  <a:pt x="4935824" y="2464992"/>
                </a:lnTo>
                <a:lnTo>
                  <a:pt x="4964163" y="2498639"/>
                </a:lnTo>
                <a:lnTo>
                  <a:pt x="4979380" y="2515055"/>
                </a:lnTo>
                <a:lnTo>
                  <a:pt x="4995273" y="2535578"/>
                </a:lnTo>
                <a:lnTo>
                  <a:pt x="5028344" y="2574846"/>
                </a:lnTo>
                <a:lnTo>
                  <a:pt x="5057698" y="2616189"/>
                </a:lnTo>
                <a:lnTo>
                  <a:pt x="5073596" y="2636717"/>
                </a:lnTo>
                <a:lnTo>
                  <a:pt x="5086244" y="2656395"/>
                </a:lnTo>
                <a:lnTo>
                  <a:pt x="5112164" y="2692902"/>
                </a:lnTo>
                <a:lnTo>
                  <a:pt x="5141608" y="2742519"/>
                </a:lnTo>
                <a:lnTo>
                  <a:pt x="5157568" y="2767348"/>
                </a:lnTo>
                <a:lnTo>
                  <a:pt x="5167158" y="2785577"/>
                </a:lnTo>
                <a:lnTo>
                  <a:pt x="5186724" y="2818550"/>
                </a:lnTo>
                <a:lnTo>
                  <a:pt x="5215275" y="2877044"/>
                </a:lnTo>
                <a:lnTo>
                  <a:pt x="5230624" y="2906220"/>
                </a:lnTo>
                <a:lnTo>
                  <a:pt x="5237439" y="2922452"/>
                </a:lnTo>
                <a:lnTo>
                  <a:pt x="5251470" y="2951192"/>
                </a:lnTo>
                <a:lnTo>
                  <a:pt x="5278100" y="3019278"/>
                </a:lnTo>
                <a:lnTo>
                  <a:pt x="5292092" y="3052600"/>
                </a:lnTo>
                <a:lnTo>
                  <a:pt x="5296504" y="3066337"/>
                </a:lnTo>
                <a:lnTo>
                  <a:pt x="5305849" y="3090227"/>
                </a:lnTo>
                <a:lnTo>
                  <a:pt x="5329471" y="3168956"/>
                </a:lnTo>
                <a:lnTo>
                  <a:pt x="5341293" y="3205756"/>
                </a:lnTo>
                <a:lnTo>
                  <a:pt x="5343751" y="3216552"/>
                </a:lnTo>
                <a:lnTo>
                  <a:pt x="5349304" y="3235051"/>
                </a:lnTo>
                <a:lnTo>
                  <a:pt x="5368795" y="3326492"/>
                </a:lnTo>
                <a:lnTo>
                  <a:pt x="5377557" y="3364959"/>
                </a:lnTo>
                <a:lnTo>
                  <a:pt x="5378582" y="3372411"/>
                </a:lnTo>
                <a:lnTo>
                  <a:pt x="5381281" y="3385062"/>
                </a:lnTo>
                <a:lnTo>
                  <a:pt x="5395472" y="3495066"/>
                </a:lnTo>
                <a:lnTo>
                  <a:pt x="5400210" y="3529474"/>
                </a:lnTo>
                <a:lnTo>
                  <a:pt x="5400377" y="3533097"/>
                </a:lnTo>
                <a:lnTo>
                  <a:pt x="5401224" y="3539659"/>
                </a:lnTo>
                <a:lnTo>
                  <a:pt x="5404554" y="3615954"/>
                </a:lnTo>
                <a:lnTo>
                  <a:pt x="5408611" y="3615954"/>
                </a:lnTo>
                <a:lnTo>
                  <a:pt x="5408611" y="3686294"/>
                </a:lnTo>
                <a:lnTo>
                  <a:pt x="5408611" y="3708935"/>
                </a:lnTo>
                <a:lnTo>
                  <a:pt x="5408611" y="3709464"/>
                </a:lnTo>
                <a:lnTo>
                  <a:pt x="5410552" y="3709464"/>
                </a:lnTo>
                <a:lnTo>
                  <a:pt x="5410552" y="4047423"/>
                </a:lnTo>
                <a:lnTo>
                  <a:pt x="5410552" y="4755011"/>
                </a:lnTo>
                <a:lnTo>
                  <a:pt x="5410552" y="5092970"/>
                </a:lnTo>
                <a:lnTo>
                  <a:pt x="5410552" y="5186482"/>
                </a:lnTo>
                <a:lnTo>
                  <a:pt x="5408629" y="5186482"/>
                </a:lnTo>
                <a:lnTo>
                  <a:pt x="5408629" y="6857999"/>
                </a:lnTo>
                <a:lnTo>
                  <a:pt x="4867572" y="6857999"/>
                </a:lnTo>
                <a:lnTo>
                  <a:pt x="3794895" y="6857999"/>
                </a:lnTo>
                <a:lnTo>
                  <a:pt x="3783656" y="6857999"/>
                </a:lnTo>
                <a:lnTo>
                  <a:pt x="3782698" y="6857999"/>
                </a:lnTo>
                <a:lnTo>
                  <a:pt x="3782682" y="6858000"/>
                </a:lnTo>
                <a:lnTo>
                  <a:pt x="3782667" y="6857999"/>
                </a:lnTo>
                <a:lnTo>
                  <a:pt x="3706296" y="6857999"/>
                </a:lnTo>
                <a:lnTo>
                  <a:pt x="3253837" y="6857999"/>
                </a:lnTo>
                <a:lnTo>
                  <a:pt x="3242599" y="6857999"/>
                </a:lnTo>
                <a:lnTo>
                  <a:pt x="3241641" y="6857999"/>
                </a:lnTo>
                <a:lnTo>
                  <a:pt x="3241626" y="6858000"/>
                </a:lnTo>
                <a:lnTo>
                  <a:pt x="3241609" y="6857999"/>
                </a:lnTo>
                <a:lnTo>
                  <a:pt x="3165240" y="6857999"/>
                </a:lnTo>
                <a:lnTo>
                  <a:pt x="2169922" y="6857999"/>
                </a:lnTo>
                <a:lnTo>
                  <a:pt x="2168963" y="6857999"/>
                </a:lnTo>
                <a:lnTo>
                  <a:pt x="2168947" y="6858000"/>
                </a:lnTo>
                <a:lnTo>
                  <a:pt x="2168931" y="6857999"/>
                </a:lnTo>
                <a:lnTo>
                  <a:pt x="2092561" y="6857999"/>
                </a:lnTo>
                <a:lnTo>
                  <a:pt x="1628865" y="6857999"/>
                </a:lnTo>
                <a:lnTo>
                  <a:pt x="1627906" y="6857999"/>
                </a:lnTo>
                <a:lnTo>
                  <a:pt x="1627892" y="6858000"/>
                </a:lnTo>
                <a:lnTo>
                  <a:pt x="1627875" y="6857999"/>
                </a:lnTo>
                <a:lnTo>
                  <a:pt x="1551506" y="6857999"/>
                </a:lnTo>
                <a:lnTo>
                  <a:pt x="1551506" y="6854025"/>
                </a:lnTo>
                <a:lnTo>
                  <a:pt x="1472786" y="6849979"/>
                </a:lnTo>
                <a:lnTo>
                  <a:pt x="1468010" y="6849239"/>
                </a:lnTo>
                <a:lnTo>
                  <a:pt x="1461647" y="6848892"/>
                </a:lnTo>
                <a:cubicBezTo>
                  <a:pt x="1365566" y="6838301"/>
                  <a:pt x="1271960" y="6818634"/>
                  <a:pt x="1181563" y="6790692"/>
                </a:cubicBezTo>
                <a:lnTo>
                  <a:pt x="1174972" y="6788314"/>
                </a:lnTo>
                <a:lnTo>
                  <a:pt x="1173836" y="6788017"/>
                </a:lnTo>
                <a:lnTo>
                  <a:pt x="1162533" y="6783825"/>
                </a:lnTo>
                <a:lnTo>
                  <a:pt x="1048471" y="6742670"/>
                </a:lnTo>
                <a:lnTo>
                  <a:pt x="1036764" y="6737186"/>
                </a:lnTo>
                <a:lnTo>
                  <a:pt x="1032314" y="6735535"/>
                </a:lnTo>
                <a:lnTo>
                  <a:pt x="1008260" y="6723832"/>
                </a:lnTo>
                <a:lnTo>
                  <a:pt x="920755" y="6682839"/>
                </a:lnTo>
                <a:lnTo>
                  <a:pt x="904423" y="6673313"/>
                </a:lnTo>
                <a:lnTo>
                  <a:pt x="896991" y="6669695"/>
                </a:lnTo>
                <a:lnTo>
                  <a:pt x="870891" y="6653750"/>
                </a:lnTo>
                <a:lnTo>
                  <a:pt x="798968" y="6611797"/>
                </a:lnTo>
                <a:lnTo>
                  <a:pt x="778585" y="6597363"/>
                </a:lnTo>
                <a:lnTo>
                  <a:pt x="768542" y="6591229"/>
                </a:lnTo>
                <a:lnTo>
                  <a:pt x="743688" y="6572653"/>
                </a:lnTo>
                <a:lnTo>
                  <a:pt x="683666" y="6530149"/>
                </a:lnTo>
                <a:lnTo>
                  <a:pt x="659881" y="6510014"/>
                </a:lnTo>
                <a:lnTo>
                  <a:pt x="647641" y="6500867"/>
                </a:lnTo>
                <a:lnTo>
                  <a:pt x="625351" y="6480784"/>
                </a:lnTo>
                <a:lnTo>
                  <a:pt x="575400" y="6438495"/>
                </a:lnTo>
                <a:lnTo>
                  <a:pt x="548941" y="6411937"/>
                </a:lnTo>
                <a:lnTo>
                  <a:pt x="534961" y="6399339"/>
                </a:lnTo>
                <a:lnTo>
                  <a:pt x="515783" y="6378653"/>
                </a:lnTo>
                <a:lnTo>
                  <a:pt x="474729" y="6337442"/>
                </a:lnTo>
                <a:lnTo>
                  <a:pt x="446391" y="6303796"/>
                </a:lnTo>
                <a:lnTo>
                  <a:pt x="431175" y="6287380"/>
                </a:lnTo>
                <a:lnTo>
                  <a:pt x="415281" y="6266857"/>
                </a:lnTo>
                <a:lnTo>
                  <a:pt x="382208" y="6227587"/>
                </a:lnTo>
                <a:lnTo>
                  <a:pt x="352856" y="6186244"/>
                </a:lnTo>
                <a:lnTo>
                  <a:pt x="336959" y="6165720"/>
                </a:lnTo>
                <a:lnTo>
                  <a:pt x="324308" y="6146039"/>
                </a:lnTo>
                <a:lnTo>
                  <a:pt x="298389" y="6109534"/>
                </a:lnTo>
                <a:lnTo>
                  <a:pt x="268946" y="6059914"/>
                </a:lnTo>
                <a:lnTo>
                  <a:pt x="252985" y="6035086"/>
                </a:lnTo>
                <a:lnTo>
                  <a:pt x="243395" y="6016857"/>
                </a:lnTo>
                <a:lnTo>
                  <a:pt x="223831" y="5983884"/>
                </a:lnTo>
                <a:lnTo>
                  <a:pt x="195278" y="5925391"/>
                </a:lnTo>
                <a:lnTo>
                  <a:pt x="179929" y="5896214"/>
                </a:lnTo>
                <a:lnTo>
                  <a:pt x="173113" y="5879983"/>
                </a:lnTo>
                <a:lnTo>
                  <a:pt x="159084" y="5851242"/>
                </a:lnTo>
                <a:lnTo>
                  <a:pt x="132456" y="5783156"/>
                </a:lnTo>
                <a:lnTo>
                  <a:pt x="118462" y="5749834"/>
                </a:lnTo>
                <a:lnTo>
                  <a:pt x="114051" y="5736099"/>
                </a:lnTo>
                <a:lnTo>
                  <a:pt x="104705" y="5712207"/>
                </a:lnTo>
                <a:lnTo>
                  <a:pt x="81084" y="5633479"/>
                </a:lnTo>
                <a:lnTo>
                  <a:pt x="69261" y="5596679"/>
                </a:lnTo>
                <a:lnTo>
                  <a:pt x="66802" y="5585881"/>
                </a:lnTo>
                <a:lnTo>
                  <a:pt x="61250" y="5567382"/>
                </a:lnTo>
                <a:lnTo>
                  <a:pt x="41759" y="5475943"/>
                </a:lnTo>
                <a:lnTo>
                  <a:pt x="32996" y="5437474"/>
                </a:lnTo>
                <a:lnTo>
                  <a:pt x="31970" y="5430024"/>
                </a:lnTo>
                <a:lnTo>
                  <a:pt x="29274" y="5417371"/>
                </a:lnTo>
                <a:lnTo>
                  <a:pt x="15083" y="5307370"/>
                </a:lnTo>
                <a:lnTo>
                  <a:pt x="10345" y="5272959"/>
                </a:lnTo>
                <a:lnTo>
                  <a:pt x="10177" y="5269337"/>
                </a:lnTo>
                <a:lnTo>
                  <a:pt x="9329" y="5262776"/>
                </a:lnTo>
                <a:lnTo>
                  <a:pt x="6002" y="5186482"/>
                </a:lnTo>
                <a:lnTo>
                  <a:pt x="1944" y="5186482"/>
                </a:lnTo>
                <a:lnTo>
                  <a:pt x="1944" y="5116140"/>
                </a:lnTo>
                <a:lnTo>
                  <a:pt x="1944" y="5093498"/>
                </a:lnTo>
                <a:lnTo>
                  <a:pt x="1944" y="5092970"/>
                </a:lnTo>
                <a:lnTo>
                  <a:pt x="0" y="5092970"/>
                </a:lnTo>
                <a:lnTo>
                  <a:pt x="0" y="4755011"/>
                </a:lnTo>
                <a:lnTo>
                  <a:pt x="0" y="4047423"/>
                </a:lnTo>
                <a:lnTo>
                  <a:pt x="0" y="3709464"/>
                </a:lnTo>
                <a:lnTo>
                  <a:pt x="0" y="3615954"/>
                </a:lnTo>
                <a:lnTo>
                  <a:pt x="1925" y="3615954"/>
                </a:lnTo>
                <a:lnTo>
                  <a:pt x="1925" y="3603350"/>
                </a:lnTo>
                <a:lnTo>
                  <a:pt x="0" y="3603350"/>
                </a:lnTo>
                <a:close/>
              </a:path>
            </a:pathLst>
          </a:custGeom>
        </p:spPr>
      </p:pic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654A9028-A60E-4161-BBF6-2B56FC243B3F}"/>
              </a:ext>
            </a:extLst>
          </p:cNvPr>
          <p:cNvSpPr/>
          <p:nvPr/>
        </p:nvSpPr>
        <p:spPr>
          <a:xfrm>
            <a:off x="384603" y="941122"/>
            <a:ext cx="4443348" cy="5632045"/>
          </a:xfrm>
          <a:custGeom>
            <a:avLst/>
            <a:gdLst>
              <a:gd name="connsiteX0" fmla="*/ 0 w 5410554"/>
              <a:gd name="connsiteY0" fmla="*/ 0 h 6858000"/>
              <a:gd name="connsiteX1" fmla="*/ 1627874 w 5410554"/>
              <a:gd name="connsiteY1" fmla="*/ 0 h 6858000"/>
              <a:gd name="connsiteX2" fmla="*/ 2168930 w 5410554"/>
              <a:gd name="connsiteY2" fmla="*/ 0 h 6858000"/>
              <a:gd name="connsiteX3" fmla="*/ 3241610 w 5410554"/>
              <a:gd name="connsiteY3" fmla="*/ 0 h 6858000"/>
              <a:gd name="connsiteX4" fmla="*/ 3782664 w 5410554"/>
              <a:gd name="connsiteY4" fmla="*/ 0 h 6858000"/>
              <a:gd name="connsiteX5" fmla="*/ 3825752 w 5410554"/>
              <a:gd name="connsiteY5" fmla="*/ 0 h 6858000"/>
              <a:gd name="connsiteX6" fmla="*/ 3825752 w 5410554"/>
              <a:gd name="connsiteY6" fmla="*/ 1 h 6858000"/>
              <a:gd name="connsiteX7" fmla="*/ 3859052 w 5410554"/>
              <a:gd name="connsiteY7" fmla="*/ 1 h 6858000"/>
              <a:gd name="connsiteX8" fmla="*/ 3859052 w 5410554"/>
              <a:gd name="connsiteY8" fmla="*/ 3976 h 6858000"/>
              <a:gd name="connsiteX9" fmla="*/ 3937768 w 5410554"/>
              <a:gd name="connsiteY9" fmla="*/ 8022 h 6858000"/>
              <a:gd name="connsiteX10" fmla="*/ 3942544 w 5410554"/>
              <a:gd name="connsiteY10" fmla="*/ 8764 h 6858000"/>
              <a:gd name="connsiteX11" fmla="*/ 3948908 w 5410554"/>
              <a:gd name="connsiteY11" fmla="*/ 9111 h 6858000"/>
              <a:gd name="connsiteX12" fmla="*/ 4228992 w 5410554"/>
              <a:gd name="connsiteY12" fmla="*/ 67312 h 6858000"/>
              <a:gd name="connsiteX13" fmla="*/ 4235584 w 5410554"/>
              <a:gd name="connsiteY13" fmla="*/ 69688 h 6858000"/>
              <a:gd name="connsiteX14" fmla="*/ 4236718 w 5410554"/>
              <a:gd name="connsiteY14" fmla="*/ 69985 h 6858000"/>
              <a:gd name="connsiteX15" fmla="*/ 4248024 w 5410554"/>
              <a:gd name="connsiteY15" fmla="*/ 74178 h 6858000"/>
              <a:gd name="connsiteX16" fmla="*/ 4362084 w 5410554"/>
              <a:gd name="connsiteY16" fmla="*/ 115332 h 6858000"/>
              <a:gd name="connsiteX17" fmla="*/ 4373792 w 5410554"/>
              <a:gd name="connsiteY17" fmla="*/ 120816 h 6858000"/>
              <a:gd name="connsiteX18" fmla="*/ 4378240 w 5410554"/>
              <a:gd name="connsiteY18" fmla="*/ 122467 h 6858000"/>
              <a:gd name="connsiteX19" fmla="*/ 4402296 w 5410554"/>
              <a:gd name="connsiteY19" fmla="*/ 134171 h 6858000"/>
              <a:gd name="connsiteX20" fmla="*/ 4489800 w 5410554"/>
              <a:gd name="connsiteY20" fmla="*/ 175163 h 6858000"/>
              <a:gd name="connsiteX21" fmla="*/ 4506132 w 5410554"/>
              <a:gd name="connsiteY21" fmla="*/ 184690 h 6858000"/>
              <a:gd name="connsiteX22" fmla="*/ 4513564 w 5410554"/>
              <a:gd name="connsiteY22" fmla="*/ 188306 h 6858000"/>
              <a:gd name="connsiteX23" fmla="*/ 4539666 w 5410554"/>
              <a:gd name="connsiteY23" fmla="*/ 204251 h 6858000"/>
              <a:gd name="connsiteX24" fmla="*/ 4611588 w 5410554"/>
              <a:gd name="connsiteY24" fmla="*/ 246206 h 6858000"/>
              <a:gd name="connsiteX25" fmla="*/ 4631970 w 5410554"/>
              <a:gd name="connsiteY25" fmla="*/ 260639 h 6858000"/>
              <a:gd name="connsiteX26" fmla="*/ 4642016 w 5410554"/>
              <a:gd name="connsiteY26" fmla="*/ 266773 h 6858000"/>
              <a:gd name="connsiteX27" fmla="*/ 4666866 w 5410554"/>
              <a:gd name="connsiteY27" fmla="*/ 285348 h 6858000"/>
              <a:gd name="connsiteX28" fmla="*/ 4726892 w 5410554"/>
              <a:gd name="connsiteY28" fmla="*/ 327853 h 6858000"/>
              <a:gd name="connsiteX29" fmla="*/ 4750676 w 5410554"/>
              <a:gd name="connsiteY29" fmla="*/ 347987 h 6858000"/>
              <a:gd name="connsiteX30" fmla="*/ 4762916 w 5410554"/>
              <a:gd name="connsiteY30" fmla="*/ 357135 h 6858000"/>
              <a:gd name="connsiteX31" fmla="*/ 4785204 w 5410554"/>
              <a:gd name="connsiteY31" fmla="*/ 377217 h 6858000"/>
              <a:gd name="connsiteX32" fmla="*/ 4835156 w 5410554"/>
              <a:gd name="connsiteY32" fmla="*/ 419505 h 6858000"/>
              <a:gd name="connsiteX33" fmla="*/ 4861616 w 5410554"/>
              <a:gd name="connsiteY33" fmla="*/ 446067 h 6858000"/>
              <a:gd name="connsiteX34" fmla="*/ 4875594 w 5410554"/>
              <a:gd name="connsiteY34" fmla="*/ 458661 h 6858000"/>
              <a:gd name="connsiteX35" fmla="*/ 4894772 w 5410554"/>
              <a:gd name="connsiteY35" fmla="*/ 479349 h 6858000"/>
              <a:gd name="connsiteX36" fmla="*/ 4935828 w 5410554"/>
              <a:gd name="connsiteY36" fmla="*/ 520560 h 6858000"/>
              <a:gd name="connsiteX37" fmla="*/ 4964164 w 5410554"/>
              <a:gd name="connsiteY37" fmla="*/ 554208 h 6858000"/>
              <a:gd name="connsiteX38" fmla="*/ 4979380 w 5410554"/>
              <a:gd name="connsiteY38" fmla="*/ 570622 h 6858000"/>
              <a:gd name="connsiteX39" fmla="*/ 4995274 w 5410554"/>
              <a:gd name="connsiteY39" fmla="*/ 591145 h 6858000"/>
              <a:gd name="connsiteX40" fmla="*/ 5028348 w 5410554"/>
              <a:gd name="connsiteY40" fmla="*/ 630415 h 6858000"/>
              <a:gd name="connsiteX41" fmla="*/ 5057702 w 5410554"/>
              <a:gd name="connsiteY41" fmla="*/ 671758 h 6858000"/>
              <a:gd name="connsiteX42" fmla="*/ 5073596 w 5410554"/>
              <a:gd name="connsiteY42" fmla="*/ 692284 h 6858000"/>
              <a:gd name="connsiteX43" fmla="*/ 5086248 w 5410554"/>
              <a:gd name="connsiteY43" fmla="*/ 711964 h 6858000"/>
              <a:gd name="connsiteX44" fmla="*/ 5112166 w 5410554"/>
              <a:gd name="connsiteY44" fmla="*/ 748469 h 6858000"/>
              <a:gd name="connsiteX45" fmla="*/ 5141608 w 5410554"/>
              <a:gd name="connsiteY45" fmla="*/ 798086 h 6858000"/>
              <a:gd name="connsiteX46" fmla="*/ 5157568 w 5410554"/>
              <a:gd name="connsiteY46" fmla="*/ 822915 h 6858000"/>
              <a:gd name="connsiteX47" fmla="*/ 5167160 w 5410554"/>
              <a:gd name="connsiteY47" fmla="*/ 841145 h 6858000"/>
              <a:gd name="connsiteX48" fmla="*/ 5186728 w 5410554"/>
              <a:gd name="connsiteY48" fmla="*/ 874117 h 6858000"/>
              <a:gd name="connsiteX49" fmla="*/ 5215276 w 5410554"/>
              <a:gd name="connsiteY49" fmla="*/ 932612 h 6858000"/>
              <a:gd name="connsiteX50" fmla="*/ 5230628 w 5410554"/>
              <a:gd name="connsiteY50" fmla="*/ 961788 h 6858000"/>
              <a:gd name="connsiteX51" fmla="*/ 5237440 w 5410554"/>
              <a:gd name="connsiteY51" fmla="*/ 978019 h 6858000"/>
              <a:gd name="connsiteX52" fmla="*/ 5251472 w 5410554"/>
              <a:gd name="connsiteY52" fmla="*/ 1006759 h 6858000"/>
              <a:gd name="connsiteX53" fmla="*/ 5278100 w 5410554"/>
              <a:gd name="connsiteY53" fmla="*/ 1074845 h 6858000"/>
              <a:gd name="connsiteX54" fmla="*/ 5292092 w 5410554"/>
              <a:gd name="connsiteY54" fmla="*/ 1108170 h 6858000"/>
              <a:gd name="connsiteX55" fmla="*/ 5296508 w 5410554"/>
              <a:gd name="connsiteY55" fmla="*/ 1121904 h 6858000"/>
              <a:gd name="connsiteX56" fmla="*/ 5305850 w 5410554"/>
              <a:gd name="connsiteY56" fmla="*/ 1145796 h 6858000"/>
              <a:gd name="connsiteX57" fmla="*/ 5329474 w 5410554"/>
              <a:gd name="connsiteY57" fmla="*/ 1224524 h 6858000"/>
              <a:gd name="connsiteX58" fmla="*/ 5341296 w 5410554"/>
              <a:gd name="connsiteY58" fmla="*/ 1261324 h 6858000"/>
              <a:gd name="connsiteX59" fmla="*/ 5343756 w 5410554"/>
              <a:gd name="connsiteY59" fmla="*/ 1272119 h 6858000"/>
              <a:gd name="connsiteX60" fmla="*/ 5349304 w 5410554"/>
              <a:gd name="connsiteY60" fmla="*/ 1290618 h 6858000"/>
              <a:gd name="connsiteX61" fmla="*/ 5368796 w 5410554"/>
              <a:gd name="connsiteY61" fmla="*/ 1382061 h 6858000"/>
              <a:gd name="connsiteX62" fmla="*/ 5377560 w 5410554"/>
              <a:gd name="connsiteY62" fmla="*/ 1420528 h 6858000"/>
              <a:gd name="connsiteX63" fmla="*/ 5378584 w 5410554"/>
              <a:gd name="connsiteY63" fmla="*/ 1427980 h 6858000"/>
              <a:gd name="connsiteX64" fmla="*/ 5381282 w 5410554"/>
              <a:gd name="connsiteY64" fmla="*/ 1440629 h 6858000"/>
              <a:gd name="connsiteX65" fmla="*/ 5395472 w 5410554"/>
              <a:gd name="connsiteY65" fmla="*/ 1550634 h 6858000"/>
              <a:gd name="connsiteX66" fmla="*/ 5400212 w 5410554"/>
              <a:gd name="connsiteY66" fmla="*/ 1585042 h 6858000"/>
              <a:gd name="connsiteX67" fmla="*/ 5400380 w 5410554"/>
              <a:gd name="connsiteY67" fmla="*/ 1588666 h 6858000"/>
              <a:gd name="connsiteX68" fmla="*/ 5401224 w 5410554"/>
              <a:gd name="connsiteY68" fmla="*/ 1595226 h 6858000"/>
              <a:gd name="connsiteX69" fmla="*/ 5404556 w 5410554"/>
              <a:gd name="connsiteY69" fmla="*/ 1671522 h 6858000"/>
              <a:gd name="connsiteX70" fmla="*/ 5408612 w 5410554"/>
              <a:gd name="connsiteY70" fmla="*/ 1671522 h 6858000"/>
              <a:gd name="connsiteX71" fmla="*/ 5408612 w 5410554"/>
              <a:gd name="connsiteY71" fmla="*/ 1741862 h 6858000"/>
              <a:gd name="connsiteX72" fmla="*/ 5408612 w 5410554"/>
              <a:gd name="connsiteY72" fmla="*/ 1764504 h 6858000"/>
              <a:gd name="connsiteX73" fmla="*/ 5408612 w 5410554"/>
              <a:gd name="connsiteY73" fmla="*/ 1765033 h 6858000"/>
              <a:gd name="connsiteX74" fmla="*/ 5410554 w 5410554"/>
              <a:gd name="connsiteY74" fmla="*/ 1765033 h 6858000"/>
              <a:gd name="connsiteX75" fmla="*/ 5410554 w 5410554"/>
              <a:gd name="connsiteY75" fmla="*/ 1944433 h 6858000"/>
              <a:gd name="connsiteX76" fmla="*/ 3825752 w 5410554"/>
              <a:gd name="connsiteY76" fmla="*/ 1944433 h 6858000"/>
              <a:gd name="connsiteX77" fmla="*/ 3825752 w 5410554"/>
              <a:gd name="connsiteY77" fmla="*/ 1944434 h 6858000"/>
              <a:gd name="connsiteX78" fmla="*/ 3859050 w 5410554"/>
              <a:gd name="connsiteY78" fmla="*/ 1944434 h 6858000"/>
              <a:gd name="connsiteX79" fmla="*/ 3859050 w 5410554"/>
              <a:gd name="connsiteY79" fmla="*/ 1948409 h 6858000"/>
              <a:gd name="connsiteX80" fmla="*/ 3937768 w 5410554"/>
              <a:gd name="connsiteY80" fmla="*/ 1952454 h 6858000"/>
              <a:gd name="connsiteX81" fmla="*/ 3942544 w 5410554"/>
              <a:gd name="connsiteY81" fmla="*/ 1953195 h 6858000"/>
              <a:gd name="connsiteX82" fmla="*/ 3948908 w 5410554"/>
              <a:gd name="connsiteY82" fmla="*/ 1953545 h 6858000"/>
              <a:gd name="connsiteX83" fmla="*/ 4228992 w 5410554"/>
              <a:gd name="connsiteY83" fmla="*/ 2011744 h 6858000"/>
              <a:gd name="connsiteX84" fmla="*/ 4235582 w 5410554"/>
              <a:gd name="connsiteY84" fmla="*/ 2014120 h 6858000"/>
              <a:gd name="connsiteX85" fmla="*/ 4236718 w 5410554"/>
              <a:gd name="connsiteY85" fmla="*/ 2014418 h 6858000"/>
              <a:gd name="connsiteX86" fmla="*/ 4248024 w 5410554"/>
              <a:gd name="connsiteY86" fmla="*/ 2018611 h 6858000"/>
              <a:gd name="connsiteX87" fmla="*/ 4362084 w 5410554"/>
              <a:gd name="connsiteY87" fmla="*/ 2059764 h 6858000"/>
              <a:gd name="connsiteX88" fmla="*/ 4373792 w 5410554"/>
              <a:gd name="connsiteY88" fmla="*/ 2065249 h 6858000"/>
              <a:gd name="connsiteX89" fmla="*/ 4378240 w 5410554"/>
              <a:gd name="connsiteY89" fmla="*/ 2066899 h 6858000"/>
              <a:gd name="connsiteX90" fmla="*/ 4402294 w 5410554"/>
              <a:gd name="connsiteY90" fmla="*/ 2078604 h 6858000"/>
              <a:gd name="connsiteX91" fmla="*/ 4489800 w 5410554"/>
              <a:gd name="connsiteY91" fmla="*/ 2119596 h 6858000"/>
              <a:gd name="connsiteX92" fmla="*/ 4506132 w 5410554"/>
              <a:gd name="connsiteY92" fmla="*/ 2129123 h 6858000"/>
              <a:gd name="connsiteX93" fmla="*/ 4513564 w 5410554"/>
              <a:gd name="connsiteY93" fmla="*/ 2132739 h 6858000"/>
              <a:gd name="connsiteX94" fmla="*/ 4539664 w 5410554"/>
              <a:gd name="connsiteY94" fmla="*/ 2148684 h 6858000"/>
              <a:gd name="connsiteX95" fmla="*/ 4611588 w 5410554"/>
              <a:gd name="connsiteY95" fmla="*/ 2190639 h 6858000"/>
              <a:gd name="connsiteX96" fmla="*/ 4631970 w 5410554"/>
              <a:gd name="connsiteY96" fmla="*/ 2205072 h 6858000"/>
              <a:gd name="connsiteX97" fmla="*/ 4642012 w 5410554"/>
              <a:gd name="connsiteY97" fmla="*/ 2211205 h 6858000"/>
              <a:gd name="connsiteX98" fmla="*/ 4666866 w 5410554"/>
              <a:gd name="connsiteY98" fmla="*/ 2229781 h 6858000"/>
              <a:gd name="connsiteX99" fmla="*/ 4726888 w 5410554"/>
              <a:gd name="connsiteY99" fmla="*/ 2272285 h 6858000"/>
              <a:gd name="connsiteX100" fmla="*/ 4750676 w 5410554"/>
              <a:gd name="connsiteY100" fmla="*/ 2292420 h 6858000"/>
              <a:gd name="connsiteX101" fmla="*/ 4762912 w 5410554"/>
              <a:gd name="connsiteY101" fmla="*/ 2301568 h 6858000"/>
              <a:gd name="connsiteX102" fmla="*/ 4785202 w 5410554"/>
              <a:gd name="connsiteY102" fmla="*/ 2321651 h 6858000"/>
              <a:gd name="connsiteX103" fmla="*/ 4835156 w 5410554"/>
              <a:gd name="connsiteY103" fmla="*/ 2363938 h 6858000"/>
              <a:gd name="connsiteX104" fmla="*/ 4861614 w 5410554"/>
              <a:gd name="connsiteY104" fmla="*/ 2390499 h 6858000"/>
              <a:gd name="connsiteX105" fmla="*/ 4875594 w 5410554"/>
              <a:gd name="connsiteY105" fmla="*/ 2403094 h 6858000"/>
              <a:gd name="connsiteX106" fmla="*/ 4894770 w 5410554"/>
              <a:gd name="connsiteY106" fmla="*/ 2423782 h 6858000"/>
              <a:gd name="connsiteX107" fmla="*/ 4935824 w 5410554"/>
              <a:gd name="connsiteY107" fmla="*/ 2464992 h 6858000"/>
              <a:gd name="connsiteX108" fmla="*/ 4964164 w 5410554"/>
              <a:gd name="connsiteY108" fmla="*/ 2498639 h 6858000"/>
              <a:gd name="connsiteX109" fmla="*/ 4979380 w 5410554"/>
              <a:gd name="connsiteY109" fmla="*/ 2515055 h 6858000"/>
              <a:gd name="connsiteX110" fmla="*/ 4995274 w 5410554"/>
              <a:gd name="connsiteY110" fmla="*/ 2535578 h 6858000"/>
              <a:gd name="connsiteX111" fmla="*/ 5028344 w 5410554"/>
              <a:gd name="connsiteY111" fmla="*/ 2574846 h 6858000"/>
              <a:gd name="connsiteX112" fmla="*/ 5057700 w 5410554"/>
              <a:gd name="connsiteY112" fmla="*/ 2616189 h 6858000"/>
              <a:gd name="connsiteX113" fmla="*/ 5073596 w 5410554"/>
              <a:gd name="connsiteY113" fmla="*/ 2636717 h 6858000"/>
              <a:gd name="connsiteX114" fmla="*/ 5086244 w 5410554"/>
              <a:gd name="connsiteY114" fmla="*/ 2656395 h 6858000"/>
              <a:gd name="connsiteX115" fmla="*/ 5112164 w 5410554"/>
              <a:gd name="connsiteY115" fmla="*/ 2692902 h 6858000"/>
              <a:gd name="connsiteX116" fmla="*/ 5141608 w 5410554"/>
              <a:gd name="connsiteY116" fmla="*/ 2742519 h 6858000"/>
              <a:gd name="connsiteX117" fmla="*/ 5157568 w 5410554"/>
              <a:gd name="connsiteY117" fmla="*/ 2767348 h 6858000"/>
              <a:gd name="connsiteX118" fmla="*/ 5167160 w 5410554"/>
              <a:gd name="connsiteY118" fmla="*/ 2785577 h 6858000"/>
              <a:gd name="connsiteX119" fmla="*/ 5186724 w 5410554"/>
              <a:gd name="connsiteY119" fmla="*/ 2818550 h 6858000"/>
              <a:gd name="connsiteX120" fmla="*/ 5215276 w 5410554"/>
              <a:gd name="connsiteY120" fmla="*/ 2877044 h 6858000"/>
              <a:gd name="connsiteX121" fmla="*/ 5230624 w 5410554"/>
              <a:gd name="connsiteY121" fmla="*/ 2906220 h 6858000"/>
              <a:gd name="connsiteX122" fmla="*/ 5237440 w 5410554"/>
              <a:gd name="connsiteY122" fmla="*/ 2922452 h 6858000"/>
              <a:gd name="connsiteX123" fmla="*/ 5251472 w 5410554"/>
              <a:gd name="connsiteY123" fmla="*/ 2951192 h 6858000"/>
              <a:gd name="connsiteX124" fmla="*/ 5278100 w 5410554"/>
              <a:gd name="connsiteY124" fmla="*/ 3019278 h 6858000"/>
              <a:gd name="connsiteX125" fmla="*/ 5292092 w 5410554"/>
              <a:gd name="connsiteY125" fmla="*/ 3052600 h 6858000"/>
              <a:gd name="connsiteX126" fmla="*/ 5296504 w 5410554"/>
              <a:gd name="connsiteY126" fmla="*/ 3066337 h 6858000"/>
              <a:gd name="connsiteX127" fmla="*/ 5305850 w 5410554"/>
              <a:gd name="connsiteY127" fmla="*/ 3090227 h 6858000"/>
              <a:gd name="connsiteX128" fmla="*/ 5329472 w 5410554"/>
              <a:gd name="connsiteY128" fmla="*/ 3168956 h 6858000"/>
              <a:gd name="connsiteX129" fmla="*/ 5341294 w 5410554"/>
              <a:gd name="connsiteY129" fmla="*/ 3205756 h 6858000"/>
              <a:gd name="connsiteX130" fmla="*/ 5343752 w 5410554"/>
              <a:gd name="connsiteY130" fmla="*/ 3216552 h 6858000"/>
              <a:gd name="connsiteX131" fmla="*/ 5349304 w 5410554"/>
              <a:gd name="connsiteY131" fmla="*/ 3235051 h 6858000"/>
              <a:gd name="connsiteX132" fmla="*/ 5368796 w 5410554"/>
              <a:gd name="connsiteY132" fmla="*/ 3326492 h 6858000"/>
              <a:gd name="connsiteX133" fmla="*/ 5377558 w 5410554"/>
              <a:gd name="connsiteY133" fmla="*/ 3364959 h 6858000"/>
              <a:gd name="connsiteX134" fmla="*/ 5378584 w 5410554"/>
              <a:gd name="connsiteY134" fmla="*/ 3372411 h 6858000"/>
              <a:gd name="connsiteX135" fmla="*/ 5381282 w 5410554"/>
              <a:gd name="connsiteY135" fmla="*/ 3385062 h 6858000"/>
              <a:gd name="connsiteX136" fmla="*/ 5395472 w 5410554"/>
              <a:gd name="connsiteY136" fmla="*/ 3495066 h 6858000"/>
              <a:gd name="connsiteX137" fmla="*/ 5400212 w 5410554"/>
              <a:gd name="connsiteY137" fmla="*/ 3529474 h 6858000"/>
              <a:gd name="connsiteX138" fmla="*/ 5400378 w 5410554"/>
              <a:gd name="connsiteY138" fmla="*/ 3533097 h 6858000"/>
              <a:gd name="connsiteX139" fmla="*/ 5401224 w 5410554"/>
              <a:gd name="connsiteY139" fmla="*/ 3539659 h 6858000"/>
              <a:gd name="connsiteX140" fmla="*/ 5404556 w 5410554"/>
              <a:gd name="connsiteY140" fmla="*/ 3615954 h 6858000"/>
              <a:gd name="connsiteX141" fmla="*/ 5408612 w 5410554"/>
              <a:gd name="connsiteY141" fmla="*/ 3615954 h 6858000"/>
              <a:gd name="connsiteX142" fmla="*/ 5408612 w 5410554"/>
              <a:gd name="connsiteY142" fmla="*/ 3686294 h 6858000"/>
              <a:gd name="connsiteX143" fmla="*/ 5408612 w 5410554"/>
              <a:gd name="connsiteY143" fmla="*/ 3708935 h 6858000"/>
              <a:gd name="connsiteX144" fmla="*/ 5408612 w 5410554"/>
              <a:gd name="connsiteY144" fmla="*/ 3709464 h 6858000"/>
              <a:gd name="connsiteX145" fmla="*/ 5410552 w 5410554"/>
              <a:gd name="connsiteY145" fmla="*/ 3709464 h 6858000"/>
              <a:gd name="connsiteX146" fmla="*/ 5410552 w 5410554"/>
              <a:gd name="connsiteY146" fmla="*/ 4047423 h 6858000"/>
              <a:gd name="connsiteX147" fmla="*/ 5410552 w 5410554"/>
              <a:gd name="connsiteY147" fmla="*/ 4755011 h 6858000"/>
              <a:gd name="connsiteX148" fmla="*/ 5410552 w 5410554"/>
              <a:gd name="connsiteY148" fmla="*/ 5092971 h 6858000"/>
              <a:gd name="connsiteX149" fmla="*/ 5410552 w 5410554"/>
              <a:gd name="connsiteY149" fmla="*/ 5186483 h 6858000"/>
              <a:gd name="connsiteX150" fmla="*/ 5408630 w 5410554"/>
              <a:gd name="connsiteY150" fmla="*/ 5186483 h 6858000"/>
              <a:gd name="connsiteX151" fmla="*/ 5408630 w 5410554"/>
              <a:gd name="connsiteY151" fmla="*/ 6857999 h 6858000"/>
              <a:gd name="connsiteX152" fmla="*/ 4867572 w 5410554"/>
              <a:gd name="connsiteY152" fmla="*/ 6857999 h 6858000"/>
              <a:gd name="connsiteX153" fmla="*/ 3794896 w 5410554"/>
              <a:gd name="connsiteY153" fmla="*/ 6857999 h 6858000"/>
              <a:gd name="connsiteX154" fmla="*/ 3783656 w 5410554"/>
              <a:gd name="connsiteY154" fmla="*/ 6857999 h 6858000"/>
              <a:gd name="connsiteX155" fmla="*/ 3782700 w 5410554"/>
              <a:gd name="connsiteY155" fmla="*/ 6857999 h 6858000"/>
              <a:gd name="connsiteX156" fmla="*/ 3782684 w 5410554"/>
              <a:gd name="connsiteY156" fmla="*/ 6858000 h 6858000"/>
              <a:gd name="connsiteX157" fmla="*/ 3782668 w 5410554"/>
              <a:gd name="connsiteY157" fmla="*/ 6857999 h 6858000"/>
              <a:gd name="connsiteX158" fmla="*/ 3706296 w 5410554"/>
              <a:gd name="connsiteY158" fmla="*/ 6857999 h 6858000"/>
              <a:gd name="connsiteX159" fmla="*/ 3253838 w 5410554"/>
              <a:gd name="connsiteY159" fmla="*/ 6857999 h 6858000"/>
              <a:gd name="connsiteX160" fmla="*/ 3242600 w 5410554"/>
              <a:gd name="connsiteY160" fmla="*/ 6857999 h 6858000"/>
              <a:gd name="connsiteX161" fmla="*/ 3241642 w 5410554"/>
              <a:gd name="connsiteY161" fmla="*/ 6857999 h 6858000"/>
              <a:gd name="connsiteX162" fmla="*/ 3241628 w 5410554"/>
              <a:gd name="connsiteY162" fmla="*/ 6858000 h 6858000"/>
              <a:gd name="connsiteX163" fmla="*/ 3241610 w 5410554"/>
              <a:gd name="connsiteY163" fmla="*/ 6857999 h 6858000"/>
              <a:gd name="connsiteX164" fmla="*/ 3165240 w 5410554"/>
              <a:gd name="connsiteY164" fmla="*/ 6857999 h 6858000"/>
              <a:gd name="connsiteX165" fmla="*/ 2169924 w 5410554"/>
              <a:gd name="connsiteY165" fmla="*/ 6857999 h 6858000"/>
              <a:gd name="connsiteX166" fmla="*/ 2168964 w 5410554"/>
              <a:gd name="connsiteY166" fmla="*/ 6857999 h 6858000"/>
              <a:gd name="connsiteX167" fmla="*/ 2168948 w 5410554"/>
              <a:gd name="connsiteY167" fmla="*/ 6858000 h 6858000"/>
              <a:gd name="connsiteX168" fmla="*/ 2168932 w 5410554"/>
              <a:gd name="connsiteY168" fmla="*/ 6857999 h 6858000"/>
              <a:gd name="connsiteX169" fmla="*/ 2092562 w 5410554"/>
              <a:gd name="connsiteY169" fmla="*/ 6857999 h 6858000"/>
              <a:gd name="connsiteX170" fmla="*/ 1628866 w 5410554"/>
              <a:gd name="connsiteY170" fmla="*/ 6857999 h 6858000"/>
              <a:gd name="connsiteX171" fmla="*/ 1627908 w 5410554"/>
              <a:gd name="connsiteY171" fmla="*/ 6857999 h 6858000"/>
              <a:gd name="connsiteX172" fmla="*/ 1627892 w 5410554"/>
              <a:gd name="connsiteY172" fmla="*/ 6858000 h 6858000"/>
              <a:gd name="connsiteX173" fmla="*/ 1627876 w 5410554"/>
              <a:gd name="connsiteY173" fmla="*/ 6857999 h 6858000"/>
              <a:gd name="connsiteX174" fmla="*/ 1551508 w 5410554"/>
              <a:gd name="connsiteY174" fmla="*/ 6857999 h 6858000"/>
              <a:gd name="connsiteX175" fmla="*/ 1551508 w 5410554"/>
              <a:gd name="connsiteY175" fmla="*/ 6854025 h 6858000"/>
              <a:gd name="connsiteX176" fmla="*/ 1472788 w 5410554"/>
              <a:gd name="connsiteY176" fmla="*/ 6849979 h 6858000"/>
              <a:gd name="connsiteX177" fmla="*/ 1468012 w 5410554"/>
              <a:gd name="connsiteY177" fmla="*/ 6849239 h 6858000"/>
              <a:gd name="connsiteX178" fmla="*/ 1461648 w 5410554"/>
              <a:gd name="connsiteY178" fmla="*/ 6848892 h 6858000"/>
              <a:gd name="connsiteX179" fmla="*/ 1181564 w 5410554"/>
              <a:gd name="connsiteY179" fmla="*/ 6790692 h 6858000"/>
              <a:gd name="connsiteX180" fmla="*/ 1174972 w 5410554"/>
              <a:gd name="connsiteY180" fmla="*/ 6788314 h 6858000"/>
              <a:gd name="connsiteX181" fmla="*/ 1173836 w 5410554"/>
              <a:gd name="connsiteY181" fmla="*/ 6788017 h 6858000"/>
              <a:gd name="connsiteX182" fmla="*/ 1162534 w 5410554"/>
              <a:gd name="connsiteY182" fmla="*/ 6783825 h 6858000"/>
              <a:gd name="connsiteX183" fmla="*/ 1048472 w 5410554"/>
              <a:gd name="connsiteY183" fmla="*/ 6742670 h 6858000"/>
              <a:gd name="connsiteX184" fmla="*/ 1036764 w 5410554"/>
              <a:gd name="connsiteY184" fmla="*/ 6737186 h 6858000"/>
              <a:gd name="connsiteX185" fmla="*/ 1032316 w 5410554"/>
              <a:gd name="connsiteY185" fmla="*/ 6735535 h 6858000"/>
              <a:gd name="connsiteX186" fmla="*/ 1008260 w 5410554"/>
              <a:gd name="connsiteY186" fmla="*/ 6723832 h 6858000"/>
              <a:gd name="connsiteX187" fmla="*/ 920756 w 5410554"/>
              <a:gd name="connsiteY187" fmla="*/ 6682839 h 6858000"/>
              <a:gd name="connsiteX188" fmla="*/ 904424 w 5410554"/>
              <a:gd name="connsiteY188" fmla="*/ 6673313 h 6858000"/>
              <a:gd name="connsiteX189" fmla="*/ 896992 w 5410554"/>
              <a:gd name="connsiteY189" fmla="*/ 6669695 h 6858000"/>
              <a:gd name="connsiteX190" fmla="*/ 870892 w 5410554"/>
              <a:gd name="connsiteY190" fmla="*/ 6653750 h 6858000"/>
              <a:gd name="connsiteX191" fmla="*/ 798968 w 5410554"/>
              <a:gd name="connsiteY191" fmla="*/ 6611797 h 6858000"/>
              <a:gd name="connsiteX192" fmla="*/ 778586 w 5410554"/>
              <a:gd name="connsiteY192" fmla="*/ 6597363 h 6858000"/>
              <a:gd name="connsiteX193" fmla="*/ 768544 w 5410554"/>
              <a:gd name="connsiteY193" fmla="*/ 6591229 h 6858000"/>
              <a:gd name="connsiteX194" fmla="*/ 743688 w 5410554"/>
              <a:gd name="connsiteY194" fmla="*/ 6572653 h 6858000"/>
              <a:gd name="connsiteX195" fmla="*/ 683668 w 5410554"/>
              <a:gd name="connsiteY195" fmla="*/ 6530149 h 6858000"/>
              <a:gd name="connsiteX196" fmla="*/ 659882 w 5410554"/>
              <a:gd name="connsiteY196" fmla="*/ 6510014 h 6858000"/>
              <a:gd name="connsiteX197" fmla="*/ 647642 w 5410554"/>
              <a:gd name="connsiteY197" fmla="*/ 6500867 h 6858000"/>
              <a:gd name="connsiteX198" fmla="*/ 625352 w 5410554"/>
              <a:gd name="connsiteY198" fmla="*/ 6480784 h 6858000"/>
              <a:gd name="connsiteX199" fmla="*/ 575400 w 5410554"/>
              <a:gd name="connsiteY199" fmla="*/ 6438495 h 6858000"/>
              <a:gd name="connsiteX200" fmla="*/ 548942 w 5410554"/>
              <a:gd name="connsiteY200" fmla="*/ 6411937 h 6858000"/>
              <a:gd name="connsiteX201" fmla="*/ 534962 w 5410554"/>
              <a:gd name="connsiteY201" fmla="*/ 6399339 h 6858000"/>
              <a:gd name="connsiteX202" fmla="*/ 515784 w 5410554"/>
              <a:gd name="connsiteY202" fmla="*/ 6378653 h 6858000"/>
              <a:gd name="connsiteX203" fmla="*/ 474730 w 5410554"/>
              <a:gd name="connsiteY203" fmla="*/ 6337442 h 6858000"/>
              <a:gd name="connsiteX204" fmla="*/ 446392 w 5410554"/>
              <a:gd name="connsiteY204" fmla="*/ 6303796 h 6858000"/>
              <a:gd name="connsiteX205" fmla="*/ 431176 w 5410554"/>
              <a:gd name="connsiteY205" fmla="*/ 6287381 h 6858000"/>
              <a:gd name="connsiteX206" fmla="*/ 415282 w 5410554"/>
              <a:gd name="connsiteY206" fmla="*/ 6266857 h 6858000"/>
              <a:gd name="connsiteX207" fmla="*/ 382208 w 5410554"/>
              <a:gd name="connsiteY207" fmla="*/ 6227587 h 6858000"/>
              <a:gd name="connsiteX208" fmla="*/ 352856 w 5410554"/>
              <a:gd name="connsiteY208" fmla="*/ 6186245 h 6858000"/>
              <a:gd name="connsiteX209" fmla="*/ 336960 w 5410554"/>
              <a:gd name="connsiteY209" fmla="*/ 6165720 h 6858000"/>
              <a:gd name="connsiteX210" fmla="*/ 324308 w 5410554"/>
              <a:gd name="connsiteY210" fmla="*/ 6146039 h 6858000"/>
              <a:gd name="connsiteX211" fmla="*/ 298390 w 5410554"/>
              <a:gd name="connsiteY211" fmla="*/ 6109535 h 6858000"/>
              <a:gd name="connsiteX212" fmla="*/ 268948 w 5410554"/>
              <a:gd name="connsiteY212" fmla="*/ 6059915 h 6858000"/>
              <a:gd name="connsiteX213" fmla="*/ 252986 w 5410554"/>
              <a:gd name="connsiteY213" fmla="*/ 6035087 h 6858000"/>
              <a:gd name="connsiteX214" fmla="*/ 243396 w 5410554"/>
              <a:gd name="connsiteY214" fmla="*/ 6016858 h 6858000"/>
              <a:gd name="connsiteX215" fmla="*/ 223832 w 5410554"/>
              <a:gd name="connsiteY215" fmla="*/ 5983884 h 6858000"/>
              <a:gd name="connsiteX216" fmla="*/ 195280 w 5410554"/>
              <a:gd name="connsiteY216" fmla="*/ 5925391 h 6858000"/>
              <a:gd name="connsiteX217" fmla="*/ 179930 w 5410554"/>
              <a:gd name="connsiteY217" fmla="*/ 5896215 h 6858000"/>
              <a:gd name="connsiteX218" fmla="*/ 173114 w 5410554"/>
              <a:gd name="connsiteY218" fmla="*/ 5879984 h 6858000"/>
              <a:gd name="connsiteX219" fmla="*/ 159084 w 5410554"/>
              <a:gd name="connsiteY219" fmla="*/ 5851242 h 6858000"/>
              <a:gd name="connsiteX220" fmla="*/ 132456 w 5410554"/>
              <a:gd name="connsiteY220" fmla="*/ 5783157 h 6858000"/>
              <a:gd name="connsiteX221" fmla="*/ 118464 w 5410554"/>
              <a:gd name="connsiteY221" fmla="*/ 5749835 h 6858000"/>
              <a:gd name="connsiteX222" fmla="*/ 114052 w 5410554"/>
              <a:gd name="connsiteY222" fmla="*/ 5736099 h 6858000"/>
              <a:gd name="connsiteX223" fmla="*/ 104706 w 5410554"/>
              <a:gd name="connsiteY223" fmla="*/ 5712207 h 6858000"/>
              <a:gd name="connsiteX224" fmla="*/ 81084 w 5410554"/>
              <a:gd name="connsiteY224" fmla="*/ 5633480 h 6858000"/>
              <a:gd name="connsiteX225" fmla="*/ 69262 w 5410554"/>
              <a:gd name="connsiteY225" fmla="*/ 5596679 h 6858000"/>
              <a:gd name="connsiteX226" fmla="*/ 66804 w 5410554"/>
              <a:gd name="connsiteY226" fmla="*/ 5585881 h 6858000"/>
              <a:gd name="connsiteX227" fmla="*/ 61252 w 5410554"/>
              <a:gd name="connsiteY227" fmla="*/ 5567383 h 6858000"/>
              <a:gd name="connsiteX228" fmla="*/ 41760 w 5410554"/>
              <a:gd name="connsiteY228" fmla="*/ 5475944 h 6858000"/>
              <a:gd name="connsiteX229" fmla="*/ 32996 w 5410554"/>
              <a:gd name="connsiteY229" fmla="*/ 5437475 h 6858000"/>
              <a:gd name="connsiteX230" fmla="*/ 31972 w 5410554"/>
              <a:gd name="connsiteY230" fmla="*/ 5430024 h 6858000"/>
              <a:gd name="connsiteX231" fmla="*/ 29276 w 5410554"/>
              <a:gd name="connsiteY231" fmla="*/ 5417372 h 6858000"/>
              <a:gd name="connsiteX232" fmla="*/ 15084 w 5410554"/>
              <a:gd name="connsiteY232" fmla="*/ 5307371 h 6858000"/>
              <a:gd name="connsiteX233" fmla="*/ 10346 w 5410554"/>
              <a:gd name="connsiteY233" fmla="*/ 5272959 h 6858000"/>
              <a:gd name="connsiteX234" fmla="*/ 10178 w 5410554"/>
              <a:gd name="connsiteY234" fmla="*/ 5269337 h 6858000"/>
              <a:gd name="connsiteX235" fmla="*/ 9330 w 5410554"/>
              <a:gd name="connsiteY235" fmla="*/ 5262777 h 6858000"/>
              <a:gd name="connsiteX236" fmla="*/ 6004 w 5410554"/>
              <a:gd name="connsiteY236" fmla="*/ 5186483 h 6858000"/>
              <a:gd name="connsiteX237" fmla="*/ 1944 w 5410554"/>
              <a:gd name="connsiteY237" fmla="*/ 5186483 h 6858000"/>
              <a:gd name="connsiteX238" fmla="*/ 1944 w 5410554"/>
              <a:gd name="connsiteY238" fmla="*/ 5116140 h 6858000"/>
              <a:gd name="connsiteX239" fmla="*/ 1944 w 5410554"/>
              <a:gd name="connsiteY239" fmla="*/ 5093499 h 6858000"/>
              <a:gd name="connsiteX240" fmla="*/ 1944 w 5410554"/>
              <a:gd name="connsiteY240" fmla="*/ 5092971 h 6858000"/>
              <a:gd name="connsiteX241" fmla="*/ 0 w 5410554"/>
              <a:gd name="connsiteY241" fmla="*/ 5092971 h 6858000"/>
              <a:gd name="connsiteX242" fmla="*/ 0 w 5410554"/>
              <a:gd name="connsiteY242" fmla="*/ 4755011 h 6858000"/>
              <a:gd name="connsiteX243" fmla="*/ 0 w 5410554"/>
              <a:gd name="connsiteY243" fmla="*/ 4047423 h 6858000"/>
              <a:gd name="connsiteX244" fmla="*/ 0 w 5410554"/>
              <a:gd name="connsiteY244" fmla="*/ 3709464 h 6858000"/>
              <a:gd name="connsiteX245" fmla="*/ 0 w 5410554"/>
              <a:gd name="connsiteY245" fmla="*/ 3615954 h 6858000"/>
              <a:gd name="connsiteX246" fmla="*/ 1926 w 5410554"/>
              <a:gd name="connsiteY246" fmla="*/ 3615954 h 6858000"/>
              <a:gd name="connsiteX247" fmla="*/ 1926 w 5410554"/>
              <a:gd name="connsiteY247" fmla="*/ 3603350 h 6858000"/>
              <a:gd name="connsiteX248" fmla="*/ 0 w 5410554"/>
              <a:gd name="connsiteY248" fmla="*/ 3603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5410554" h="6858000">
                <a:moveTo>
                  <a:pt x="0" y="0"/>
                </a:moveTo>
                <a:lnTo>
                  <a:pt x="1627874" y="0"/>
                </a:lnTo>
                <a:lnTo>
                  <a:pt x="2168930" y="0"/>
                </a:lnTo>
                <a:lnTo>
                  <a:pt x="3241610" y="0"/>
                </a:lnTo>
                <a:lnTo>
                  <a:pt x="3782664" y="0"/>
                </a:lnTo>
                <a:lnTo>
                  <a:pt x="3825752" y="0"/>
                </a:lnTo>
                <a:lnTo>
                  <a:pt x="3825752" y="1"/>
                </a:lnTo>
                <a:lnTo>
                  <a:pt x="3859052" y="1"/>
                </a:lnTo>
                <a:lnTo>
                  <a:pt x="3859052" y="3976"/>
                </a:lnTo>
                <a:lnTo>
                  <a:pt x="3937768" y="8022"/>
                </a:lnTo>
                <a:lnTo>
                  <a:pt x="3942544" y="8764"/>
                </a:lnTo>
                <a:lnTo>
                  <a:pt x="3948908" y="9111"/>
                </a:lnTo>
                <a:cubicBezTo>
                  <a:pt x="4044990" y="19700"/>
                  <a:pt x="4138598" y="39368"/>
                  <a:pt x="4228992" y="67312"/>
                </a:cubicBezTo>
                <a:lnTo>
                  <a:pt x="4235584" y="69688"/>
                </a:lnTo>
                <a:lnTo>
                  <a:pt x="4236718" y="69985"/>
                </a:lnTo>
                <a:lnTo>
                  <a:pt x="4248024" y="74178"/>
                </a:lnTo>
                <a:lnTo>
                  <a:pt x="4362084" y="115332"/>
                </a:lnTo>
                <a:lnTo>
                  <a:pt x="4373792" y="120816"/>
                </a:lnTo>
                <a:lnTo>
                  <a:pt x="4378240" y="122467"/>
                </a:lnTo>
                <a:lnTo>
                  <a:pt x="4402296" y="134171"/>
                </a:lnTo>
                <a:lnTo>
                  <a:pt x="4489800" y="175163"/>
                </a:lnTo>
                <a:lnTo>
                  <a:pt x="4506132" y="184690"/>
                </a:lnTo>
                <a:lnTo>
                  <a:pt x="4513564" y="188306"/>
                </a:lnTo>
                <a:lnTo>
                  <a:pt x="4539666" y="204251"/>
                </a:lnTo>
                <a:lnTo>
                  <a:pt x="4611588" y="246206"/>
                </a:lnTo>
                <a:lnTo>
                  <a:pt x="4631970" y="260639"/>
                </a:lnTo>
                <a:lnTo>
                  <a:pt x="4642016" y="266773"/>
                </a:lnTo>
                <a:lnTo>
                  <a:pt x="4666866" y="285348"/>
                </a:lnTo>
                <a:lnTo>
                  <a:pt x="4726892" y="327853"/>
                </a:lnTo>
                <a:lnTo>
                  <a:pt x="4750676" y="347987"/>
                </a:lnTo>
                <a:lnTo>
                  <a:pt x="4762916" y="357135"/>
                </a:lnTo>
                <a:lnTo>
                  <a:pt x="4785204" y="377217"/>
                </a:lnTo>
                <a:lnTo>
                  <a:pt x="4835156" y="419505"/>
                </a:lnTo>
                <a:lnTo>
                  <a:pt x="4861616" y="446067"/>
                </a:lnTo>
                <a:lnTo>
                  <a:pt x="4875594" y="458661"/>
                </a:lnTo>
                <a:lnTo>
                  <a:pt x="4894772" y="479349"/>
                </a:lnTo>
                <a:lnTo>
                  <a:pt x="4935828" y="520560"/>
                </a:lnTo>
                <a:lnTo>
                  <a:pt x="4964164" y="554208"/>
                </a:lnTo>
                <a:lnTo>
                  <a:pt x="4979380" y="570622"/>
                </a:lnTo>
                <a:lnTo>
                  <a:pt x="4995274" y="591145"/>
                </a:lnTo>
                <a:lnTo>
                  <a:pt x="5028348" y="630415"/>
                </a:lnTo>
                <a:lnTo>
                  <a:pt x="5057702" y="671758"/>
                </a:lnTo>
                <a:lnTo>
                  <a:pt x="5073596" y="692284"/>
                </a:lnTo>
                <a:lnTo>
                  <a:pt x="5086248" y="711964"/>
                </a:lnTo>
                <a:lnTo>
                  <a:pt x="5112166" y="748469"/>
                </a:lnTo>
                <a:lnTo>
                  <a:pt x="5141608" y="798086"/>
                </a:lnTo>
                <a:lnTo>
                  <a:pt x="5157568" y="822915"/>
                </a:lnTo>
                <a:lnTo>
                  <a:pt x="5167160" y="841145"/>
                </a:lnTo>
                <a:lnTo>
                  <a:pt x="5186728" y="874117"/>
                </a:lnTo>
                <a:lnTo>
                  <a:pt x="5215276" y="932612"/>
                </a:lnTo>
                <a:lnTo>
                  <a:pt x="5230628" y="961788"/>
                </a:lnTo>
                <a:lnTo>
                  <a:pt x="5237440" y="978019"/>
                </a:lnTo>
                <a:lnTo>
                  <a:pt x="5251472" y="1006759"/>
                </a:lnTo>
                <a:lnTo>
                  <a:pt x="5278100" y="1074845"/>
                </a:lnTo>
                <a:lnTo>
                  <a:pt x="5292092" y="1108170"/>
                </a:lnTo>
                <a:lnTo>
                  <a:pt x="5296508" y="1121904"/>
                </a:lnTo>
                <a:lnTo>
                  <a:pt x="5305850" y="1145796"/>
                </a:lnTo>
                <a:lnTo>
                  <a:pt x="5329474" y="1224524"/>
                </a:lnTo>
                <a:lnTo>
                  <a:pt x="5341296" y="1261324"/>
                </a:lnTo>
                <a:lnTo>
                  <a:pt x="5343756" y="1272119"/>
                </a:lnTo>
                <a:lnTo>
                  <a:pt x="5349304" y="1290618"/>
                </a:lnTo>
                <a:lnTo>
                  <a:pt x="5368796" y="1382061"/>
                </a:lnTo>
                <a:lnTo>
                  <a:pt x="5377560" y="1420528"/>
                </a:lnTo>
                <a:lnTo>
                  <a:pt x="5378584" y="1427980"/>
                </a:lnTo>
                <a:lnTo>
                  <a:pt x="5381282" y="1440629"/>
                </a:lnTo>
                <a:lnTo>
                  <a:pt x="5395472" y="1550634"/>
                </a:lnTo>
                <a:lnTo>
                  <a:pt x="5400212" y="1585042"/>
                </a:lnTo>
                <a:lnTo>
                  <a:pt x="5400380" y="1588666"/>
                </a:lnTo>
                <a:lnTo>
                  <a:pt x="5401224" y="1595226"/>
                </a:lnTo>
                <a:lnTo>
                  <a:pt x="5404556" y="1671522"/>
                </a:lnTo>
                <a:lnTo>
                  <a:pt x="5408612" y="1671522"/>
                </a:lnTo>
                <a:lnTo>
                  <a:pt x="5408612" y="1741862"/>
                </a:lnTo>
                <a:lnTo>
                  <a:pt x="5408612" y="1764504"/>
                </a:lnTo>
                <a:lnTo>
                  <a:pt x="5408612" y="1765033"/>
                </a:lnTo>
                <a:lnTo>
                  <a:pt x="5410554" y="1765033"/>
                </a:lnTo>
                <a:lnTo>
                  <a:pt x="5410554" y="1944433"/>
                </a:lnTo>
                <a:lnTo>
                  <a:pt x="3825752" y="1944433"/>
                </a:lnTo>
                <a:lnTo>
                  <a:pt x="3825752" y="1944434"/>
                </a:lnTo>
                <a:lnTo>
                  <a:pt x="3859050" y="1944434"/>
                </a:lnTo>
                <a:lnTo>
                  <a:pt x="3859050" y="1948409"/>
                </a:lnTo>
                <a:lnTo>
                  <a:pt x="3937768" y="1952454"/>
                </a:lnTo>
                <a:lnTo>
                  <a:pt x="3942544" y="1953195"/>
                </a:lnTo>
                <a:lnTo>
                  <a:pt x="3948908" y="1953545"/>
                </a:lnTo>
                <a:cubicBezTo>
                  <a:pt x="4044988" y="1964132"/>
                  <a:pt x="4138598" y="1983799"/>
                  <a:pt x="4228992" y="2011744"/>
                </a:cubicBezTo>
                <a:lnTo>
                  <a:pt x="4235582" y="2014120"/>
                </a:lnTo>
                <a:lnTo>
                  <a:pt x="4236718" y="2014418"/>
                </a:lnTo>
                <a:lnTo>
                  <a:pt x="4248024" y="2018611"/>
                </a:lnTo>
                <a:lnTo>
                  <a:pt x="4362084" y="2059764"/>
                </a:lnTo>
                <a:lnTo>
                  <a:pt x="4373792" y="2065249"/>
                </a:lnTo>
                <a:lnTo>
                  <a:pt x="4378240" y="2066899"/>
                </a:lnTo>
                <a:lnTo>
                  <a:pt x="4402294" y="2078604"/>
                </a:lnTo>
                <a:lnTo>
                  <a:pt x="4489800" y="2119596"/>
                </a:lnTo>
                <a:lnTo>
                  <a:pt x="4506132" y="2129123"/>
                </a:lnTo>
                <a:lnTo>
                  <a:pt x="4513564" y="2132739"/>
                </a:lnTo>
                <a:lnTo>
                  <a:pt x="4539664" y="2148684"/>
                </a:lnTo>
                <a:lnTo>
                  <a:pt x="4611588" y="2190639"/>
                </a:lnTo>
                <a:lnTo>
                  <a:pt x="4631970" y="2205072"/>
                </a:lnTo>
                <a:lnTo>
                  <a:pt x="4642012" y="2211205"/>
                </a:lnTo>
                <a:lnTo>
                  <a:pt x="4666866" y="2229781"/>
                </a:lnTo>
                <a:lnTo>
                  <a:pt x="4726888" y="2272285"/>
                </a:lnTo>
                <a:lnTo>
                  <a:pt x="4750676" y="2292420"/>
                </a:lnTo>
                <a:lnTo>
                  <a:pt x="4762912" y="2301568"/>
                </a:lnTo>
                <a:lnTo>
                  <a:pt x="4785202" y="2321651"/>
                </a:lnTo>
                <a:lnTo>
                  <a:pt x="4835156" y="2363938"/>
                </a:lnTo>
                <a:lnTo>
                  <a:pt x="4861614" y="2390499"/>
                </a:lnTo>
                <a:lnTo>
                  <a:pt x="4875594" y="2403094"/>
                </a:lnTo>
                <a:lnTo>
                  <a:pt x="4894770" y="2423782"/>
                </a:lnTo>
                <a:lnTo>
                  <a:pt x="4935824" y="2464992"/>
                </a:lnTo>
                <a:lnTo>
                  <a:pt x="4964164" y="2498639"/>
                </a:lnTo>
                <a:lnTo>
                  <a:pt x="4979380" y="2515055"/>
                </a:lnTo>
                <a:lnTo>
                  <a:pt x="4995274" y="2535578"/>
                </a:lnTo>
                <a:lnTo>
                  <a:pt x="5028344" y="2574846"/>
                </a:lnTo>
                <a:lnTo>
                  <a:pt x="5057700" y="2616189"/>
                </a:lnTo>
                <a:lnTo>
                  <a:pt x="5073596" y="2636717"/>
                </a:lnTo>
                <a:lnTo>
                  <a:pt x="5086244" y="2656395"/>
                </a:lnTo>
                <a:lnTo>
                  <a:pt x="5112164" y="2692902"/>
                </a:lnTo>
                <a:lnTo>
                  <a:pt x="5141608" y="2742519"/>
                </a:lnTo>
                <a:lnTo>
                  <a:pt x="5157568" y="2767348"/>
                </a:lnTo>
                <a:lnTo>
                  <a:pt x="5167160" y="2785577"/>
                </a:lnTo>
                <a:lnTo>
                  <a:pt x="5186724" y="2818550"/>
                </a:lnTo>
                <a:lnTo>
                  <a:pt x="5215276" y="2877044"/>
                </a:lnTo>
                <a:lnTo>
                  <a:pt x="5230624" y="2906220"/>
                </a:lnTo>
                <a:lnTo>
                  <a:pt x="5237440" y="2922452"/>
                </a:lnTo>
                <a:lnTo>
                  <a:pt x="5251472" y="2951192"/>
                </a:lnTo>
                <a:lnTo>
                  <a:pt x="5278100" y="3019278"/>
                </a:lnTo>
                <a:lnTo>
                  <a:pt x="5292092" y="3052600"/>
                </a:lnTo>
                <a:lnTo>
                  <a:pt x="5296504" y="3066337"/>
                </a:lnTo>
                <a:lnTo>
                  <a:pt x="5305850" y="3090227"/>
                </a:lnTo>
                <a:lnTo>
                  <a:pt x="5329472" y="3168956"/>
                </a:lnTo>
                <a:lnTo>
                  <a:pt x="5341294" y="3205756"/>
                </a:lnTo>
                <a:lnTo>
                  <a:pt x="5343752" y="3216552"/>
                </a:lnTo>
                <a:lnTo>
                  <a:pt x="5349304" y="3235051"/>
                </a:lnTo>
                <a:lnTo>
                  <a:pt x="5368796" y="3326492"/>
                </a:lnTo>
                <a:lnTo>
                  <a:pt x="5377558" y="3364959"/>
                </a:lnTo>
                <a:lnTo>
                  <a:pt x="5378584" y="3372411"/>
                </a:lnTo>
                <a:lnTo>
                  <a:pt x="5381282" y="3385062"/>
                </a:lnTo>
                <a:lnTo>
                  <a:pt x="5395472" y="3495066"/>
                </a:lnTo>
                <a:lnTo>
                  <a:pt x="5400212" y="3529474"/>
                </a:lnTo>
                <a:lnTo>
                  <a:pt x="5400378" y="3533097"/>
                </a:lnTo>
                <a:lnTo>
                  <a:pt x="5401224" y="3539659"/>
                </a:lnTo>
                <a:lnTo>
                  <a:pt x="5404556" y="3615954"/>
                </a:lnTo>
                <a:lnTo>
                  <a:pt x="5408612" y="3615954"/>
                </a:lnTo>
                <a:lnTo>
                  <a:pt x="5408612" y="3686294"/>
                </a:lnTo>
                <a:lnTo>
                  <a:pt x="5408612" y="3708935"/>
                </a:lnTo>
                <a:lnTo>
                  <a:pt x="5408612" y="3709464"/>
                </a:lnTo>
                <a:lnTo>
                  <a:pt x="5410552" y="3709464"/>
                </a:lnTo>
                <a:lnTo>
                  <a:pt x="5410552" y="4047423"/>
                </a:lnTo>
                <a:lnTo>
                  <a:pt x="5410552" y="4755011"/>
                </a:lnTo>
                <a:lnTo>
                  <a:pt x="5410552" y="5092971"/>
                </a:lnTo>
                <a:lnTo>
                  <a:pt x="5410552" y="5186483"/>
                </a:lnTo>
                <a:lnTo>
                  <a:pt x="5408630" y="5186483"/>
                </a:lnTo>
                <a:lnTo>
                  <a:pt x="5408630" y="6857999"/>
                </a:lnTo>
                <a:lnTo>
                  <a:pt x="4867572" y="6857999"/>
                </a:lnTo>
                <a:lnTo>
                  <a:pt x="3794896" y="6857999"/>
                </a:lnTo>
                <a:lnTo>
                  <a:pt x="3783656" y="6857999"/>
                </a:lnTo>
                <a:lnTo>
                  <a:pt x="3782700" y="6857999"/>
                </a:lnTo>
                <a:lnTo>
                  <a:pt x="3782684" y="6858000"/>
                </a:lnTo>
                <a:lnTo>
                  <a:pt x="3782668" y="6857999"/>
                </a:lnTo>
                <a:lnTo>
                  <a:pt x="3706296" y="6857999"/>
                </a:lnTo>
                <a:lnTo>
                  <a:pt x="3253838" y="6857999"/>
                </a:lnTo>
                <a:lnTo>
                  <a:pt x="3242600" y="6857999"/>
                </a:lnTo>
                <a:lnTo>
                  <a:pt x="3241642" y="6857999"/>
                </a:lnTo>
                <a:lnTo>
                  <a:pt x="3241628" y="6858000"/>
                </a:lnTo>
                <a:lnTo>
                  <a:pt x="3241610" y="6857999"/>
                </a:lnTo>
                <a:lnTo>
                  <a:pt x="3165240" y="6857999"/>
                </a:lnTo>
                <a:lnTo>
                  <a:pt x="2169924" y="6857999"/>
                </a:lnTo>
                <a:lnTo>
                  <a:pt x="2168964" y="6857999"/>
                </a:lnTo>
                <a:lnTo>
                  <a:pt x="2168948" y="6858000"/>
                </a:lnTo>
                <a:lnTo>
                  <a:pt x="2168932" y="6857999"/>
                </a:lnTo>
                <a:lnTo>
                  <a:pt x="2092562" y="6857999"/>
                </a:lnTo>
                <a:lnTo>
                  <a:pt x="1628866" y="6857999"/>
                </a:lnTo>
                <a:lnTo>
                  <a:pt x="1627908" y="6857999"/>
                </a:lnTo>
                <a:lnTo>
                  <a:pt x="1627892" y="6858000"/>
                </a:lnTo>
                <a:lnTo>
                  <a:pt x="1627876" y="6857999"/>
                </a:lnTo>
                <a:lnTo>
                  <a:pt x="1551508" y="6857999"/>
                </a:lnTo>
                <a:lnTo>
                  <a:pt x="1551508" y="6854025"/>
                </a:lnTo>
                <a:lnTo>
                  <a:pt x="1472788" y="6849979"/>
                </a:lnTo>
                <a:lnTo>
                  <a:pt x="1468012" y="6849239"/>
                </a:lnTo>
                <a:lnTo>
                  <a:pt x="1461648" y="6848892"/>
                </a:lnTo>
                <a:cubicBezTo>
                  <a:pt x="1365568" y="6838301"/>
                  <a:pt x="1271960" y="6818634"/>
                  <a:pt x="1181564" y="6790692"/>
                </a:cubicBezTo>
                <a:lnTo>
                  <a:pt x="1174972" y="6788314"/>
                </a:lnTo>
                <a:lnTo>
                  <a:pt x="1173836" y="6788017"/>
                </a:lnTo>
                <a:lnTo>
                  <a:pt x="1162534" y="6783825"/>
                </a:lnTo>
                <a:lnTo>
                  <a:pt x="1048472" y="6742670"/>
                </a:lnTo>
                <a:lnTo>
                  <a:pt x="1036764" y="6737186"/>
                </a:lnTo>
                <a:lnTo>
                  <a:pt x="1032316" y="6735535"/>
                </a:lnTo>
                <a:lnTo>
                  <a:pt x="1008260" y="6723832"/>
                </a:lnTo>
                <a:lnTo>
                  <a:pt x="920756" y="6682839"/>
                </a:lnTo>
                <a:lnTo>
                  <a:pt x="904424" y="6673313"/>
                </a:lnTo>
                <a:lnTo>
                  <a:pt x="896992" y="6669695"/>
                </a:lnTo>
                <a:lnTo>
                  <a:pt x="870892" y="6653750"/>
                </a:lnTo>
                <a:lnTo>
                  <a:pt x="798968" y="6611797"/>
                </a:lnTo>
                <a:lnTo>
                  <a:pt x="778586" y="6597363"/>
                </a:lnTo>
                <a:lnTo>
                  <a:pt x="768544" y="6591229"/>
                </a:lnTo>
                <a:lnTo>
                  <a:pt x="743688" y="6572653"/>
                </a:lnTo>
                <a:lnTo>
                  <a:pt x="683668" y="6530149"/>
                </a:lnTo>
                <a:lnTo>
                  <a:pt x="659882" y="6510014"/>
                </a:lnTo>
                <a:lnTo>
                  <a:pt x="647642" y="6500867"/>
                </a:lnTo>
                <a:lnTo>
                  <a:pt x="625352" y="6480784"/>
                </a:lnTo>
                <a:lnTo>
                  <a:pt x="575400" y="6438495"/>
                </a:lnTo>
                <a:lnTo>
                  <a:pt x="548942" y="6411937"/>
                </a:lnTo>
                <a:lnTo>
                  <a:pt x="534962" y="6399339"/>
                </a:lnTo>
                <a:lnTo>
                  <a:pt x="515784" y="6378653"/>
                </a:lnTo>
                <a:lnTo>
                  <a:pt x="474730" y="6337442"/>
                </a:lnTo>
                <a:lnTo>
                  <a:pt x="446392" y="6303796"/>
                </a:lnTo>
                <a:lnTo>
                  <a:pt x="431176" y="6287381"/>
                </a:lnTo>
                <a:lnTo>
                  <a:pt x="415282" y="6266857"/>
                </a:lnTo>
                <a:lnTo>
                  <a:pt x="382208" y="6227587"/>
                </a:lnTo>
                <a:lnTo>
                  <a:pt x="352856" y="6186245"/>
                </a:lnTo>
                <a:lnTo>
                  <a:pt x="336960" y="6165720"/>
                </a:lnTo>
                <a:lnTo>
                  <a:pt x="324308" y="6146039"/>
                </a:lnTo>
                <a:lnTo>
                  <a:pt x="298390" y="6109535"/>
                </a:lnTo>
                <a:lnTo>
                  <a:pt x="268948" y="6059915"/>
                </a:lnTo>
                <a:lnTo>
                  <a:pt x="252986" y="6035087"/>
                </a:lnTo>
                <a:lnTo>
                  <a:pt x="243396" y="6016858"/>
                </a:lnTo>
                <a:lnTo>
                  <a:pt x="223832" y="5983884"/>
                </a:lnTo>
                <a:lnTo>
                  <a:pt x="195280" y="5925391"/>
                </a:lnTo>
                <a:lnTo>
                  <a:pt x="179930" y="5896215"/>
                </a:lnTo>
                <a:lnTo>
                  <a:pt x="173114" y="5879984"/>
                </a:lnTo>
                <a:lnTo>
                  <a:pt x="159084" y="5851242"/>
                </a:lnTo>
                <a:lnTo>
                  <a:pt x="132456" y="5783157"/>
                </a:lnTo>
                <a:lnTo>
                  <a:pt x="118464" y="5749835"/>
                </a:lnTo>
                <a:lnTo>
                  <a:pt x="114052" y="5736099"/>
                </a:lnTo>
                <a:lnTo>
                  <a:pt x="104706" y="5712207"/>
                </a:lnTo>
                <a:lnTo>
                  <a:pt x="81084" y="5633480"/>
                </a:lnTo>
                <a:lnTo>
                  <a:pt x="69262" y="5596679"/>
                </a:lnTo>
                <a:lnTo>
                  <a:pt x="66804" y="5585881"/>
                </a:lnTo>
                <a:lnTo>
                  <a:pt x="61252" y="5567383"/>
                </a:lnTo>
                <a:lnTo>
                  <a:pt x="41760" y="5475944"/>
                </a:lnTo>
                <a:lnTo>
                  <a:pt x="32996" y="5437475"/>
                </a:lnTo>
                <a:lnTo>
                  <a:pt x="31972" y="5430024"/>
                </a:lnTo>
                <a:lnTo>
                  <a:pt x="29276" y="5417372"/>
                </a:lnTo>
                <a:lnTo>
                  <a:pt x="15084" y="5307371"/>
                </a:lnTo>
                <a:lnTo>
                  <a:pt x="10346" y="5272959"/>
                </a:lnTo>
                <a:lnTo>
                  <a:pt x="10178" y="5269337"/>
                </a:lnTo>
                <a:lnTo>
                  <a:pt x="9330" y="5262777"/>
                </a:lnTo>
                <a:lnTo>
                  <a:pt x="6004" y="5186483"/>
                </a:lnTo>
                <a:lnTo>
                  <a:pt x="1944" y="5186483"/>
                </a:lnTo>
                <a:lnTo>
                  <a:pt x="1944" y="5116140"/>
                </a:lnTo>
                <a:lnTo>
                  <a:pt x="1944" y="5093499"/>
                </a:lnTo>
                <a:lnTo>
                  <a:pt x="1944" y="5092971"/>
                </a:lnTo>
                <a:lnTo>
                  <a:pt x="0" y="5092971"/>
                </a:lnTo>
                <a:lnTo>
                  <a:pt x="0" y="4755011"/>
                </a:lnTo>
                <a:lnTo>
                  <a:pt x="0" y="4047423"/>
                </a:lnTo>
                <a:lnTo>
                  <a:pt x="0" y="3709464"/>
                </a:lnTo>
                <a:lnTo>
                  <a:pt x="0" y="3615954"/>
                </a:lnTo>
                <a:lnTo>
                  <a:pt x="1926" y="3615954"/>
                </a:lnTo>
                <a:lnTo>
                  <a:pt x="1926" y="3603350"/>
                </a:lnTo>
                <a:lnTo>
                  <a:pt x="0" y="3603350"/>
                </a:lnTo>
                <a:close/>
              </a:path>
            </a:pathLst>
          </a:custGeom>
          <a:solidFill>
            <a:srgbClr val="1D3166">
              <a:alpha val="29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B8BD76A3-8D3A-496A-A386-B004213315D9}"/>
              </a:ext>
            </a:extLst>
          </p:cNvPr>
          <p:cNvSpPr/>
          <p:nvPr/>
        </p:nvSpPr>
        <p:spPr>
          <a:xfrm>
            <a:off x="5410553" y="0"/>
            <a:ext cx="6781449" cy="6858000"/>
          </a:xfrm>
          <a:custGeom>
            <a:avLst/>
            <a:gdLst>
              <a:gd name="connsiteX0" fmla="*/ 1 w 6781449"/>
              <a:gd name="connsiteY0" fmla="*/ 0 h 6858000"/>
              <a:gd name="connsiteX1" fmla="*/ 6781449 w 6781449"/>
              <a:gd name="connsiteY1" fmla="*/ 0 h 6858000"/>
              <a:gd name="connsiteX2" fmla="*/ 6781449 w 6781449"/>
              <a:gd name="connsiteY2" fmla="*/ 6858000 h 6858000"/>
              <a:gd name="connsiteX3" fmla="*/ 2980288 w 6781449"/>
              <a:gd name="connsiteY3" fmla="*/ 6858000 h 6858000"/>
              <a:gd name="connsiteX4" fmla="*/ 2980288 w 6781449"/>
              <a:gd name="connsiteY4" fmla="*/ 6854387 h 6858000"/>
              <a:gd name="connsiteX5" fmla="*/ 2979394 w 6781449"/>
              <a:gd name="connsiteY5" fmla="*/ 6854387 h 6858000"/>
              <a:gd name="connsiteX6" fmla="*/ 2941164 w 6781449"/>
              <a:gd name="connsiteY6" fmla="*/ 6854387 h 6858000"/>
              <a:gd name="connsiteX7" fmla="*/ 2822391 w 6781449"/>
              <a:gd name="connsiteY7" fmla="*/ 6854387 h 6858000"/>
              <a:gd name="connsiteX8" fmla="*/ 2822391 w 6781449"/>
              <a:gd name="connsiteY8" fmla="*/ 6846841 h 6858000"/>
              <a:gd name="connsiteX9" fmla="*/ 2693566 w 6781449"/>
              <a:gd name="connsiteY9" fmla="*/ 6840651 h 6858000"/>
              <a:gd name="connsiteX10" fmla="*/ 2682486 w 6781449"/>
              <a:gd name="connsiteY10" fmla="*/ 6839076 h 6858000"/>
              <a:gd name="connsiteX11" fmla="*/ 2676373 w 6781449"/>
              <a:gd name="connsiteY11" fmla="*/ 6838763 h 6858000"/>
              <a:gd name="connsiteX12" fmla="*/ 2618270 w 6781449"/>
              <a:gd name="connsiteY12" fmla="*/ 6829951 h 6858000"/>
              <a:gd name="connsiteX13" fmla="*/ 2432527 w 6781449"/>
              <a:gd name="connsiteY13" fmla="*/ 6803558 h 6858000"/>
              <a:gd name="connsiteX14" fmla="*/ 2411164 w 6781449"/>
              <a:gd name="connsiteY14" fmla="*/ 6798541 h 6858000"/>
              <a:gd name="connsiteX15" fmla="*/ 2398583 w 6781449"/>
              <a:gd name="connsiteY15" fmla="*/ 6796633 h 6858000"/>
              <a:gd name="connsiteX16" fmla="*/ 2333630 w 6781449"/>
              <a:gd name="connsiteY16" fmla="*/ 6780337 h 6858000"/>
              <a:gd name="connsiteX17" fmla="*/ 2179231 w 6781449"/>
              <a:gd name="connsiteY17" fmla="*/ 6744084 h 6858000"/>
              <a:gd name="connsiteX18" fmla="*/ 2147995 w 6781449"/>
              <a:gd name="connsiteY18" fmla="*/ 6733760 h 6858000"/>
              <a:gd name="connsiteX19" fmla="*/ 2129767 w 6781449"/>
              <a:gd name="connsiteY19" fmla="*/ 6729187 h 6858000"/>
              <a:gd name="connsiteX20" fmla="*/ 2067629 w 6781449"/>
              <a:gd name="connsiteY20" fmla="*/ 6707198 h 6858000"/>
              <a:gd name="connsiteX21" fmla="*/ 1934694 w 6781449"/>
              <a:gd name="connsiteY21" fmla="*/ 6663262 h 6858000"/>
              <a:gd name="connsiteX22" fmla="*/ 1894354 w 6781449"/>
              <a:gd name="connsiteY22" fmla="*/ 6645884 h 6858000"/>
              <a:gd name="connsiteX23" fmla="*/ 1871160 w 6781449"/>
              <a:gd name="connsiteY23" fmla="*/ 6637676 h 6858000"/>
              <a:gd name="connsiteX24" fmla="*/ 1814890 w 6781449"/>
              <a:gd name="connsiteY24" fmla="*/ 6611651 h 6858000"/>
              <a:gd name="connsiteX25" fmla="*/ 1699930 w 6781449"/>
              <a:gd name="connsiteY25" fmla="*/ 6562126 h 6858000"/>
              <a:gd name="connsiteX26" fmla="*/ 1651401 w 6781449"/>
              <a:gd name="connsiteY26" fmla="*/ 6536034 h 6858000"/>
              <a:gd name="connsiteX27" fmla="*/ 1623994 w 6781449"/>
              <a:gd name="connsiteY27" fmla="*/ 6523357 h 6858000"/>
              <a:gd name="connsiteX28" fmla="*/ 1574727 w 6781449"/>
              <a:gd name="connsiteY28" fmla="*/ 6494809 h 6858000"/>
              <a:gd name="connsiteX29" fmla="*/ 1475961 w 6781449"/>
              <a:gd name="connsiteY29" fmla="*/ 6441706 h 6858000"/>
              <a:gd name="connsiteX30" fmla="*/ 1420287 w 6781449"/>
              <a:gd name="connsiteY30" fmla="*/ 6405318 h 6858000"/>
              <a:gd name="connsiteX31" fmla="*/ 1389506 w 6781449"/>
              <a:gd name="connsiteY31" fmla="*/ 6387481 h 6858000"/>
              <a:gd name="connsiteX32" fmla="*/ 1347580 w 6781449"/>
              <a:gd name="connsiteY32" fmla="*/ 6357795 h 6858000"/>
              <a:gd name="connsiteX33" fmla="*/ 1263801 w 6781449"/>
              <a:gd name="connsiteY33" fmla="*/ 6303033 h 6858000"/>
              <a:gd name="connsiteX34" fmla="*/ 1202163 w 6781449"/>
              <a:gd name="connsiteY34" fmla="*/ 6254829 h 6858000"/>
              <a:gd name="connsiteX35" fmla="*/ 1168932 w 6781449"/>
              <a:gd name="connsiteY35" fmla="*/ 6231300 h 6858000"/>
              <a:gd name="connsiteX36" fmla="*/ 1134271 w 6781449"/>
              <a:gd name="connsiteY36" fmla="*/ 6201735 h 6858000"/>
              <a:gd name="connsiteX37" fmla="*/ 1064465 w 6781449"/>
              <a:gd name="connsiteY37" fmla="*/ 6147143 h 6858000"/>
              <a:gd name="connsiteX38" fmla="*/ 998157 w 6781449"/>
              <a:gd name="connsiteY38" fmla="*/ 6085629 h 6858000"/>
              <a:gd name="connsiteX39" fmla="*/ 963503 w 6781449"/>
              <a:gd name="connsiteY39" fmla="*/ 6056070 h 6858000"/>
              <a:gd name="connsiteX40" fmla="*/ 935786 w 6781449"/>
              <a:gd name="connsiteY40" fmla="*/ 6027768 h 6858000"/>
              <a:gd name="connsiteX41" fmla="*/ 878972 w 6781449"/>
              <a:gd name="connsiteY41" fmla="*/ 5975062 h 6858000"/>
              <a:gd name="connsiteX42" fmla="*/ 809388 w 6781449"/>
              <a:gd name="connsiteY42" fmla="*/ 5898707 h 6858000"/>
              <a:gd name="connsiteX43" fmla="*/ 774460 w 6781449"/>
              <a:gd name="connsiteY43" fmla="*/ 5863042 h 6858000"/>
              <a:gd name="connsiteX44" fmla="*/ 753188 w 6781449"/>
              <a:gd name="connsiteY44" fmla="*/ 5837040 h 6858000"/>
              <a:gd name="connsiteX45" fmla="*/ 708340 w 6781449"/>
              <a:gd name="connsiteY45" fmla="*/ 5787828 h 6858000"/>
              <a:gd name="connsiteX46" fmla="*/ 636937 w 6781449"/>
              <a:gd name="connsiteY46" fmla="*/ 5694924 h 6858000"/>
              <a:gd name="connsiteX47" fmla="*/ 603029 w 6781449"/>
              <a:gd name="connsiteY47" fmla="*/ 5653469 h 6858000"/>
              <a:gd name="connsiteX48" fmla="*/ 587581 w 6781449"/>
              <a:gd name="connsiteY48" fmla="*/ 5630705 h 6858000"/>
              <a:gd name="connsiteX49" fmla="*/ 553584 w 6781449"/>
              <a:gd name="connsiteY49" fmla="*/ 5586470 h 6858000"/>
              <a:gd name="connsiteX50" fmla="*/ 481813 w 6781449"/>
              <a:gd name="connsiteY50" fmla="*/ 5474831 h 6858000"/>
              <a:gd name="connsiteX51" fmla="*/ 450449 w 6781449"/>
              <a:gd name="connsiteY51" fmla="*/ 5428608 h 6858000"/>
              <a:gd name="connsiteX52" fmla="*/ 440091 w 6781449"/>
              <a:gd name="connsiteY52" fmla="*/ 5409929 h 6858000"/>
              <a:gd name="connsiteX53" fmla="*/ 415720 w 6781449"/>
              <a:gd name="connsiteY53" fmla="*/ 5372020 h 6858000"/>
              <a:gd name="connsiteX54" fmla="*/ 344879 w 6781449"/>
              <a:gd name="connsiteY54" fmla="*/ 5238249 h 6858000"/>
              <a:gd name="connsiteX55" fmla="*/ 317958 w 6781449"/>
              <a:gd name="connsiteY55" fmla="*/ 5189707 h 6858000"/>
              <a:gd name="connsiteX56" fmla="*/ 311851 w 6781449"/>
              <a:gd name="connsiteY56" fmla="*/ 5175886 h 6858000"/>
              <a:gd name="connsiteX57" fmla="*/ 295767 w 6781449"/>
              <a:gd name="connsiteY57" fmla="*/ 5145510 h 6858000"/>
              <a:gd name="connsiteX58" fmla="*/ 226547 w 6781449"/>
              <a:gd name="connsiteY58" fmla="*/ 4982762 h 6858000"/>
              <a:gd name="connsiteX59" fmla="*/ 206786 w 6781449"/>
              <a:gd name="connsiteY59" fmla="*/ 4938024 h 6858000"/>
              <a:gd name="connsiteX60" fmla="*/ 203998 w 6781449"/>
              <a:gd name="connsiteY60" fmla="*/ 4929748 h 6858000"/>
              <a:gd name="connsiteX61" fmla="*/ 194738 w 6781449"/>
              <a:gd name="connsiteY61" fmla="*/ 4907974 h 6858000"/>
              <a:gd name="connsiteX62" fmla="*/ 125249 w 6781449"/>
              <a:gd name="connsiteY62" fmla="*/ 4695835 h 6858000"/>
              <a:gd name="connsiteX63" fmla="*/ 118169 w 6781449"/>
              <a:gd name="connsiteY63" fmla="*/ 4674809 h 6858000"/>
              <a:gd name="connsiteX64" fmla="*/ 117669 w 6781449"/>
              <a:gd name="connsiteY64" fmla="*/ 4672696 h 6858000"/>
              <a:gd name="connsiteX65" fmla="*/ 113654 w 6781449"/>
              <a:gd name="connsiteY65" fmla="*/ 4660441 h 6858000"/>
              <a:gd name="connsiteX66" fmla="*/ 15383 w 6781449"/>
              <a:gd name="connsiteY66" fmla="*/ 4139516 h 6858000"/>
              <a:gd name="connsiteX67" fmla="*/ 14794 w 6781449"/>
              <a:gd name="connsiteY67" fmla="*/ 4127681 h 6858000"/>
              <a:gd name="connsiteX68" fmla="*/ 13543 w 6781449"/>
              <a:gd name="connsiteY68" fmla="*/ 4118799 h 6858000"/>
              <a:gd name="connsiteX69" fmla="*/ 6713 w 6781449"/>
              <a:gd name="connsiteY69" fmla="*/ 3972392 h 6858000"/>
              <a:gd name="connsiteX70" fmla="*/ 1 w 6781449"/>
              <a:gd name="connsiteY70" fmla="*/ 3972392 h 6858000"/>
              <a:gd name="connsiteX71" fmla="*/ 1 w 6781449"/>
              <a:gd name="connsiteY71" fmla="*/ 3830352 h 6858000"/>
              <a:gd name="connsiteX72" fmla="*/ 0 w 6781449"/>
              <a:gd name="connsiteY72" fmla="*/ 3830324 h 6858000"/>
              <a:gd name="connsiteX73" fmla="*/ 1 w 6781449"/>
              <a:gd name="connsiteY73" fmla="*/ 3830295 h 6858000"/>
              <a:gd name="connsiteX74" fmla="*/ 1 w 6781449"/>
              <a:gd name="connsiteY74" fmla="*/ 3828511 h 6858000"/>
              <a:gd name="connsiteX75" fmla="*/ 1 w 6781449"/>
              <a:gd name="connsiteY75" fmla="*/ 3125260 h 6858000"/>
              <a:gd name="connsiteX76" fmla="*/ 1 w 6781449"/>
              <a:gd name="connsiteY76" fmla="*/ 2983221 h 6858000"/>
              <a:gd name="connsiteX77" fmla="*/ 0 w 6781449"/>
              <a:gd name="connsiteY77" fmla="*/ 2983192 h 6858000"/>
              <a:gd name="connsiteX78" fmla="*/ 1 w 6781449"/>
              <a:gd name="connsiteY78" fmla="*/ 2983164 h 6858000"/>
              <a:gd name="connsiteX79" fmla="*/ 1 w 6781449"/>
              <a:gd name="connsiteY79" fmla="*/ 2981380 h 6858000"/>
              <a:gd name="connsiteX80" fmla="*/ 1 w 6781449"/>
              <a:gd name="connsiteY80" fmla="*/ 806259 h 6858000"/>
              <a:gd name="connsiteX81" fmla="*/ 1 w 6781449"/>
              <a:gd name="connsiteY8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6781449" h="6858000">
                <a:moveTo>
                  <a:pt x="1" y="0"/>
                </a:moveTo>
                <a:lnTo>
                  <a:pt x="6781449" y="0"/>
                </a:lnTo>
                <a:lnTo>
                  <a:pt x="6781449" y="6858000"/>
                </a:lnTo>
                <a:lnTo>
                  <a:pt x="2980288" y="6858000"/>
                </a:lnTo>
                <a:lnTo>
                  <a:pt x="2980288" y="6854387"/>
                </a:lnTo>
                <a:lnTo>
                  <a:pt x="2979394" y="6854387"/>
                </a:lnTo>
                <a:lnTo>
                  <a:pt x="2941164" y="6854387"/>
                </a:lnTo>
                <a:lnTo>
                  <a:pt x="2822391" y="6854387"/>
                </a:lnTo>
                <a:lnTo>
                  <a:pt x="2822391" y="6846841"/>
                </a:lnTo>
                <a:lnTo>
                  <a:pt x="2693566" y="6840651"/>
                </a:lnTo>
                <a:lnTo>
                  <a:pt x="2682486" y="6839076"/>
                </a:lnTo>
                <a:lnTo>
                  <a:pt x="2676373" y="6838763"/>
                </a:lnTo>
                <a:lnTo>
                  <a:pt x="2618270" y="6829951"/>
                </a:lnTo>
                <a:lnTo>
                  <a:pt x="2432527" y="6803558"/>
                </a:lnTo>
                <a:lnTo>
                  <a:pt x="2411164" y="6798541"/>
                </a:lnTo>
                <a:lnTo>
                  <a:pt x="2398583" y="6796633"/>
                </a:lnTo>
                <a:lnTo>
                  <a:pt x="2333630" y="6780337"/>
                </a:lnTo>
                <a:lnTo>
                  <a:pt x="2179231" y="6744084"/>
                </a:lnTo>
                <a:lnTo>
                  <a:pt x="2147995" y="6733760"/>
                </a:lnTo>
                <a:lnTo>
                  <a:pt x="2129767" y="6729187"/>
                </a:lnTo>
                <a:lnTo>
                  <a:pt x="2067629" y="6707198"/>
                </a:lnTo>
                <a:lnTo>
                  <a:pt x="1934694" y="6663262"/>
                </a:lnTo>
                <a:lnTo>
                  <a:pt x="1894354" y="6645884"/>
                </a:lnTo>
                <a:lnTo>
                  <a:pt x="1871160" y="6637676"/>
                </a:lnTo>
                <a:lnTo>
                  <a:pt x="1814890" y="6611651"/>
                </a:lnTo>
                <a:lnTo>
                  <a:pt x="1699930" y="6562126"/>
                </a:lnTo>
                <a:lnTo>
                  <a:pt x="1651401" y="6536034"/>
                </a:lnTo>
                <a:lnTo>
                  <a:pt x="1623994" y="6523357"/>
                </a:lnTo>
                <a:lnTo>
                  <a:pt x="1574727" y="6494809"/>
                </a:lnTo>
                <a:lnTo>
                  <a:pt x="1475961" y="6441706"/>
                </a:lnTo>
                <a:lnTo>
                  <a:pt x="1420287" y="6405318"/>
                </a:lnTo>
                <a:lnTo>
                  <a:pt x="1389506" y="6387481"/>
                </a:lnTo>
                <a:lnTo>
                  <a:pt x="1347580" y="6357795"/>
                </a:lnTo>
                <a:lnTo>
                  <a:pt x="1263801" y="6303033"/>
                </a:lnTo>
                <a:lnTo>
                  <a:pt x="1202163" y="6254829"/>
                </a:lnTo>
                <a:lnTo>
                  <a:pt x="1168932" y="6231300"/>
                </a:lnTo>
                <a:lnTo>
                  <a:pt x="1134271" y="6201735"/>
                </a:lnTo>
                <a:lnTo>
                  <a:pt x="1064465" y="6147143"/>
                </a:lnTo>
                <a:lnTo>
                  <a:pt x="998157" y="6085629"/>
                </a:lnTo>
                <a:lnTo>
                  <a:pt x="963503" y="6056070"/>
                </a:lnTo>
                <a:lnTo>
                  <a:pt x="935786" y="6027768"/>
                </a:lnTo>
                <a:lnTo>
                  <a:pt x="878972" y="5975062"/>
                </a:lnTo>
                <a:lnTo>
                  <a:pt x="809388" y="5898707"/>
                </a:lnTo>
                <a:lnTo>
                  <a:pt x="774460" y="5863042"/>
                </a:lnTo>
                <a:lnTo>
                  <a:pt x="753188" y="5837040"/>
                </a:lnTo>
                <a:lnTo>
                  <a:pt x="708340" y="5787828"/>
                </a:lnTo>
                <a:lnTo>
                  <a:pt x="636937" y="5694924"/>
                </a:lnTo>
                <a:lnTo>
                  <a:pt x="603029" y="5653469"/>
                </a:lnTo>
                <a:lnTo>
                  <a:pt x="587581" y="5630705"/>
                </a:lnTo>
                <a:lnTo>
                  <a:pt x="553584" y="5586470"/>
                </a:lnTo>
                <a:lnTo>
                  <a:pt x="481813" y="5474831"/>
                </a:lnTo>
                <a:lnTo>
                  <a:pt x="450449" y="5428608"/>
                </a:lnTo>
                <a:lnTo>
                  <a:pt x="440091" y="5409929"/>
                </a:lnTo>
                <a:lnTo>
                  <a:pt x="415720" y="5372020"/>
                </a:lnTo>
                <a:lnTo>
                  <a:pt x="344879" y="5238249"/>
                </a:lnTo>
                <a:lnTo>
                  <a:pt x="317958" y="5189707"/>
                </a:lnTo>
                <a:lnTo>
                  <a:pt x="311851" y="5175886"/>
                </a:lnTo>
                <a:lnTo>
                  <a:pt x="295767" y="5145510"/>
                </a:lnTo>
                <a:lnTo>
                  <a:pt x="226547" y="4982762"/>
                </a:lnTo>
                <a:lnTo>
                  <a:pt x="206786" y="4938024"/>
                </a:lnTo>
                <a:lnTo>
                  <a:pt x="203998" y="4929748"/>
                </a:lnTo>
                <a:lnTo>
                  <a:pt x="194738" y="4907974"/>
                </a:lnTo>
                <a:lnTo>
                  <a:pt x="125249" y="4695835"/>
                </a:lnTo>
                <a:lnTo>
                  <a:pt x="118169" y="4674809"/>
                </a:lnTo>
                <a:lnTo>
                  <a:pt x="117669" y="4672696"/>
                </a:lnTo>
                <a:lnTo>
                  <a:pt x="113654" y="4660441"/>
                </a:lnTo>
                <a:cubicBezTo>
                  <a:pt x="66472" y="4492317"/>
                  <a:pt x="33263" y="4318216"/>
                  <a:pt x="15383" y="4139516"/>
                </a:cubicBezTo>
                <a:lnTo>
                  <a:pt x="14794" y="4127681"/>
                </a:lnTo>
                <a:lnTo>
                  <a:pt x="13543" y="4118799"/>
                </a:lnTo>
                <a:lnTo>
                  <a:pt x="6713" y="3972392"/>
                </a:lnTo>
                <a:lnTo>
                  <a:pt x="1" y="3972392"/>
                </a:lnTo>
                <a:lnTo>
                  <a:pt x="1" y="3830352"/>
                </a:lnTo>
                <a:lnTo>
                  <a:pt x="0" y="3830324"/>
                </a:lnTo>
                <a:lnTo>
                  <a:pt x="1" y="3830295"/>
                </a:lnTo>
                <a:lnTo>
                  <a:pt x="1" y="3828511"/>
                </a:lnTo>
                <a:lnTo>
                  <a:pt x="1" y="3125260"/>
                </a:lnTo>
                <a:lnTo>
                  <a:pt x="1" y="2983221"/>
                </a:lnTo>
                <a:lnTo>
                  <a:pt x="0" y="2983192"/>
                </a:lnTo>
                <a:lnTo>
                  <a:pt x="1" y="2983164"/>
                </a:lnTo>
                <a:lnTo>
                  <a:pt x="1" y="2981380"/>
                </a:lnTo>
                <a:lnTo>
                  <a:pt x="1" y="806259"/>
                </a:lnTo>
                <a:lnTo>
                  <a:pt x="1" y="0"/>
                </a:lnTo>
                <a:close/>
              </a:path>
            </a:pathLst>
          </a:custGeom>
          <a:solidFill>
            <a:srgbClr val="1D316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06A8BAAC-2F80-4B6E-B89A-93C26A792873}"/>
              </a:ext>
            </a:extLst>
          </p:cNvPr>
          <p:cNvSpPr/>
          <p:nvPr/>
        </p:nvSpPr>
        <p:spPr>
          <a:xfrm>
            <a:off x="2928876" y="3900020"/>
            <a:ext cx="3886262" cy="1722867"/>
          </a:xfrm>
          <a:custGeom>
            <a:avLst/>
            <a:gdLst>
              <a:gd name="connsiteX0" fmla="*/ 0 w 3626241"/>
              <a:gd name="connsiteY0" fmla="*/ 0 h 1607594"/>
              <a:gd name="connsiteX1" fmla="*/ 810554 w 3626241"/>
              <a:gd name="connsiteY1" fmla="*/ 0 h 1607594"/>
              <a:gd name="connsiteX2" fmla="*/ 851604 w 3626241"/>
              <a:gd name="connsiteY2" fmla="*/ 0 h 1607594"/>
              <a:gd name="connsiteX3" fmla="*/ 1190566 w 3626241"/>
              <a:gd name="connsiteY3" fmla="*/ 0 h 1607594"/>
              <a:gd name="connsiteX4" fmla="*/ 1231616 w 3626241"/>
              <a:gd name="connsiteY4" fmla="*/ 0 h 1607594"/>
              <a:gd name="connsiteX5" fmla="*/ 1790092 w 3626241"/>
              <a:gd name="connsiteY5" fmla="*/ 0 h 1607594"/>
              <a:gd name="connsiteX6" fmla="*/ 2471417 w 3626241"/>
              <a:gd name="connsiteY6" fmla="*/ 0 h 1607594"/>
              <a:gd name="connsiteX7" fmla="*/ 2851429 w 3626241"/>
              <a:gd name="connsiteY7" fmla="*/ 0 h 1607594"/>
              <a:gd name="connsiteX8" fmla="*/ 2851429 w 3626241"/>
              <a:gd name="connsiteY8" fmla="*/ 842 h 1607594"/>
              <a:gd name="connsiteX9" fmla="*/ 2851661 w 3626241"/>
              <a:gd name="connsiteY9" fmla="*/ 842 h 1607594"/>
              <a:gd name="connsiteX10" fmla="*/ 2861601 w 3626241"/>
              <a:gd name="connsiteY10" fmla="*/ 842 h 1607594"/>
              <a:gd name="connsiteX11" fmla="*/ 2892478 w 3626241"/>
              <a:gd name="connsiteY11" fmla="*/ 842 h 1607594"/>
              <a:gd name="connsiteX12" fmla="*/ 2892478 w 3626241"/>
              <a:gd name="connsiteY12" fmla="*/ 2599 h 1607594"/>
              <a:gd name="connsiteX13" fmla="*/ 2925970 w 3626241"/>
              <a:gd name="connsiteY13" fmla="*/ 4041 h 1607594"/>
              <a:gd name="connsiteX14" fmla="*/ 2928851 w 3626241"/>
              <a:gd name="connsiteY14" fmla="*/ 4408 h 1607594"/>
              <a:gd name="connsiteX15" fmla="*/ 2930440 w 3626241"/>
              <a:gd name="connsiteY15" fmla="*/ 4481 h 1607594"/>
              <a:gd name="connsiteX16" fmla="*/ 2945546 w 3626241"/>
              <a:gd name="connsiteY16" fmla="*/ 6533 h 1607594"/>
              <a:gd name="connsiteX17" fmla="*/ 2993835 w 3626241"/>
              <a:gd name="connsiteY17" fmla="*/ 12680 h 1607594"/>
              <a:gd name="connsiteX18" fmla="*/ 2999389 w 3626241"/>
              <a:gd name="connsiteY18" fmla="*/ 13848 h 1607594"/>
              <a:gd name="connsiteX19" fmla="*/ 3002660 w 3626241"/>
              <a:gd name="connsiteY19" fmla="*/ 14293 h 1607594"/>
              <a:gd name="connsiteX20" fmla="*/ 3019546 w 3626241"/>
              <a:gd name="connsiteY20" fmla="*/ 18089 h 1607594"/>
              <a:gd name="connsiteX21" fmla="*/ 3059687 w 3626241"/>
              <a:gd name="connsiteY21" fmla="*/ 26532 h 1607594"/>
              <a:gd name="connsiteX22" fmla="*/ 3067808 w 3626241"/>
              <a:gd name="connsiteY22" fmla="*/ 28936 h 1607594"/>
              <a:gd name="connsiteX23" fmla="*/ 3072546 w 3626241"/>
              <a:gd name="connsiteY23" fmla="*/ 30002 h 1607594"/>
              <a:gd name="connsiteX24" fmla="*/ 3088701 w 3626241"/>
              <a:gd name="connsiteY24" fmla="*/ 35122 h 1607594"/>
              <a:gd name="connsiteX25" fmla="*/ 3123262 w 3626241"/>
              <a:gd name="connsiteY25" fmla="*/ 45355 h 1607594"/>
              <a:gd name="connsiteX26" fmla="*/ 3133749 w 3626241"/>
              <a:gd name="connsiteY26" fmla="*/ 49402 h 1607594"/>
              <a:gd name="connsiteX27" fmla="*/ 3139779 w 3626241"/>
              <a:gd name="connsiteY27" fmla="*/ 51314 h 1607594"/>
              <a:gd name="connsiteX28" fmla="*/ 3154407 w 3626241"/>
              <a:gd name="connsiteY28" fmla="*/ 57375 h 1607594"/>
              <a:gd name="connsiteX29" fmla="*/ 3184295 w 3626241"/>
              <a:gd name="connsiteY29" fmla="*/ 68910 h 1607594"/>
              <a:gd name="connsiteX30" fmla="*/ 3196911 w 3626241"/>
              <a:gd name="connsiteY30" fmla="*/ 74987 h 1607594"/>
              <a:gd name="connsiteX31" fmla="*/ 3204036 w 3626241"/>
              <a:gd name="connsiteY31" fmla="*/ 77940 h 1607594"/>
              <a:gd name="connsiteX32" fmla="*/ 3216845 w 3626241"/>
              <a:gd name="connsiteY32" fmla="*/ 84589 h 1607594"/>
              <a:gd name="connsiteX33" fmla="*/ 3242522 w 3626241"/>
              <a:gd name="connsiteY33" fmla="*/ 96956 h 1607594"/>
              <a:gd name="connsiteX34" fmla="*/ 3256996 w 3626241"/>
              <a:gd name="connsiteY34" fmla="*/ 105431 h 1607594"/>
              <a:gd name="connsiteX35" fmla="*/ 3264998 w 3626241"/>
              <a:gd name="connsiteY35" fmla="*/ 109585 h 1607594"/>
              <a:gd name="connsiteX36" fmla="*/ 3275898 w 3626241"/>
              <a:gd name="connsiteY36" fmla="*/ 116499 h 1607594"/>
              <a:gd name="connsiteX37" fmla="*/ 3297679 w 3626241"/>
              <a:gd name="connsiteY37" fmla="*/ 129253 h 1607594"/>
              <a:gd name="connsiteX38" fmla="*/ 3313704 w 3626241"/>
              <a:gd name="connsiteY38" fmla="*/ 140480 h 1607594"/>
              <a:gd name="connsiteX39" fmla="*/ 3322343 w 3626241"/>
              <a:gd name="connsiteY39" fmla="*/ 145960 h 1607594"/>
              <a:gd name="connsiteX40" fmla="*/ 3331354 w 3626241"/>
              <a:gd name="connsiteY40" fmla="*/ 152846 h 1607594"/>
              <a:gd name="connsiteX41" fmla="*/ 3349502 w 3626241"/>
              <a:gd name="connsiteY41" fmla="*/ 165561 h 1607594"/>
              <a:gd name="connsiteX42" fmla="*/ 3366741 w 3626241"/>
              <a:gd name="connsiteY42" fmla="*/ 179887 h 1607594"/>
              <a:gd name="connsiteX43" fmla="*/ 3375750 w 3626241"/>
              <a:gd name="connsiteY43" fmla="*/ 186772 h 1607594"/>
              <a:gd name="connsiteX44" fmla="*/ 3382956 w 3626241"/>
              <a:gd name="connsiteY44" fmla="*/ 193363 h 1607594"/>
              <a:gd name="connsiteX45" fmla="*/ 3397726 w 3626241"/>
              <a:gd name="connsiteY45" fmla="*/ 205638 h 1607594"/>
              <a:gd name="connsiteX46" fmla="*/ 3415817 w 3626241"/>
              <a:gd name="connsiteY46" fmla="*/ 223422 h 1607594"/>
              <a:gd name="connsiteX47" fmla="*/ 3424898 w 3626241"/>
              <a:gd name="connsiteY47" fmla="*/ 231728 h 1607594"/>
              <a:gd name="connsiteX48" fmla="*/ 3430428 w 3626241"/>
              <a:gd name="connsiteY48" fmla="*/ 237784 h 1607594"/>
              <a:gd name="connsiteX49" fmla="*/ 3442087 w 3626241"/>
              <a:gd name="connsiteY49" fmla="*/ 249246 h 1607594"/>
              <a:gd name="connsiteX50" fmla="*/ 3460650 w 3626241"/>
              <a:gd name="connsiteY50" fmla="*/ 270883 h 1607594"/>
              <a:gd name="connsiteX51" fmla="*/ 3469466 w 3626241"/>
              <a:gd name="connsiteY51" fmla="*/ 280538 h 1607594"/>
              <a:gd name="connsiteX52" fmla="*/ 3473482 w 3626241"/>
              <a:gd name="connsiteY52" fmla="*/ 285840 h 1607594"/>
              <a:gd name="connsiteX53" fmla="*/ 3482320 w 3626241"/>
              <a:gd name="connsiteY53" fmla="*/ 296142 h 1607594"/>
              <a:gd name="connsiteX54" fmla="*/ 3500979 w 3626241"/>
              <a:gd name="connsiteY54" fmla="*/ 322143 h 1607594"/>
              <a:gd name="connsiteX55" fmla="*/ 3509133 w 3626241"/>
              <a:gd name="connsiteY55" fmla="*/ 332909 h 1607594"/>
              <a:gd name="connsiteX56" fmla="*/ 3511826 w 3626241"/>
              <a:gd name="connsiteY56" fmla="*/ 337259 h 1607594"/>
              <a:gd name="connsiteX57" fmla="*/ 3518162 w 3626241"/>
              <a:gd name="connsiteY57" fmla="*/ 346088 h 1607594"/>
              <a:gd name="connsiteX58" fmla="*/ 3536579 w 3626241"/>
              <a:gd name="connsiteY58" fmla="*/ 377243 h 1607594"/>
              <a:gd name="connsiteX59" fmla="*/ 3543579 w 3626241"/>
              <a:gd name="connsiteY59" fmla="*/ 388549 h 1607594"/>
              <a:gd name="connsiteX60" fmla="*/ 3545166 w 3626241"/>
              <a:gd name="connsiteY60" fmla="*/ 391768 h 1607594"/>
              <a:gd name="connsiteX61" fmla="*/ 3549348 w 3626241"/>
              <a:gd name="connsiteY61" fmla="*/ 398843 h 1607594"/>
              <a:gd name="connsiteX62" fmla="*/ 3567343 w 3626241"/>
              <a:gd name="connsiteY62" fmla="*/ 436747 h 1607594"/>
              <a:gd name="connsiteX63" fmla="*/ 3572481 w 3626241"/>
              <a:gd name="connsiteY63" fmla="*/ 447167 h 1607594"/>
              <a:gd name="connsiteX64" fmla="*/ 3573205 w 3626241"/>
              <a:gd name="connsiteY64" fmla="*/ 449094 h 1607594"/>
              <a:gd name="connsiteX65" fmla="*/ 3575613 w 3626241"/>
              <a:gd name="connsiteY65" fmla="*/ 454166 h 1607594"/>
              <a:gd name="connsiteX66" fmla="*/ 3593679 w 3626241"/>
              <a:gd name="connsiteY66" fmla="*/ 503573 h 1607594"/>
              <a:gd name="connsiteX67" fmla="*/ 3595519 w 3626241"/>
              <a:gd name="connsiteY67" fmla="*/ 508470 h 1607594"/>
              <a:gd name="connsiteX68" fmla="*/ 3595649 w 3626241"/>
              <a:gd name="connsiteY68" fmla="*/ 508962 h 1607594"/>
              <a:gd name="connsiteX69" fmla="*/ 3596693 w 3626241"/>
              <a:gd name="connsiteY69" fmla="*/ 511816 h 1607594"/>
              <a:gd name="connsiteX70" fmla="*/ 3622242 w 3626241"/>
              <a:gd name="connsiteY70" fmla="*/ 633141 h 1607594"/>
              <a:gd name="connsiteX71" fmla="*/ 3622395 w 3626241"/>
              <a:gd name="connsiteY71" fmla="*/ 635897 h 1607594"/>
              <a:gd name="connsiteX72" fmla="*/ 3622720 w 3626241"/>
              <a:gd name="connsiteY72" fmla="*/ 637966 h 1607594"/>
              <a:gd name="connsiteX73" fmla="*/ 3624495 w 3626241"/>
              <a:gd name="connsiteY73" fmla="*/ 672064 h 1607594"/>
              <a:gd name="connsiteX74" fmla="*/ 3626240 w 3626241"/>
              <a:gd name="connsiteY74" fmla="*/ 672064 h 1607594"/>
              <a:gd name="connsiteX75" fmla="*/ 3626240 w 3626241"/>
              <a:gd name="connsiteY75" fmla="*/ 705146 h 1607594"/>
              <a:gd name="connsiteX76" fmla="*/ 3626241 w 3626241"/>
              <a:gd name="connsiteY76" fmla="*/ 705152 h 1607594"/>
              <a:gd name="connsiteX77" fmla="*/ 3626240 w 3626241"/>
              <a:gd name="connsiteY77" fmla="*/ 705159 h 1607594"/>
              <a:gd name="connsiteX78" fmla="*/ 3626240 w 3626241"/>
              <a:gd name="connsiteY78" fmla="*/ 705574 h 1607594"/>
              <a:gd name="connsiteX79" fmla="*/ 3626240 w 3626241"/>
              <a:gd name="connsiteY79" fmla="*/ 869363 h 1607594"/>
              <a:gd name="connsiteX80" fmla="*/ 3626240 w 3626241"/>
              <a:gd name="connsiteY80" fmla="*/ 902444 h 1607594"/>
              <a:gd name="connsiteX81" fmla="*/ 3626241 w 3626241"/>
              <a:gd name="connsiteY81" fmla="*/ 902451 h 1607594"/>
              <a:gd name="connsiteX82" fmla="*/ 3626240 w 3626241"/>
              <a:gd name="connsiteY82" fmla="*/ 902457 h 1607594"/>
              <a:gd name="connsiteX83" fmla="*/ 3626240 w 3626241"/>
              <a:gd name="connsiteY83" fmla="*/ 902873 h 1607594"/>
              <a:gd name="connsiteX84" fmla="*/ 3626240 w 3626241"/>
              <a:gd name="connsiteY84" fmla="*/ 1409462 h 1607594"/>
              <a:gd name="connsiteX85" fmla="*/ 3626240 w 3626241"/>
              <a:gd name="connsiteY85" fmla="*/ 1606761 h 1607594"/>
              <a:gd name="connsiteX86" fmla="*/ 3246228 w 3626241"/>
              <a:gd name="connsiteY86" fmla="*/ 1606761 h 1607594"/>
              <a:gd name="connsiteX87" fmla="*/ 2892478 w 3626241"/>
              <a:gd name="connsiteY87" fmla="*/ 1606761 h 1607594"/>
              <a:gd name="connsiteX88" fmla="*/ 2892478 w 3626241"/>
              <a:gd name="connsiteY88" fmla="*/ 1607594 h 1607594"/>
              <a:gd name="connsiteX89" fmla="*/ 2851429 w 3626241"/>
              <a:gd name="connsiteY89" fmla="*/ 1607594 h 1607594"/>
              <a:gd name="connsiteX90" fmla="*/ 2512466 w 3626241"/>
              <a:gd name="connsiteY90" fmla="*/ 1607594 h 1607594"/>
              <a:gd name="connsiteX91" fmla="*/ 2471417 w 3626241"/>
              <a:gd name="connsiteY91" fmla="*/ 1607594 h 1607594"/>
              <a:gd name="connsiteX92" fmla="*/ 1790092 w 3626241"/>
              <a:gd name="connsiteY92" fmla="*/ 1607594 h 1607594"/>
              <a:gd name="connsiteX93" fmla="*/ 1231616 w 3626241"/>
              <a:gd name="connsiteY93" fmla="*/ 1607594 h 1607594"/>
              <a:gd name="connsiteX94" fmla="*/ 851604 w 3626241"/>
              <a:gd name="connsiteY94" fmla="*/ 1607594 h 1607594"/>
              <a:gd name="connsiteX95" fmla="*/ 0 w 3626241"/>
              <a:gd name="connsiteY95" fmla="*/ 1607594 h 1607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626241" h="1607594">
                <a:moveTo>
                  <a:pt x="0" y="0"/>
                </a:moveTo>
                <a:lnTo>
                  <a:pt x="810554" y="0"/>
                </a:lnTo>
                <a:lnTo>
                  <a:pt x="851604" y="0"/>
                </a:lnTo>
                <a:lnTo>
                  <a:pt x="1190566" y="0"/>
                </a:lnTo>
                <a:lnTo>
                  <a:pt x="1231616" y="0"/>
                </a:lnTo>
                <a:lnTo>
                  <a:pt x="1790092" y="0"/>
                </a:lnTo>
                <a:lnTo>
                  <a:pt x="2471417" y="0"/>
                </a:lnTo>
                <a:lnTo>
                  <a:pt x="2851429" y="0"/>
                </a:lnTo>
                <a:lnTo>
                  <a:pt x="2851429" y="842"/>
                </a:lnTo>
                <a:lnTo>
                  <a:pt x="2851661" y="842"/>
                </a:lnTo>
                <a:lnTo>
                  <a:pt x="2861601" y="842"/>
                </a:lnTo>
                <a:lnTo>
                  <a:pt x="2892478" y="842"/>
                </a:lnTo>
                <a:lnTo>
                  <a:pt x="2892478" y="2599"/>
                </a:lnTo>
                <a:lnTo>
                  <a:pt x="2925970" y="4041"/>
                </a:lnTo>
                <a:lnTo>
                  <a:pt x="2928851" y="4408"/>
                </a:lnTo>
                <a:lnTo>
                  <a:pt x="2930440" y="4481"/>
                </a:lnTo>
                <a:lnTo>
                  <a:pt x="2945546" y="6533"/>
                </a:lnTo>
                <a:lnTo>
                  <a:pt x="2993835" y="12680"/>
                </a:lnTo>
                <a:lnTo>
                  <a:pt x="2999389" y="13848"/>
                </a:lnTo>
                <a:lnTo>
                  <a:pt x="3002660" y="14293"/>
                </a:lnTo>
                <a:lnTo>
                  <a:pt x="3019546" y="18089"/>
                </a:lnTo>
                <a:lnTo>
                  <a:pt x="3059687" y="26532"/>
                </a:lnTo>
                <a:lnTo>
                  <a:pt x="3067808" y="28936"/>
                </a:lnTo>
                <a:lnTo>
                  <a:pt x="3072546" y="30002"/>
                </a:lnTo>
                <a:lnTo>
                  <a:pt x="3088701" y="35122"/>
                </a:lnTo>
                <a:lnTo>
                  <a:pt x="3123262" y="45355"/>
                </a:lnTo>
                <a:lnTo>
                  <a:pt x="3133749" y="49402"/>
                </a:lnTo>
                <a:lnTo>
                  <a:pt x="3139779" y="51314"/>
                </a:lnTo>
                <a:lnTo>
                  <a:pt x="3154407" y="57375"/>
                </a:lnTo>
                <a:lnTo>
                  <a:pt x="3184295" y="68910"/>
                </a:lnTo>
                <a:lnTo>
                  <a:pt x="3196911" y="74987"/>
                </a:lnTo>
                <a:lnTo>
                  <a:pt x="3204036" y="77940"/>
                </a:lnTo>
                <a:lnTo>
                  <a:pt x="3216845" y="84589"/>
                </a:lnTo>
                <a:lnTo>
                  <a:pt x="3242522" y="96956"/>
                </a:lnTo>
                <a:lnTo>
                  <a:pt x="3256996" y="105431"/>
                </a:lnTo>
                <a:lnTo>
                  <a:pt x="3264998" y="109585"/>
                </a:lnTo>
                <a:lnTo>
                  <a:pt x="3275898" y="116499"/>
                </a:lnTo>
                <a:lnTo>
                  <a:pt x="3297679" y="129253"/>
                </a:lnTo>
                <a:lnTo>
                  <a:pt x="3313704" y="140480"/>
                </a:lnTo>
                <a:lnTo>
                  <a:pt x="3322343" y="145960"/>
                </a:lnTo>
                <a:lnTo>
                  <a:pt x="3331354" y="152846"/>
                </a:lnTo>
                <a:lnTo>
                  <a:pt x="3349502" y="165561"/>
                </a:lnTo>
                <a:lnTo>
                  <a:pt x="3366741" y="179887"/>
                </a:lnTo>
                <a:lnTo>
                  <a:pt x="3375750" y="186772"/>
                </a:lnTo>
                <a:lnTo>
                  <a:pt x="3382956" y="193363"/>
                </a:lnTo>
                <a:lnTo>
                  <a:pt x="3397726" y="205638"/>
                </a:lnTo>
                <a:lnTo>
                  <a:pt x="3415817" y="223422"/>
                </a:lnTo>
                <a:lnTo>
                  <a:pt x="3424898" y="231728"/>
                </a:lnTo>
                <a:lnTo>
                  <a:pt x="3430428" y="237784"/>
                </a:lnTo>
                <a:lnTo>
                  <a:pt x="3442087" y="249246"/>
                </a:lnTo>
                <a:lnTo>
                  <a:pt x="3460650" y="270883"/>
                </a:lnTo>
                <a:lnTo>
                  <a:pt x="3469466" y="280538"/>
                </a:lnTo>
                <a:lnTo>
                  <a:pt x="3473482" y="285840"/>
                </a:lnTo>
                <a:lnTo>
                  <a:pt x="3482320" y="296142"/>
                </a:lnTo>
                <a:lnTo>
                  <a:pt x="3500979" y="322143"/>
                </a:lnTo>
                <a:lnTo>
                  <a:pt x="3509133" y="332909"/>
                </a:lnTo>
                <a:lnTo>
                  <a:pt x="3511826" y="337259"/>
                </a:lnTo>
                <a:lnTo>
                  <a:pt x="3518162" y="346088"/>
                </a:lnTo>
                <a:lnTo>
                  <a:pt x="3536579" y="377243"/>
                </a:lnTo>
                <a:lnTo>
                  <a:pt x="3543579" y="388549"/>
                </a:lnTo>
                <a:lnTo>
                  <a:pt x="3545166" y="391768"/>
                </a:lnTo>
                <a:lnTo>
                  <a:pt x="3549348" y="398843"/>
                </a:lnTo>
                <a:lnTo>
                  <a:pt x="3567343" y="436747"/>
                </a:lnTo>
                <a:lnTo>
                  <a:pt x="3572481" y="447167"/>
                </a:lnTo>
                <a:lnTo>
                  <a:pt x="3573205" y="449094"/>
                </a:lnTo>
                <a:lnTo>
                  <a:pt x="3575613" y="454166"/>
                </a:lnTo>
                <a:lnTo>
                  <a:pt x="3593679" y="503573"/>
                </a:lnTo>
                <a:lnTo>
                  <a:pt x="3595519" y="508470"/>
                </a:lnTo>
                <a:lnTo>
                  <a:pt x="3595649" y="508962"/>
                </a:lnTo>
                <a:lnTo>
                  <a:pt x="3596693" y="511816"/>
                </a:lnTo>
                <a:cubicBezTo>
                  <a:pt x="3608960" y="550973"/>
                  <a:pt x="3617593" y="591521"/>
                  <a:pt x="3622242" y="633141"/>
                </a:cubicBezTo>
                <a:lnTo>
                  <a:pt x="3622395" y="635897"/>
                </a:lnTo>
                <a:lnTo>
                  <a:pt x="3622720" y="637966"/>
                </a:lnTo>
                <a:lnTo>
                  <a:pt x="3624495" y="672064"/>
                </a:lnTo>
                <a:lnTo>
                  <a:pt x="3626240" y="672064"/>
                </a:lnTo>
                <a:lnTo>
                  <a:pt x="3626240" y="705146"/>
                </a:lnTo>
                <a:lnTo>
                  <a:pt x="3626241" y="705152"/>
                </a:lnTo>
                <a:lnTo>
                  <a:pt x="3626240" y="705159"/>
                </a:lnTo>
                <a:lnTo>
                  <a:pt x="3626240" y="705574"/>
                </a:lnTo>
                <a:lnTo>
                  <a:pt x="3626240" y="869363"/>
                </a:lnTo>
                <a:lnTo>
                  <a:pt x="3626240" y="902444"/>
                </a:lnTo>
                <a:lnTo>
                  <a:pt x="3626241" y="902451"/>
                </a:lnTo>
                <a:lnTo>
                  <a:pt x="3626240" y="902457"/>
                </a:lnTo>
                <a:lnTo>
                  <a:pt x="3626240" y="902873"/>
                </a:lnTo>
                <a:lnTo>
                  <a:pt x="3626240" y="1409462"/>
                </a:lnTo>
                <a:lnTo>
                  <a:pt x="3626240" y="1606761"/>
                </a:lnTo>
                <a:lnTo>
                  <a:pt x="3246228" y="1606761"/>
                </a:lnTo>
                <a:lnTo>
                  <a:pt x="2892478" y="1606761"/>
                </a:lnTo>
                <a:lnTo>
                  <a:pt x="2892478" y="1607594"/>
                </a:lnTo>
                <a:lnTo>
                  <a:pt x="2851429" y="1607594"/>
                </a:lnTo>
                <a:lnTo>
                  <a:pt x="2512466" y="1607594"/>
                </a:lnTo>
                <a:lnTo>
                  <a:pt x="2471417" y="1607594"/>
                </a:lnTo>
                <a:lnTo>
                  <a:pt x="1790092" y="1607594"/>
                </a:lnTo>
                <a:lnTo>
                  <a:pt x="1231616" y="1607594"/>
                </a:lnTo>
                <a:lnTo>
                  <a:pt x="851604" y="1607594"/>
                </a:lnTo>
                <a:lnTo>
                  <a:pt x="0" y="16075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Freeform: Shape 27">
            <a:extLst>
              <a:ext uri="{FF2B5EF4-FFF2-40B4-BE49-F238E27FC236}">
                <a16:creationId xmlns:a16="http://schemas.microsoft.com/office/drawing/2014/main" id="{8D087EE4-73E5-C84E-9ED2-8932E73BC885}"/>
              </a:ext>
            </a:extLst>
          </p:cNvPr>
          <p:cNvSpPr/>
          <p:nvPr/>
        </p:nvSpPr>
        <p:spPr>
          <a:xfrm rot="10800000" flipH="1">
            <a:off x="9246307" y="3243510"/>
            <a:ext cx="768272" cy="758393"/>
          </a:xfrm>
          <a:custGeom>
            <a:avLst/>
            <a:gdLst>
              <a:gd name="connsiteX0" fmla="*/ 2133600 w 4325258"/>
              <a:gd name="connsiteY0" fmla="*/ 0 h 4325258"/>
              <a:gd name="connsiteX1" fmla="*/ 2162629 w 4325258"/>
              <a:gd name="connsiteY1" fmla="*/ 0 h 4325258"/>
              <a:gd name="connsiteX2" fmla="*/ 4325257 w 4325258"/>
              <a:gd name="connsiteY2" fmla="*/ 0 h 4325258"/>
              <a:gd name="connsiteX3" fmla="*/ 4325257 w 4325258"/>
              <a:gd name="connsiteY3" fmla="*/ 2162609 h 4325258"/>
              <a:gd name="connsiteX4" fmla="*/ 4325258 w 4325258"/>
              <a:gd name="connsiteY4" fmla="*/ 2162629 h 4325258"/>
              <a:gd name="connsiteX5" fmla="*/ 4325257 w 4325258"/>
              <a:gd name="connsiteY5" fmla="*/ 2162650 h 4325258"/>
              <a:gd name="connsiteX6" fmla="*/ 4325257 w 4325258"/>
              <a:gd name="connsiteY6" fmla="*/ 2264228 h 4325258"/>
              <a:gd name="connsiteX7" fmla="*/ 4320128 w 4325258"/>
              <a:gd name="connsiteY7" fmla="*/ 2264228 h 4325258"/>
              <a:gd name="connsiteX8" fmla="*/ 4314093 w 4325258"/>
              <a:gd name="connsiteY8" fmla="*/ 2383745 h 4325258"/>
              <a:gd name="connsiteX9" fmla="*/ 2162629 w 4325258"/>
              <a:gd name="connsiteY9" fmla="*/ 4325258 h 4325258"/>
              <a:gd name="connsiteX10" fmla="*/ 0 w 4325258"/>
              <a:gd name="connsiteY10" fmla="*/ 2162629 h 4325258"/>
              <a:gd name="connsiteX11" fmla="*/ 1941513 w 4325258"/>
              <a:gd name="connsiteY11" fmla="*/ 11166 h 4325258"/>
              <a:gd name="connsiteX12" fmla="*/ 2133600 w 4325258"/>
              <a:gd name="connsiteY12" fmla="*/ 1466 h 4325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325258" h="4325258">
                <a:moveTo>
                  <a:pt x="2133600" y="0"/>
                </a:moveTo>
                <a:lnTo>
                  <a:pt x="2162629" y="0"/>
                </a:lnTo>
                <a:lnTo>
                  <a:pt x="4325257" y="0"/>
                </a:lnTo>
                <a:lnTo>
                  <a:pt x="4325257" y="2162609"/>
                </a:lnTo>
                <a:lnTo>
                  <a:pt x="4325258" y="2162629"/>
                </a:lnTo>
                <a:lnTo>
                  <a:pt x="4325257" y="2162650"/>
                </a:lnTo>
                <a:lnTo>
                  <a:pt x="4325257" y="2264228"/>
                </a:lnTo>
                <a:lnTo>
                  <a:pt x="4320128" y="2264228"/>
                </a:lnTo>
                <a:lnTo>
                  <a:pt x="4314093" y="2383745"/>
                </a:lnTo>
                <a:cubicBezTo>
                  <a:pt x="4203344" y="3474264"/>
                  <a:pt x="3282367" y="4325258"/>
                  <a:pt x="2162629" y="4325258"/>
                </a:cubicBezTo>
                <a:cubicBezTo>
                  <a:pt x="968242" y="4325258"/>
                  <a:pt x="0" y="3357016"/>
                  <a:pt x="0" y="2162629"/>
                </a:cubicBezTo>
                <a:cubicBezTo>
                  <a:pt x="0" y="1042891"/>
                  <a:pt x="850994" y="121914"/>
                  <a:pt x="1941513" y="11166"/>
                </a:cubicBezTo>
                <a:lnTo>
                  <a:pt x="2133600" y="14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28">
            <a:extLst>
              <a:ext uri="{FF2B5EF4-FFF2-40B4-BE49-F238E27FC236}">
                <a16:creationId xmlns:a16="http://schemas.microsoft.com/office/drawing/2014/main" id="{0F44207C-7334-B544-ABCE-99CC62FC8989}"/>
              </a:ext>
            </a:extLst>
          </p:cNvPr>
          <p:cNvSpPr/>
          <p:nvPr/>
        </p:nvSpPr>
        <p:spPr>
          <a:xfrm>
            <a:off x="9826252" y="3243511"/>
            <a:ext cx="1807321" cy="3035884"/>
          </a:xfrm>
          <a:custGeom>
            <a:avLst/>
            <a:gdLst>
              <a:gd name="connsiteX0" fmla="*/ 2512549 w 3414727"/>
              <a:gd name="connsiteY0" fmla="*/ 2970965 h 6236497"/>
              <a:gd name="connsiteX1" fmla="*/ 2512540 w 3414727"/>
              <a:gd name="connsiteY1" fmla="*/ 2970965 h 6236497"/>
              <a:gd name="connsiteX2" fmla="*/ 2470215 w 3414727"/>
              <a:gd name="connsiteY2" fmla="*/ 2970965 h 6236497"/>
              <a:gd name="connsiteX3" fmla="*/ 2452570 w 3414727"/>
              <a:gd name="connsiteY3" fmla="*/ 2970965 h 6236497"/>
              <a:gd name="connsiteX4" fmla="*/ 2452038 w 3414727"/>
              <a:gd name="connsiteY4" fmla="*/ 2970965 h 6236497"/>
              <a:gd name="connsiteX5" fmla="*/ 2452030 w 3414727"/>
              <a:gd name="connsiteY5" fmla="*/ 2970965 h 6236497"/>
              <a:gd name="connsiteX6" fmla="*/ 2452021 w 3414727"/>
              <a:gd name="connsiteY6" fmla="*/ 2970965 h 6236497"/>
              <a:gd name="connsiteX7" fmla="*/ 2409696 w 3414727"/>
              <a:gd name="connsiteY7" fmla="*/ 2970965 h 6236497"/>
              <a:gd name="connsiteX8" fmla="*/ 1876553 w 3414727"/>
              <a:gd name="connsiteY8" fmla="*/ 2970964 h 6236497"/>
              <a:gd name="connsiteX9" fmla="*/ 1876021 w 3414727"/>
              <a:gd name="connsiteY9" fmla="*/ 2970964 h 6236497"/>
              <a:gd name="connsiteX10" fmla="*/ 1876013 w 3414727"/>
              <a:gd name="connsiteY10" fmla="*/ 2970965 h 6236497"/>
              <a:gd name="connsiteX11" fmla="*/ 1876004 w 3414727"/>
              <a:gd name="connsiteY11" fmla="*/ 2970964 h 6236497"/>
              <a:gd name="connsiteX12" fmla="*/ 1833680 w 3414727"/>
              <a:gd name="connsiteY12" fmla="*/ 2970964 h 6236497"/>
              <a:gd name="connsiteX13" fmla="*/ 1816034 w 3414727"/>
              <a:gd name="connsiteY13" fmla="*/ 2970964 h 6236497"/>
              <a:gd name="connsiteX14" fmla="*/ 1815502 w 3414727"/>
              <a:gd name="connsiteY14" fmla="*/ 2970964 h 6236497"/>
              <a:gd name="connsiteX15" fmla="*/ 1815494 w 3414727"/>
              <a:gd name="connsiteY15" fmla="*/ 2970965 h 6236497"/>
              <a:gd name="connsiteX16" fmla="*/ 1815485 w 3414727"/>
              <a:gd name="connsiteY16" fmla="*/ 2970964 h 6236497"/>
              <a:gd name="connsiteX17" fmla="*/ 1773160 w 3414727"/>
              <a:gd name="connsiteY17" fmla="*/ 2970964 h 6236497"/>
              <a:gd name="connsiteX18" fmla="*/ 1773160 w 3414727"/>
              <a:gd name="connsiteY18" fmla="*/ 2968858 h 6236497"/>
              <a:gd name="connsiteX19" fmla="*/ 1729534 w 3414727"/>
              <a:gd name="connsiteY19" fmla="*/ 2966714 h 6236497"/>
              <a:gd name="connsiteX20" fmla="*/ 1726886 w 3414727"/>
              <a:gd name="connsiteY20" fmla="*/ 2966321 h 6236497"/>
              <a:gd name="connsiteX21" fmla="*/ 1723361 w 3414727"/>
              <a:gd name="connsiteY21" fmla="*/ 2966137 h 6236497"/>
              <a:gd name="connsiteX22" fmla="*/ 1568135 w 3414727"/>
              <a:gd name="connsiteY22" fmla="*/ 2935289 h 6236497"/>
              <a:gd name="connsiteX23" fmla="*/ 1564484 w 3414727"/>
              <a:gd name="connsiteY23" fmla="*/ 2934028 h 6236497"/>
              <a:gd name="connsiteX24" fmla="*/ 1563854 w 3414727"/>
              <a:gd name="connsiteY24" fmla="*/ 2933871 h 6236497"/>
              <a:gd name="connsiteX25" fmla="*/ 1557589 w 3414727"/>
              <a:gd name="connsiteY25" fmla="*/ 2931649 h 6236497"/>
              <a:gd name="connsiteX26" fmla="*/ 1494375 w 3414727"/>
              <a:gd name="connsiteY26" fmla="*/ 2909837 h 6236497"/>
              <a:gd name="connsiteX27" fmla="*/ 1487887 w 3414727"/>
              <a:gd name="connsiteY27" fmla="*/ 2906929 h 6236497"/>
              <a:gd name="connsiteX28" fmla="*/ 1485421 w 3414727"/>
              <a:gd name="connsiteY28" fmla="*/ 2906055 h 6236497"/>
              <a:gd name="connsiteX29" fmla="*/ 1472090 w 3414727"/>
              <a:gd name="connsiteY29" fmla="*/ 2899851 h 6236497"/>
              <a:gd name="connsiteX30" fmla="*/ 1423594 w 3414727"/>
              <a:gd name="connsiteY30" fmla="*/ 2878124 h 6236497"/>
              <a:gd name="connsiteX31" fmla="*/ 1414543 w 3414727"/>
              <a:gd name="connsiteY31" fmla="*/ 2873074 h 6236497"/>
              <a:gd name="connsiteX32" fmla="*/ 1410423 w 3414727"/>
              <a:gd name="connsiteY32" fmla="*/ 2871157 h 6236497"/>
              <a:gd name="connsiteX33" fmla="*/ 1395959 w 3414727"/>
              <a:gd name="connsiteY33" fmla="*/ 2862706 h 6236497"/>
              <a:gd name="connsiteX34" fmla="*/ 1356099 w 3414727"/>
              <a:gd name="connsiteY34" fmla="*/ 2840469 h 6236497"/>
              <a:gd name="connsiteX35" fmla="*/ 1344802 w 3414727"/>
              <a:gd name="connsiteY35" fmla="*/ 2832818 h 6236497"/>
              <a:gd name="connsiteX36" fmla="*/ 1339236 w 3414727"/>
              <a:gd name="connsiteY36" fmla="*/ 2829568 h 6236497"/>
              <a:gd name="connsiteX37" fmla="*/ 1325463 w 3414727"/>
              <a:gd name="connsiteY37" fmla="*/ 2819722 h 6236497"/>
              <a:gd name="connsiteX38" fmla="*/ 1292197 w 3414727"/>
              <a:gd name="connsiteY38" fmla="*/ 2797193 h 6236497"/>
              <a:gd name="connsiteX39" fmla="*/ 1279016 w 3414727"/>
              <a:gd name="connsiteY39" fmla="*/ 2786522 h 6236497"/>
              <a:gd name="connsiteX40" fmla="*/ 1272232 w 3414727"/>
              <a:gd name="connsiteY40" fmla="*/ 2781673 h 6236497"/>
              <a:gd name="connsiteX41" fmla="*/ 1259879 w 3414727"/>
              <a:gd name="connsiteY41" fmla="*/ 2771028 h 6236497"/>
              <a:gd name="connsiteX42" fmla="*/ 1232195 w 3414727"/>
              <a:gd name="connsiteY42" fmla="*/ 2748614 h 6236497"/>
              <a:gd name="connsiteX43" fmla="*/ 1217532 w 3414727"/>
              <a:gd name="connsiteY43" fmla="*/ 2734537 h 6236497"/>
              <a:gd name="connsiteX44" fmla="*/ 1209783 w 3414727"/>
              <a:gd name="connsiteY44" fmla="*/ 2727860 h 6236497"/>
              <a:gd name="connsiteX45" fmla="*/ 1199155 w 3414727"/>
              <a:gd name="connsiteY45" fmla="*/ 2716895 h 6236497"/>
              <a:gd name="connsiteX46" fmla="*/ 1176403 w 3414727"/>
              <a:gd name="connsiteY46" fmla="*/ 2695052 h 6236497"/>
              <a:gd name="connsiteX47" fmla="*/ 1160698 w 3414727"/>
              <a:gd name="connsiteY47" fmla="*/ 2677218 h 6236497"/>
              <a:gd name="connsiteX48" fmla="*/ 1152264 w 3414727"/>
              <a:gd name="connsiteY48" fmla="*/ 2668518 h 6236497"/>
              <a:gd name="connsiteX49" fmla="*/ 1143457 w 3414727"/>
              <a:gd name="connsiteY49" fmla="*/ 2657640 h 6236497"/>
              <a:gd name="connsiteX50" fmla="*/ 1125127 w 3414727"/>
              <a:gd name="connsiteY50" fmla="*/ 2636825 h 6236497"/>
              <a:gd name="connsiteX51" fmla="*/ 1108859 w 3414727"/>
              <a:gd name="connsiteY51" fmla="*/ 2614912 h 6236497"/>
              <a:gd name="connsiteX52" fmla="*/ 1100049 w 3414727"/>
              <a:gd name="connsiteY52" fmla="*/ 2604033 h 6236497"/>
              <a:gd name="connsiteX53" fmla="*/ 1093039 w 3414727"/>
              <a:gd name="connsiteY53" fmla="*/ 2593602 h 6236497"/>
              <a:gd name="connsiteX54" fmla="*/ 1078674 w 3414727"/>
              <a:gd name="connsiteY54" fmla="*/ 2574253 h 6236497"/>
              <a:gd name="connsiteX55" fmla="*/ 1062357 w 3414727"/>
              <a:gd name="connsiteY55" fmla="*/ 2547954 h 6236497"/>
              <a:gd name="connsiteX56" fmla="*/ 1053511 w 3414727"/>
              <a:gd name="connsiteY56" fmla="*/ 2534794 h 6236497"/>
              <a:gd name="connsiteX57" fmla="*/ 1048196 w 3414727"/>
              <a:gd name="connsiteY57" fmla="*/ 2525132 h 6236497"/>
              <a:gd name="connsiteX58" fmla="*/ 1037353 w 3414727"/>
              <a:gd name="connsiteY58" fmla="*/ 2507655 h 6236497"/>
              <a:gd name="connsiteX59" fmla="*/ 1021530 w 3414727"/>
              <a:gd name="connsiteY59" fmla="*/ 2476651 h 6236497"/>
              <a:gd name="connsiteX60" fmla="*/ 1013023 w 3414727"/>
              <a:gd name="connsiteY60" fmla="*/ 2461187 h 6236497"/>
              <a:gd name="connsiteX61" fmla="*/ 1009246 w 3414727"/>
              <a:gd name="connsiteY61" fmla="*/ 2452584 h 6236497"/>
              <a:gd name="connsiteX62" fmla="*/ 1001470 w 3414727"/>
              <a:gd name="connsiteY62" fmla="*/ 2437350 h 6236497"/>
              <a:gd name="connsiteX63" fmla="*/ 986712 w 3414727"/>
              <a:gd name="connsiteY63" fmla="*/ 2401263 h 6236497"/>
              <a:gd name="connsiteX64" fmla="*/ 978957 w 3414727"/>
              <a:gd name="connsiteY64" fmla="*/ 2383601 h 6236497"/>
              <a:gd name="connsiteX65" fmla="*/ 976512 w 3414727"/>
              <a:gd name="connsiteY65" fmla="*/ 2376320 h 6236497"/>
              <a:gd name="connsiteX66" fmla="*/ 971333 w 3414727"/>
              <a:gd name="connsiteY66" fmla="*/ 2363657 h 6236497"/>
              <a:gd name="connsiteX67" fmla="*/ 958241 w 3414727"/>
              <a:gd name="connsiteY67" fmla="*/ 2321929 h 6236497"/>
              <a:gd name="connsiteX68" fmla="*/ 951689 w 3414727"/>
              <a:gd name="connsiteY68" fmla="*/ 2302423 h 6236497"/>
              <a:gd name="connsiteX69" fmla="*/ 950326 w 3414727"/>
              <a:gd name="connsiteY69" fmla="*/ 2296701 h 6236497"/>
              <a:gd name="connsiteX70" fmla="*/ 947250 w 3414727"/>
              <a:gd name="connsiteY70" fmla="*/ 2286896 h 6236497"/>
              <a:gd name="connsiteX71" fmla="*/ 936447 w 3414727"/>
              <a:gd name="connsiteY71" fmla="*/ 2238430 h 6236497"/>
              <a:gd name="connsiteX72" fmla="*/ 931592 w 3414727"/>
              <a:gd name="connsiteY72" fmla="*/ 2218041 h 6236497"/>
              <a:gd name="connsiteX73" fmla="*/ 931023 w 3414727"/>
              <a:gd name="connsiteY73" fmla="*/ 2214091 h 6236497"/>
              <a:gd name="connsiteX74" fmla="*/ 929529 w 3414727"/>
              <a:gd name="connsiteY74" fmla="*/ 2207385 h 6236497"/>
              <a:gd name="connsiteX75" fmla="*/ 921664 w 3414727"/>
              <a:gd name="connsiteY75" fmla="*/ 2149080 h 6236497"/>
              <a:gd name="connsiteX76" fmla="*/ 919038 w 3414727"/>
              <a:gd name="connsiteY76" fmla="*/ 2130842 h 6236497"/>
              <a:gd name="connsiteX77" fmla="*/ 918944 w 3414727"/>
              <a:gd name="connsiteY77" fmla="*/ 2128921 h 6236497"/>
              <a:gd name="connsiteX78" fmla="*/ 918475 w 3414727"/>
              <a:gd name="connsiteY78" fmla="*/ 2125444 h 6236497"/>
              <a:gd name="connsiteX79" fmla="*/ 916631 w 3414727"/>
              <a:gd name="connsiteY79" fmla="*/ 2085006 h 6236497"/>
              <a:gd name="connsiteX80" fmla="*/ 914381 w 3414727"/>
              <a:gd name="connsiteY80" fmla="*/ 2085006 h 6236497"/>
              <a:gd name="connsiteX81" fmla="*/ 914381 w 3414727"/>
              <a:gd name="connsiteY81" fmla="*/ 2055911 h 6236497"/>
              <a:gd name="connsiteX82" fmla="*/ 912470 w 3414727"/>
              <a:gd name="connsiteY82" fmla="*/ 2041981 h 6236497"/>
              <a:gd name="connsiteX83" fmla="*/ 909844 w 3414727"/>
              <a:gd name="connsiteY83" fmla="*/ 2024052 h 6236497"/>
              <a:gd name="connsiteX84" fmla="*/ 909750 w 3414727"/>
              <a:gd name="connsiteY84" fmla="*/ 2022164 h 6236497"/>
              <a:gd name="connsiteX85" fmla="*/ 909281 w 3414727"/>
              <a:gd name="connsiteY85" fmla="*/ 2018746 h 6236497"/>
              <a:gd name="connsiteX86" fmla="*/ 907437 w 3414727"/>
              <a:gd name="connsiteY86" fmla="*/ 1978994 h 6236497"/>
              <a:gd name="connsiteX87" fmla="*/ 905187 w 3414727"/>
              <a:gd name="connsiteY87" fmla="*/ 1978994 h 6236497"/>
              <a:gd name="connsiteX88" fmla="*/ 905187 w 3414727"/>
              <a:gd name="connsiteY88" fmla="*/ 1942343 h 6236497"/>
              <a:gd name="connsiteX89" fmla="*/ 905187 w 3414727"/>
              <a:gd name="connsiteY89" fmla="*/ 1930545 h 6236497"/>
              <a:gd name="connsiteX90" fmla="*/ 905187 w 3414727"/>
              <a:gd name="connsiteY90" fmla="*/ 1930270 h 6236497"/>
              <a:gd name="connsiteX91" fmla="*/ 904111 w 3414727"/>
              <a:gd name="connsiteY91" fmla="*/ 1930270 h 6236497"/>
              <a:gd name="connsiteX92" fmla="*/ 904111 w 3414727"/>
              <a:gd name="connsiteY92" fmla="*/ 1770731 h 6236497"/>
              <a:gd name="connsiteX93" fmla="*/ 904111 w 3414727"/>
              <a:gd name="connsiteY93" fmla="*/ 1748996 h 6236497"/>
              <a:gd name="connsiteX94" fmla="*/ 904111 w 3414727"/>
              <a:gd name="connsiteY94" fmla="*/ 1264868 h 6236497"/>
              <a:gd name="connsiteX95" fmla="*/ 904111 w 3414727"/>
              <a:gd name="connsiteY95" fmla="*/ 1033638 h 6236497"/>
              <a:gd name="connsiteX96" fmla="*/ 904111 w 3414727"/>
              <a:gd name="connsiteY96" fmla="*/ 969659 h 6236497"/>
              <a:gd name="connsiteX97" fmla="*/ 905177 w 3414727"/>
              <a:gd name="connsiteY97" fmla="*/ 969659 h 6236497"/>
              <a:gd name="connsiteX98" fmla="*/ 905177 w 3414727"/>
              <a:gd name="connsiteY98" fmla="*/ 772763 h 6236497"/>
              <a:gd name="connsiteX99" fmla="*/ 903755 w 3414727"/>
              <a:gd name="connsiteY99" fmla="*/ 772763 h 6236497"/>
              <a:gd name="connsiteX100" fmla="*/ 903755 w 3414727"/>
              <a:gd name="connsiteY100" fmla="*/ 1 h 6236497"/>
              <a:gd name="connsiteX101" fmla="*/ 973468 w 3414727"/>
              <a:gd name="connsiteY101" fmla="*/ 1 h 6236497"/>
              <a:gd name="connsiteX102" fmla="*/ 1540291 w 3414727"/>
              <a:gd name="connsiteY102" fmla="*/ 1 h 6236497"/>
              <a:gd name="connsiteX103" fmla="*/ 1610004 w 3414727"/>
              <a:gd name="connsiteY103" fmla="*/ 1 h 6236497"/>
              <a:gd name="connsiteX104" fmla="*/ 1804327 w 3414727"/>
              <a:gd name="connsiteY104" fmla="*/ 1 h 6236497"/>
              <a:gd name="connsiteX105" fmla="*/ 1804859 w 3414727"/>
              <a:gd name="connsiteY105" fmla="*/ 1 h 6236497"/>
              <a:gd name="connsiteX106" fmla="*/ 1804867 w 3414727"/>
              <a:gd name="connsiteY106" fmla="*/ 0 h 6236497"/>
              <a:gd name="connsiteX107" fmla="*/ 1804876 w 3414727"/>
              <a:gd name="connsiteY107" fmla="*/ 1 h 6236497"/>
              <a:gd name="connsiteX108" fmla="*/ 1847201 w 3414727"/>
              <a:gd name="connsiteY108" fmla="*/ 1 h 6236497"/>
              <a:gd name="connsiteX109" fmla="*/ 1874040 w 3414727"/>
              <a:gd name="connsiteY109" fmla="*/ 1 h 6236497"/>
              <a:gd name="connsiteX110" fmla="*/ 1874571 w 3414727"/>
              <a:gd name="connsiteY110" fmla="*/ 1 h 6236497"/>
              <a:gd name="connsiteX111" fmla="*/ 1874580 w 3414727"/>
              <a:gd name="connsiteY111" fmla="*/ 0 h 6236497"/>
              <a:gd name="connsiteX112" fmla="*/ 1874589 w 3414727"/>
              <a:gd name="connsiteY112" fmla="*/ 1 h 6236497"/>
              <a:gd name="connsiteX113" fmla="*/ 1916913 w 3414727"/>
              <a:gd name="connsiteY113" fmla="*/ 1 h 6236497"/>
              <a:gd name="connsiteX114" fmla="*/ 2440864 w 3414727"/>
              <a:gd name="connsiteY114" fmla="*/ 1 h 6236497"/>
              <a:gd name="connsiteX115" fmla="*/ 2441395 w 3414727"/>
              <a:gd name="connsiteY115" fmla="*/ 1 h 6236497"/>
              <a:gd name="connsiteX116" fmla="*/ 2441403 w 3414727"/>
              <a:gd name="connsiteY116" fmla="*/ 0 h 6236497"/>
              <a:gd name="connsiteX117" fmla="*/ 2441412 w 3414727"/>
              <a:gd name="connsiteY117" fmla="*/ 1 h 6236497"/>
              <a:gd name="connsiteX118" fmla="*/ 2483737 w 3414727"/>
              <a:gd name="connsiteY118" fmla="*/ 1 h 6236497"/>
              <a:gd name="connsiteX119" fmla="*/ 2510576 w 3414727"/>
              <a:gd name="connsiteY119" fmla="*/ 1 h 6236497"/>
              <a:gd name="connsiteX120" fmla="*/ 2511107 w 3414727"/>
              <a:gd name="connsiteY120" fmla="*/ 1 h 6236497"/>
              <a:gd name="connsiteX121" fmla="*/ 2511116 w 3414727"/>
              <a:gd name="connsiteY121" fmla="*/ 0 h 6236497"/>
              <a:gd name="connsiteX122" fmla="*/ 2511124 w 3414727"/>
              <a:gd name="connsiteY122" fmla="*/ 1 h 6236497"/>
              <a:gd name="connsiteX123" fmla="*/ 2553450 w 3414727"/>
              <a:gd name="connsiteY123" fmla="*/ 1 h 6236497"/>
              <a:gd name="connsiteX124" fmla="*/ 2553450 w 3414727"/>
              <a:gd name="connsiteY124" fmla="*/ 2220 h 6236497"/>
              <a:gd name="connsiteX125" fmla="*/ 2597076 w 3414727"/>
              <a:gd name="connsiteY125" fmla="*/ 4480 h 6236497"/>
              <a:gd name="connsiteX126" fmla="*/ 2599722 w 3414727"/>
              <a:gd name="connsiteY126" fmla="*/ 4894 h 6236497"/>
              <a:gd name="connsiteX127" fmla="*/ 2603249 w 3414727"/>
              <a:gd name="connsiteY127" fmla="*/ 5088 h 6236497"/>
              <a:gd name="connsiteX128" fmla="*/ 2758475 w 3414727"/>
              <a:gd name="connsiteY128" fmla="*/ 37591 h 6236497"/>
              <a:gd name="connsiteX129" fmla="*/ 2762127 w 3414727"/>
              <a:gd name="connsiteY129" fmla="*/ 38918 h 6236497"/>
              <a:gd name="connsiteX130" fmla="*/ 2762756 w 3414727"/>
              <a:gd name="connsiteY130" fmla="*/ 39084 h 6236497"/>
              <a:gd name="connsiteX131" fmla="*/ 2769021 w 3414727"/>
              <a:gd name="connsiteY131" fmla="*/ 41426 h 6236497"/>
              <a:gd name="connsiteX132" fmla="*/ 2832235 w 3414727"/>
              <a:gd name="connsiteY132" fmla="*/ 64408 h 6236497"/>
              <a:gd name="connsiteX133" fmla="*/ 2838723 w 3414727"/>
              <a:gd name="connsiteY133" fmla="*/ 67471 h 6236497"/>
              <a:gd name="connsiteX134" fmla="*/ 2841189 w 3414727"/>
              <a:gd name="connsiteY134" fmla="*/ 68393 h 6236497"/>
              <a:gd name="connsiteX135" fmla="*/ 2854520 w 3414727"/>
              <a:gd name="connsiteY135" fmla="*/ 74929 h 6236497"/>
              <a:gd name="connsiteX136" fmla="*/ 2903015 w 3414727"/>
              <a:gd name="connsiteY136" fmla="*/ 97822 h 6236497"/>
              <a:gd name="connsiteX137" fmla="*/ 2912067 w 3414727"/>
              <a:gd name="connsiteY137" fmla="*/ 103142 h 6236497"/>
              <a:gd name="connsiteX138" fmla="*/ 2916186 w 3414727"/>
              <a:gd name="connsiteY138" fmla="*/ 105161 h 6236497"/>
              <a:gd name="connsiteX139" fmla="*/ 2930651 w 3414727"/>
              <a:gd name="connsiteY139" fmla="*/ 114065 h 6236497"/>
              <a:gd name="connsiteX140" fmla="*/ 2970512 w 3414727"/>
              <a:gd name="connsiteY140" fmla="*/ 137496 h 6236497"/>
              <a:gd name="connsiteX141" fmla="*/ 2981807 w 3414727"/>
              <a:gd name="connsiteY141" fmla="*/ 145556 h 6236497"/>
              <a:gd name="connsiteX142" fmla="*/ 2987374 w 3414727"/>
              <a:gd name="connsiteY142" fmla="*/ 148981 h 6236497"/>
              <a:gd name="connsiteX143" fmla="*/ 3001148 w 3414727"/>
              <a:gd name="connsiteY143" fmla="*/ 159355 h 6236497"/>
              <a:gd name="connsiteX144" fmla="*/ 3034413 w 3414727"/>
              <a:gd name="connsiteY144" fmla="*/ 183092 h 6236497"/>
              <a:gd name="connsiteX145" fmla="*/ 3047594 w 3414727"/>
              <a:gd name="connsiteY145" fmla="*/ 194337 h 6236497"/>
              <a:gd name="connsiteX146" fmla="*/ 3054378 w 3414727"/>
              <a:gd name="connsiteY146" fmla="*/ 199445 h 6236497"/>
              <a:gd name="connsiteX147" fmla="*/ 3066731 w 3414727"/>
              <a:gd name="connsiteY147" fmla="*/ 210661 h 6236497"/>
              <a:gd name="connsiteX148" fmla="*/ 3094414 w 3414727"/>
              <a:gd name="connsiteY148" fmla="*/ 234276 h 6236497"/>
              <a:gd name="connsiteX149" fmla="*/ 3109078 w 3414727"/>
              <a:gd name="connsiteY149" fmla="*/ 249109 h 6236497"/>
              <a:gd name="connsiteX150" fmla="*/ 3116826 w 3414727"/>
              <a:gd name="connsiteY150" fmla="*/ 256143 h 6236497"/>
              <a:gd name="connsiteX151" fmla="*/ 3127454 w 3414727"/>
              <a:gd name="connsiteY151" fmla="*/ 267697 h 6236497"/>
              <a:gd name="connsiteX152" fmla="*/ 3150207 w 3414727"/>
              <a:gd name="connsiteY152" fmla="*/ 290711 h 6236497"/>
              <a:gd name="connsiteX153" fmla="*/ 3165912 w 3414727"/>
              <a:gd name="connsiteY153" fmla="*/ 309501 h 6236497"/>
              <a:gd name="connsiteX154" fmla="*/ 3174345 w 3414727"/>
              <a:gd name="connsiteY154" fmla="*/ 318669 h 6236497"/>
              <a:gd name="connsiteX155" fmla="*/ 3183153 w 3414727"/>
              <a:gd name="connsiteY155" fmla="*/ 330130 h 6236497"/>
              <a:gd name="connsiteX156" fmla="*/ 3201483 w 3414727"/>
              <a:gd name="connsiteY156" fmla="*/ 352061 h 6236497"/>
              <a:gd name="connsiteX157" fmla="*/ 3217750 w 3414727"/>
              <a:gd name="connsiteY157" fmla="*/ 375148 h 6236497"/>
              <a:gd name="connsiteX158" fmla="*/ 3226560 w 3414727"/>
              <a:gd name="connsiteY158" fmla="*/ 386611 h 6236497"/>
              <a:gd name="connsiteX159" fmla="*/ 3233571 w 3414727"/>
              <a:gd name="connsiteY159" fmla="*/ 397601 h 6236497"/>
              <a:gd name="connsiteX160" fmla="*/ 3247936 w 3414727"/>
              <a:gd name="connsiteY160" fmla="*/ 417988 h 6236497"/>
              <a:gd name="connsiteX161" fmla="*/ 3264253 w 3414727"/>
              <a:gd name="connsiteY161" fmla="*/ 445698 h 6236497"/>
              <a:gd name="connsiteX162" fmla="*/ 3273099 w 3414727"/>
              <a:gd name="connsiteY162" fmla="*/ 459564 h 6236497"/>
              <a:gd name="connsiteX163" fmla="*/ 3278414 w 3414727"/>
              <a:gd name="connsiteY163" fmla="*/ 469744 h 6236497"/>
              <a:gd name="connsiteX164" fmla="*/ 3289257 w 3414727"/>
              <a:gd name="connsiteY164" fmla="*/ 488158 h 6236497"/>
              <a:gd name="connsiteX165" fmla="*/ 3305080 w 3414727"/>
              <a:gd name="connsiteY165" fmla="*/ 520825 h 6236497"/>
              <a:gd name="connsiteX166" fmla="*/ 3313588 w 3414727"/>
              <a:gd name="connsiteY166" fmla="*/ 537118 h 6236497"/>
              <a:gd name="connsiteX167" fmla="*/ 3317364 w 3414727"/>
              <a:gd name="connsiteY167" fmla="*/ 546183 h 6236497"/>
              <a:gd name="connsiteX168" fmla="*/ 3325140 w 3414727"/>
              <a:gd name="connsiteY168" fmla="*/ 562233 h 6236497"/>
              <a:gd name="connsiteX169" fmla="*/ 3339897 w 3414727"/>
              <a:gd name="connsiteY169" fmla="*/ 600256 h 6236497"/>
              <a:gd name="connsiteX170" fmla="*/ 3347654 w 3414727"/>
              <a:gd name="connsiteY170" fmla="*/ 618866 h 6236497"/>
              <a:gd name="connsiteX171" fmla="*/ 3350099 w 3414727"/>
              <a:gd name="connsiteY171" fmla="*/ 626536 h 6236497"/>
              <a:gd name="connsiteX172" fmla="*/ 3355277 w 3414727"/>
              <a:gd name="connsiteY172" fmla="*/ 639878 h 6236497"/>
              <a:gd name="connsiteX173" fmla="*/ 3368369 w 3414727"/>
              <a:gd name="connsiteY173" fmla="*/ 683845 h 6236497"/>
              <a:gd name="connsiteX174" fmla="*/ 3374921 w 3414727"/>
              <a:gd name="connsiteY174" fmla="*/ 704397 h 6236497"/>
              <a:gd name="connsiteX175" fmla="*/ 3376284 w 3414727"/>
              <a:gd name="connsiteY175" fmla="*/ 710425 h 6236497"/>
              <a:gd name="connsiteX176" fmla="*/ 3379360 w 3414727"/>
              <a:gd name="connsiteY176" fmla="*/ 720756 h 6236497"/>
              <a:gd name="connsiteX177" fmla="*/ 3390162 w 3414727"/>
              <a:gd name="connsiteY177" fmla="*/ 771822 h 6236497"/>
              <a:gd name="connsiteX178" fmla="*/ 3390375 w 3414727"/>
              <a:gd name="connsiteY178" fmla="*/ 772763 h 6236497"/>
              <a:gd name="connsiteX179" fmla="*/ 3391798 w 3414727"/>
              <a:gd name="connsiteY179" fmla="*/ 772763 h 6236497"/>
              <a:gd name="connsiteX180" fmla="*/ 3396441 w 3414727"/>
              <a:gd name="connsiteY180" fmla="*/ 797930 h 6236497"/>
              <a:gd name="connsiteX181" fmla="*/ 3397009 w 3414727"/>
              <a:gd name="connsiteY181" fmla="*/ 803028 h 6236497"/>
              <a:gd name="connsiteX182" fmla="*/ 3398504 w 3414727"/>
              <a:gd name="connsiteY182" fmla="*/ 811684 h 6236497"/>
              <a:gd name="connsiteX183" fmla="*/ 3406369 w 3414727"/>
              <a:gd name="connsiteY183" fmla="*/ 886948 h 6236497"/>
              <a:gd name="connsiteX184" fmla="*/ 3408995 w 3414727"/>
              <a:gd name="connsiteY184" fmla="*/ 910491 h 6236497"/>
              <a:gd name="connsiteX185" fmla="*/ 3409087 w 3414727"/>
              <a:gd name="connsiteY185" fmla="*/ 912969 h 6236497"/>
              <a:gd name="connsiteX186" fmla="*/ 3409557 w 3414727"/>
              <a:gd name="connsiteY186" fmla="*/ 917458 h 6236497"/>
              <a:gd name="connsiteX187" fmla="*/ 3411402 w 3414727"/>
              <a:gd name="connsiteY187" fmla="*/ 969659 h 6236497"/>
              <a:gd name="connsiteX188" fmla="*/ 3413650 w 3414727"/>
              <a:gd name="connsiteY188" fmla="*/ 969659 h 6236497"/>
              <a:gd name="connsiteX189" fmla="*/ 3413650 w 3414727"/>
              <a:gd name="connsiteY189" fmla="*/ 1017785 h 6236497"/>
              <a:gd name="connsiteX190" fmla="*/ 3413650 w 3414727"/>
              <a:gd name="connsiteY190" fmla="*/ 1033277 h 6236497"/>
              <a:gd name="connsiteX191" fmla="*/ 3413650 w 3414727"/>
              <a:gd name="connsiteY191" fmla="*/ 1033638 h 6236497"/>
              <a:gd name="connsiteX192" fmla="*/ 3413650 w 3414727"/>
              <a:gd name="connsiteY192" fmla="*/ 1033639 h 6236497"/>
              <a:gd name="connsiteX193" fmla="*/ 3414727 w 3414727"/>
              <a:gd name="connsiteY193" fmla="*/ 1033639 h 6236497"/>
              <a:gd name="connsiteX194" fmla="*/ 3414727 w 3414727"/>
              <a:gd name="connsiteY194" fmla="*/ 1123341 h 6236497"/>
              <a:gd name="connsiteX195" fmla="*/ 3414727 w 3414727"/>
              <a:gd name="connsiteY195" fmla="*/ 1264868 h 6236497"/>
              <a:gd name="connsiteX196" fmla="*/ 3414727 w 3414727"/>
              <a:gd name="connsiteY196" fmla="*/ 1358560 h 6236497"/>
              <a:gd name="connsiteX197" fmla="*/ 3414727 w 3414727"/>
              <a:gd name="connsiteY197" fmla="*/ 1748996 h 6236497"/>
              <a:gd name="connsiteX198" fmla="*/ 3414727 w 3414727"/>
              <a:gd name="connsiteY198" fmla="*/ 1770731 h 6236497"/>
              <a:gd name="connsiteX199" fmla="*/ 3414727 w 3414727"/>
              <a:gd name="connsiteY199" fmla="*/ 1851040 h 6236497"/>
              <a:gd name="connsiteX200" fmla="*/ 3414727 w 3414727"/>
              <a:gd name="connsiteY200" fmla="*/ 1873150 h 6236497"/>
              <a:gd name="connsiteX201" fmla="*/ 3414727 w 3414727"/>
              <a:gd name="connsiteY201" fmla="*/ 1930270 h 6236497"/>
              <a:gd name="connsiteX202" fmla="*/ 3414727 w 3414727"/>
              <a:gd name="connsiteY202" fmla="*/ 1978994 h 6236497"/>
              <a:gd name="connsiteX203" fmla="*/ 3414727 w 3414727"/>
              <a:gd name="connsiteY203" fmla="*/ 2035442 h 6236497"/>
              <a:gd name="connsiteX204" fmla="*/ 3414727 w 3414727"/>
              <a:gd name="connsiteY204" fmla="*/ 2085006 h 6236497"/>
              <a:gd name="connsiteX205" fmla="*/ 3413661 w 3414727"/>
              <a:gd name="connsiteY205" fmla="*/ 2085006 h 6236497"/>
              <a:gd name="connsiteX206" fmla="*/ 3413661 w 3414727"/>
              <a:gd name="connsiteY206" fmla="*/ 2849926 h 6236497"/>
              <a:gd name="connsiteX207" fmla="*/ 3413661 w 3414727"/>
              <a:gd name="connsiteY207" fmla="*/ 2970965 h 6236497"/>
              <a:gd name="connsiteX208" fmla="*/ 3353141 w 3414727"/>
              <a:gd name="connsiteY208" fmla="*/ 2970965 h 6236497"/>
              <a:gd name="connsiteX209" fmla="*/ 2777125 w 3414727"/>
              <a:gd name="connsiteY209" fmla="*/ 2970965 h 6236497"/>
              <a:gd name="connsiteX210" fmla="*/ 2716606 w 3414727"/>
              <a:gd name="connsiteY210" fmla="*/ 2970965 h 6236497"/>
              <a:gd name="connsiteX211" fmla="*/ 2513089 w 3414727"/>
              <a:gd name="connsiteY211" fmla="*/ 2970965 h 6236497"/>
              <a:gd name="connsiteX212" fmla="*/ 2512558 w 3414727"/>
              <a:gd name="connsiteY212" fmla="*/ 2970965 h 6236497"/>
              <a:gd name="connsiteX213" fmla="*/ 3413555 w 3414727"/>
              <a:gd name="connsiteY213" fmla="*/ 6236497 h 6236497"/>
              <a:gd name="connsiteX214" fmla="*/ 3347035 w 3414727"/>
              <a:gd name="connsiteY214" fmla="*/ 6236497 h 6236497"/>
              <a:gd name="connsiteX215" fmla="*/ 2758758 w 3414727"/>
              <a:gd name="connsiteY215" fmla="*/ 6236497 h 6236497"/>
              <a:gd name="connsiteX216" fmla="*/ 2713908 w 3414727"/>
              <a:gd name="connsiteY216" fmla="*/ 6236497 h 6236497"/>
              <a:gd name="connsiteX217" fmla="*/ 2692238 w 3414727"/>
              <a:gd name="connsiteY217" fmla="*/ 6236497 h 6236497"/>
              <a:gd name="connsiteX218" fmla="*/ 2647388 w 3414727"/>
              <a:gd name="connsiteY218" fmla="*/ 6236497 h 6236497"/>
              <a:gd name="connsiteX219" fmla="*/ 2423694 w 3414727"/>
              <a:gd name="connsiteY219" fmla="*/ 6236497 h 6236497"/>
              <a:gd name="connsiteX220" fmla="*/ 2423109 w 3414727"/>
              <a:gd name="connsiteY220" fmla="*/ 6236497 h 6236497"/>
              <a:gd name="connsiteX221" fmla="*/ 2423100 w 3414727"/>
              <a:gd name="connsiteY221" fmla="*/ 6236497 h 6236497"/>
              <a:gd name="connsiteX222" fmla="*/ 2423090 w 3414727"/>
              <a:gd name="connsiteY222" fmla="*/ 6236497 h 6236497"/>
              <a:gd name="connsiteX223" fmla="*/ 2376569 w 3414727"/>
              <a:gd name="connsiteY223" fmla="*/ 6236497 h 6236497"/>
              <a:gd name="connsiteX224" fmla="*/ 2357173 w 3414727"/>
              <a:gd name="connsiteY224" fmla="*/ 6236497 h 6236497"/>
              <a:gd name="connsiteX225" fmla="*/ 2356590 w 3414727"/>
              <a:gd name="connsiteY225" fmla="*/ 6236497 h 6236497"/>
              <a:gd name="connsiteX226" fmla="*/ 2356581 w 3414727"/>
              <a:gd name="connsiteY226" fmla="*/ 6236497 h 6236497"/>
              <a:gd name="connsiteX227" fmla="*/ 2356571 w 3414727"/>
              <a:gd name="connsiteY227" fmla="*/ 6236497 h 6236497"/>
              <a:gd name="connsiteX228" fmla="*/ 2310049 w 3414727"/>
              <a:gd name="connsiteY228" fmla="*/ 6236497 h 6236497"/>
              <a:gd name="connsiteX229" fmla="*/ 2059112 w 3414727"/>
              <a:gd name="connsiteY229" fmla="*/ 6236497 h 6236497"/>
              <a:gd name="connsiteX230" fmla="*/ 1992591 w 3414727"/>
              <a:gd name="connsiteY230" fmla="*/ 6236497 h 6236497"/>
              <a:gd name="connsiteX231" fmla="*/ 1768897 w 3414727"/>
              <a:gd name="connsiteY231" fmla="*/ 6236497 h 6236497"/>
              <a:gd name="connsiteX232" fmla="*/ 1768312 w 3414727"/>
              <a:gd name="connsiteY232" fmla="*/ 6236497 h 6236497"/>
              <a:gd name="connsiteX233" fmla="*/ 1768303 w 3414727"/>
              <a:gd name="connsiteY233" fmla="*/ 6236497 h 6236497"/>
              <a:gd name="connsiteX234" fmla="*/ 1768293 w 3414727"/>
              <a:gd name="connsiteY234" fmla="*/ 6236497 h 6236497"/>
              <a:gd name="connsiteX235" fmla="*/ 1724047 w 3414727"/>
              <a:gd name="connsiteY235" fmla="*/ 6236497 h 6236497"/>
              <a:gd name="connsiteX236" fmla="*/ 1723462 w 3414727"/>
              <a:gd name="connsiteY236" fmla="*/ 6236497 h 6236497"/>
              <a:gd name="connsiteX237" fmla="*/ 1723453 w 3414727"/>
              <a:gd name="connsiteY237" fmla="*/ 6236497 h 6236497"/>
              <a:gd name="connsiteX238" fmla="*/ 1723443 w 3414727"/>
              <a:gd name="connsiteY238" fmla="*/ 6236497 h 6236497"/>
              <a:gd name="connsiteX239" fmla="*/ 1721772 w 3414727"/>
              <a:gd name="connsiteY239" fmla="*/ 6236497 h 6236497"/>
              <a:gd name="connsiteX240" fmla="*/ 1702376 w 3414727"/>
              <a:gd name="connsiteY240" fmla="*/ 6236497 h 6236497"/>
              <a:gd name="connsiteX241" fmla="*/ 1701793 w 3414727"/>
              <a:gd name="connsiteY241" fmla="*/ 6236497 h 6236497"/>
              <a:gd name="connsiteX242" fmla="*/ 1701784 w 3414727"/>
              <a:gd name="connsiteY242" fmla="*/ 6236497 h 6236497"/>
              <a:gd name="connsiteX243" fmla="*/ 1701774 w 3414727"/>
              <a:gd name="connsiteY243" fmla="*/ 6236497 h 6236497"/>
              <a:gd name="connsiteX244" fmla="*/ 1676921 w 3414727"/>
              <a:gd name="connsiteY244" fmla="*/ 6236497 h 6236497"/>
              <a:gd name="connsiteX245" fmla="*/ 1657527 w 3414727"/>
              <a:gd name="connsiteY245" fmla="*/ 6236497 h 6236497"/>
              <a:gd name="connsiteX246" fmla="*/ 1656943 w 3414727"/>
              <a:gd name="connsiteY246" fmla="*/ 6236497 h 6236497"/>
              <a:gd name="connsiteX247" fmla="*/ 1656933 w 3414727"/>
              <a:gd name="connsiteY247" fmla="*/ 6236497 h 6236497"/>
              <a:gd name="connsiteX248" fmla="*/ 1656923 w 3414727"/>
              <a:gd name="connsiteY248" fmla="*/ 6236497 h 6236497"/>
              <a:gd name="connsiteX249" fmla="*/ 1655252 w 3414727"/>
              <a:gd name="connsiteY249" fmla="*/ 6236497 h 6236497"/>
              <a:gd name="connsiteX250" fmla="*/ 1610402 w 3414727"/>
              <a:gd name="connsiteY250" fmla="*/ 6236497 h 6236497"/>
              <a:gd name="connsiteX251" fmla="*/ 1069250 w 3414727"/>
              <a:gd name="connsiteY251" fmla="*/ 6236497 h 6236497"/>
              <a:gd name="connsiteX252" fmla="*/ 1068665 w 3414727"/>
              <a:gd name="connsiteY252" fmla="*/ 6236497 h 6236497"/>
              <a:gd name="connsiteX253" fmla="*/ 1068656 w 3414727"/>
              <a:gd name="connsiteY253" fmla="*/ 6236497 h 6236497"/>
              <a:gd name="connsiteX254" fmla="*/ 1068646 w 3414727"/>
              <a:gd name="connsiteY254" fmla="*/ 6236497 h 6236497"/>
              <a:gd name="connsiteX255" fmla="*/ 1022124 w 3414727"/>
              <a:gd name="connsiteY255" fmla="*/ 6236497 h 6236497"/>
              <a:gd name="connsiteX256" fmla="*/ 1002729 w 3414727"/>
              <a:gd name="connsiteY256" fmla="*/ 6236497 h 6236497"/>
              <a:gd name="connsiteX257" fmla="*/ 1002146 w 3414727"/>
              <a:gd name="connsiteY257" fmla="*/ 6236497 h 6236497"/>
              <a:gd name="connsiteX258" fmla="*/ 1002136 w 3414727"/>
              <a:gd name="connsiteY258" fmla="*/ 6236497 h 6236497"/>
              <a:gd name="connsiteX259" fmla="*/ 1002126 w 3414727"/>
              <a:gd name="connsiteY259" fmla="*/ 6236497 h 6236497"/>
              <a:gd name="connsiteX260" fmla="*/ 955605 w 3414727"/>
              <a:gd name="connsiteY260" fmla="*/ 6236497 h 6236497"/>
              <a:gd name="connsiteX261" fmla="*/ 955605 w 3414727"/>
              <a:gd name="connsiteY261" fmla="*/ 6234182 h 6236497"/>
              <a:gd name="connsiteX262" fmla="*/ 907653 w 3414727"/>
              <a:gd name="connsiteY262" fmla="*/ 6231824 h 6236497"/>
              <a:gd name="connsiteX263" fmla="*/ 904743 w 3414727"/>
              <a:gd name="connsiteY263" fmla="*/ 6231393 h 6236497"/>
              <a:gd name="connsiteX264" fmla="*/ 900868 w 3414727"/>
              <a:gd name="connsiteY264" fmla="*/ 6231190 h 6236497"/>
              <a:gd name="connsiteX265" fmla="*/ 730252 w 3414727"/>
              <a:gd name="connsiteY265" fmla="*/ 6197284 h 6236497"/>
              <a:gd name="connsiteX266" fmla="*/ 726239 w 3414727"/>
              <a:gd name="connsiteY266" fmla="*/ 6195899 h 6236497"/>
              <a:gd name="connsiteX267" fmla="*/ 725547 w 3414727"/>
              <a:gd name="connsiteY267" fmla="*/ 6195725 h 6236497"/>
              <a:gd name="connsiteX268" fmla="*/ 718660 w 3414727"/>
              <a:gd name="connsiteY268" fmla="*/ 6193283 h 6236497"/>
              <a:gd name="connsiteX269" fmla="*/ 649179 w 3414727"/>
              <a:gd name="connsiteY269" fmla="*/ 6169308 h 6236497"/>
              <a:gd name="connsiteX270" fmla="*/ 642047 w 3414727"/>
              <a:gd name="connsiteY270" fmla="*/ 6166112 h 6236497"/>
              <a:gd name="connsiteX271" fmla="*/ 639337 w 3414727"/>
              <a:gd name="connsiteY271" fmla="*/ 6165151 h 6236497"/>
              <a:gd name="connsiteX272" fmla="*/ 624684 w 3414727"/>
              <a:gd name="connsiteY272" fmla="*/ 6158333 h 6236497"/>
              <a:gd name="connsiteX273" fmla="*/ 571379 w 3414727"/>
              <a:gd name="connsiteY273" fmla="*/ 6134451 h 6236497"/>
              <a:gd name="connsiteX274" fmla="*/ 561431 w 3414727"/>
              <a:gd name="connsiteY274" fmla="*/ 6128901 h 6236497"/>
              <a:gd name="connsiteX275" fmla="*/ 556903 w 3414727"/>
              <a:gd name="connsiteY275" fmla="*/ 6126794 h 6236497"/>
              <a:gd name="connsiteX276" fmla="*/ 541005 w 3414727"/>
              <a:gd name="connsiteY276" fmla="*/ 6117505 h 6236497"/>
              <a:gd name="connsiteX277" fmla="*/ 497192 w 3414727"/>
              <a:gd name="connsiteY277" fmla="*/ 6093062 h 6236497"/>
              <a:gd name="connsiteX278" fmla="*/ 484776 w 3414727"/>
              <a:gd name="connsiteY278" fmla="*/ 6084653 h 6236497"/>
              <a:gd name="connsiteX279" fmla="*/ 478658 w 3414727"/>
              <a:gd name="connsiteY279" fmla="*/ 6081081 h 6236497"/>
              <a:gd name="connsiteX280" fmla="*/ 463519 w 3414727"/>
              <a:gd name="connsiteY280" fmla="*/ 6070258 h 6236497"/>
              <a:gd name="connsiteX281" fmla="*/ 426955 w 3414727"/>
              <a:gd name="connsiteY281" fmla="*/ 6045496 h 6236497"/>
              <a:gd name="connsiteX282" fmla="*/ 412467 w 3414727"/>
              <a:gd name="connsiteY282" fmla="*/ 6033767 h 6236497"/>
              <a:gd name="connsiteX283" fmla="*/ 405010 w 3414727"/>
              <a:gd name="connsiteY283" fmla="*/ 6028437 h 6236497"/>
              <a:gd name="connsiteX284" fmla="*/ 391434 w 3414727"/>
              <a:gd name="connsiteY284" fmla="*/ 6016737 h 6236497"/>
              <a:gd name="connsiteX285" fmla="*/ 361004 w 3414727"/>
              <a:gd name="connsiteY285" fmla="*/ 5992101 h 6236497"/>
              <a:gd name="connsiteX286" fmla="*/ 344887 w 3414727"/>
              <a:gd name="connsiteY286" fmla="*/ 5976627 h 6236497"/>
              <a:gd name="connsiteX287" fmla="*/ 336370 w 3414727"/>
              <a:gd name="connsiteY287" fmla="*/ 5969288 h 6236497"/>
              <a:gd name="connsiteX288" fmla="*/ 324688 w 3414727"/>
              <a:gd name="connsiteY288" fmla="*/ 5957236 h 6236497"/>
              <a:gd name="connsiteX289" fmla="*/ 299680 w 3414727"/>
              <a:gd name="connsiteY289" fmla="*/ 5933228 h 6236497"/>
              <a:gd name="connsiteX290" fmla="*/ 282418 w 3414727"/>
              <a:gd name="connsiteY290" fmla="*/ 5913626 h 6236497"/>
              <a:gd name="connsiteX291" fmla="*/ 273149 w 3414727"/>
              <a:gd name="connsiteY291" fmla="*/ 5904062 h 6236497"/>
              <a:gd name="connsiteX292" fmla="*/ 263468 w 3414727"/>
              <a:gd name="connsiteY292" fmla="*/ 5892106 h 6236497"/>
              <a:gd name="connsiteX293" fmla="*/ 243320 w 3414727"/>
              <a:gd name="connsiteY293" fmla="*/ 5869228 h 6236497"/>
              <a:gd name="connsiteX294" fmla="*/ 225440 w 3414727"/>
              <a:gd name="connsiteY294" fmla="*/ 5845142 h 6236497"/>
              <a:gd name="connsiteX295" fmla="*/ 215756 w 3414727"/>
              <a:gd name="connsiteY295" fmla="*/ 5833184 h 6236497"/>
              <a:gd name="connsiteX296" fmla="*/ 208051 w 3414727"/>
              <a:gd name="connsiteY296" fmla="*/ 5821719 h 6236497"/>
              <a:gd name="connsiteX297" fmla="*/ 192262 w 3414727"/>
              <a:gd name="connsiteY297" fmla="*/ 5800452 h 6236497"/>
              <a:gd name="connsiteX298" fmla="*/ 174326 w 3414727"/>
              <a:gd name="connsiteY298" fmla="*/ 5771545 h 6236497"/>
              <a:gd name="connsiteX299" fmla="*/ 164603 w 3414727"/>
              <a:gd name="connsiteY299" fmla="*/ 5757080 h 6236497"/>
              <a:gd name="connsiteX300" fmla="*/ 158762 w 3414727"/>
              <a:gd name="connsiteY300" fmla="*/ 5746460 h 6236497"/>
              <a:gd name="connsiteX301" fmla="*/ 146844 w 3414727"/>
              <a:gd name="connsiteY301" fmla="*/ 5727251 h 6236497"/>
              <a:gd name="connsiteX302" fmla="*/ 129452 w 3414727"/>
              <a:gd name="connsiteY302" fmla="*/ 5693173 h 6236497"/>
              <a:gd name="connsiteX303" fmla="*/ 120101 w 3414727"/>
              <a:gd name="connsiteY303" fmla="*/ 5676175 h 6236497"/>
              <a:gd name="connsiteX304" fmla="*/ 115950 w 3414727"/>
              <a:gd name="connsiteY304" fmla="*/ 5666719 h 6236497"/>
              <a:gd name="connsiteX305" fmla="*/ 107403 w 3414727"/>
              <a:gd name="connsiteY305" fmla="*/ 5649975 h 6236497"/>
              <a:gd name="connsiteX306" fmla="*/ 91182 w 3414727"/>
              <a:gd name="connsiteY306" fmla="*/ 5610310 h 6236497"/>
              <a:gd name="connsiteX307" fmla="*/ 82657 w 3414727"/>
              <a:gd name="connsiteY307" fmla="*/ 5590897 h 6236497"/>
              <a:gd name="connsiteX308" fmla="*/ 79971 w 3414727"/>
              <a:gd name="connsiteY308" fmla="*/ 5582895 h 6236497"/>
              <a:gd name="connsiteX309" fmla="*/ 74278 w 3414727"/>
              <a:gd name="connsiteY309" fmla="*/ 5568976 h 6236497"/>
              <a:gd name="connsiteX310" fmla="*/ 59888 w 3414727"/>
              <a:gd name="connsiteY310" fmla="*/ 5523110 h 6236497"/>
              <a:gd name="connsiteX311" fmla="*/ 52686 w 3414727"/>
              <a:gd name="connsiteY311" fmla="*/ 5501671 h 6236497"/>
              <a:gd name="connsiteX312" fmla="*/ 51189 w 3414727"/>
              <a:gd name="connsiteY312" fmla="*/ 5495381 h 6236497"/>
              <a:gd name="connsiteX313" fmla="*/ 47808 w 3414727"/>
              <a:gd name="connsiteY313" fmla="*/ 5484604 h 6236497"/>
              <a:gd name="connsiteX314" fmla="*/ 35933 w 3414727"/>
              <a:gd name="connsiteY314" fmla="*/ 5431333 h 6236497"/>
              <a:gd name="connsiteX315" fmla="*/ 30597 w 3414727"/>
              <a:gd name="connsiteY315" fmla="*/ 5408921 h 6236497"/>
              <a:gd name="connsiteX316" fmla="*/ 29971 w 3414727"/>
              <a:gd name="connsiteY316" fmla="*/ 5404580 h 6236497"/>
              <a:gd name="connsiteX317" fmla="*/ 28329 w 3414727"/>
              <a:gd name="connsiteY317" fmla="*/ 5397210 h 6236497"/>
              <a:gd name="connsiteX318" fmla="*/ 19684 w 3414727"/>
              <a:gd name="connsiteY318" fmla="*/ 5333124 h 6236497"/>
              <a:gd name="connsiteX319" fmla="*/ 16798 w 3414727"/>
              <a:gd name="connsiteY319" fmla="*/ 5313077 h 6236497"/>
              <a:gd name="connsiteX320" fmla="*/ 16695 w 3414727"/>
              <a:gd name="connsiteY320" fmla="*/ 5310966 h 6236497"/>
              <a:gd name="connsiteX321" fmla="*/ 16179 w 3414727"/>
              <a:gd name="connsiteY321" fmla="*/ 5307144 h 6236497"/>
              <a:gd name="connsiteX322" fmla="*/ 14152 w 3414727"/>
              <a:gd name="connsiteY322" fmla="*/ 5262696 h 6236497"/>
              <a:gd name="connsiteX323" fmla="*/ 11679 w 3414727"/>
              <a:gd name="connsiteY323" fmla="*/ 5262696 h 6236497"/>
              <a:gd name="connsiteX324" fmla="*/ 11679 w 3414727"/>
              <a:gd name="connsiteY324" fmla="*/ 5230717 h 6236497"/>
              <a:gd name="connsiteX325" fmla="*/ 9578 w 3414727"/>
              <a:gd name="connsiteY325" fmla="*/ 5215406 h 6236497"/>
              <a:gd name="connsiteX326" fmla="*/ 6692 w 3414727"/>
              <a:gd name="connsiteY326" fmla="*/ 5195699 h 6236497"/>
              <a:gd name="connsiteX327" fmla="*/ 6589 w 3414727"/>
              <a:gd name="connsiteY327" fmla="*/ 5193624 h 6236497"/>
              <a:gd name="connsiteX328" fmla="*/ 6073 w 3414727"/>
              <a:gd name="connsiteY328" fmla="*/ 5189867 h 6236497"/>
              <a:gd name="connsiteX329" fmla="*/ 4046 w 3414727"/>
              <a:gd name="connsiteY329" fmla="*/ 5146174 h 6236497"/>
              <a:gd name="connsiteX330" fmla="*/ 1574 w 3414727"/>
              <a:gd name="connsiteY330" fmla="*/ 5146174 h 6236497"/>
              <a:gd name="connsiteX331" fmla="*/ 1574 w 3414727"/>
              <a:gd name="connsiteY331" fmla="*/ 5105888 h 6236497"/>
              <a:gd name="connsiteX332" fmla="*/ 1574 w 3414727"/>
              <a:gd name="connsiteY332" fmla="*/ 5092921 h 6236497"/>
              <a:gd name="connsiteX333" fmla="*/ 1574 w 3414727"/>
              <a:gd name="connsiteY333" fmla="*/ 5092619 h 6236497"/>
              <a:gd name="connsiteX334" fmla="*/ 390 w 3414727"/>
              <a:gd name="connsiteY334" fmla="*/ 5092619 h 6236497"/>
              <a:gd name="connsiteX335" fmla="*/ 390 w 3414727"/>
              <a:gd name="connsiteY335" fmla="*/ 4917262 h 6236497"/>
              <a:gd name="connsiteX336" fmla="*/ 390 w 3414727"/>
              <a:gd name="connsiteY336" fmla="*/ 4893372 h 6236497"/>
              <a:gd name="connsiteX337" fmla="*/ 391 w 3414727"/>
              <a:gd name="connsiteY337" fmla="*/ 4361244 h 6236497"/>
              <a:gd name="connsiteX338" fmla="*/ 391 w 3414727"/>
              <a:gd name="connsiteY338" fmla="*/ 4107087 h 6236497"/>
              <a:gd name="connsiteX339" fmla="*/ 391 w 3414727"/>
              <a:gd name="connsiteY339" fmla="*/ 4036764 h 6236497"/>
              <a:gd name="connsiteX340" fmla="*/ 1563 w 3414727"/>
              <a:gd name="connsiteY340" fmla="*/ 4036764 h 6236497"/>
              <a:gd name="connsiteX341" fmla="*/ 1563 w 3414727"/>
              <a:gd name="connsiteY341" fmla="*/ 3820347 h 6236497"/>
              <a:gd name="connsiteX342" fmla="*/ 0 w 3414727"/>
              <a:gd name="connsiteY342" fmla="*/ 3820347 h 6236497"/>
              <a:gd name="connsiteX343" fmla="*/ 0 w 3414727"/>
              <a:gd name="connsiteY343" fmla="*/ 2970967 h 6236497"/>
              <a:gd name="connsiteX344" fmla="*/ 76625 w 3414727"/>
              <a:gd name="connsiteY344" fmla="*/ 2970967 h 6236497"/>
              <a:gd name="connsiteX345" fmla="*/ 654797 w 3414727"/>
              <a:gd name="connsiteY345" fmla="*/ 2970967 h 6236497"/>
              <a:gd name="connsiteX346" fmla="*/ 699648 w 3414727"/>
              <a:gd name="connsiteY346" fmla="*/ 2970967 h 6236497"/>
              <a:gd name="connsiteX347" fmla="*/ 731422 w 3414727"/>
              <a:gd name="connsiteY347" fmla="*/ 2970967 h 6236497"/>
              <a:gd name="connsiteX348" fmla="*/ 776273 w 3414727"/>
              <a:gd name="connsiteY348" fmla="*/ 2970967 h 6236497"/>
              <a:gd name="connsiteX349" fmla="*/ 989863 w 3414727"/>
              <a:gd name="connsiteY349" fmla="*/ 2970967 h 6236497"/>
              <a:gd name="connsiteX350" fmla="*/ 990447 w 3414727"/>
              <a:gd name="connsiteY350" fmla="*/ 2970967 h 6236497"/>
              <a:gd name="connsiteX351" fmla="*/ 990456 w 3414727"/>
              <a:gd name="connsiteY351" fmla="*/ 2970966 h 6236497"/>
              <a:gd name="connsiteX352" fmla="*/ 990466 w 3414727"/>
              <a:gd name="connsiteY352" fmla="*/ 2970967 h 6236497"/>
              <a:gd name="connsiteX353" fmla="*/ 1036986 w 3414727"/>
              <a:gd name="connsiteY353" fmla="*/ 2970967 h 6236497"/>
              <a:gd name="connsiteX354" fmla="*/ 1066487 w 3414727"/>
              <a:gd name="connsiteY354" fmla="*/ 2970967 h 6236497"/>
              <a:gd name="connsiteX355" fmla="*/ 1067071 w 3414727"/>
              <a:gd name="connsiteY355" fmla="*/ 2970967 h 6236497"/>
              <a:gd name="connsiteX356" fmla="*/ 1067081 w 3414727"/>
              <a:gd name="connsiteY356" fmla="*/ 2970966 h 6236497"/>
              <a:gd name="connsiteX357" fmla="*/ 1067090 w 3414727"/>
              <a:gd name="connsiteY357" fmla="*/ 2970967 h 6236497"/>
              <a:gd name="connsiteX358" fmla="*/ 1113611 w 3414727"/>
              <a:gd name="connsiteY358" fmla="*/ 2970967 h 6236497"/>
              <a:gd name="connsiteX359" fmla="*/ 1354445 w 3414727"/>
              <a:gd name="connsiteY359" fmla="*/ 2970967 h 6236497"/>
              <a:gd name="connsiteX360" fmla="*/ 1431070 w 3414727"/>
              <a:gd name="connsiteY360" fmla="*/ 2970967 h 6236497"/>
              <a:gd name="connsiteX361" fmla="*/ 1644660 w 3414727"/>
              <a:gd name="connsiteY361" fmla="*/ 2970967 h 6236497"/>
              <a:gd name="connsiteX362" fmla="*/ 1645244 w 3414727"/>
              <a:gd name="connsiteY362" fmla="*/ 2970967 h 6236497"/>
              <a:gd name="connsiteX363" fmla="*/ 1645253 w 3414727"/>
              <a:gd name="connsiteY363" fmla="*/ 2970966 h 6236497"/>
              <a:gd name="connsiteX364" fmla="*/ 1645263 w 3414727"/>
              <a:gd name="connsiteY364" fmla="*/ 2970967 h 6236497"/>
              <a:gd name="connsiteX365" fmla="*/ 1689510 w 3414727"/>
              <a:gd name="connsiteY365" fmla="*/ 2970967 h 6236497"/>
              <a:gd name="connsiteX366" fmla="*/ 1690094 w 3414727"/>
              <a:gd name="connsiteY366" fmla="*/ 2970967 h 6236497"/>
              <a:gd name="connsiteX367" fmla="*/ 1690104 w 3414727"/>
              <a:gd name="connsiteY367" fmla="*/ 2970966 h 6236497"/>
              <a:gd name="connsiteX368" fmla="*/ 1690113 w 3414727"/>
              <a:gd name="connsiteY368" fmla="*/ 2970967 h 6236497"/>
              <a:gd name="connsiteX369" fmla="*/ 1691783 w 3414727"/>
              <a:gd name="connsiteY369" fmla="*/ 2970967 h 6236497"/>
              <a:gd name="connsiteX370" fmla="*/ 1721284 w 3414727"/>
              <a:gd name="connsiteY370" fmla="*/ 2970967 h 6236497"/>
              <a:gd name="connsiteX371" fmla="*/ 1721868 w 3414727"/>
              <a:gd name="connsiteY371" fmla="*/ 2970967 h 6236497"/>
              <a:gd name="connsiteX372" fmla="*/ 1721878 w 3414727"/>
              <a:gd name="connsiteY372" fmla="*/ 2970966 h 6236497"/>
              <a:gd name="connsiteX373" fmla="*/ 1721887 w 3414727"/>
              <a:gd name="connsiteY373" fmla="*/ 2970967 h 6236497"/>
              <a:gd name="connsiteX374" fmla="*/ 1736634 w 3414727"/>
              <a:gd name="connsiteY374" fmla="*/ 2970967 h 6236497"/>
              <a:gd name="connsiteX375" fmla="*/ 1766135 w 3414727"/>
              <a:gd name="connsiteY375" fmla="*/ 2970967 h 6236497"/>
              <a:gd name="connsiteX376" fmla="*/ 1766718 w 3414727"/>
              <a:gd name="connsiteY376" fmla="*/ 2970967 h 6236497"/>
              <a:gd name="connsiteX377" fmla="*/ 1766728 w 3414727"/>
              <a:gd name="connsiteY377" fmla="*/ 2970966 h 6236497"/>
              <a:gd name="connsiteX378" fmla="*/ 1766737 w 3414727"/>
              <a:gd name="connsiteY378" fmla="*/ 2970967 h 6236497"/>
              <a:gd name="connsiteX379" fmla="*/ 1768408 w 3414727"/>
              <a:gd name="connsiteY379" fmla="*/ 2970967 h 6236497"/>
              <a:gd name="connsiteX380" fmla="*/ 1813259 w 3414727"/>
              <a:gd name="connsiteY380" fmla="*/ 2970967 h 6236497"/>
              <a:gd name="connsiteX381" fmla="*/ 2344307 w 3414727"/>
              <a:gd name="connsiteY381" fmla="*/ 2970967 h 6236497"/>
              <a:gd name="connsiteX382" fmla="*/ 2344891 w 3414727"/>
              <a:gd name="connsiteY382" fmla="*/ 2970967 h 6236497"/>
              <a:gd name="connsiteX383" fmla="*/ 2344900 w 3414727"/>
              <a:gd name="connsiteY383" fmla="*/ 2970966 h 6236497"/>
              <a:gd name="connsiteX384" fmla="*/ 2344910 w 3414727"/>
              <a:gd name="connsiteY384" fmla="*/ 2970967 h 6236497"/>
              <a:gd name="connsiteX385" fmla="*/ 2391431 w 3414727"/>
              <a:gd name="connsiteY385" fmla="*/ 2970967 h 6236497"/>
              <a:gd name="connsiteX386" fmla="*/ 2420932 w 3414727"/>
              <a:gd name="connsiteY386" fmla="*/ 2970967 h 6236497"/>
              <a:gd name="connsiteX387" fmla="*/ 2421516 w 3414727"/>
              <a:gd name="connsiteY387" fmla="*/ 2970967 h 6236497"/>
              <a:gd name="connsiteX388" fmla="*/ 2421525 w 3414727"/>
              <a:gd name="connsiteY388" fmla="*/ 2970966 h 6236497"/>
              <a:gd name="connsiteX389" fmla="*/ 2421534 w 3414727"/>
              <a:gd name="connsiteY389" fmla="*/ 2970967 h 6236497"/>
              <a:gd name="connsiteX390" fmla="*/ 2468056 w 3414727"/>
              <a:gd name="connsiteY390" fmla="*/ 2970967 h 6236497"/>
              <a:gd name="connsiteX391" fmla="*/ 2468056 w 3414727"/>
              <a:gd name="connsiteY391" fmla="*/ 2973406 h 6236497"/>
              <a:gd name="connsiteX392" fmla="*/ 2516007 w 3414727"/>
              <a:gd name="connsiteY392" fmla="*/ 2975890 h 6236497"/>
              <a:gd name="connsiteX393" fmla="*/ 2518917 w 3414727"/>
              <a:gd name="connsiteY393" fmla="*/ 2976345 h 6236497"/>
              <a:gd name="connsiteX394" fmla="*/ 2522794 w 3414727"/>
              <a:gd name="connsiteY394" fmla="*/ 2976559 h 6236497"/>
              <a:gd name="connsiteX395" fmla="*/ 2693409 w 3414727"/>
              <a:gd name="connsiteY395" fmla="*/ 3012284 h 6236497"/>
              <a:gd name="connsiteX396" fmla="*/ 2697422 w 3414727"/>
              <a:gd name="connsiteY396" fmla="*/ 3013743 h 6236497"/>
              <a:gd name="connsiteX397" fmla="*/ 2698115 w 3414727"/>
              <a:gd name="connsiteY397" fmla="*/ 3013925 h 6236497"/>
              <a:gd name="connsiteX398" fmla="*/ 2705001 w 3414727"/>
              <a:gd name="connsiteY398" fmla="*/ 3016499 h 6236497"/>
              <a:gd name="connsiteX399" fmla="*/ 2774482 w 3414727"/>
              <a:gd name="connsiteY399" fmla="*/ 3041760 h 6236497"/>
              <a:gd name="connsiteX400" fmla="*/ 2781614 w 3414727"/>
              <a:gd name="connsiteY400" fmla="*/ 3045126 h 6236497"/>
              <a:gd name="connsiteX401" fmla="*/ 2784325 w 3414727"/>
              <a:gd name="connsiteY401" fmla="*/ 3046139 h 6236497"/>
              <a:gd name="connsiteX402" fmla="*/ 2798976 w 3414727"/>
              <a:gd name="connsiteY402" fmla="*/ 3053324 h 6236497"/>
              <a:gd name="connsiteX403" fmla="*/ 2852281 w 3414727"/>
              <a:gd name="connsiteY403" fmla="*/ 3078487 h 6236497"/>
              <a:gd name="connsiteX404" fmla="*/ 2862229 w 3414727"/>
              <a:gd name="connsiteY404" fmla="*/ 3084334 h 6236497"/>
              <a:gd name="connsiteX405" fmla="*/ 2866757 w 3414727"/>
              <a:gd name="connsiteY405" fmla="*/ 3086553 h 6236497"/>
              <a:gd name="connsiteX406" fmla="*/ 2882655 w 3414727"/>
              <a:gd name="connsiteY406" fmla="*/ 3096341 h 6236497"/>
              <a:gd name="connsiteX407" fmla="*/ 2926469 w 3414727"/>
              <a:gd name="connsiteY407" fmla="*/ 3122094 h 6236497"/>
              <a:gd name="connsiteX408" fmla="*/ 2938885 w 3414727"/>
              <a:gd name="connsiteY408" fmla="*/ 3130954 h 6236497"/>
              <a:gd name="connsiteX409" fmla="*/ 2945002 w 3414727"/>
              <a:gd name="connsiteY409" fmla="*/ 3134718 h 6236497"/>
              <a:gd name="connsiteX410" fmla="*/ 2960142 w 3414727"/>
              <a:gd name="connsiteY410" fmla="*/ 3146121 h 6236497"/>
              <a:gd name="connsiteX411" fmla="*/ 2996705 w 3414727"/>
              <a:gd name="connsiteY411" fmla="*/ 3172212 h 6236497"/>
              <a:gd name="connsiteX412" fmla="*/ 3011193 w 3414727"/>
              <a:gd name="connsiteY412" fmla="*/ 3184572 h 6236497"/>
              <a:gd name="connsiteX413" fmla="*/ 3018650 w 3414727"/>
              <a:gd name="connsiteY413" fmla="*/ 3190186 h 6236497"/>
              <a:gd name="connsiteX414" fmla="*/ 3032228 w 3414727"/>
              <a:gd name="connsiteY414" fmla="*/ 3202514 h 6236497"/>
              <a:gd name="connsiteX415" fmla="*/ 3062657 w 3414727"/>
              <a:gd name="connsiteY415" fmla="*/ 3228469 h 6236497"/>
              <a:gd name="connsiteX416" fmla="*/ 3078773 w 3414727"/>
              <a:gd name="connsiteY416" fmla="*/ 3244774 h 6236497"/>
              <a:gd name="connsiteX417" fmla="*/ 3087290 w 3414727"/>
              <a:gd name="connsiteY417" fmla="*/ 3252505 h 6236497"/>
              <a:gd name="connsiteX418" fmla="*/ 3098972 w 3414727"/>
              <a:gd name="connsiteY418" fmla="*/ 3265205 h 6236497"/>
              <a:gd name="connsiteX419" fmla="*/ 3123981 w 3414727"/>
              <a:gd name="connsiteY419" fmla="*/ 3290500 h 6236497"/>
              <a:gd name="connsiteX420" fmla="*/ 3141242 w 3414727"/>
              <a:gd name="connsiteY420" fmla="*/ 3311153 h 6236497"/>
              <a:gd name="connsiteX421" fmla="*/ 3150512 w 3414727"/>
              <a:gd name="connsiteY421" fmla="*/ 3321230 h 6236497"/>
              <a:gd name="connsiteX422" fmla="*/ 3160193 w 3414727"/>
              <a:gd name="connsiteY422" fmla="*/ 3333827 h 6236497"/>
              <a:gd name="connsiteX423" fmla="*/ 3180340 w 3414727"/>
              <a:gd name="connsiteY423" fmla="*/ 3357933 h 6236497"/>
              <a:gd name="connsiteX424" fmla="*/ 3198220 w 3414727"/>
              <a:gd name="connsiteY424" fmla="*/ 3383309 h 6236497"/>
              <a:gd name="connsiteX425" fmla="*/ 3207904 w 3414727"/>
              <a:gd name="connsiteY425" fmla="*/ 3395909 h 6236497"/>
              <a:gd name="connsiteX426" fmla="*/ 3215609 w 3414727"/>
              <a:gd name="connsiteY426" fmla="*/ 3407989 h 6236497"/>
              <a:gd name="connsiteX427" fmla="*/ 3231400 w 3414727"/>
              <a:gd name="connsiteY427" fmla="*/ 3430397 h 6236497"/>
              <a:gd name="connsiteX428" fmla="*/ 3249335 w 3414727"/>
              <a:gd name="connsiteY428" fmla="*/ 3460855 h 6236497"/>
              <a:gd name="connsiteX429" fmla="*/ 3259057 w 3414727"/>
              <a:gd name="connsiteY429" fmla="*/ 3476095 h 6236497"/>
              <a:gd name="connsiteX430" fmla="*/ 3264899 w 3414727"/>
              <a:gd name="connsiteY430" fmla="*/ 3487285 h 6236497"/>
              <a:gd name="connsiteX431" fmla="*/ 3276817 w 3414727"/>
              <a:gd name="connsiteY431" fmla="*/ 3507524 h 6236497"/>
              <a:gd name="connsiteX432" fmla="*/ 3294209 w 3414727"/>
              <a:gd name="connsiteY432" fmla="*/ 3543430 h 6236497"/>
              <a:gd name="connsiteX433" fmla="*/ 3303560 w 3414727"/>
              <a:gd name="connsiteY433" fmla="*/ 3561338 h 6236497"/>
              <a:gd name="connsiteX434" fmla="*/ 3307711 w 3414727"/>
              <a:gd name="connsiteY434" fmla="*/ 3571302 h 6236497"/>
              <a:gd name="connsiteX435" fmla="*/ 3316258 w 3414727"/>
              <a:gd name="connsiteY435" fmla="*/ 3588944 h 6236497"/>
              <a:gd name="connsiteX436" fmla="*/ 3332479 w 3414727"/>
              <a:gd name="connsiteY436" fmla="*/ 3630736 h 6236497"/>
              <a:gd name="connsiteX437" fmla="*/ 3341004 w 3414727"/>
              <a:gd name="connsiteY437" fmla="*/ 3651191 h 6236497"/>
              <a:gd name="connsiteX438" fmla="*/ 3343691 w 3414727"/>
              <a:gd name="connsiteY438" fmla="*/ 3659622 h 6236497"/>
              <a:gd name="connsiteX439" fmla="*/ 3349383 w 3414727"/>
              <a:gd name="connsiteY439" fmla="*/ 3674287 h 6236497"/>
              <a:gd name="connsiteX440" fmla="*/ 3363773 w 3414727"/>
              <a:gd name="connsiteY440" fmla="*/ 3722614 h 6236497"/>
              <a:gd name="connsiteX441" fmla="*/ 3370974 w 3414727"/>
              <a:gd name="connsiteY441" fmla="*/ 3745202 h 6236497"/>
              <a:gd name="connsiteX442" fmla="*/ 3372473 w 3414727"/>
              <a:gd name="connsiteY442" fmla="*/ 3751829 h 6236497"/>
              <a:gd name="connsiteX443" fmla="*/ 3375854 w 3414727"/>
              <a:gd name="connsiteY443" fmla="*/ 3763184 h 6236497"/>
              <a:gd name="connsiteX444" fmla="*/ 3387727 w 3414727"/>
              <a:gd name="connsiteY444" fmla="*/ 3819313 h 6236497"/>
              <a:gd name="connsiteX445" fmla="*/ 3387961 w 3414727"/>
              <a:gd name="connsiteY445" fmla="*/ 3820347 h 6236497"/>
              <a:gd name="connsiteX446" fmla="*/ 3389524 w 3414727"/>
              <a:gd name="connsiteY446" fmla="*/ 3820347 h 6236497"/>
              <a:gd name="connsiteX447" fmla="*/ 3394628 w 3414727"/>
              <a:gd name="connsiteY447" fmla="*/ 3848009 h 6236497"/>
              <a:gd name="connsiteX448" fmla="*/ 3395253 w 3414727"/>
              <a:gd name="connsiteY448" fmla="*/ 3853613 h 6236497"/>
              <a:gd name="connsiteX449" fmla="*/ 3396896 w 3414727"/>
              <a:gd name="connsiteY449" fmla="*/ 3863126 h 6236497"/>
              <a:gd name="connsiteX450" fmla="*/ 3405541 w 3414727"/>
              <a:gd name="connsiteY450" fmla="*/ 3945853 h 6236497"/>
              <a:gd name="connsiteX451" fmla="*/ 3408427 w 3414727"/>
              <a:gd name="connsiteY451" fmla="*/ 3971731 h 6236497"/>
              <a:gd name="connsiteX452" fmla="*/ 3408528 w 3414727"/>
              <a:gd name="connsiteY452" fmla="*/ 3974454 h 6236497"/>
              <a:gd name="connsiteX453" fmla="*/ 3409045 w 3414727"/>
              <a:gd name="connsiteY453" fmla="*/ 3979387 h 6236497"/>
              <a:gd name="connsiteX454" fmla="*/ 3411073 w 3414727"/>
              <a:gd name="connsiteY454" fmla="*/ 4036764 h 6236497"/>
              <a:gd name="connsiteX455" fmla="*/ 3413544 w 3414727"/>
              <a:gd name="connsiteY455" fmla="*/ 4036764 h 6236497"/>
              <a:gd name="connsiteX456" fmla="*/ 3413544 w 3414727"/>
              <a:gd name="connsiteY456" fmla="*/ 4089662 h 6236497"/>
              <a:gd name="connsiteX457" fmla="*/ 3413544 w 3414727"/>
              <a:gd name="connsiteY457" fmla="*/ 4106691 h 6236497"/>
              <a:gd name="connsiteX458" fmla="*/ 3413544 w 3414727"/>
              <a:gd name="connsiteY458" fmla="*/ 4107087 h 6236497"/>
              <a:gd name="connsiteX459" fmla="*/ 3413544 w 3414727"/>
              <a:gd name="connsiteY459" fmla="*/ 4107088 h 6236497"/>
              <a:gd name="connsiteX460" fmla="*/ 3414727 w 3414727"/>
              <a:gd name="connsiteY460" fmla="*/ 4107088 h 6236497"/>
              <a:gd name="connsiteX461" fmla="*/ 3414727 w 3414727"/>
              <a:gd name="connsiteY461" fmla="*/ 4205685 h 6236497"/>
              <a:gd name="connsiteX462" fmla="*/ 3414727 w 3414727"/>
              <a:gd name="connsiteY462" fmla="*/ 4361244 h 6236497"/>
              <a:gd name="connsiteX463" fmla="*/ 3414727 w 3414727"/>
              <a:gd name="connsiteY463" fmla="*/ 4464225 h 6236497"/>
              <a:gd name="connsiteX464" fmla="*/ 3414727 w 3414727"/>
              <a:gd name="connsiteY464" fmla="*/ 4893372 h 6236497"/>
              <a:gd name="connsiteX465" fmla="*/ 3414727 w 3414727"/>
              <a:gd name="connsiteY465" fmla="*/ 4917262 h 6236497"/>
              <a:gd name="connsiteX466" fmla="*/ 3414727 w 3414727"/>
              <a:gd name="connsiteY466" fmla="*/ 5005534 h 6236497"/>
              <a:gd name="connsiteX467" fmla="*/ 3414727 w 3414727"/>
              <a:gd name="connsiteY467" fmla="*/ 5029836 h 6236497"/>
              <a:gd name="connsiteX468" fmla="*/ 3414727 w 3414727"/>
              <a:gd name="connsiteY468" fmla="*/ 5092619 h 6236497"/>
              <a:gd name="connsiteX469" fmla="*/ 3414727 w 3414727"/>
              <a:gd name="connsiteY469" fmla="*/ 5146174 h 6236497"/>
              <a:gd name="connsiteX470" fmla="*/ 3414727 w 3414727"/>
              <a:gd name="connsiteY470" fmla="*/ 5208218 h 6236497"/>
              <a:gd name="connsiteX471" fmla="*/ 3414727 w 3414727"/>
              <a:gd name="connsiteY471" fmla="*/ 5262696 h 6236497"/>
              <a:gd name="connsiteX472" fmla="*/ 3413555 w 3414727"/>
              <a:gd name="connsiteY472" fmla="*/ 5262696 h 6236497"/>
              <a:gd name="connsiteX473" fmla="*/ 3413555 w 3414727"/>
              <a:gd name="connsiteY473" fmla="*/ 6103456 h 62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</a:cxnLst>
            <a:rect l="l" t="t" r="r" b="b"/>
            <a:pathLst>
              <a:path w="3414727" h="6236497">
                <a:moveTo>
                  <a:pt x="2512549" y="2970965"/>
                </a:moveTo>
                <a:lnTo>
                  <a:pt x="2512540" y="2970965"/>
                </a:lnTo>
                <a:lnTo>
                  <a:pt x="2470215" y="2970965"/>
                </a:lnTo>
                <a:lnTo>
                  <a:pt x="2452570" y="2970965"/>
                </a:lnTo>
                <a:lnTo>
                  <a:pt x="2452038" y="2970965"/>
                </a:lnTo>
                <a:lnTo>
                  <a:pt x="2452030" y="2970965"/>
                </a:lnTo>
                <a:lnTo>
                  <a:pt x="2452021" y="2970965"/>
                </a:lnTo>
                <a:lnTo>
                  <a:pt x="2409696" y="2970965"/>
                </a:lnTo>
                <a:lnTo>
                  <a:pt x="1876553" y="2970964"/>
                </a:lnTo>
                <a:lnTo>
                  <a:pt x="1876021" y="2970964"/>
                </a:lnTo>
                <a:lnTo>
                  <a:pt x="1876013" y="2970965"/>
                </a:lnTo>
                <a:lnTo>
                  <a:pt x="1876004" y="2970964"/>
                </a:lnTo>
                <a:lnTo>
                  <a:pt x="1833680" y="2970964"/>
                </a:lnTo>
                <a:lnTo>
                  <a:pt x="1816034" y="2970964"/>
                </a:lnTo>
                <a:lnTo>
                  <a:pt x="1815502" y="2970964"/>
                </a:lnTo>
                <a:lnTo>
                  <a:pt x="1815494" y="2970965"/>
                </a:lnTo>
                <a:lnTo>
                  <a:pt x="1815485" y="2970964"/>
                </a:lnTo>
                <a:lnTo>
                  <a:pt x="1773160" y="2970964"/>
                </a:lnTo>
                <a:lnTo>
                  <a:pt x="1773160" y="2968858"/>
                </a:lnTo>
                <a:lnTo>
                  <a:pt x="1729534" y="2966714"/>
                </a:lnTo>
                <a:lnTo>
                  <a:pt x="1726886" y="2966321"/>
                </a:lnTo>
                <a:lnTo>
                  <a:pt x="1723361" y="2966137"/>
                </a:lnTo>
                <a:cubicBezTo>
                  <a:pt x="1670112" y="2960524"/>
                  <a:pt x="1618234" y="2950099"/>
                  <a:pt x="1568135" y="2935289"/>
                </a:cubicBezTo>
                <a:lnTo>
                  <a:pt x="1564484" y="2934028"/>
                </a:lnTo>
                <a:lnTo>
                  <a:pt x="1563854" y="2933871"/>
                </a:lnTo>
                <a:lnTo>
                  <a:pt x="1557589" y="2931649"/>
                </a:lnTo>
                <a:lnTo>
                  <a:pt x="1494375" y="2909837"/>
                </a:lnTo>
                <a:lnTo>
                  <a:pt x="1487887" y="2906929"/>
                </a:lnTo>
                <a:lnTo>
                  <a:pt x="1485421" y="2906055"/>
                </a:lnTo>
                <a:lnTo>
                  <a:pt x="1472090" y="2899851"/>
                </a:lnTo>
                <a:lnTo>
                  <a:pt x="1423594" y="2878124"/>
                </a:lnTo>
                <a:lnTo>
                  <a:pt x="1414543" y="2873074"/>
                </a:lnTo>
                <a:lnTo>
                  <a:pt x="1410423" y="2871157"/>
                </a:lnTo>
                <a:lnTo>
                  <a:pt x="1395959" y="2862706"/>
                </a:lnTo>
                <a:lnTo>
                  <a:pt x="1356099" y="2840469"/>
                </a:lnTo>
                <a:lnTo>
                  <a:pt x="1344802" y="2832818"/>
                </a:lnTo>
                <a:lnTo>
                  <a:pt x="1339236" y="2829568"/>
                </a:lnTo>
                <a:lnTo>
                  <a:pt x="1325463" y="2819722"/>
                </a:lnTo>
                <a:lnTo>
                  <a:pt x="1292197" y="2797193"/>
                </a:lnTo>
                <a:lnTo>
                  <a:pt x="1279016" y="2786522"/>
                </a:lnTo>
                <a:lnTo>
                  <a:pt x="1272232" y="2781673"/>
                </a:lnTo>
                <a:lnTo>
                  <a:pt x="1259879" y="2771028"/>
                </a:lnTo>
                <a:lnTo>
                  <a:pt x="1232195" y="2748614"/>
                </a:lnTo>
                <a:lnTo>
                  <a:pt x="1217532" y="2734537"/>
                </a:lnTo>
                <a:lnTo>
                  <a:pt x="1209783" y="2727860"/>
                </a:lnTo>
                <a:lnTo>
                  <a:pt x="1199155" y="2716895"/>
                </a:lnTo>
                <a:lnTo>
                  <a:pt x="1176403" y="2695052"/>
                </a:lnTo>
                <a:lnTo>
                  <a:pt x="1160698" y="2677218"/>
                </a:lnTo>
                <a:lnTo>
                  <a:pt x="1152264" y="2668518"/>
                </a:lnTo>
                <a:lnTo>
                  <a:pt x="1143457" y="2657640"/>
                </a:lnTo>
                <a:lnTo>
                  <a:pt x="1125127" y="2636825"/>
                </a:lnTo>
                <a:lnTo>
                  <a:pt x="1108859" y="2614912"/>
                </a:lnTo>
                <a:lnTo>
                  <a:pt x="1100049" y="2604033"/>
                </a:lnTo>
                <a:lnTo>
                  <a:pt x="1093039" y="2593602"/>
                </a:lnTo>
                <a:lnTo>
                  <a:pt x="1078674" y="2574253"/>
                </a:lnTo>
                <a:lnTo>
                  <a:pt x="1062357" y="2547954"/>
                </a:lnTo>
                <a:lnTo>
                  <a:pt x="1053511" y="2534794"/>
                </a:lnTo>
                <a:lnTo>
                  <a:pt x="1048196" y="2525132"/>
                </a:lnTo>
                <a:lnTo>
                  <a:pt x="1037353" y="2507655"/>
                </a:lnTo>
                <a:lnTo>
                  <a:pt x="1021530" y="2476651"/>
                </a:lnTo>
                <a:lnTo>
                  <a:pt x="1013023" y="2461187"/>
                </a:lnTo>
                <a:lnTo>
                  <a:pt x="1009246" y="2452584"/>
                </a:lnTo>
                <a:lnTo>
                  <a:pt x="1001470" y="2437350"/>
                </a:lnTo>
                <a:lnTo>
                  <a:pt x="986712" y="2401263"/>
                </a:lnTo>
                <a:lnTo>
                  <a:pt x="978957" y="2383601"/>
                </a:lnTo>
                <a:lnTo>
                  <a:pt x="976512" y="2376320"/>
                </a:lnTo>
                <a:lnTo>
                  <a:pt x="971333" y="2363657"/>
                </a:lnTo>
                <a:lnTo>
                  <a:pt x="958241" y="2321929"/>
                </a:lnTo>
                <a:lnTo>
                  <a:pt x="951689" y="2302423"/>
                </a:lnTo>
                <a:lnTo>
                  <a:pt x="950326" y="2296701"/>
                </a:lnTo>
                <a:lnTo>
                  <a:pt x="947250" y="2286896"/>
                </a:lnTo>
                <a:lnTo>
                  <a:pt x="936447" y="2238430"/>
                </a:lnTo>
                <a:lnTo>
                  <a:pt x="931592" y="2218041"/>
                </a:lnTo>
                <a:lnTo>
                  <a:pt x="931023" y="2214091"/>
                </a:lnTo>
                <a:lnTo>
                  <a:pt x="929529" y="2207385"/>
                </a:lnTo>
                <a:lnTo>
                  <a:pt x="921664" y="2149080"/>
                </a:lnTo>
                <a:lnTo>
                  <a:pt x="919038" y="2130842"/>
                </a:lnTo>
                <a:lnTo>
                  <a:pt x="918944" y="2128921"/>
                </a:lnTo>
                <a:lnTo>
                  <a:pt x="918475" y="2125444"/>
                </a:lnTo>
                <a:lnTo>
                  <a:pt x="916631" y="2085006"/>
                </a:lnTo>
                <a:lnTo>
                  <a:pt x="914381" y="2085006"/>
                </a:lnTo>
                <a:lnTo>
                  <a:pt x="914381" y="2055911"/>
                </a:lnTo>
                <a:lnTo>
                  <a:pt x="912470" y="2041981"/>
                </a:lnTo>
                <a:lnTo>
                  <a:pt x="909844" y="2024052"/>
                </a:lnTo>
                <a:lnTo>
                  <a:pt x="909750" y="2022164"/>
                </a:lnTo>
                <a:lnTo>
                  <a:pt x="909281" y="2018746"/>
                </a:lnTo>
                <a:lnTo>
                  <a:pt x="907437" y="1978994"/>
                </a:lnTo>
                <a:lnTo>
                  <a:pt x="905187" y="1978994"/>
                </a:lnTo>
                <a:lnTo>
                  <a:pt x="905187" y="1942343"/>
                </a:lnTo>
                <a:lnTo>
                  <a:pt x="905187" y="1930545"/>
                </a:lnTo>
                <a:lnTo>
                  <a:pt x="905187" y="1930270"/>
                </a:lnTo>
                <a:lnTo>
                  <a:pt x="904111" y="1930270"/>
                </a:lnTo>
                <a:lnTo>
                  <a:pt x="904111" y="1770731"/>
                </a:lnTo>
                <a:lnTo>
                  <a:pt x="904111" y="1748996"/>
                </a:lnTo>
                <a:lnTo>
                  <a:pt x="904111" y="1264868"/>
                </a:lnTo>
                <a:lnTo>
                  <a:pt x="904111" y="1033638"/>
                </a:lnTo>
                <a:lnTo>
                  <a:pt x="904111" y="969659"/>
                </a:lnTo>
                <a:lnTo>
                  <a:pt x="905177" y="969659"/>
                </a:lnTo>
                <a:lnTo>
                  <a:pt x="905177" y="772763"/>
                </a:lnTo>
                <a:lnTo>
                  <a:pt x="903755" y="772763"/>
                </a:lnTo>
                <a:lnTo>
                  <a:pt x="903755" y="1"/>
                </a:lnTo>
                <a:lnTo>
                  <a:pt x="973468" y="1"/>
                </a:lnTo>
                <a:lnTo>
                  <a:pt x="1540291" y="1"/>
                </a:lnTo>
                <a:lnTo>
                  <a:pt x="1610004" y="1"/>
                </a:lnTo>
                <a:lnTo>
                  <a:pt x="1804327" y="1"/>
                </a:lnTo>
                <a:lnTo>
                  <a:pt x="1804859" y="1"/>
                </a:lnTo>
                <a:lnTo>
                  <a:pt x="1804867" y="0"/>
                </a:lnTo>
                <a:lnTo>
                  <a:pt x="1804876" y="1"/>
                </a:lnTo>
                <a:lnTo>
                  <a:pt x="1847201" y="1"/>
                </a:lnTo>
                <a:lnTo>
                  <a:pt x="1874040" y="1"/>
                </a:lnTo>
                <a:lnTo>
                  <a:pt x="1874571" y="1"/>
                </a:lnTo>
                <a:lnTo>
                  <a:pt x="1874580" y="0"/>
                </a:lnTo>
                <a:lnTo>
                  <a:pt x="1874589" y="1"/>
                </a:lnTo>
                <a:lnTo>
                  <a:pt x="1916913" y="1"/>
                </a:lnTo>
                <a:lnTo>
                  <a:pt x="2440864" y="1"/>
                </a:lnTo>
                <a:lnTo>
                  <a:pt x="2441395" y="1"/>
                </a:lnTo>
                <a:lnTo>
                  <a:pt x="2441403" y="0"/>
                </a:lnTo>
                <a:lnTo>
                  <a:pt x="2441412" y="1"/>
                </a:lnTo>
                <a:lnTo>
                  <a:pt x="2483737" y="1"/>
                </a:lnTo>
                <a:lnTo>
                  <a:pt x="2510576" y="1"/>
                </a:lnTo>
                <a:lnTo>
                  <a:pt x="2511107" y="1"/>
                </a:lnTo>
                <a:lnTo>
                  <a:pt x="2511116" y="0"/>
                </a:lnTo>
                <a:lnTo>
                  <a:pt x="2511124" y="1"/>
                </a:lnTo>
                <a:lnTo>
                  <a:pt x="2553450" y="1"/>
                </a:lnTo>
                <a:lnTo>
                  <a:pt x="2553450" y="2220"/>
                </a:lnTo>
                <a:lnTo>
                  <a:pt x="2597076" y="4480"/>
                </a:lnTo>
                <a:lnTo>
                  <a:pt x="2599722" y="4894"/>
                </a:lnTo>
                <a:lnTo>
                  <a:pt x="2603249" y="5088"/>
                </a:lnTo>
                <a:cubicBezTo>
                  <a:pt x="2656499" y="11002"/>
                  <a:pt x="2708377" y="21985"/>
                  <a:pt x="2758475" y="37591"/>
                </a:cubicBezTo>
                <a:lnTo>
                  <a:pt x="2762127" y="38918"/>
                </a:lnTo>
                <a:lnTo>
                  <a:pt x="2762756" y="39084"/>
                </a:lnTo>
                <a:lnTo>
                  <a:pt x="2769021" y="41426"/>
                </a:lnTo>
                <a:lnTo>
                  <a:pt x="2832235" y="64408"/>
                </a:lnTo>
                <a:lnTo>
                  <a:pt x="2838723" y="67471"/>
                </a:lnTo>
                <a:lnTo>
                  <a:pt x="2841189" y="68393"/>
                </a:lnTo>
                <a:lnTo>
                  <a:pt x="2854520" y="74929"/>
                </a:lnTo>
                <a:lnTo>
                  <a:pt x="2903015" y="97822"/>
                </a:lnTo>
                <a:lnTo>
                  <a:pt x="2912067" y="103142"/>
                </a:lnTo>
                <a:lnTo>
                  <a:pt x="2916186" y="105161"/>
                </a:lnTo>
                <a:lnTo>
                  <a:pt x="2930651" y="114065"/>
                </a:lnTo>
                <a:lnTo>
                  <a:pt x="2970512" y="137496"/>
                </a:lnTo>
                <a:lnTo>
                  <a:pt x="2981807" y="145556"/>
                </a:lnTo>
                <a:lnTo>
                  <a:pt x="2987374" y="148981"/>
                </a:lnTo>
                <a:lnTo>
                  <a:pt x="3001148" y="159355"/>
                </a:lnTo>
                <a:lnTo>
                  <a:pt x="3034413" y="183092"/>
                </a:lnTo>
                <a:lnTo>
                  <a:pt x="3047594" y="194337"/>
                </a:lnTo>
                <a:lnTo>
                  <a:pt x="3054378" y="199445"/>
                </a:lnTo>
                <a:lnTo>
                  <a:pt x="3066731" y="210661"/>
                </a:lnTo>
                <a:lnTo>
                  <a:pt x="3094414" y="234276"/>
                </a:lnTo>
                <a:lnTo>
                  <a:pt x="3109078" y="249109"/>
                </a:lnTo>
                <a:lnTo>
                  <a:pt x="3116826" y="256143"/>
                </a:lnTo>
                <a:lnTo>
                  <a:pt x="3127454" y="267697"/>
                </a:lnTo>
                <a:lnTo>
                  <a:pt x="3150207" y="290711"/>
                </a:lnTo>
                <a:lnTo>
                  <a:pt x="3165912" y="309501"/>
                </a:lnTo>
                <a:lnTo>
                  <a:pt x="3174345" y="318669"/>
                </a:lnTo>
                <a:lnTo>
                  <a:pt x="3183153" y="330130"/>
                </a:lnTo>
                <a:lnTo>
                  <a:pt x="3201483" y="352061"/>
                </a:lnTo>
                <a:lnTo>
                  <a:pt x="3217750" y="375148"/>
                </a:lnTo>
                <a:lnTo>
                  <a:pt x="3226560" y="386611"/>
                </a:lnTo>
                <a:lnTo>
                  <a:pt x="3233571" y="397601"/>
                </a:lnTo>
                <a:lnTo>
                  <a:pt x="3247936" y="417988"/>
                </a:lnTo>
                <a:lnTo>
                  <a:pt x="3264253" y="445698"/>
                </a:lnTo>
                <a:lnTo>
                  <a:pt x="3273099" y="459564"/>
                </a:lnTo>
                <a:lnTo>
                  <a:pt x="3278414" y="469744"/>
                </a:lnTo>
                <a:lnTo>
                  <a:pt x="3289257" y="488158"/>
                </a:lnTo>
                <a:lnTo>
                  <a:pt x="3305080" y="520825"/>
                </a:lnTo>
                <a:lnTo>
                  <a:pt x="3313588" y="537118"/>
                </a:lnTo>
                <a:lnTo>
                  <a:pt x="3317364" y="546183"/>
                </a:lnTo>
                <a:lnTo>
                  <a:pt x="3325140" y="562233"/>
                </a:lnTo>
                <a:lnTo>
                  <a:pt x="3339897" y="600256"/>
                </a:lnTo>
                <a:lnTo>
                  <a:pt x="3347654" y="618866"/>
                </a:lnTo>
                <a:lnTo>
                  <a:pt x="3350099" y="626536"/>
                </a:lnTo>
                <a:lnTo>
                  <a:pt x="3355277" y="639878"/>
                </a:lnTo>
                <a:lnTo>
                  <a:pt x="3368369" y="683845"/>
                </a:lnTo>
                <a:lnTo>
                  <a:pt x="3374921" y="704397"/>
                </a:lnTo>
                <a:lnTo>
                  <a:pt x="3376284" y="710425"/>
                </a:lnTo>
                <a:lnTo>
                  <a:pt x="3379360" y="720756"/>
                </a:lnTo>
                <a:lnTo>
                  <a:pt x="3390162" y="771822"/>
                </a:lnTo>
                <a:lnTo>
                  <a:pt x="3390375" y="772763"/>
                </a:lnTo>
                <a:lnTo>
                  <a:pt x="3391798" y="772763"/>
                </a:lnTo>
                <a:lnTo>
                  <a:pt x="3396441" y="797930"/>
                </a:lnTo>
                <a:lnTo>
                  <a:pt x="3397009" y="803028"/>
                </a:lnTo>
                <a:lnTo>
                  <a:pt x="3398504" y="811684"/>
                </a:lnTo>
                <a:lnTo>
                  <a:pt x="3406369" y="886948"/>
                </a:lnTo>
                <a:lnTo>
                  <a:pt x="3408995" y="910491"/>
                </a:lnTo>
                <a:lnTo>
                  <a:pt x="3409087" y="912969"/>
                </a:lnTo>
                <a:lnTo>
                  <a:pt x="3409557" y="917458"/>
                </a:lnTo>
                <a:lnTo>
                  <a:pt x="3411402" y="969659"/>
                </a:lnTo>
                <a:lnTo>
                  <a:pt x="3413650" y="969659"/>
                </a:lnTo>
                <a:lnTo>
                  <a:pt x="3413650" y="1017785"/>
                </a:lnTo>
                <a:lnTo>
                  <a:pt x="3413650" y="1033277"/>
                </a:lnTo>
                <a:lnTo>
                  <a:pt x="3413650" y="1033638"/>
                </a:lnTo>
                <a:lnTo>
                  <a:pt x="3413650" y="1033639"/>
                </a:lnTo>
                <a:lnTo>
                  <a:pt x="3414727" y="1033639"/>
                </a:lnTo>
                <a:lnTo>
                  <a:pt x="3414727" y="1123341"/>
                </a:lnTo>
                <a:lnTo>
                  <a:pt x="3414727" y="1264868"/>
                </a:lnTo>
                <a:lnTo>
                  <a:pt x="3414727" y="1358560"/>
                </a:lnTo>
                <a:lnTo>
                  <a:pt x="3414727" y="1748996"/>
                </a:lnTo>
                <a:lnTo>
                  <a:pt x="3414727" y="1770731"/>
                </a:lnTo>
                <a:lnTo>
                  <a:pt x="3414727" y="1851040"/>
                </a:lnTo>
                <a:lnTo>
                  <a:pt x="3414727" y="1873150"/>
                </a:lnTo>
                <a:lnTo>
                  <a:pt x="3414727" y="1930270"/>
                </a:lnTo>
                <a:lnTo>
                  <a:pt x="3414727" y="1978994"/>
                </a:lnTo>
                <a:lnTo>
                  <a:pt x="3414727" y="2035442"/>
                </a:lnTo>
                <a:lnTo>
                  <a:pt x="3414727" y="2085006"/>
                </a:lnTo>
                <a:lnTo>
                  <a:pt x="3413661" y="2085006"/>
                </a:lnTo>
                <a:lnTo>
                  <a:pt x="3413661" y="2849926"/>
                </a:lnTo>
                <a:lnTo>
                  <a:pt x="3413661" y="2970965"/>
                </a:lnTo>
                <a:lnTo>
                  <a:pt x="3353141" y="2970965"/>
                </a:lnTo>
                <a:lnTo>
                  <a:pt x="2777125" y="2970965"/>
                </a:lnTo>
                <a:lnTo>
                  <a:pt x="2716606" y="2970965"/>
                </a:lnTo>
                <a:lnTo>
                  <a:pt x="2513089" y="2970965"/>
                </a:lnTo>
                <a:lnTo>
                  <a:pt x="2512558" y="2970965"/>
                </a:lnTo>
                <a:close/>
                <a:moveTo>
                  <a:pt x="3413555" y="6236497"/>
                </a:moveTo>
                <a:lnTo>
                  <a:pt x="3347035" y="6236497"/>
                </a:lnTo>
                <a:lnTo>
                  <a:pt x="2758758" y="6236497"/>
                </a:lnTo>
                <a:lnTo>
                  <a:pt x="2713908" y="6236497"/>
                </a:lnTo>
                <a:lnTo>
                  <a:pt x="2692238" y="6236497"/>
                </a:lnTo>
                <a:lnTo>
                  <a:pt x="2647388" y="6236497"/>
                </a:lnTo>
                <a:lnTo>
                  <a:pt x="2423694" y="6236497"/>
                </a:lnTo>
                <a:lnTo>
                  <a:pt x="2423109" y="6236497"/>
                </a:lnTo>
                <a:lnTo>
                  <a:pt x="2423100" y="6236497"/>
                </a:lnTo>
                <a:lnTo>
                  <a:pt x="2423090" y="6236497"/>
                </a:lnTo>
                <a:lnTo>
                  <a:pt x="2376569" y="6236497"/>
                </a:lnTo>
                <a:lnTo>
                  <a:pt x="2357173" y="6236497"/>
                </a:lnTo>
                <a:lnTo>
                  <a:pt x="2356590" y="6236497"/>
                </a:lnTo>
                <a:lnTo>
                  <a:pt x="2356581" y="6236497"/>
                </a:lnTo>
                <a:lnTo>
                  <a:pt x="2356571" y="6236497"/>
                </a:lnTo>
                <a:lnTo>
                  <a:pt x="2310049" y="6236497"/>
                </a:lnTo>
                <a:lnTo>
                  <a:pt x="2059112" y="6236497"/>
                </a:lnTo>
                <a:lnTo>
                  <a:pt x="1992591" y="6236497"/>
                </a:lnTo>
                <a:lnTo>
                  <a:pt x="1768897" y="6236497"/>
                </a:lnTo>
                <a:lnTo>
                  <a:pt x="1768312" y="6236497"/>
                </a:lnTo>
                <a:lnTo>
                  <a:pt x="1768303" y="6236497"/>
                </a:lnTo>
                <a:lnTo>
                  <a:pt x="1768293" y="6236497"/>
                </a:lnTo>
                <a:lnTo>
                  <a:pt x="1724047" y="6236497"/>
                </a:lnTo>
                <a:lnTo>
                  <a:pt x="1723462" y="6236497"/>
                </a:lnTo>
                <a:lnTo>
                  <a:pt x="1723453" y="6236497"/>
                </a:lnTo>
                <a:lnTo>
                  <a:pt x="1723443" y="6236497"/>
                </a:lnTo>
                <a:lnTo>
                  <a:pt x="1721772" y="6236497"/>
                </a:lnTo>
                <a:lnTo>
                  <a:pt x="1702376" y="6236497"/>
                </a:lnTo>
                <a:lnTo>
                  <a:pt x="1701793" y="6236497"/>
                </a:lnTo>
                <a:lnTo>
                  <a:pt x="1701784" y="6236497"/>
                </a:lnTo>
                <a:lnTo>
                  <a:pt x="1701774" y="6236497"/>
                </a:lnTo>
                <a:lnTo>
                  <a:pt x="1676921" y="6236497"/>
                </a:lnTo>
                <a:lnTo>
                  <a:pt x="1657527" y="6236497"/>
                </a:lnTo>
                <a:lnTo>
                  <a:pt x="1656943" y="6236497"/>
                </a:lnTo>
                <a:lnTo>
                  <a:pt x="1656933" y="6236497"/>
                </a:lnTo>
                <a:lnTo>
                  <a:pt x="1656923" y="6236497"/>
                </a:lnTo>
                <a:lnTo>
                  <a:pt x="1655252" y="6236497"/>
                </a:lnTo>
                <a:lnTo>
                  <a:pt x="1610402" y="6236497"/>
                </a:lnTo>
                <a:lnTo>
                  <a:pt x="1069250" y="6236497"/>
                </a:lnTo>
                <a:lnTo>
                  <a:pt x="1068665" y="6236497"/>
                </a:lnTo>
                <a:lnTo>
                  <a:pt x="1068656" y="6236497"/>
                </a:lnTo>
                <a:lnTo>
                  <a:pt x="1068646" y="6236497"/>
                </a:lnTo>
                <a:lnTo>
                  <a:pt x="1022124" y="6236497"/>
                </a:lnTo>
                <a:lnTo>
                  <a:pt x="1002729" y="6236497"/>
                </a:lnTo>
                <a:lnTo>
                  <a:pt x="1002146" y="6236497"/>
                </a:lnTo>
                <a:lnTo>
                  <a:pt x="1002136" y="6236497"/>
                </a:lnTo>
                <a:lnTo>
                  <a:pt x="1002126" y="6236497"/>
                </a:lnTo>
                <a:lnTo>
                  <a:pt x="955605" y="6236497"/>
                </a:lnTo>
                <a:lnTo>
                  <a:pt x="955605" y="6234182"/>
                </a:lnTo>
                <a:lnTo>
                  <a:pt x="907653" y="6231824"/>
                </a:lnTo>
                <a:lnTo>
                  <a:pt x="904743" y="6231393"/>
                </a:lnTo>
                <a:lnTo>
                  <a:pt x="900868" y="6231190"/>
                </a:lnTo>
                <a:cubicBezTo>
                  <a:pt x="842339" y="6225021"/>
                  <a:pt x="785317" y="6213563"/>
                  <a:pt x="730252" y="6197284"/>
                </a:cubicBezTo>
                <a:lnTo>
                  <a:pt x="726239" y="6195899"/>
                </a:lnTo>
                <a:lnTo>
                  <a:pt x="725547" y="6195725"/>
                </a:lnTo>
                <a:lnTo>
                  <a:pt x="718660" y="6193283"/>
                </a:lnTo>
                <a:lnTo>
                  <a:pt x="649179" y="6169308"/>
                </a:lnTo>
                <a:lnTo>
                  <a:pt x="642047" y="6166112"/>
                </a:lnTo>
                <a:lnTo>
                  <a:pt x="639337" y="6165151"/>
                </a:lnTo>
                <a:lnTo>
                  <a:pt x="624684" y="6158333"/>
                </a:lnTo>
                <a:lnTo>
                  <a:pt x="571379" y="6134451"/>
                </a:lnTo>
                <a:lnTo>
                  <a:pt x="561431" y="6128901"/>
                </a:lnTo>
                <a:lnTo>
                  <a:pt x="556903" y="6126794"/>
                </a:lnTo>
                <a:lnTo>
                  <a:pt x="541005" y="6117505"/>
                </a:lnTo>
                <a:lnTo>
                  <a:pt x="497192" y="6093062"/>
                </a:lnTo>
                <a:lnTo>
                  <a:pt x="484776" y="6084653"/>
                </a:lnTo>
                <a:lnTo>
                  <a:pt x="478658" y="6081081"/>
                </a:lnTo>
                <a:lnTo>
                  <a:pt x="463519" y="6070258"/>
                </a:lnTo>
                <a:lnTo>
                  <a:pt x="426955" y="6045496"/>
                </a:lnTo>
                <a:lnTo>
                  <a:pt x="412467" y="6033767"/>
                </a:lnTo>
                <a:lnTo>
                  <a:pt x="405010" y="6028437"/>
                </a:lnTo>
                <a:lnTo>
                  <a:pt x="391434" y="6016737"/>
                </a:lnTo>
                <a:lnTo>
                  <a:pt x="361004" y="5992101"/>
                </a:lnTo>
                <a:lnTo>
                  <a:pt x="344887" y="5976627"/>
                </a:lnTo>
                <a:lnTo>
                  <a:pt x="336370" y="5969288"/>
                </a:lnTo>
                <a:lnTo>
                  <a:pt x="324688" y="5957236"/>
                </a:lnTo>
                <a:lnTo>
                  <a:pt x="299680" y="5933228"/>
                </a:lnTo>
                <a:lnTo>
                  <a:pt x="282418" y="5913626"/>
                </a:lnTo>
                <a:lnTo>
                  <a:pt x="273149" y="5904062"/>
                </a:lnTo>
                <a:lnTo>
                  <a:pt x="263468" y="5892106"/>
                </a:lnTo>
                <a:lnTo>
                  <a:pt x="243320" y="5869228"/>
                </a:lnTo>
                <a:lnTo>
                  <a:pt x="225440" y="5845142"/>
                </a:lnTo>
                <a:lnTo>
                  <a:pt x="215756" y="5833184"/>
                </a:lnTo>
                <a:lnTo>
                  <a:pt x="208051" y="5821719"/>
                </a:lnTo>
                <a:lnTo>
                  <a:pt x="192262" y="5800452"/>
                </a:lnTo>
                <a:lnTo>
                  <a:pt x="174326" y="5771545"/>
                </a:lnTo>
                <a:lnTo>
                  <a:pt x="164603" y="5757080"/>
                </a:lnTo>
                <a:lnTo>
                  <a:pt x="158762" y="5746460"/>
                </a:lnTo>
                <a:lnTo>
                  <a:pt x="146844" y="5727251"/>
                </a:lnTo>
                <a:lnTo>
                  <a:pt x="129452" y="5693173"/>
                </a:lnTo>
                <a:lnTo>
                  <a:pt x="120101" y="5676175"/>
                </a:lnTo>
                <a:lnTo>
                  <a:pt x="115950" y="5666719"/>
                </a:lnTo>
                <a:lnTo>
                  <a:pt x="107403" y="5649975"/>
                </a:lnTo>
                <a:lnTo>
                  <a:pt x="91182" y="5610310"/>
                </a:lnTo>
                <a:lnTo>
                  <a:pt x="82657" y="5590897"/>
                </a:lnTo>
                <a:lnTo>
                  <a:pt x="79971" y="5582895"/>
                </a:lnTo>
                <a:lnTo>
                  <a:pt x="74278" y="5568976"/>
                </a:lnTo>
                <a:lnTo>
                  <a:pt x="59888" y="5523110"/>
                </a:lnTo>
                <a:lnTo>
                  <a:pt x="52686" y="5501671"/>
                </a:lnTo>
                <a:lnTo>
                  <a:pt x="51189" y="5495381"/>
                </a:lnTo>
                <a:lnTo>
                  <a:pt x="47808" y="5484604"/>
                </a:lnTo>
                <a:lnTo>
                  <a:pt x="35933" y="5431333"/>
                </a:lnTo>
                <a:lnTo>
                  <a:pt x="30597" y="5408921"/>
                </a:lnTo>
                <a:lnTo>
                  <a:pt x="29971" y="5404580"/>
                </a:lnTo>
                <a:lnTo>
                  <a:pt x="28329" y="5397210"/>
                </a:lnTo>
                <a:lnTo>
                  <a:pt x="19684" y="5333124"/>
                </a:lnTo>
                <a:lnTo>
                  <a:pt x="16798" y="5313077"/>
                </a:lnTo>
                <a:lnTo>
                  <a:pt x="16695" y="5310966"/>
                </a:lnTo>
                <a:lnTo>
                  <a:pt x="16179" y="5307144"/>
                </a:lnTo>
                <a:lnTo>
                  <a:pt x="14152" y="5262696"/>
                </a:lnTo>
                <a:lnTo>
                  <a:pt x="11679" y="5262696"/>
                </a:lnTo>
                <a:lnTo>
                  <a:pt x="11679" y="5230717"/>
                </a:lnTo>
                <a:lnTo>
                  <a:pt x="9578" y="5215406"/>
                </a:lnTo>
                <a:lnTo>
                  <a:pt x="6692" y="5195699"/>
                </a:lnTo>
                <a:lnTo>
                  <a:pt x="6589" y="5193624"/>
                </a:lnTo>
                <a:lnTo>
                  <a:pt x="6073" y="5189867"/>
                </a:lnTo>
                <a:lnTo>
                  <a:pt x="4046" y="5146174"/>
                </a:lnTo>
                <a:lnTo>
                  <a:pt x="1574" y="5146174"/>
                </a:lnTo>
                <a:lnTo>
                  <a:pt x="1574" y="5105888"/>
                </a:lnTo>
                <a:lnTo>
                  <a:pt x="1574" y="5092921"/>
                </a:lnTo>
                <a:lnTo>
                  <a:pt x="1574" y="5092619"/>
                </a:lnTo>
                <a:lnTo>
                  <a:pt x="390" y="5092619"/>
                </a:lnTo>
                <a:lnTo>
                  <a:pt x="390" y="4917262"/>
                </a:lnTo>
                <a:lnTo>
                  <a:pt x="390" y="4893372"/>
                </a:lnTo>
                <a:lnTo>
                  <a:pt x="391" y="4361244"/>
                </a:lnTo>
                <a:lnTo>
                  <a:pt x="391" y="4107087"/>
                </a:lnTo>
                <a:lnTo>
                  <a:pt x="391" y="4036764"/>
                </a:lnTo>
                <a:lnTo>
                  <a:pt x="1563" y="4036764"/>
                </a:lnTo>
                <a:lnTo>
                  <a:pt x="1563" y="3820347"/>
                </a:lnTo>
                <a:lnTo>
                  <a:pt x="0" y="3820347"/>
                </a:lnTo>
                <a:lnTo>
                  <a:pt x="0" y="2970967"/>
                </a:lnTo>
                <a:lnTo>
                  <a:pt x="76625" y="2970967"/>
                </a:lnTo>
                <a:lnTo>
                  <a:pt x="654797" y="2970967"/>
                </a:lnTo>
                <a:lnTo>
                  <a:pt x="699648" y="2970967"/>
                </a:lnTo>
                <a:lnTo>
                  <a:pt x="731422" y="2970967"/>
                </a:lnTo>
                <a:lnTo>
                  <a:pt x="776273" y="2970967"/>
                </a:lnTo>
                <a:lnTo>
                  <a:pt x="989863" y="2970967"/>
                </a:lnTo>
                <a:lnTo>
                  <a:pt x="990447" y="2970967"/>
                </a:lnTo>
                <a:lnTo>
                  <a:pt x="990456" y="2970966"/>
                </a:lnTo>
                <a:lnTo>
                  <a:pt x="990466" y="2970967"/>
                </a:lnTo>
                <a:lnTo>
                  <a:pt x="1036986" y="2970967"/>
                </a:lnTo>
                <a:lnTo>
                  <a:pt x="1066487" y="2970967"/>
                </a:lnTo>
                <a:lnTo>
                  <a:pt x="1067071" y="2970967"/>
                </a:lnTo>
                <a:lnTo>
                  <a:pt x="1067081" y="2970966"/>
                </a:lnTo>
                <a:lnTo>
                  <a:pt x="1067090" y="2970967"/>
                </a:lnTo>
                <a:lnTo>
                  <a:pt x="1113611" y="2970967"/>
                </a:lnTo>
                <a:lnTo>
                  <a:pt x="1354445" y="2970967"/>
                </a:lnTo>
                <a:lnTo>
                  <a:pt x="1431070" y="2970967"/>
                </a:lnTo>
                <a:lnTo>
                  <a:pt x="1644660" y="2970967"/>
                </a:lnTo>
                <a:lnTo>
                  <a:pt x="1645244" y="2970967"/>
                </a:lnTo>
                <a:lnTo>
                  <a:pt x="1645253" y="2970966"/>
                </a:lnTo>
                <a:lnTo>
                  <a:pt x="1645263" y="2970967"/>
                </a:lnTo>
                <a:lnTo>
                  <a:pt x="1689510" y="2970967"/>
                </a:lnTo>
                <a:lnTo>
                  <a:pt x="1690094" y="2970967"/>
                </a:lnTo>
                <a:lnTo>
                  <a:pt x="1690104" y="2970966"/>
                </a:lnTo>
                <a:lnTo>
                  <a:pt x="1690113" y="2970967"/>
                </a:lnTo>
                <a:lnTo>
                  <a:pt x="1691783" y="2970967"/>
                </a:lnTo>
                <a:lnTo>
                  <a:pt x="1721284" y="2970967"/>
                </a:lnTo>
                <a:lnTo>
                  <a:pt x="1721868" y="2970967"/>
                </a:lnTo>
                <a:lnTo>
                  <a:pt x="1721878" y="2970966"/>
                </a:lnTo>
                <a:lnTo>
                  <a:pt x="1721887" y="2970967"/>
                </a:lnTo>
                <a:lnTo>
                  <a:pt x="1736634" y="2970967"/>
                </a:lnTo>
                <a:lnTo>
                  <a:pt x="1766135" y="2970967"/>
                </a:lnTo>
                <a:lnTo>
                  <a:pt x="1766718" y="2970967"/>
                </a:lnTo>
                <a:lnTo>
                  <a:pt x="1766728" y="2970966"/>
                </a:lnTo>
                <a:lnTo>
                  <a:pt x="1766737" y="2970967"/>
                </a:lnTo>
                <a:lnTo>
                  <a:pt x="1768408" y="2970967"/>
                </a:lnTo>
                <a:lnTo>
                  <a:pt x="1813259" y="2970967"/>
                </a:lnTo>
                <a:lnTo>
                  <a:pt x="2344307" y="2970967"/>
                </a:lnTo>
                <a:lnTo>
                  <a:pt x="2344891" y="2970967"/>
                </a:lnTo>
                <a:lnTo>
                  <a:pt x="2344900" y="2970966"/>
                </a:lnTo>
                <a:lnTo>
                  <a:pt x="2344910" y="2970967"/>
                </a:lnTo>
                <a:lnTo>
                  <a:pt x="2391431" y="2970967"/>
                </a:lnTo>
                <a:lnTo>
                  <a:pt x="2420932" y="2970967"/>
                </a:lnTo>
                <a:lnTo>
                  <a:pt x="2421516" y="2970967"/>
                </a:lnTo>
                <a:lnTo>
                  <a:pt x="2421525" y="2970966"/>
                </a:lnTo>
                <a:lnTo>
                  <a:pt x="2421534" y="2970967"/>
                </a:lnTo>
                <a:lnTo>
                  <a:pt x="2468056" y="2970967"/>
                </a:lnTo>
                <a:lnTo>
                  <a:pt x="2468056" y="2973406"/>
                </a:lnTo>
                <a:lnTo>
                  <a:pt x="2516007" y="2975890"/>
                </a:lnTo>
                <a:lnTo>
                  <a:pt x="2518917" y="2976345"/>
                </a:lnTo>
                <a:lnTo>
                  <a:pt x="2522794" y="2976559"/>
                </a:lnTo>
                <a:cubicBezTo>
                  <a:pt x="2581322" y="2983059"/>
                  <a:pt x="2638343" y="2995131"/>
                  <a:pt x="2693409" y="3012284"/>
                </a:cubicBezTo>
                <a:lnTo>
                  <a:pt x="2697422" y="3013743"/>
                </a:lnTo>
                <a:lnTo>
                  <a:pt x="2698115" y="3013925"/>
                </a:lnTo>
                <a:lnTo>
                  <a:pt x="2705001" y="3016499"/>
                </a:lnTo>
                <a:lnTo>
                  <a:pt x="2774482" y="3041760"/>
                </a:lnTo>
                <a:lnTo>
                  <a:pt x="2781614" y="3045126"/>
                </a:lnTo>
                <a:lnTo>
                  <a:pt x="2784325" y="3046139"/>
                </a:lnTo>
                <a:lnTo>
                  <a:pt x="2798976" y="3053324"/>
                </a:lnTo>
                <a:lnTo>
                  <a:pt x="2852281" y="3078487"/>
                </a:lnTo>
                <a:lnTo>
                  <a:pt x="2862229" y="3084334"/>
                </a:lnTo>
                <a:lnTo>
                  <a:pt x="2866757" y="3086553"/>
                </a:lnTo>
                <a:lnTo>
                  <a:pt x="2882655" y="3096341"/>
                </a:lnTo>
                <a:lnTo>
                  <a:pt x="2926469" y="3122094"/>
                </a:lnTo>
                <a:lnTo>
                  <a:pt x="2938885" y="3130954"/>
                </a:lnTo>
                <a:lnTo>
                  <a:pt x="2945002" y="3134718"/>
                </a:lnTo>
                <a:lnTo>
                  <a:pt x="2960142" y="3146121"/>
                </a:lnTo>
                <a:lnTo>
                  <a:pt x="2996705" y="3172212"/>
                </a:lnTo>
                <a:lnTo>
                  <a:pt x="3011193" y="3184572"/>
                </a:lnTo>
                <a:lnTo>
                  <a:pt x="3018650" y="3190186"/>
                </a:lnTo>
                <a:lnTo>
                  <a:pt x="3032228" y="3202514"/>
                </a:lnTo>
                <a:lnTo>
                  <a:pt x="3062657" y="3228469"/>
                </a:lnTo>
                <a:lnTo>
                  <a:pt x="3078773" y="3244774"/>
                </a:lnTo>
                <a:lnTo>
                  <a:pt x="3087290" y="3252505"/>
                </a:lnTo>
                <a:lnTo>
                  <a:pt x="3098972" y="3265205"/>
                </a:lnTo>
                <a:lnTo>
                  <a:pt x="3123981" y="3290500"/>
                </a:lnTo>
                <a:lnTo>
                  <a:pt x="3141242" y="3311153"/>
                </a:lnTo>
                <a:lnTo>
                  <a:pt x="3150512" y="3321230"/>
                </a:lnTo>
                <a:lnTo>
                  <a:pt x="3160193" y="3333827"/>
                </a:lnTo>
                <a:lnTo>
                  <a:pt x="3180340" y="3357933"/>
                </a:lnTo>
                <a:lnTo>
                  <a:pt x="3198220" y="3383309"/>
                </a:lnTo>
                <a:lnTo>
                  <a:pt x="3207904" y="3395909"/>
                </a:lnTo>
                <a:lnTo>
                  <a:pt x="3215609" y="3407989"/>
                </a:lnTo>
                <a:lnTo>
                  <a:pt x="3231400" y="3430397"/>
                </a:lnTo>
                <a:lnTo>
                  <a:pt x="3249335" y="3460855"/>
                </a:lnTo>
                <a:lnTo>
                  <a:pt x="3259057" y="3476095"/>
                </a:lnTo>
                <a:lnTo>
                  <a:pt x="3264899" y="3487285"/>
                </a:lnTo>
                <a:lnTo>
                  <a:pt x="3276817" y="3507524"/>
                </a:lnTo>
                <a:lnTo>
                  <a:pt x="3294209" y="3543430"/>
                </a:lnTo>
                <a:lnTo>
                  <a:pt x="3303560" y="3561338"/>
                </a:lnTo>
                <a:lnTo>
                  <a:pt x="3307711" y="3571302"/>
                </a:lnTo>
                <a:lnTo>
                  <a:pt x="3316258" y="3588944"/>
                </a:lnTo>
                <a:lnTo>
                  <a:pt x="3332479" y="3630736"/>
                </a:lnTo>
                <a:lnTo>
                  <a:pt x="3341004" y="3651191"/>
                </a:lnTo>
                <a:lnTo>
                  <a:pt x="3343691" y="3659622"/>
                </a:lnTo>
                <a:lnTo>
                  <a:pt x="3349383" y="3674287"/>
                </a:lnTo>
                <a:lnTo>
                  <a:pt x="3363773" y="3722614"/>
                </a:lnTo>
                <a:lnTo>
                  <a:pt x="3370974" y="3745202"/>
                </a:lnTo>
                <a:lnTo>
                  <a:pt x="3372473" y="3751829"/>
                </a:lnTo>
                <a:lnTo>
                  <a:pt x="3375854" y="3763184"/>
                </a:lnTo>
                <a:lnTo>
                  <a:pt x="3387727" y="3819313"/>
                </a:lnTo>
                <a:lnTo>
                  <a:pt x="3387961" y="3820347"/>
                </a:lnTo>
                <a:lnTo>
                  <a:pt x="3389524" y="3820347"/>
                </a:lnTo>
                <a:lnTo>
                  <a:pt x="3394628" y="3848009"/>
                </a:lnTo>
                <a:lnTo>
                  <a:pt x="3395253" y="3853613"/>
                </a:lnTo>
                <a:lnTo>
                  <a:pt x="3396896" y="3863126"/>
                </a:lnTo>
                <a:lnTo>
                  <a:pt x="3405541" y="3945853"/>
                </a:lnTo>
                <a:lnTo>
                  <a:pt x="3408427" y="3971731"/>
                </a:lnTo>
                <a:lnTo>
                  <a:pt x="3408528" y="3974454"/>
                </a:lnTo>
                <a:lnTo>
                  <a:pt x="3409045" y="3979387"/>
                </a:lnTo>
                <a:lnTo>
                  <a:pt x="3411073" y="4036764"/>
                </a:lnTo>
                <a:lnTo>
                  <a:pt x="3413544" y="4036764"/>
                </a:lnTo>
                <a:lnTo>
                  <a:pt x="3413544" y="4089662"/>
                </a:lnTo>
                <a:lnTo>
                  <a:pt x="3413544" y="4106691"/>
                </a:lnTo>
                <a:lnTo>
                  <a:pt x="3413544" y="4107087"/>
                </a:lnTo>
                <a:lnTo>
                  <a:pt x="3413544" y="4107088"/>
                </a:lnTo>
                <a:lnTo>
                  <a:pt x="3414727" y="4107088"/>
                </a:lnTo>
                <a:lnTo>
                  <a:pt x="3414727" y="4205685"/>
                </a:lnTo>
                <a:lnTo>
                  <a:pt x="3414727" y="4361244"/>
                </a:lnTo>
                <a:lnTo>
                  <a:pt x="3414727" y="4464225"/>
                </a:lnTo>
                <a:lnTo>
                  <a:pt x="3414727" y="4893372"/>
                </a:lnTo>
                <a:lnTo>
                  <a:pt x="3414727" y="4917262"/>
                </a:lnTo>
                <a:lnTo>
                  <a:pt x="3414727" y="5005534"/>
                </a:lnTo>
                <a:lnTo>
                  <a:pt x="3414727" y="5029836"/>
                </a:lnTo>
                <a:lnTo>
                  <a:pt x="3414727" y="5092619"/>
                </a:lnTo>
                <a:lnTo>
                  <a:pt x="3414727" y="5146174"/>
                </a:lnTo>
                <a:lnTo>
                  <a:pt x="3414727" y="5208218"/>
                </a:lnTo>
                <a:lnTo>
                  <a:pt x="3414727" y="5262696"/>
                </a:lnTo>
                <a:lnTo>
                  <a:pt x="3413555" y="5262696"/>
                </a:lnTo>
                <a:lnTo>
                  <a:pt x="3413555" y="61034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 descr="Text, logo&#10;&#10;Description automatically generated">
            <a:extLst>
              <a:ext uri="{FF2B5EF4-FFF2-40B4-BE49-F238E27FC236}">
                <a16:creationId xmlns:a16="http://schemas.microsoft.com/office/drawing/2014/main" id="{C43F8BD5-A17D-D646-A2E5-470C9A352B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7939" y="4347814"/>
            <a:ext cx="2205336" cy="83889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8AC6034-CC76-DE4C-8D51-257BD40E9D5E}"/>
              </a:ext>
            </a:extLst>
          </p:cNvPr>
          <p:cNvSpPr txBox="1"/>
          <p:nvPr/>
        </p:nvSpPr>
        <p:spPr>
          <a:xfrm>
            <a:off x="5697675" y="889177"/>
            <a:ext cx="5749396" cy="9848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GAWASAN TERTIB USAHA JASA KONSTRUKSI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37811EA-12B5-084B-A205-2F1B67BEF913}"/>
              </a:ext>
            </a:extLst>
          </p:cNvPr>
          <p:cNvSpPr txBox="1"/>
          <p:nvPr/>
        </p:nvSpPr>
        <p:spPr>
          <a:xfrm>
            <a:off x="4461117" y="225917"/>
            <a:ext cx="6268796" cy="492443"/>
          </a:xfrm>
          <a:prstGeom prst="rect">
            <a:avLst/>
          </a:prstGeom>
          <a:solidFill>
            <a:srgbClr val="FEB813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          SIMAK</a:t>
            </a:r>
          </a:p>
        </p:txBody>
      </p:sp>
      <p:pic>
        <p:nvPicPr>
          <p:cNvPr id="2" name="Picture 1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EDC5A463-A3B1-0C47-1876-1ED5C9A11D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9830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alphaModFix amt="16721"/>
            <a:lum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Freeform: Shape 46">
            <a:extLst>
              <a:ext uri="{FF2B5EF4-FFF2-40B4-BE49-F238E27FC236}">
                <a16:creationId xmlns:a16="http://schemas.microsoft.com/office/drawing/2014/main" id="{A72DCC20-54A7-3C4D-B0A5-F71AF1788066}"/>
              </a:ext>
            </a:extLst>
          </p:cNvPr>
          <p:cNvSpPr/>
          <p:nvPr/>
        </p:nvSpPr>
        <p:spPr>
          <a:xfrm rot="10800000" flipH="1">
            <a:off x="2789280" y="488250"/>
            <a:ext cx="5238202" cy="2137176"/>
          </a:xfrm>
          <a:custGeom>
            <a:avLst/>
            <a:gdLst>
              <a:gd name="connsiteX0" fmla="*/ 0 w 5431992"/>
              <a:gd name="connsiteY0" fmla="*/ 3727301 h 3727301"/>
              <a:gd name="connsiteX1" fmla="*/ 844165 w 5431992"/>
              <a:gd name="connsiteY1" fmla="*/ 3727301 h 3727301"/>
              <a:gd name="connsiteX2" fmla="*/ 891390 w 5431992"/>
              <a:gd name="connsiteY2" fmla="*/ 3727301 h 3727301"/>
              <a:gd name="connsiteX3" fmla="*/ 2371823 w 5431992"/>
              <a:gd name="connsiteY3" fmla="*/ 3727301 h 3727301"/>
              <a:gd name="connsiteX4" fmla="*/ 2754923 w 5431992"/>
              <a:gd name="connsiteY4" fmla="*/ 3727301 h 3727301"/>
              <a:gd name="connsiteX5" fmla="*/ 4157501 w 5431992"/>
              <a:gd name="connsiteY5" fmla="*/ 3727301 h 3727301"/>
              <a:gd name="connsiteX6" fmla="*/ 4540601 w 5431992"/>
              <a:gd name="connsiteY6" fmla="*/ 3727301 h 3727301"/>
              <a:gd name="connsiteX7" fmla="*/ 4540601 w 5431992"/>
              <a:gd name="connsiteY7" fmla="*/ 3726212 h 3727301"/>
              <a:gd name="connsiteX8" fmla="*/ 4540602 w 5431992"/>
              <a:gd name="connsiteY8" fmla="*/ 3726212 h 3727301"/>
              <a:gd name="connsiteX9" fmla="*/ 4540868 w 5431992"/>
              <a:gd name="connsiteY9" fmla="*/ 3726212 h 3727301"/>
              <a:gd name="connsiteX10" fmla="*/ 4552303 w 5431992"/>
              <a:gd name="connsiteY10" fmla="*/ 3726212 h 3727301"/>
              <a:gd name="connsiteX11" fmla="*/ 4587827 w 5431992"/>
              <a:gd name="connsiteY11" fmla="*/ 3726212 h 3727301"/>
              <a:gd name="connsiteX12" fmla="*/ 4587827 w 5431992"/>
              <a:gd name="connsiteY12" fmla="*/ 3723939 h 3727301"/>
              <a:gd name="connsiteX13" fmla="*/ 4626359 w 5431992"/>
              <a:gd name="connsiteY13" fmla="*/ 3722075 h 3727301"/>
              <a:gd name="connsiteX14" fmla="*/ 4629673 w 5431992"/>
              <a:gd name="connsiteY14" fmla="*/ 3721600 h 3727301"/>
              <a:gd name="connsiteX15" fmla="*/ 4631501 w 5431992"/>
              <a:gd name="connsiteY15" fmla="*/ 3721506 h 3727301"/>
              <a:gd name="connsiteX16" fmla="*/ 4648879 w 5431992"/>
              <a:gd name="connsiteY16" fmla="*/ 3718852 h 3727301"/>
              <a:gd name="connsiteX17" fmla="*/ 4704433 w 5431992"/>
              <a:gd name="connsiteY17" fmla="*/ 3710902 h 3727301"/>
              <a:gd name="connsiteX18" fmla="*/ 4710823 w 5431992"/>
              <a:gd name="connsiteY18" fmla="*/ 3709391 h 3727301"/>
              <a:gd name="connsiteX19" fmla="*/ 4714586 w 5431992"/>
              <a:gd name="connsiteY19" fmla="*/ 3708817 h 3727301"/>
              <a:gd name="connsiteX20" fmla="*/ 4734014 w 5431992"/>
              <a:gd name="connsiteY20" fmla="*/ 3703907 h 3727301"/>
              <a:gd name="connsiteX21" fmla="*/ 4780194 w 5431992"/>
              <a:gd name="connsiteY21" fmla="*/ 3692988 h 3727301"/>
              <a:gd name="connsiteX22" fmla="*/ 4789537 w 5431992"/>
              <a:gd name="connsiteY22" fmla="*/ 3689878 h 3727301"/>
              <a:gd name="connsiteX23" fmla="*/ 4794988 w 5431992"/>
              <a:gd name="connsiteY23" fmla="*/ 3688501 h 3727301"/>
              <a:gd name="connsiteX24" fmla="*/ 4813574 w 5431992"/>
              <a:gd name="connsiteY24" fmla="*/ 3681879 h 3727301"/>
              <a:gd name="connsiteX25" fmla="*/ 4853335 w 5431992"/>
              <a:gd name="connsiteY25" fmla="*/ 3668644 h 3727301"/>
              <a:gd name="connsiteX26" fmla="*/ 4865400 w 5431992"/>
              <a:gd name="connsiteY26" fmla="*/ 3663410 h 3727301"/>
              <a:gd name="connsiteX27" fmla="*/ 4872337 w 5431992"/>
              <a:gd name="connsiteY27" fmla="*/ 3660937 h 3727301"/>
              <a:gd name="connsiteX28" fmla="*/ 4889166 w 5431992"/>
              <a:gd name="connsiteY28" fmla="*/ 3653099 h 3727301"/>
              <a:gd name="connsiteX29" fmla="*/ 4923551 w 5431992"/>
              <a:gd name="connsiteY29" fmla="*/ 3638182 h 3727301"/>
              <a:gd name="connsiteX30" fmla="*/ 4938066 w 5431992"/>
              <a:gd name="connsiteY30" fmla="*/ 3630322 h 3727301"/>
              <a:gd name="connsiteX31" fmla="*/ 4946263 w 5431992"/>
              <a:gd name="connsiteY31" fmla="*/ 3626504 h 3727301"/>
              <a:gd name="connsiteX32" fmla="*/ 4960997 w 5431992"/>
              <a:gd name="connsiteY32" fmla="*/ 3617905 h 3727301"/>
              <a:gd name="connsiteX33" fmla="*/ 4990539 w 5431992"/>
              <a:gd name="connsiteY33" fmla="*/ 3601910 h 3727301"/>
              <a:gd name="connsiteX34" fmla="*/ 5007191 w 5431992"/>
              <a:gd name="connsiteY34" fmla="*/ 3590949 h 3727301"/>
              <a:gd name="connsiteX35" fmla="*/ 5016397 w 5431992"/>
              <a:gd name="connsiteY35" fmla="*/ 3585577 h 3727301"/>
              <a:gd name="connsiteX36" fmla="*/ 5028936 w 5431992"/>
              <a:gd name="connsiteY36" fmla="*/ 3576636 h 3727301"/>
              <a:gd name="connsiteX37" fmla="*/ 5053995 w 5431992"/>
              <a:gd name="connsiteY37" fmla="*/ 3560142 h 3727301"/>
              <a:gd name="connsiteX38" fmla="*/ 5072432 w 5431992"/>
              <a:gd name="connsiteY38" fmla="*/ 3545621 h 3727301"/>
              <a:gd name="connsiteX39" fmla="*/ 5082370 w 5431992"/>
              <a:gd name="connsiteY39" fmla="*/ 3538535 h 3727301"/>
              <a:gd name="connsiteX40" fmla="*/ 5092737 w 5431992"/>
              <a:gd name="connsiteY40" fmla="*/ 3529630 h 3727301"/>
              <a:gd name="connsiteX41" fmla="*/ 5113615 w 5431992"/>
              <a:gd name="connsiteY41" fmla="*/ 3513186 h 3727301"/>
              <a:gd name="connsiteX42" fmla="*/ 5133448 w 5431992"/>
              <a:gd name="connsiteY42" fmla="*/ 3494657 h 3727301"/>
              <a:gd name="connsiteX43" fmla="*/ 5143812 w 5431992"/>
              <a:gd name="connsiteY43" fmla="*/ 3485754 h 3727301"/>
              <a:gd name="connsiteX44" fmla="*/ 5152102 w 5431992"/>
              <a:gd name="connsiteY44" fmla="*/ 3477230 h 3727301"/>
              <a:gd name="connsiteX45" fmla="*/ 5169095 w 5431992"/>
              <a:gd name="connsiteY45" fmla="*/ 3461355 h 3727301"/>
              <a:gd name="connsiteX46" fmla="*/ 5189909 w 5431992"/>
              <a:gd name="connsiteY46" fmla="*/ 3438356 h 3727301"/>
              <a:gd name="connsiteX47" fmla="*/ 5200355 w 5431992"/>
              <a:gd name="connsiteY47" fmla="*/ 3427614 h 3727301"/>
              <a:gd name="connsiteX48" fmla="*/ 5206717 w 5431992"/>
              <a:gd name="connsiteY48" fmla="*/ 3419781 h 3727301"/>
              <a:gd name="connsiteX49" fmla="*/ 5220131 w 5431992"/>
              <a:gd name="connsiteY49" fmla="*/ 3404959 h 3727301"/>
              <a:gd name="connsiteX50" fmla="*/ 5241486 w 5431992"/>
              <a:gd name="connsiteY50" fmla="*/ 3376975 h 3727301"/>
              <a:gd name="connsiteX51" fmla="*/ 5251629 w 5431992"/>
              <a:gd name="connsiteY51" fmla="*/ 3364490 h 3727301"/>
              <a:gd name="connsiteX52" fmla="*/ 5256249 w 5431992"/>
              <a:gd name="connsiteY52" fmla="*/ 3357632 h 3727301"/>
              <a:gd name="connsiteX53" fmla="*/ 5266418 w 5431992"/>
              <a:gd name="connsiteY53" fmla="*/ 3344309 h 3727301"/>
              <a:gd name="connsiteX54" fmla="*/ 5287884 w 5431992"/>
              <a:gd name="connsiteY54" fmla="*/ 3310683 h 3727301"/>
              <a:gd name="connsiteX55" fmla="*/ 5297265 w 5431992"/>
              <a:gd name="connsiteY55" fmla="*/ 3296759 h 3727301"/>
              <a:gd name="connsiteX56" fmla="*/ 5300364 w 5431992"/>
              <a:gd name="connsiteY56" fmla="*/ 3291135 h 3727301"/>
              <a:gd name="connsiteX57" fmla="*/ 5307652 w 5431992"/>
              <a:gd name="connsiteY57" fmla="*/ 3279716 h 3727301"/>
              <a:gd name="connsiteX58" fmla="*/ 5328841 w 5431992"/>
              <a:gd name="connsiteY58" fmla="*/ 3239424 h 3727301"/>
              <a:gd name="connsiteX59" fmla="*/ 5336893 w 5431992"/>
              <a:gd name="connsiteY59" fmla="*/ 3224802 h 3727301"/>
              <a:gd name="connsiteX60" fmla="*/ 5338719 w 5431992"/>
              <a:gd name="connsiteY60" fmla="*/ 3220638 h 3727301"/>
              <a:gd name="connsiteX61" fmla="*/ 5343530 w 5431992"/>
              <a:gd name="connsiteY61" fmla="*/ 3211490 h 3727301"/>
              <a:gd name="connsiteX62" fmla="*/ 5364233 w 5431992"/>
              <a:gd name="connsiteY62" fmla="*/ 3162469 h 3727301"/>
              <a:gd name="connsiteX63" fmla="*/ 5370144 w 5431992"/>
              <a:gd name="connsiteY63" fmla="*/ 3148994 h 3727301"/>
              <a:gd name="connsiteX64" fmla="*/ 5370977 w 5431992"/>
              <a:gd name="connsiteY64" fmla="*/ 3146500 h 3727301"/>
              <a:gd name="connsiteX65" fmla="*/ 5373748 w 5431992"/>
              <a:gd name="connsiteY65" fmla="*/ 3139941 h 3727301"/>
              <a:gd name="connsiteX66" fmla="*/ 5394531 w 5431992"/>
              <a:gd name="connsiteY66" fmla="*/ 3076045 h 3727301"/>
              <a:gd name="connsiteX67" fmla="*/ 5396648 w 5431992"/>
              <a:gd name="connsiteY67" fmla="*/ 3069712 h 3727301"/>
              <a:gd name="connsiteX68" fmla="*/ 5396798 w 5431992"/>
              <a:gd name="connsiteY68" fmla="*/ 3069075 h 3727301"/>
              <a:gd name="connsiteX69" fmla="*/ 5397999 w 5431992"/>
              <a:gd name="connsiteY69" fmla="*/ 3065384 h 3727301"/>
              <a:gd name="connsiteX70" fmla="*/ 5427392 w 5431992"/>
              <a:gd name="connsiteY70" fmla="*/ 2908479 h 3727301"/>
              <a:gd name="connsiteX71" fmla="*/ 5427567 w 5431992"/>
              <a:gd name="connsiteY71" fmla="*/ 2904915 h 3727301"/>
              <a:gd name="connsiteX72" fmla="*/ 5427942 w 5431992"/>
              <a:gd name="connsiteY72" fmla="*/ 2902239 h 3727301"/>
              <a:gd name="connsiteX73" fmla="*/ 5429984 w 5431992"/>
              <a:gd name="connsiteY73" fmla="*/ 2858141 h 3727301"/>
              <a:gd name="connsiteX74" fmla="*/ 5431992 w 5431992"/>
              <a:gd name="connsiteY74" fmla="*/ 2858141 h 3727301"/>
              <a:gd name="connsiteX75" fmla="*/ 5431992 w 5431992"/>
              <a:gd name="connsiteY75" fmla="*/ 2815358 h 3727301"/>
              <a:gd name="connsiteX76" fmla="*/ 5431992 w 5431992"/>
              <a:gd name="connsiteY76" fmla="*/ 2815349 h 3727301"/>
              <a:gd name="connsiteX77" fmla="*/ 5431992 w 5431992"/>
              <a:gd name="connsiteY77" fmla="*/ 2815340 h 3727301"/>
              <a:gd name="connsiteX78" fmla="*/ 5431992 w 5431992"/>
              <a:gd name="connsiteY78" fmla="*/ 2814803 h 3727301"/>
              <a:gd name="connsiteX79" fmla="*/ 5431992 w 5431992"/>
              <a:gd name="connsiteY79" fmla="*/ 2806157 h 3727301"/>
              <a:gd name="connsiteX80" fmla="*/ 5431992 w 5431992"/>
              <a:gd name="connsiteY80" fmla="*/ 2439693 h 3727301"/>
              <a:gd name="connsiteX81" fmla="*/ 5431992 w 5431992"/>
              <a:gd name="connsiteY81" fmla="*/ 2396910 h 3727301"/>
              <a:gd name="connsiteX82" fmla="*/ 5431992 w 5431992"/>
              <a:gd name="connsiteY82" fmla="*/ 2396901 h 3727301"/>
              <a:gd name="connsiteX83" fmla="*/ 5431992 w 5431992"/>
              <a:gd name="connsiteY83" fmla="*/ 2396892 h 3727301"/>
              <a:gd name="connsiteX84" fmla="*/ 5431992 w 5431992"/>
              <a:gd name="connsiteY84" fmla="*/ 2396355 h 3727301"/>
              <a:gd name="connsiteX85" fmla="*/ 5431992 w 5431992"/>
              <a:gd name="connsiteY85" fmla="*/ 2387709 h 3727301"/>
              <a:gd name="connsiteX86" fmla="*/ 5431992 w 5431992"/>
              <a:gd name="connsiteY86" fmla="*/ 2251532 h 3727301"/>
              <a:gd name="connsiteX87" fmla="*/ 5431992 w 5431992"/>
              <a:gd name="connsiteY87" fmla="*/ 1894207 h 3727301"/>
              <a:gd name="connsiteX88" fmla="*/ 5431992 w 5431992"/>
              <a:gd name="connsiteY88" fmla="*/ 1833084 h 3727301"/>
              <a:gd name="connsiteX89" fmla="*/ 5431992 w 5431992"/>
              <a:gd name="connsiteY89" fmla="*/ 1475759 h 3727301"/>
              <a:gd name="connsiteX90" fmla="*/ 5431992 w 5431992"/>
              <a:gd name="connsiteY90" fmla="*/ 1330390 h 3727301"/>
              <a:gd name="connsiteX91" fmla="*/ 5431992 w 5431992"/>
              <a:gd name="connsiteY91" fmla="*/ 911942 h 3727301"/>
              <a:gd name="connsiteX92" fmla="*/ 5431992 w 5431992"/>
              <a:gd name="connsiteY92" fmla="*/ 418448 h 3727301"/>
              <a:gd name="connsiteX93" fmla="*/ 5431992 w 5431992"/>
              <a:gd name="connsiteY93" fmla="*/ 0 h 3727301"/>
              <a:gd name="connsiteX94" fmla="*/ 4587827 w 5431992"/>
              <a:gd name="connsiteY94" fmla="*/ 0 h 3727301"/>
              <a:gd name="connsiteX95" fmla="*/ 4540602 w 5431992"/>
              <a:gd name="connsiteY95" fmla="*/ 0 h 3727301"/>
              <a:gd name="connsiteX96" fmla="*/ 3646314 w 5431992"/>
              <a:gd name="connsiteY96" fmla="*/ 0 h 3727301"/>
              <a:gd name="connsiteX97" fmla="*/ 3060170 w 5431992"/>
              <a:gd name="connsiteY97" fmla="*/ 0 h 3727301"/>
              <a:gd name="connsiteX98" fmla="*/ 2802149 w 5431992"/>
              <a:gd name="connsiteY98" fmla="*/ 0 h 3727301"/>
              <a:gd name="connsiteX99" fmla="*/ 2754924 w 5431992"/>
              <a:gd name="connsiteY99" fmla="*/ 0 h 3727301"/>
              <a:gd name="connsiteX100" fmla="*/ 2677069 w 5431992"/>
              <a:gd name="connsiteY100" fmla="*/ 0 h 3727301"/>
              <a:gd name="connsiteX101" fmla="*/ 1274492 w 5431992"/>
              <a:gd name="connsiteY101" fmla="*/ 0 h 3727301"/>
              <a:gd name="connsiteX102" fmla="*/ 891391 w 5431992"/>
              <a:gd name="connsiteY102" fmla="*/ 0 h 3727301"/>
              <a:gd name="connsiteX103" fmla="*/ 891391 w 5431992"/>
              <a:gd name="connsiteY103" fmla="*/ 1089 h 3727301"/>
              <a:gd name="connsiteX104" fmla="*/ 891390 w 5431992"/>
              <a:gd name="connsiteY104" fmla="*/ 1089 h 3727301"/>
              <a:gd name="connsiteX105" fmla="*/ 891124 w 5431992"/>
              <a:gd name="connsiteY105" fmla="*/ 1089 h 3727301"/>
              <a:gd name="connsiteX106" fmla="*/ 879689 w 5431992"/>
              <a:gd name="connsiteY106" fmla="*/ 1089 h 3727301"/>
              <a:gd name="connsiteX107" fmla="*/ 844165 w 5431992"/>
              <a:gd name="connsiteY107" fmla="*/ 1089 h 3727301"/>
              <a:gd name="connsiteX108" fmla="*/ 844165 w 5431992"/>
              <a:gd name="connsiteY108" fmla="*/ 3362 h 3727301"/>
              <a:gd name="connsiteX109" fmla="*/ 805634 w 5431992"/>
              <a:gd name="connsiteY109" fmla="*/ 5226 h 3727301"/>
              <a:gd name="connsiteX110" fmla="*/ 802321 w 5431992"/>
              <a:gd name="connsiteY110" fmla="*/ 5701 h 3727301"/>
              <a:gd name="connsiteX111" fmla="*/ 800491 w 5431992"/>
              <a:gd name="connsiteY111" fmla="*/ 5795 h 3727301"/>
              <a:gd name="connsiteX112" fmla="*/ 783113 w 5431992"/>
              <a:gd name="connsiteY112" fmla="*/ 8449 h 3727301"/>
              <a:gd name="connsiteX113" fmla="*/ 727559 w 5431992"/>
              <a:gd name="connsiteY113" fmla="*/ 16399 h 3727301"/>
              <a:gd name="connsiteX114" fmla="*/ 721169 w 5431992"/>
              <a:gd name="connsiteY114" fmla="*/ 17910 h 3727301"/>
              <a:gd name="connsiteX115" fmla="*/ 717406 w 5431992"/>
              <a:gd name="connsiteY115" fmla="*/ 18484 h 3727301"/>
              <a:gd name="connsiteX116" fmla="*/ 697980 w 5431992"/>
              <a:gd name="connsiteY116" fmla="*/ 23394 h 3727301"/>
              <a:gd name="connsiteX117" fmla="*/ 651798 w 5431992"/>
              <a:gd name="connsiteY117" fmla="*/ 34313 h 3727301"/>
              <a:gd name="connsiteX118" fmla="*/ 642455 w 5431992"/>
              <a:gd name="connsiteY118" fmla="*/ 37423 h 3727301"/>
              <a:gd name="connsiteX119" fmla="*/ 637004 w 5431992"/>
              <a:gd name="connsiteY119" fmla="*/ 38800 h 3727301"/>
              <a:gd name="connsiteX120" fmla="*/ 618418 w 5431992"/>
              <a:gd name="connsiteY120" fmla="*/ 45422 h 3727301"/>
              <a:gd name="connsiteX121" fmla="*/ 578659 w 5431992"/>
              <a:gd name="connsiteY121" fmla="*/ 58657 h 3727301"/>
              <a:gd name="connsiteX122" fmla="*/ 566594 w 5431992"/>
              <a:gd name="connsiteY122" fmla="*/ 63891 h 3727301"/>
              <a:gd name="connsiteX123" fmla="*/ 559656 w 5431992"/>
              <a:gd name="connsiteY123" fmla="*/ 66364 h 3727301"/>
              <a:gd name="connsiteX124" fmla="*/ 542827 w 5431992"/>
              <a:gd name="connsiteY124" fmla="*/ 74202 h 3727301"/>
              <a:gd name="connsiteX125" fmla="*/ 508443 w 5431992"/>
              <a:gd name="connsiteY125" fmla="*/ 89119 h 3727301"/>
              <a:gd name="connsiteX126" fmla="*/ 493927 w 5431992"/>
              <a:gd name="connsiteY126" fmla="*/ 96979 h 3727301"/>
              <a:gd name="connsiteX127" fmla="*/ 485730 w 5431992"/>
              <a:gd name="connsiteY127" fmla="*/ 100797 h 3727301"/>
              <a:gd name="connsiteX128" fmla="*/ 470995 w 5431992"/>
              <a:gd name="connsiteY128" fmla="*/ 109396 h 3727301"/>
              <a:gd name="connsiteX129" fmla="*/ 441454 w 5431992"/>
              <a:gd name="connsiteY129" fmla="*/ 125391 h 3727301"/>
              <a:gd name="connsiteX130" fmla="*/ 424802 w 5431992"/>
              <a:gd name="connsiteY130" fmla="*/ 136352 h 3727301"/>
              <a:gd name="connsiteX131" fmla="*/ 415596 w 5431992"/>
              <a:gd name="connsiteY131" fmla="*/ 141724 h 3727301"/>
              <a:gd name="connsiteX132" fmla="*/ 403056 w 5431992"/>
              <a:gd name="connsiteY132" fmla="*/ 150665 h 3727301"/>
              <a:gd name="connsiteX133" fmla="*/ 377997 w 5431992"/>
              <a:gd name="connsiteY133" fmla="*/ 167159 h 3727301"/>
              <a:gd name="connsiteX134" fmla="*/ 359561 w 5431992"/>
              <a:gd name="connsiteY134" fmla="*/ 181680 h 3727301"/>
              <a:gd name="connsiteX135" fmla="*/ 349622 w 5431992"/>
              <a:gd name="connsiteY135" fmla="*/ 188766 h 3727301"/>
              <a:gd name="connsiteX136" fmla="*/ 339257 w 5431992"/>
              <a:gd name="connsiteY136" fmla="*/ 197671 h 3727301"/>
              <a:gd name="connsiteX137" fmla="*/ 318377 w 5431992"/>
              <a:gd name="connsiteY137" fmla="*/ 214115 h 3727301"/>
              <a:gd name="connsiteX138" fmla="*/ 298544 w 5431992"/>
              <a:gd name="connsiteY138" fmla="*/ 232644 h 3727301"/>
              <a:gd name="connsiteX139" fmla="*/ 288180 w 5431992"/>
              <a:gd name="connsiteY139" fmla="*/ 241547 h 3727301"/>
              <a:gd name="connsiteX140" fmla="*/ 279890 w 5431992"/>
              <a:gd name="connsiteY140" fmla="*/ 250071 h 3727301"/>
              <a:gd name="connsiteX141" fmla="*/ 262898 w 5431992"/>
              <a:gd name="connsiteY141" fmla="*/ 265946 h 3727301"/>
              <a:gd name="connsiteX142" fmla="*/ 242085 w 5431992"/>
              <a:gd name="connsiteY142" fmla="*/ 288944 h 3727301"/>
              <a:gd name="connsiteX143" fmla="*/ 231637 w 5431992"/>
              <a:gd name="connsiteY143" fmla="*/ 299687 h 3727301"/>
              <a:gd name="connsiteX144" fmla="*/ 225275 w 5431992"/>
              <a:gd name="connsiteY144" fmla="*/ 307520 h 3727301"/>
              <a:gd name="connsiteX145" fmla="*/ 211862 w 5431992"/>
              <a:gd name="connsiteY145" fmla="*/ 322342 h 3727301"/>
              <a:gd name="connsiteX146" fmla="*/ 190506 w 5431992"/>
              <a:gd name="connsiteY146" fmla="*/ 350326 h 3727301"/>
              <a:gd name="connsiteX147" fmla="*/ 180363 w 5431992"/>
              <a:gd name="connsiteY147" fmla="*/ 362811 h 3727301"/>
              <a:gd name="connsiteX148" fmla="*/ 175743 w 5431992"/>
              <a:gd name="connsiteY148" fmla="*/ 369669 h 3727301"/>
              <a:gd name="connsiteX149" fmla="*/ 165574 w 5431992"/>
              <a:gd name="connsiteY149" fmla="*/ 382992 h 3727301"/>
              <a:gd name="connsiteX150" fmla="*/ 144110 w 5431992"/>
              <a:gd name="connsiteY150" fmla="*/ 416618 h 3727301"/>
              <a:gd name="connsiteX151" fmla="*/ 134728 w 5431992"/>
              <a:gd name="connsiteY151" fmla="*/ 430542 h 3727301"/>
              <a:gd name="connsiteX152" fmla="*/ 131630 w 5431992"/>
              <a:gd name="connsiteY152" fmla="*/ 436167 h 3727301"/>
              <a:gd name="connsiteX153" fmla="*/ 124340 w 5431992"/>
              <a:gd name="connsiteY153" fmla="*/ 447585 h 3727301"/>
              <a:gd name="connsiteX154" fmla="*/ 103153 w 5431992"/>
              <a:gd name="connsiteY154" fmla="*/ 487877 h 3727301"/>
              <a:gd name="connsiteX155" fmla="*/ 95100 w 5431992"/>
              <a:gd name="connsiteY155" fmla="*/ 502499 h 3727301"/>
              <a:gd name="connsiteX156" fmla="*/ 93274 w 5431992"/>
              <a:gd name="connsiteY156" fmla="*/ 506663 h 3727301"/>
              <a:gd name="connsiteX157" fmla="*/ 88463 w 5431992"/>
              <a:gd name="connsiteY157" fmla="*/ 515811 h 3727301"/>
              <a:gd name="connsiteX158" fmla="*/ 67759 w 5431992"/>
              <a:gd name="connsiteY158" fmla="*/ 564832 h 3727301"/>
              <a:gd name="connsiteX159" fmla="*/ 61850 w 5431992"/>
              <a:gd name="connsiteY159" fmla="*/ 578307 h 3727301"/>
              <a:gd name="connsiteX160" fmla="*/ 61016 w 5431992"/>
              <a:gd name="connsiteY160" fmla="*/ 580801 h 3727301"/>
              <a:gd name="connsiteX161" fmla="*/ 58246 w 5431992"/>
              <a:gd name="connsiteY161" fmla="*/ 587360 h 3727301"/>
              <a:gd name="connsiteX162" fmla="*/ 37462 w 5431992"/>
              <a:gd name="connsiteY162" fmla="*/ 651256 h 3727301"/>
              <a:gd name="connsiteX163" fmla="*/ 35344 w 5431992"/>
              <a:gd name="connsiteY163" fmla="*/ 657589 h 3727301"/>
              <a:gd name="connsiteX164" fmla="*/ 35195 w 5431992"/>
              <a:gd name="connsiteY164" fmla="*/ 658226 h 3727301"/>
              <a:gd name="connsiteX165" fmla="*/ 33994 w 5431992"/>
              <a:gd name="connsiteY165" fmla="*/ 661917 h 3727301"/>
              <a:gd name="connsiteX166" fmla="*/ 4602 w 5431992"/>
              <a:gd name="connsiteY166" fmla="*/ 818822 h 3727301"/>
              <a:gd name="connsiteX167" fmla="*/ 4426 w 5431992"/>
              <a:gd name="connsiteY167" fmla="*/ 822387 h 3727301"/>
              <a:gd name="connsiteX168" fmla="*/ 4051 w 5431992"/>
              <a:gd name="connsiteY168" fmla="*/ 825062 h 3727301"/>
              <a:gd name="connsiteX169" fmla="*/ 2008 w 5431992"/>
              <a:gd name="connsiteY169" fmla="*/ 869160 h 3727301"/>
              <a:gd name="connsiteX170" fmla="*/ 1 w 5431992"/>
              <a:gd name="connsiteY170" fmla="*/ 869160 h 3727301"/>
              <a:gd name="connsiteX171" fmla="*/ 1 w 5431992"/>
              <a:gd name="connsiteY171" fmla="*/ 911944 h 3727301"/>
              <a:gd name="connsiteX172" fmla="*/ 0 w 5431992"/>
              <a:gd name="connsiteY172" fmla="*/ 911952 h 3727301"/>
              <a:gd name="connsiteX173" fmla="*/ 1 w 5431992"/>
              <a:gd name="connsiteY173" fmla="*/ 911961 h 3727301"/>
              <a:gd name="connsiteX174" fmla="*/ 1 w 5431992"/>
              <a:gd name="connsiteY174" fmla="*/ 912498 h 3727301"/>
              <a:gd name="connsiteX175" fmla="*/ 1 w 5431992"/>
              <a:gd name="connsiteY175" fmla="*/ 921144 h 3727301"/>
              <a:gd name="connsiteX176" fmla="*/ 0 w 5431992"/>
              <a:gd name="connsiteY176" fmla="*/ 921144 h 3727301"/>
              <a:gd name="connsiteX177" fmla="*/ 0 w 5431992"/>
              <a:gd name="connsiteY177" fmla="*/ 1330400 h 3727301"/>
              <a:gd name="connsiteX178" fmla="*/ 0 w 5431992"/>
              <a:gd name="connsiteY178" fmla="*/ 1339592 h 3727301"/>
              <a:gd name="connsiteX179" fmla="*/ 0 w 5431992"/>
              <a:gd name="connsiteY179" fmla="*/ 1475768 h 3727301"/>
              <a:gd name="connsiteX180" fmla="*/ 0 w 5431992"/>
              <a:gd name="connsiteY180" fmla="*/ 1475769 h 3727301"/>
              <a:gd name="connsiteX181" fmla="*/ 0 w 5431992"/>
              <a:gd name="connsiteY181" fmla="*/ 1475770 h 3727301"/>
              <a:gd name="connsiteX182" fmla="*/ 0 w 5431992"/>
              <a:gd name="connsiteY182" fmla="*/ 1833095 h 3727301"/>
              <a:gd name="connsiteX183" fmla="*/ 0 w 5431992"/>
              <a:gd name="connsiteY183" fmla="*/ 1894216 h 3727301"/>
              <a:gd name="connsiteX184" fmla="*/ 0 w 5431992"/>
              <a:gd name="connsiteY184" fmla="*/ 1894217 h 3727301"/>
              <a:gd name="connsiteX185" fmla="*/ 0 w 5431992"/>
              <a:gd name="connsiteY185" fmla="*/ 1894218 h 3727301"/>
              <a:gd name="connsiteX186" fmla="*/ 0 w 5431992"/>
              <a:gd name="connsiteY186" fmla="*/ 2251543 h 3727301"/>
              <a:gd name="connsiteX187" fmla="*/ 0 w 5431992"/>
              <a:gd name="connsiteY187" fmla="*/ 2396911 h 3727301"/>
              <a:gd name="connsiteX188" fmla="*/ 0 w 5431992"/>
              <a:gd name="connsiteY188" fmla="*/ 2815359 h 3727301"/>
              <a:gd name="connsiteX189" fmla="*/ 0 w 5431992"/>
              <a:gd name="connsiteY189" fmla="*/ 3308853 h 3727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431992" h="3727301">
                <a:moveTo>
                  <a:pt x="0" y="3727301"/>
                </a:moveTo>
                <a:lnTo>
                  <a:pt x="844165" y="3727301"/>
                </a:lnTo>
                <a:lnTo>
                  <a:pt x="891390" y="3727301"/>
                </a:lnTo>
                <a:lnTo>
                  <a:pt x="2371823" y="3727301"/>
                </a:lnTo>
                <a:lnTo>
                  <a:pt x="2754923" y="3727301"/>
                </a:lnTo>
                <a:lnTo>
                  <a:pt x="4157501" y="3727301"/>
                </a:lnTo>
                <a:lnTo>
                  <a:pt x="4540601" y="3727301"/>
                </a:lnTo>
                <a:lnTo>
                  <a:pt x="4540601" y="3726212"/>
                </a:lnTo>
                <a:lnTo>
                  <a:pt x="4540602" y="3726212"/>
                </a:lnTo>
                <a:lnTo>
                  <a:pt x="4540868" y="3726212"/>
                </a:lnTo>
                <a:lnTo>
                  <a:pt x="4552303" y="3726212"/>
                </a:lnTo>
                <a:lnTo>
                  <a:pt x="4587827" y="3726212"/>
                </a:lnTo>
                <a:lnTo>
                  <a:pt x="4587827" y="3723939"/>
                </a:lnTo>
                <a:lnTo>
                  <a:pt x="4626359" y="3722075"/>
                </a:lnTo>
                <a:lnTo>
                  <a:pt x="4629673" y="3721600"/>
                </a:lnTo>
                <a:lnTo>
                  <a:pt x="4631501" y="3721506"/>
                </a:lnTo>
                <a:lnTo>
                  <a:pt x="4648879" y="3718852"/>
                </a:lnTo>
                <a:lnTo>
                  <a:pt x="4704433" y="3710902"/>
                </a:lnTo>
                <a:lnTo>
                  <a:pt x="4710823" y="3709391"/>
                </a:lnTo>
                <a:lnTo>
                  <a:pt x="4714586" y="3708817"/>
                </a:lnTo>
                <a:lnTo>
                  <a:pt x="4734014" y="3703907"/>
                </a:lnTo>
                <a:lnTo>
                  <a:pt x="4780194" y="3692988"/>
                </a:lnTo>
                <a:lnTo>
                  <a:pt x="4789537" y="3689878"/>
                </a:lnTo>
                <a:lnTo>
                  <a:pt x="4794988" y="3688501"/>
                </a:lnTo>
                <a:lnTo>
                  <a:pt x="4813574" y="3681879"/>
                </a:lnTo>
                <a:lnTo>
                  <a:pt x="4853335" y="3668644"/>
                </a:lnTo>
                <a:lnTo>
                  <a:pt x="4865400" y="3663410"/>
                </a:lnTo>
                <a:lnTo>
                  <a:pt x="4872337" y="3660937"/>
                </a:lnTo>
                <a:lnTo>
                  <a:pt x="4889166" y="3653099"/>
                </a:lnTo>
                <a:lnTo>
                  <a:pt x="4923551" y="3638182"/>
                </a:lnTo>
                <a:lnTo>
                  <a:pt x="4938066" y="3630322"/>
                </a:lnTo>
                <a:lnTo>
                  <a:pt x="4946263" y="3626504"/>
                </a:lnTo>
                <a:lnTo>
                  <a:pt x="4960997" y="3617905"/>
                </a:lnTo>
                <a:lnTo>
                  <a:pt x="4990539" y="3601910"/>
                </a:lnTo>
                <a:lnTo>
                  <a:pt x="5007191" y="3590949"/>
                </a:lnTo>
                <a:lnTo>
                  <a:pt x="5016397" y="3585577"/>
                </a:lnTo>
                <a:lnTo>
                  <a:pt x="5028936" y="3576636"/>
                </a:lnTo>
                <a:lnTo>
                  <a:pt x="5053995" y="3560142"/>
                </a:lnTo>
                <a:lnTo>
                  <a:pt x="5072432" y="3545621"/>
                </a:lnTo>
                <a:lnTo>
                  <a:pt x="5082370" y="3538535"/>
                </a:lnTo>
                <a:lnTo>
                  <a:pt x="5092737" y="3529630"/>
                </a:lnTo>
                <a:lnTo>
                  <a:pt x="5113615" y="3513186"/>
                </a:lnTo>
                <a:lnTo>
                  <a:pt x="5133448" y="3494657"/>
                </a:lnTo>
                <a:lnTo>
                  <a:pt x="5143812" y="3485754"/>
                </a:lnTo>
                <a:lnTo>
                  <a:pt x="5152102" y="3477230"/>
                </a:lnTo>
                <a:lnTo>
                  <a:pt x="5169095" y="3461355"/>
                </a:lnTo>
                <a:lnTo>
                  <a:pt x="5189909" y="3438356"/>
                </a:lnTo>
                <a:lnTo>
                  <a:pt x="5200355" y="3427614"/>
                </a:lnTo>
                <a:lnTo>
                  <a:pt x="5206717" y="3419781"/>
                </a:lnTo>
                <a:lnTo>
                  <a:pt x="5220131" y="3404959"/>
                </a:lnTo>
                <a:lnTo>
                  <a:pt x="5241486" y="3376975"/>
                </a:lnTo>
                <a:lnTo>
                  <a:pt x="5251629" y="3364490"/>
                </a:lnTo>
                <a:lnTo>
                  <a:pt x="5256249" y="3357632"/>
                </a:lnTo>
                <a:lnTo>
                  <a:pt x="5266418" y="3344309"/>
                </a:lnTo>
                <a:lnTo>
                  <a:pt x="5287884" y="3310683"/>
                </a:lnTo>
                <a:lnTo>
                  <a:pt x="5297265" y="3296759"/>
                </a:lnTo>
                <a:lnTo>
                  <a:pt x="5300364" y="3291135"/>
                </a:lnTo>
                <a:lnTo>
                  <a:pt x="5307652" y="3279716"/>
                </a:lnTo>
                <a:lnTo>
                  <a:pt x="5328841" y="3239424"/>
                </a:lnTo>
                <a:lnTo>
                  <a:pt x="5336893" y="3224802"/>
                </a:lnTo>
                <a:lnTo>
                  <a:pt x="5338719" y="3220638"/>
                </a:lnTo>
                <a:lnTo>
                  <a:pt x="5343530" y="3211490"/>
                </a:lnTo>
                <a:lnTo>
                  <a:pt x="5364233" y="3162469"/>
                </a:lnTo>
                <a:lnTo>
                  <a:pt x="5370144" y="3148994"/>
                </a:lnTo>
                <a:lnTo>
                  <a:pt x="5370977" y="3146500"/>
                </a:lnTo>
                <a:lnTo>
                  <a:pt x="5373748" y="3139941"/>
                </a:lnTo>
                <a:lnTo>
                  <a:pt x="5394531" y="3076045"/>
                </a:lnTo>
                <a:lnTo>
                  <a:pt x="5396648" y="3069712"/>
                </a:lnTo>
                <a:lnTo>
                  <a:pt x="5396798" y="3069075"/>
                </a:lnTo>
                <a:lnTo>
                  <a:pt x="5397999" y="3065384"/>
                </a:lnTo>
                <a:cubicBezTo>
                  <a:pt x="5412111" y="3014743"/>
                  <a:pt x="5422044" y="2962304"/>
                  <a:pt x="5427392" y="2908479"/>
                </a:cubicBezTo>
                <a:lnTo>
                  <a:pt x="5427567" y="2904915"/>
                </a:lnTo>
                <a:lnTo>
                  <a:pt x="5427942" y="2902239"/>
                </a:lnTo>
                <a:lnTo>
                  <a:pt x="5429984" y="2858141"/>
                </a:lnTo>
                <a:lnTo>
                  <a:pt x="5431992" y="2858141"/>
                </a:lnTo>
                <a:lnTo>
                  <a:pt x="5431992" y="2815358"/>
                </a:lnTo>
                <a:lnTo>
                  <a:pt x="5431992" y="2815349"/>
                </a:lnTo>
                <a:lnTo>
                  <a:pt x="5431992" y="2815340"/>
                </a:lnTo>
                <a:lnTo>
                  <a:pt x="5431992" y="2814803"/>
                </a:lnTo>
                <a:lnTo>
                  <a:pt x="5431992" y="2806157"/>
                </a:lnTo>
                <a:lnTo>
                  <a:pt x="5431992" y="2439693"/>
                </a:lnTo>
                <a:lnTo>
                  <a:pt x="5431992" y="2396910"/>
                </a:lnTo>
                <a:lnTo>
                  <a:pt x="5431992" y="2396901"/>
                </a:lnTo>
                <a:lnTo>
                  <a:pt x="5431992" y="2396892"/>
                </a:lnTo>
                <a:lnTo>
                  <a:pt x="5431992" y="2396355"/>
                </a:lnTo>
                <a:lnTo>
                  <a:pt x="5431992" y="2387709"/>
                </a:lnTo>
                <a:lnTo>
                  <a:pt x="5431992" y="2251532"/>
                </a:lnTo>
                <a:lnTo>
                  <a:pt x="5431992" y="1894207"/>
                </a:lnTo>
                <a:lnTo>
                  <a:pt x="5431992" y="1833084"/>
                </a:lnTo>
                <a:lnTo>
                  <a:pt x="5431992" y="1475759"/>
                </a:lnTo>
                <a:lnTo>
                  <a:pt x="5431992" y="1330390"/>
                </a:lnTo>
                <a:lnTo>
                  <a:pt x="5431992" y="911942"/>
                </a:lnTo>
                <a:lnTo>
                  <a:pt x="5431992" y="418448"/>
                </a:lnTo>
                <a:lnTo>
                  <a:pt x="5431992" y="0"/>
                </a:lnTo>
                <a:lnTo>
                  <a:pt x="4587827" y="0"/>
                </a:lnTo>
                <a:lnTo>
                  <a:pt x="4540602" y="0"/>
                </a:lnTo>
                <a:lnTo>
                  <a:pt x="3646314" y="0"/>
                </a:lnTo>
                <a:lnTo>
                  <a:pt x="3060170" y="0"/>
                </a:lnTo>
                <a:lnTo>
                  <a:pt x="2802149" y="0"/>
                </a:lnTo>
                <a:lnTo>
                  <a:pt x="2754924" y="0"/>
                </a:lnTo>
                <a:lnTo>
                  <a:pt x="2677069" y="0"/>
                </a:lnTo>
                <a:lnTo>
                  <a:pt x="1274492" y="0"/>
                </a:lnTo>
                <a:lnTo>
                  <a:pt x="891391" y="0"/>
                </a:lnTo>
                <a:lnTo>
                  <a:pt x="891391" y="1089"/>
                </a:lnTo>
                <a:lnTo>
                  <a:pt x="891390" y="1089"/>
                </a:lnTo>
                <a:lnTo>
                  <a:pt x="891124" y="1089"/>
                </a:lnTo>
                <a:lnTo>
                  <a:pt x="879689" y="1089"/>
                </a:lnTo>
                <a:lnTo>
                  <a:pt x="844165" y="1089"/>
                </a:lnTo>
                <a:lnTo>
                  <a:pt x="844165" y="3362"/>
                </a:lnTo>
                <a:lnTo>
                  <a:pt x="805634" y="5226"/>
                </a:lnTo>
                <a:lnTo>
                  <a:pt x="802321" y="5701"/>
                </a:lnTo>
                <a:lnTo>
                  <a:pt x="800491" y="5795"/>
                </a:lnTo>
                <a:lnTo>
                  <a:pt x="783113" y="8449"/>
                </a:lnTo>
                <a:lnTo>
                  <a:pt x="727559" y="16399"/>
                </a:lnTo>
                <a:lnTo>
                  <a:pt x="721169" y="17910"/>
                </a:lnTo>
                <a:lnTo>
                  <a:pt x="717406" y="18484"/>
                </a:lnTo>
                <a:lnTo>
                  <a:pt x="697980" y="23394"/>
                </a:lnTo>
                <a:lnTo>
                  <a:pt x="651798" y="34313"/>
                </a:lnTo>
                <a:lnTo>
                  <a:pt x="642455" y="37423"/>
                </a:lnTo>
                <a:lnTo>
                  <a:pt x="637004" y="38800"/>
                </a:lnTo>
                <a:lnTo>
                  <a:pt x="618418" y="45422"/>
                </a:lnTo>
                <a:lnTo>
                  <a:pt x="578659" y="58657"/>
                </a:lnTo>
                <a:lnTo>
                  <a:pt x="566594" y="63891"/>
                </a:lnTo>
                <a:lnTo>
                  <a:pt x="559656" y="66364"/>
                </a:lnTo>
                <a:lnTo>
                  <a:pt x="542827" y="74202"/>
                </a:lnTo>
                <a:lnTo>
                  <a:pt x="508443" y="89119"/>
                </a:lnTo>
                <a:lnTo>
                  <a:pt x="493927" y="96979"/>
                </a:lnTo>
                <a:lnTo>
                  <a:pt x="485730" y="100797"/>
                </a:lnTo>
                <a:lnTo>
                  <a:pt x="470995" y="109396"/>
                </a:lnTo>
                <a:lnTo>
                  <a:pt x="441454" y="125391"/>
                </a:lnTo>
                <a:lnTo>
                  <a:pt x="424802" y="136352"/>
                </a:lnTo>
                <a:lnTo>
                  <a:pt x="415596" y="141724"/>
                </a:lnTo>
                <a:lnTo>
                  <a:pt x="403056" y="150665"/>
                </a:lnTo>
                <a:lnTo>
                  <a:pt x="377997" y="167159"/>
                </a:lnTo>
                <a:lnTo>
                  <a:pt x="359561" y="181680"/>
                </a:lnTo>
                <a:lnTo>
                  <a:pt x="349622" y="188766"/>
                </a:lnTo>
                <a:lnTo>
                  <a:pt x="339257" y="197671"/>
                </a:lnTo>
                <a:lnTo>
                  <a:pt x="318377" y="214115"/>
                </a:lnTo>
                <a:lnTo>
                  <a:pt x="298544" y="232644"/>
                </a:lnTo>
                <a:lnTo>
                  <a:pt x="288180" y="241547"/>
                </a:lnTo>
                <a:lnTo>
                  <a:pt x="279890" y="250071"/>
                </a:lnTo>
                <a:lnTo>
                  <a:pt x="262898" y="265946"/>
                </a:lnTo>
                <a:lnTo>
                  <a:pt x="242085" y="288944"/>
                </a:lnTo>
                <a:lnTo>
                  <a:pt x="231637" y="299687"/>
                </a:lnTo>
                <a:lnTo>
                  <a:pt x="225275" y="307520"/>
                </a:lnTo>
                <a:lnTo>
                  <a:pt x="211862" y="322342"/>
                </a:lnTo>
                <a:lnTo>
                  <a:pt x="190506" y="350326"/>
                </a:lnTo>
                <a:lnTo>
                  <a:pt x="180363" y="362811"/>
                </a:lnTo>
                <a:lnTo>
                  <a:pt x="175743" y="369669"/>
                </a:lnTo>
                <a:lnTo>
                  <a:pt x="165574" y="382992"/>
                </a:lnTo>
                <a:lnTo>
                  <a:pt x="144110" y="416618"/>
                </a:lnTo>
                <a:lnTo>
                  <a:pt x="134728" y="430542"/>
                </a:lnTo>
                <a:lnTo>
                  <a:pt x="131630" y="436167"/>
                </a:lnTo>
                <a:lnTo>
                  <a:pt x="124340" y="447585"/>
                </a:lnTo>
                <a:lnTo>
                  <a:pt x="103153" y="487877"/>
                </a:lnTo>
                <a:lnTo>
                  <a:pt x="95100" y="502499"/>
                </a:lnTo>
                <a:lnTo>
                  <a:pt x="93274" y="506663"/>
                </a:lnTo>
                <a:lnTo>
                  <a:pt x="88463" y="515811"/>
                </a:lnTo>
                <a:lnTo>
                  <a:pt x="67759" y="564832"/>
                </a:lnTo>
                <a:lnTo>
                  <a:pt x="61850" y="578307"/>
                </a:lnTo>
                <a:lnTo>
                  <a:pt x="61016" y="580801"/>
                </a:lnTo>
                <a:lnTo>
                  <a:pt x="58246" y="587360"/>
                </a:lnTo>
                <a:lnTo>
                  <a:pt x="37462" y="651256"/>
                </a:lnTo>
                <a:lnTo>
                  <a:pt x="35344" y="657589"/>
                </a:lnTo>
                <a:lnTo>
                  <a:pt x="35195" y="658226"/>
                </a:lnTo>
                <a:lnTo>
                  <a:pt x="33994" y="661917"/>
                </a:lnTo>
                <a:cubicBezTo>
                  <a:pt x="19882" y="712558"/>
                  <a:pt x="9949" y="764997"/>
                  <a:pt x="4602" y="818822"/>
                </a:cubicBezTo>
                <a:lnTo>
                  <a:pt x="4426" y="822387"/>
                </a:lnTo>
                <a:lnTo>
                  <a:pt x="4051" y="825062"/>
                </a:lnTo>
                <a:lnTo>
                  <a:pt x="2008" y="869160"/>
                </a:lnTo>
                <a:lnTo>
                  <a:pt x="1" y="869160"/>
                </a:lnTo>
                <a:lnTo>
                  <a:pt x="1" y="911944"/>
                </a:lnTo>
                <a:lnTo>
                  <a:pt x="0" y="911952"/>
                </a:lnTo>
                <a:lnTo>
                  <a:pt x="1" y="911961"/>
                </a:lnTo>
                <a:lnTo>
                  <a:pt x="1" y="912498"/>
                </a:lnTo>
                <a:lnTo>
                  <a:pt x="1" y="921144"/>
                </a:lnTo>
                <a:lnTo>
                  <a:pt x="0" y="921144"/>
                </a:lnTo>
                <a:lnTo>
                  <a:pt x="0" y="1330400"/>
                </a:lnTo>
                <a:lnTo>
                  <a:pt x="0" y="1339592"/>
                </a:lnTo>
                <a:lnTo>
                  <a:pt x="0" y="1475768"/>
                </a:lnTo>
                <a:lnTo>
                  <a:pt x="0" y="1475769"/>
                </a:lnTo>
                <a:lnTo>
                  <a:pt x="0" y="1475770"/>
                </a:lnTo>
                <a:lnTo>
                  <a:pt x="0" y="1833095"/>
                </a:lnTo>
                <a:lnTo>
                  <a:pt x="0" y="1894216"/>
                </a:lnTo>
                <a:lnTo>
                  <a:pt x="0" y="1894217"/>
                </a:lnTo>
                <a:lnTo>
                  <a:pt x="0" y="1894218"/>
                </a:lnTo>
                <a:lnTo>
                  <a:pt x="0" y="2251543"/>
                </a:lnTo>
                <a:lnTo>
                  <a:pt x="0" y="2396911"/>
                </a:lnTo>
                <a:lnTo>
                  <a:pt x="0" y="2815359"/>
                </a:lnTo>
                <a:lnTo>
                  <a:pt x="0" y="3308853"/>
                </a:lnTo>
                <a:close/>
              </a:path>
            </a:pathLst>
          </a:custGeom>
          <a:solidFill>
            <a:srgbClr val="1D316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  <a:sym typeface="Arial"/>
            </a:endParaRPr>
          </a:p>
        </p:txBody>
      </p:sp>
      <p:pic>
        <p:nvPicPr>
          <p:cNvPr id="359" name="Graphic 358">
            <a:extLst>
              <a:ext uri="{FF2B5EF4-FFF2-40B4-BE49-F238E27FC236}">
                <a16:creationId xmlns:a16="http://schemas.microsoft.com/office/drawing/2014/main" id="{1BDCE869-3CFA-F946-94D7-A6FE0C2ABB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2512512" y="109016"/>
            <a:ext cx="686301" cy="693809"/>
          </a:xfrm>
          <a:prstGeom prst="rect">
            <a:avLst/>
          </a:prstGeom>
        </p:spPr>
      </p:pic>
      <p:sp>
        <p:nvSpPr>
          <p:cNvPr id="361" name="Freeform: Shape 90">
            <a:extLst>
              <a:ext uri="{FF2B5EF4-FFF2-40B4-BE49-F238E27FC236}">
                <a16:creationId xmlns:a16="http://schemas.microsoft.com/office/drawing/2014/main" id="{12DE67FE-FCDF-8D4C-8F8A-CA29008023C9}"/>
              </a:ext>
            </a:extLst>
          </p:cNvPr>
          <p:cNvSpPr/>
          <p:nvPr/>
        </p:nvSpPr>
        <p:spPr>
          <a:xfrm>
            <a:off x="3335926" y="212986"/>
            <a:ext cx="3225573" cy="880373"/>
          </a:xfrm>
          <a:custGeom>
            <a:avLst/>
            <a:gdLst>
              <a:gd name="connsiteX0" fmla="*/ 325384 w 4047850"/>
              <a:gd name="connsiteY0" fmla="*/ 0 h 651348"/>
              <a:gd name="connsiteX1" fmla="*/ 593248 w 4047850"/>
              <a:gd name="connsiteY1" fmla="*/ 0 h 651348"/>
              <a:gd name="connsiteX2" fmla="*/ 1005630 w 4047850"/>
              <a:gd name="connsiteY2" fmla="*/ 0 h 651348"/>
              <a:gd name="connsiteX3" fmla="*/ 1022869 w 4047850"/>
              <a:gd name="connsiteY3" fmla="*/ 0 h 651348"/>
              <a:gd name="connsiteX4" fmla="*/ 3042220 w 4047850"/>
              <a:gd name="connsiteY4" fmla="*/ 0 h 651348"/>
              <a:gd name="connsiteX5" fmla="*/ 3394765 w 4047850"/>
              <a:gd name="connsiteY5" fmla="*/ 0 h 651348"/>
              <a:gd name="connsiteX6" fmla="*/ 3722465 w 4047850"/>
              <a:gd name="connsiteY6" fmla="*/ 0 h 651348"/>
              <a:gd name="connsiteX7" fmla="*/ 3739704 w 4047850"/>
              <a:gd name="connsiteY7" fmla="*/ 0 h 651348"/>
              <a:gd name="connsiteX8" fmla="*/ 3739704 w 4047850"/>
              <a:gd name="connsiteY8" fmla="*/ 385 h 651348"/>
              <a:gd name="connsiteX9" fmla="*/ 4047850 w 4047850"/>
              <a:gd name="connsiteY9" fmla="*/ 385 h 651348"/>
              <a:gd name="connsiteX10" fmla="*/ 4047850 w 4047850"/>
              <a:gd name="connsiteY10" fmla="*/ 325477 h 651348"/>
              <a:gd name="connsiteX11" fmla="*/ 4047850 w 4047850"/>
              <a:gd name="connsiteY11" fmla="*/ 325669 h 651348"/>
              <a:gd name="connsiteX12" fmla="*/ 4047850 w 4047850"/>
              <a:gd name="connsiteY12" fmla="*/ 325672 h 651348"/>
              <a:gd name="connsiteX13" fmla="*/ 4047850 w 4047850"/>
              <a:gd name="connsiteY13" fmla="*/ 325675 h 651348"/>
              <a:gd name="connsiteX14" fmla="*/ 4047850 w 4047850"/>
              <a:gd name="connsiteY14" fmla="*/ 340954 h 651348"/>
              <a:gd name="connsiteX15" fmla="*/ 4047117 w 4047850"/>
              <a:gd name="connsiteY15" fmla="*/ 340954 h 651348"/>
              <a:gd name="connsiteX16" fmla="*/ 4046371 w 4047850"/>
              <a:gd name="connsiteY16" fmla="*/ 356703 h 651348"/>
              <a:gd name="connsiteX17" fmla="*/ 4046235 w 4047850"/>
              <a:gd name="connsiteY17" fmla="*/ 357658 h 651348"/>
              <a:gd name="connsiteX18" fmla="*/ 4046171 w 4047850"/>
              <a:gd name="connsiteY18" fmla="*/ 358931 h 651348"/>
              <a:gd name="connsiteX19" fmla="*/ 4035441 w 4047850"/>
              <a:gd name="connsiteY19" fmla="*/ 414965 h 651348"/>
              <a:gd name="connsiteX20" fmla="*/ 4035003 w 4047850"/>
              <a:gd name="connsiteY20" fmla="*/ 416283 h 651348"/>
              <a:gd name="connsiteX21" fmla="*/ 4034948 w 4047850"/>
              <a:gd name="connsiteY21" fmla="*/ 416510 h 651348"/>
              <a:gd name="connsiteX22" fmla="*/ 4034176 w 4047850"/>
              <a:gd name="connsiteY22" fmla="*/ 418772 h 651348"/>
              <a:gd name="connsiteX23" fmla="*/ 4026589 w 4047850"/>
              <a:gd name="connsiteY23" fmla="*/ 441591 h 651348"/>
              <a:gd name="connsiteX24" fmla="*/ 4025578 w 4047850"/>
              <a:gd name="connsiteY24" fmla="*/ 443933 h 651348"/>
              <a:gd name="connsiteX25" fmla="*/ 4025273 w 4047850"/>
              <a:gd name="connsiteY25" fmla="*/ 444823 h 651348"/>
              <a:gd name="connsiteX26" fmla="*/ 4023116 w 4047850"/>
              <a:gd name="connsiteY26" fmla="*/ 449636 h 651348"/>
              <a:gd name="connsiteX27" fmla="*/ 4015559 w 4047850"/>
              <a:gd name="connsiteY27" fmla="*/ 467142 h 651348"/>
              <a:gd name="connsiteX28" fmla="*/ 4013802 w 4047850"/>
              <a:gd name="connsiteY28" fmla="*/ 470409 h 651348"/>
              <a:gd name="connsiteX29" fmla="*/ 4013136 w 4047850"/>
              <a:gd name="connsiteY29" fmla="*/ 471896 h 651348"/>
              <a:gd name="connsiteX30" fmla="*/ 4010197 w 4047850"/>
              <a:gd name="connsiteY30" fmla="*/ 477118 h 651348"/>
              <a:gd name="connsiteX31" fmla="*/ 4002462 w 4047850"/>
              <a:gd name="connsiteY31" fmla="*/ 491507 h 651348"/>
              <a:gd name="connsiteX32" fmla="*/ 3999801 w 4047850"/>
              <a:gd name="connsiteY32" fmla="*/ 495585 h 651348"/>
              <a:gd name="connsiteX33" fmla="*/ 3998671 w 4047850"/>
              <a:gd name="connsiteY33" fmla="*/ 497594 h 651348"/>
              <a:gd name="connsiteX34" fmla="*/ 3995246 w 4047850"/>
              <a:gd name="connsiteY34" fmla="*/ 502566 h 651348"/>
              <a:gd name="connsiteX35" fmla="*/ 3987410 w 4047850"/>
              <a:gd name="connsiteY35" fmla="*/ 514574 h 651348"/>
              <a:gd name="connsiteX36" fmla="*/ 3983699 w 4047850"/>
              <a:gd name="connsiteY36" fmla="*/ 519333 h 651348"/>
              <a:gd name="connsiteX37" fmla="*/ 3982012 w 4047850"/>
              <a:gd name="connsiteY37" fmla="*/ 521781 h 651348"/>
              <a:gd name="connsiteX38" fmla="*/ 3978310 w 4047850"/>
              <a:gd name="connsiteY38" fmla="*/ 526240 h 651348"/>
              <a:gd name="connsiteX39" fmla="*/ 3970514 w 4047850"/>
              <a:gd name="connsiteY39" fmla="*/ 536234 h 651348"/>
              <a:gd name="connsiteX40" fmla="*/ 3965618 w 4047850"/>
              <a:gd name="connsiteY40" fmla="*/ 541527 h 651348"/>
              <a:gd name="connsiteX41" fmla="*/ 3963295 w 4047850"/>
              <a:gd name="connsiteY41" fmla="*/ 544324 h 651348"/>
              <a:gd name="connsiteX42" fmla="*/ 3959482 w 4047850"/>
              <a:gd name="connsiteY42" fmla="*/ 548161 h 651348"/>
              <a:gd name="connsiteX43" fmla="*/ 3951885 w 4047850"/>
              <a:gd name="connsiteY43" fmla="*/ 556374 h 651348"/>
              <a:gd name="connsiteX44" fmla="*/ 3945682 w 4047850"/>
              <a:gd name="connsiteY44" fmla="*/ 562043 h 651348"/>
              <a:gd name="connsiteX45" fmla="*/ 3942656 w 4047850"/>
              <a:gd name="connsiteY45" fmla="*/ 565087 h 651348"/>
              <a:gd name="connsiteX46" fmla="*/ 3938872 w 4047850"/>
              <a:gd name="connsiteY46" fmla="*/ 568267 h 651348"/>
              <a:gd name="connsiteX47" fmla="*/ 3931633 w 4047850"/>
              <a:gd name="connsiteY47" fmla="*/ 574884 h 651348"/>
              <a:gd name="connsiteX48" fmla="*/ 3924011 w 4047850"/>
              <a:gd name="connsiteY48" fmla="*/ 580756 h 651348"/>
              <a:gd name="connsiteX49" fmla="*/ 3920227 w 4047850"/>
              <a:gd name="connsiteY49" fmla="*/ 583936 h 651348"/>
              <a:gd name="connsiteX50" fmla="*/ 3916599 w 4047850"/>
              <a:gd name="connsiteY50" fmla="*/ 586467 h 651348"/>
              <a:gd name="connsiteX51" fmla="*/ 3909870 w 4047850"/>
              <a:gd name="connsiteY51" fmla="*/ 591652 h 651348"/>
              <a:gd name="connsiteX52" fmla="*/ 3900723 w 4047850"/>
              <a:gd name="connsiteY52" fmla="*/ 597543 h 651348"/>
              <a:gd name="connsiteX53" fmla="*/ 3896145 w 4047850"/>
              <a:gd name="connsiteY53" fmla="*/ 600736 h 651348"/>
              <a:gd name="connsiteX54" fmla="*/ 3892785 w 4047850"/>
              <a:gd name="connsiteY54" fmla="*/ 602655 h 651348"/>
              <a:gd name="connsiteX55" fmla="*/ 3886706 w 4047850"/>
              <a:gd name="connsiteY55" fmla="*/ 606569 h 651348"/>
              <a:gd name="connsiteX56" fmla="*/ 3875923 w 4047850"/>
              <a:gd name="connsiteY56" fmla="*/ 612281 h 651348"/>
              <a:gd name="connsiteX57" fmla="*/ 3870544 w 4047850"/>
              <a:gd name="connsiteY57" fmla="*/ 615352 h 651348"/>
              <a:gd name="connsiteX58" fmla="*/ 3867552 w 4047850"/>
              <a:gd name="connsiteY58" fmla="*/ 616715 h 651348"/>
              <a:gd name="connsiteX59" fmla="*/ 3862253 w 4047850"/>
              <a:gd name="connsiteY59" fmla="*/ 619522 h 651348"/>
              <a:gd name="connsiteX60" fmla="*/ 3849702 w 4047850"/>
              <a:gd name="connsiteY60" fmla="*/ 624849 h 651348"/>
              <a:gd name="connsiteX61" fmla="*/ 3843559 w 4047850"/>
              <a:gd name="connsiteY61" fmla="*/ 627649 h 651348"/>
              <a:gd name="connsiteX62" fmla="*/ 3841026 w 4047850"/>
              <a:gd name="connsiteY62" fmla="*/ 628532 h 651348"/>
              <a:gd name="connsiteX63" fmla="*/ 3836622 w 4047850"/>
              <a:gd name="connsiteY63" fmla="*/ 630401 h 651348"/>
              <a:gd name="connsiteX64" fmla="*/ 3822109 w 4047850"/>
              <a:gd name="connsiteY64" fmla="*/ 635127 h 651348"/>
              <a:gd name="connsiteX65" fmla="*/ 3815324 w 4047850"/>
              <a:gd name="connsiteY65" fmla="*/ 637492 h 651348"/>
              <a:gd name="connsiteX66" fmla="*/ 3813334 w 4047850"/>
              <a:gd name="connsiteY66" fmla="*/ 637984 h 651348"/>
              <a:gd name="connsiteX67" fmla="*/ 3809924 w 4047850"/>
              <a:gd name="connsiteY67" fmla="*/ 639095 h 651348"/>
              <a:gd name="connsiteX68" fmla="*/ 3793067 w 4047850"/>
              <a:gd name="connsiteY68" fmla="*/ 642994 h 651348"/>
              <a:gd name="connsiteX69" fmla="*/ 3785975 w 4047850"/>
              <a:gd name="connsiteY69" fmla="*/ 644747 h 651348"/>
              <a:gd name="connsiteX70" fmla="*/ 3784601 w 4047850"/>
              <a:gd name="connsiteY70" fmla="*/ 644952 h 651348"/>
              <a:gd name="connsiteX71" fmla="*/ 3782269 w 4047850"/>
              <a:gd name="connsiteY71" fmla="*/ 645492 h 651348"/>
              <a:gd name="connsiteX72" fmla="*/ 3761990 w 4047850"/>
              <a:gd name="connsiteY72" fmla="*/ 648331 h 651348"/>
              <a:gd name="connsiteX73" fmla="*/ 3755647 w 4047850"/>
              <a:gd name="connsiteY73" fmla="*/ 649279 h 651348"/>
              <a:gd name="connsiteX74" fmla="*/ 3754979 w 4047850"/>
              <a:gd name="connsiteY74" fmla="*/ 649313 h 651348"/>
              <a:gd name="connsiteX75" fmla="*/ 3753769 w 4047850"/>
              <a:gd name="connsiteY75" fmla="*/ 649482 h 651348"/>
              <a:gd name="connsiteX76" fmla="*/ 3739704 w 4047850"/>
              <a:gd name="connsiteY76" fmla="*/ 650148 h 651348"/>
              <a:gd name="connsiteX77" fmla="*/ 3739704 w 4047850"/>
              <a:gd name="connsiteY77" fmla="*/ 650959 h 651348"/>
              <a:gd name="connsiteX78" fmla="*/ 3726737 w 4047850"/>
              <a:gd name="connsiteY78" fmla="*/ 650959 h 651348"/>
              <a:gd name="connsiteX79" fmla="*/ 3722563 w 4047850"/>
              <a:gd name="connsiteY79" fmla="*/ 650959 h 651348"/>
              <a:gd name="connsiteX80" fmla="*/ 3722465 w 4047850"/>
              <a:gd name="connsiteY80" fmla="*/ 650959 h 651348"/>
              <a:gd name="connsiteX81" fmla="*/ 3722465 w 4047850"/>
              <a:gd name="connsiteY81" fmla="*/ 651348 h 651348"/>
              <a:gd name="connsiteX82" fmla="*/ 3394765 w 4047850"/>
              <a:gd name="connsiteY82" fmla="*/ 651348 h 651348"/>
              <a:gd name="connsiteX83" fmla="*/ 3042220 w 4047850"/>
              <a:gd name="connsiteY83" fmla="*/ 651348 h 651348"/>
              <a:gd name="connsiteX84" fmla="*/ 3024981 w 4047850"/>
              <a:gd name="connsiteY84" fmla="*/ 651348 h 651348"/>
              <a:gd name="connsiteX85" fmla="*/ 1005630 w 4047850"/>
              <a:gd name="connsiteY85" fmla="*/ 651348 h 651348"/>
              <a:gd name="connsiteX86" fmla="*/ 593248 w 4047850"/>
              <a:gd name="connsiteY86" fmla="*/ 651348 h 651348"/>
              <a:gd name="connsiteX87" fmla="*/ 325384 w 4047850"/>
              <a:gd name="connsiteY87" fmla="*/ 651348 h 651348"/>
              <a:gd name="connsiteX88" fmla="*/ 308146 w 4047850"/>
              <a:gd name="connsiteY88" fmla="*/ 651348 h 651348"/>
              <a:gd name="connsiteX89" fmla="*/ 308146 w 4047850"/>
              <a:gd name="connsiteY89" fmla="*/ 650963 h 651348"/>
              <a:gd name="connsiteX90" fmla="*/ 0 w 4047850"/>
              <a:gd name="connsiteY90" fmla="*/ 650963 h 651348"/>
              <a:gd name="connsiteX91" fmla="*/ 0 w 4047850"/>
              <a:gd name="connsiteY91" fmla="*/ 325871 h 651348"/>
              <a:gd name="connsiteX92" fmla="*/ 0 w 4047850"/>
              <a:gd name="connsiteY92" fmla="*/ 325679 h 651348"/>
              <a:gd name="connsiteX93" fmla="*/ 0 w 4047850"/>
              <a:gd name="connsiteY93" fmla="*/ 325676 h 651348"/>
              <a:gd name="connsiteX94" fmla="*/ 0 w 4047850"/>
              <a:gd name="connsiteY94" fmla="*/ 325673 h 651348"/>
              <a:gd name="connsiteX95" fmla="*/ 0 w 4047850"/>
              <a:gd name="connsiteY95" fmla="*/ 310394 h 651348"/>
              <a:gd name="connsiteX96" fmla="*/ 733 w 4047850"/>
              <a:gd name="connsiteY96" fmla="*/ 310394 h 651348"/>
              <a:gd name="connsiteX97" fmla="*/ 1478 w 4047850"/>
              <a:gd name="connsiteY97" fmla="*/ 294646 h 651348"/>
              <a:gd name="connsiteX98" fmla="*/ 1615 w 4047850"/>
              <a:gd name="connsiteY98" fmla="*/ 293690 h 651348"/>
              <a:gd name="connsiteX99" fmla="*/ 1679 w 4047850"/>
              <a:gd name="connsiteY99" fmla="*/ 292417 h 651348"/>
              <a:gd name="connsiteX100" fmla="*/ 12408 w 4047850"/>
              <a:gd name="connsiteY100" fmla="*/ 236384 h 651348"/>
              <a:gd name="connsiteX101" fmla="*/ 12847 w 4047850"/>
              <a:gd name="connsiteY101" fmla="*/ 235065 h 651348"/>
              <a:gd name="connsiteX102" fmla="*/ 12901 w 4047850"/>
              <a:gd name="connsiteY102" fmla="*/ 234838 h 651348"/>
              <a:gd name="connsiteX103" fmla="*/ 13674 w 4047850"/>
              <a:gd name="connsiteY103" fmla="*/ 232576 h 651348"/>
              <a:gd name="connsiteX104" fmla="*/ 21261 w 4047850"/>
              <a:gd name="connsiteY104" fmla="*/ 209757 h 651348"/>
              <a:gd name="connsiteX105" fmla="*/ 22272 w 4047850"/>
              <a:gd name="connsiteY105" fmla="*/ 207415 h 651348"/>
              <a:gd name="connsiteX106" fmla="*/ 22576 w 4047850"/>
              <a:gd name="connsiteY106" fmla="*/ 206525 h 651348"/>
              <a:gd name="connsiteX107" fmla="*/ 24734 w 4047850"/>
              <a:gd name="connsiteY107" fmla="*/ 201713 h 651348"/>
              <a:gd name="connsiteX108" fmla="*/ 32291 w 4047850"/>
              <a:gd name="connsiteY108" fmla="*/ 184206 h 651348"/>
              <a:gd name="connsiteX109" fmla="*/ 34047 w 4047850"/>
              <a:gd name="connsiteY109" fmla="*/ 180939 h 651348"/>
              <a:gd name="connsiteX110" fmla="*/ 34714 w 4047850"/>
              <a:gd name="connsiteY110" fmla="*/ 179452 h 651348"/>
              <a:gd name="connsiteX111" fmla="*/ 37653 w 4047850"/>
              <a:gd name="connsiteY111" fmla="*/ 174231 h 651348"/>
              <a:gd name="connsiteX112" fmla="*/ 45388 w 4047850"/>
              <a:gd name="connsiteY112" fmla="*/ 159842 h 651348"/>
              <a:gd name="connsiteX113" fmla="*/ 48048 w 4047850"/>
              <a:gd name="connsiteY113" fmla="*/ 155764 h 651348"/>
              <a:gd name="connsiteX114" fmla="*/ 49179 w 4047850"/>
              <a:gd name="connsiteY114" fmla="*/ 153755 h 651348"/>
              <a:gd name="connsiteX115" fmla="*/ 52604 w 4047850"/>
              <a:gd name="connsiteY115" fmla="*/ 148783 h 651348"/>
              <a:gd name="connsiteX116" fmla="*/ 60439 w 4047850"/>
              <a:gd name="connsiteY116" fmla="*/ 136774 h 651348"/>
              <a:gd name="connsiteX117" fmla="*/ 64151 w 4047850"/>
              <a:gd name="connsiteY117" fmla="*/ 132016 h 651348"/>
              <a:gd name="connsiteX118" fmla="*/ 65838 w 4047850"/>
              <a:gd name="connsiteY118" fmla="*/ 129567 h 651348"/>
              <a:gd name="connsiteX119" fmla="*/ 69540 w 4047850"/>
              <a:gd name="connsiteY119" fmla="*/ 125108 h 651348"/>
              <a:gd name="connsiteX120" fmla="*/ 77336 w 4047850"/>
              <a:gd name="connsiteY120" fmla="*/ 115115 h 651348"/>
              <a:gd name="connsiteX121" fmla="*/ 82232 w 4047850"/>
              <a:gd name="connsiteY121" fmla="*/ 109821 h 651348"/>
              <a:gd name="connsiteX122" fmla="*/ 84554 w 4047850"/>
              <a:gd name="connsiteY122" fmla="*/ 107024 h 651348"/>
              <a:gd name="connsiteX123" fmla="*/ 88368 w 4047850"/>
              <a:gd name="connsiteY123" fmla="*/ 103188 h 651348"/>
              <a:gd name="connsiteX124" fmla="*/ 95965 w 4047850"/>
              <a:gd name="connsiteY124" fmla="*/ 94974 h 651348"/>
              <a:gd name="connsiteX125" fmla="*/ 102168 w 4047850"/>
              <a:gd name="connsiteY125" fmla="*/ 89305 h 651348"/>
              <a:gd name="connsiteX126" fmla="*/ 105194 w 4047850"/>
              <a:gd name="connsiteY126" fmla="*/ 86261 h 651348"/>
              <a:gd name="connsiteX127" fmla="*/ 108977 w 4047850"/>
              <a:gd name="connsiteY127" fmla="*/ 83081 h 651348"/>
              <a:gd name="connsiteX128" fmla="*/ 116217 w 4047850"/>
              <a:gd name="connsiteY128" fmla="*/ 76465 h 651348"/>
              <a:gd name="connsiteX129" fmla="*/ 123838 w 4047850"/>
              <a:gd name="connsiteY129" fmla="*/ 70592 h 651348"/>
              <a:gd name="connsiteX130" fmla="*/ 127623 w 4047850"/>
              <a:gd name="connsiteY130" fmla="*/ 67412 h 651348"/>
              <a:gd name="connsiteX131" fmla="*/ 131250 w 4047850"/>
              <a:gd name="connsiteY131" fmla="*/ 64881 h 651348"/>
              <a:gd name="connsiteX132" fmla="*/ 137980 w 4047850"/>
              <a:gd name="connsiteY132" fmla="*/ 59696 h 651348"/>
              <a:gd name="connsiteX133" fmla="*/ 147127 w 4047850"/>
              <a:gd name="connsiteY133" fmla="*/ 53805 h 651348"/>
              <a:gd name="connsiteX134" fmla="*/ 151705 w 4047850"/>
              <a:gd name="connsiteY134" fmla="*/ 50612 h 651348"/>
              <a:gd name="connsiteX135" fmla="*/ 155065 w 4047850"/>
              <a:gd name="connsiteY135" fmla="*/ 48694 h 651348"/>
              <a:gd name="connsiteX136" fmla="*/ 161144 w 4047850"/>
              <a:gd name="connsiteY136" fmla="*/ 44779 h 651348"/>
              <a:gd name="connsiteX137" fmla="*/ 171927 w 4047850"/>
              <a:gd name="connsiteY137" fmla="*/ 39067 h 651348"/>
              <a:gd name="connsiteX138" fmla="*/ 177306 w 4047850"/>
              <a:gd name="connsiteY138" fmla="*/ 35997 h 651348"/>
              <a:gd name="connsiteX139" fmla="*/ 180298 w 4047850"/>
              <a:gd name="connsiteY139" fmla="*/ 34633 h 651348"/>
              <a:gd name="connsiteX140" fmla="*/ 185596 w 4047850"/>
              <a:gd name="connsiteY140" fmla="*/ 31826 h 651348"/>
              <a:gd name="connsiteX141" fmla="*/ 198148 w 4047850"/>
              <a:gd name="connsiteY141" fmla="*/ 26499 h 651348"/>
              <a:gd name="connsiteX142" fmla="*/ 204291 w 4047850"/>
              <a:gd name="connsiteY142" fmla="*/ 23700 h 651348"/>
              <a:gd name="connsiteX143" fmla="*/ 206823 w 4047850"/>
              <a:gd name="connsiteY143" fmla="*/ 22817 h 651348"/>
              <a:gd name="connsiteX144" fmla="*/ 211228 w 4047850"/>
              <a:gd name="connsiteY144" fmla="*/ 20947 h 651348"/>
              <a:gd name="connsiteX145" fmla="*/ 225741 w 4047850"/>
              <a:gd name="connsiteY145" fmla="*/ 16221 h 651348"/>
              <a:gd name="connsiteX146" fmla="*/ 232526 w 4047850"/>
              <a:gd name="connsiteY146" fmla="*/ 13856 h 651348"/>
              <a:gd name="connsiteX147" fmla="*/ 234516 w 4047850"/>
              <a:gd name="connsiteY147" fmla="*/ 13364 h 651348"/>
              <a:gd name="connsiteX148" fmla="*/ 237926 w 4047850"/>
              <a:gd name="connsiteY148" fmla="*/ 12254 h 651348"/>
              <a:gd name="connsiteX149" fmla="*/ 254783 w 4047850"/>
              <a:gd name="connsiteY149" fmla="*/ 8354 h 651348"/>
              <a:gd name="connsiteX150" fmla="*/ 261875 w 4047850"/>
              <a:gd name="connsiteY150" fmla="*/ 6601 h 651348"/>
              <a:gd name="connsiteX151" fmla="*/ 263248 w 4047850"/>
              <a:gd name="connsiteY151" fmla="*/ 6396 h 651348"/>
              <a:gd name="connsiteX152" fmla="*/ 265581 w 4047850"/>
              <a:gd name="connsiteY152" fmla="*/ 5856 h 651348"/>
              <a:gd name="connsiteX153" fmla="*/ 285860 w 4047850"/>
              <a:gd name="connsiteY153" fmla="*/ 3017 h 651348"/>
              <a:gd name="connsiteX154" fmla="*/ 292203 w 4047850"/>
              <a:gd name="connsiteY154" fmla="*/ 2069 h 651348"/>
              <a:gd name="connsiteX155" fmla="*/ 292871 w 4047850"/>
              <a:gd name="connsiteY155" fmla="*/ 2036 h 651348"/>
              <a:gd name="connsiteX156" fmla="*/ 294080 w 4047850"/>
              <a:gd name="connsiteY156" fmla="*/ 1866 h 651348"/>
              <a:gd name="connsiteX157" fmla="*/ 308146 w 4047850"/>
              <a:gd name="connsiteY157" fmla="*/ 1201 h 651348"/>
              <a:gd name="connsiteX158" fmla="*/ 308146 w 4047850"/>
              <a:gd name="connsiteY158" fmla="*/ 389 h 651348"/>
              <a:gd name="connsiteX159" fmla="*/ 321113 w 4047850"/>
              <a:gd name="connsiteY159" fmla="*/ 389 h 651348"/>
              <a:gd name="connsiteX160" fmla="*/ 325287 w 4047850"/>
              <a:gd name="connsiteY160" fmla="*/ 389 h 651348"/>
              <a:gd name="connsiteX161" fmla="*/ 325384 w 4047850"/>
              <a:gd name="connsiteY161" fmla="*/ 389 h 651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4047850" h="651348">
                <a:moveTo>
                  <a:pt x="325384" y="0"/>
                </a:moveTo>
                <a:lnTo>
                  <a:pt x="593248" y="0"/>
                </a:lnTo>
                <a:lnTo>
                  <a:pt x="1005630" y="0"/>
                </a:lnTo>
                <a:lnTo>
                  <a:pt x="1022869" y="0"/>
                </a:lnTo>
                <a:lnTo>
                  <a:pt x="3042220" y="0"/>
                </a:lnTo>
                <a:lnTo>
                  <a:pt x="3394765" y="0"/>
                </a:lnTo>
                <a:lnTo>
                  <a:pt x="3722465" y="0"/>
                </a:lnTo>
                <a:lnTo>
                  <a:pt x="3739704" y="0"/>
                </a:lnTo>
                <a:lnTo>
                  <a:pt x="3739704" y="385"/>
                </a:lnTo>
                <a:lnTo>
                  <a:pt x="4047850" y="385"/>
                </a:lnTo>
                <a:lnTo>
                  <a:pt x="4047850" y="325477"/>
                </a:lnTo>
                <a:lnTo>
                  <a:pt x="4047850" y="325669"/>
                </a:lnTo>
                <a:lnTo>
                  <a:pt x="4047850" y="325672"/>
                </a:lnTo>
                <a:lnTo>
                  <a:pt x="4047850" y="325675"/>
                </a:lnTo>
                <a:lnTo>
                  <a:pt x="4047850" y="340954"/>
                </a:lnTo>
                <a:lnTo>
                  <a:pt x="4047117" y="340954"/>
                </a:lnTo>
                <a:lnTo>
                  <a:pt x="4046371" y="356703"/>
                </a:lnTo>
                <a:lnTo>
                  <a:pt x="4046235" y="357658"/>
                </a:lnTo>
                <a:lnTo>
                  <a:pt x="4046171" y="358931"/>
                </a:lnTo>
                <a:cubicBezTo>
                  <a:pt x="4044218" y="378153"/>
                  <a:pt x="4040593" y="396880"/>
                  <a:pt x="4035441" y="414965"/>
                </a:cubicBezTo>
                <a:lnTo>
                  <a:pt x="4035003" y="416283"/>
                </a:lnTo>
                <a:lnTo>
                  <a:pt x="4034948" y="416510"/>
                </a:lnTo>
                <a:lnTo>
                  <a:pt x="4034176" y="418772"/>
                </a:lnTo>
                <a:lnTo>
                  <a:pt x="4026589" y="441591"/>
                </a:lnTo>
                <a:lnTo>
                  <a:pt x="4025578" y="443933"/>
                </a:lnTo>
                <a:lnTo>
                  <a:pt x="4025273" y="444823"/>
                </a:lnTo>
                <a:lnTo>
                  <a:pt x="4023116" y="449636"/>
                </a:lnTo>
                <a:lnTo>
                  <a:pt x="4015559" y="467142"/>
                </a:lnTo>
                <a:lnTo>
                  <a:pt x="4013802" y="470409"/>
                </a:lnTo>
                <a:lnTo>
                  <a:pt x="4013136" y="471896"/>
                </a:lnTo>
                <a:lnTo>
                  <a:pt x="4010197" y="477118"/>
                </a:lnTo>
                <a:lnTo>
                  <a:pt x="4002462" y="491507"/>
                </a:lnTo>
                <a:lnTo>
                  <a:pt x="3999801" y="495585"/>
                </a:lnTo>
                <a:lnTo>
                  <a:pt x="3998671" y="497594"/>
                </a:lnTo>
                <a:lnTo>
                  <a:pt x="3995246" y="502566"/>
                </a:lnTo>
                <a:lnTo>
                  <a:pt x="3987410" y="514574"/>
                </a:lnTo>
                <a:lnTo>
                  <a:pt x="3983699" y="519333"/>
                </a:lnTo>
                <a:lnTo>
                  <a:pt x="3982012" y="521781"/>
                </a:lnTo>
                <a:lnTo>
                  <a:pt x="3978310" y="526240"/>
                </a:lnTo>
                <a:lnTo>
                  <a:pt x="3970514" y="536234"/>
                </a:lnTo>
                <a:lnTo>
                  <a:pt x="3965618" y="541527"/>
                </a:lnTo>
                <a:lnTo>
                  <a:pt x="3963295" y="544324"/>
                </a:lnTo>
                <a:lnTo>
                  <a:pt x="3959482" y="548161"/>
                </a:lnTo>
                <a:lnTo>
                  <a:pt x="3951885" y="556374"/>
                </a:lnTo>
                <a:lnTo>
                  <a:pt x="3945682" y="562043"/>
                </a:lnTo>
                <a:lnTo>
                  <a:pt x="3942656" y="565087"/>
                </a:lnTo>
                <a:lnTo>
                  <a:pt x="3938872" y="568267"/>
                </a:lnTo>
                <a:lnTo>
                  <a:pt x="3931633" y="574884"/>
                </a:lnTo>
                <a:lnTo>
                  <a:pt x="3924011" y="580756"/>
                </a:lnTo>
                <a:lnTo>
                  <a:pt x="3920227" y="583936"/>
                </a:lnTo>
                <a:lnTo>
                  <a:pt x="3916599" y="586467"/>
                </a:lnTo>
                <a:lnTo>
                  <a:pt x="3909870" y="591652"/>
                </a:lnTo>
                <a:lnTo>
                  <a:pt x="3900723" y="597543"/>
                </a:lnTo>
                <a:lnTo>
                  <a:pt x="3896145" y="600736"/>
                </a:lnTo>
                <a:lnTo>
                  <a:pt x="3892785" y="602655"/>
                </a:lnTo>
                <a:lnTo>
                  <a:pt x="3886706" y="606569"/>
                </a:lnTo>
                <a:lnTo>
                  <a:pt x="3875923" y="612281"/>
                </a:lnTo>
                <a:lnTo>
                  <a:pt x="3870544" y="615352"/>
                </a:lnTo>
                <a:lnTo>
                  <a:pt x="3867552" y="616715"/>
                </a:lnTo>
                <a:lnTo>
                  <a:pt x="3862253" y="619522"/>
                </a:lnTo>
                <a:lnTo>
                  <a:pt x="3849702" y="624849"/>
                </a:lnTo>
                <a:lnTo>
                  <a:pt x="3843559" y="627649"/>
                </a:lnTo>
                <a:lnTo>
                  <a:pt x="3841026" y="628532"/>
                </a:lnTo>
                <a:lnTo>
                  <a:pt x="3836622" y="630401"/>
                </a:lnTo>
                <a:lnTo>
                  <a:pt x="3822109" y="635127"/>
                </a:lnTo>
                <a:lnTo>
                  <a:pt x="3815324" y="637492"/>
                </a:lnTo>
                <a:lnTo>
                  <a:pt x="3813334" y="637984"/>
                </a:lnTo>
                <a:lnTo>
                  <a:pt x="3809924" y="639095"/>
                </a:lnTo>
                <a:lnTo>
                  <a:pt x="3793067" y="642994"/>
                </a:lnTo>
                <a:lnTo>
                  <a:pt x="3785975" y="644747"/>
                </a:lnTo>
                <a:lnTo>
                  <a:pt x="3784601" y="644952"/>
                </a:lnTo>
                <a:lnTo>
                  <a:pt x="3782269" y="645492"/>
                </a:lnTo>
                <a:lnTo>
                  <a:pt x="3761990" y="648331"/>
                </a:lnTo>
                <a:lnTo>
                  <a:pt x="3755647" y="649279"/>
                </a:lnTo>
                <a:lnTo>
                  <a:pt x="3754979" y="649313"/>
                </a:lnTo>
                <a:lnTo>
                  <a:pt x="3753769" y="649482"/>
                </a:lnTo>
                <a:lnTo>
                  <a:pt x="3739704" y="650148"/>
                </a:lnTo>
                <a:lnTo>
                  <a:pt x="3739704" y="650959"/>
                </a:lnTo>
                <a:lnTo>
                  <a:pt x="3726737" y="650959"/>
                </a:lnTo>
                <a:lnTo>
                  <a:pt x="3722563" y="650959"/>
                </a:lnTo>
                <a:lnTo>
                  <a:pt x="3722465" y="650959"/>
                </a:lnTo>
                <a:lnTo>
                  <a:pt x="3722465" y="651348"/>
                </a:lnTo>
                <a:lnTo>
                  <a:pt x="3394765" y="651348"/>
                </a:lnTo>
                <a:lnTo>
                  <a:pt x="3042220" y="651348"/>
                </a:lnTo>
                <a:lnTo>
                  <a:pt x="3024981" y="651348"/>
                </a:lnTo>
                <a:lnTo>
                  <a:pt x="1005630" y="651348"/>
                </a:lnTo>
                <a:lnTo>
                  <a:pt x="593248" y="651348"/>
                </a:lnTo>
                <a:lnTo>
                  <a:pt x="325384" y="651348"/>
                </a:lnTo>
                <a:lnTo>
                  <a:pt x="308146" y="651348"/>
                </a:lnTo>
                <a:lnTo>
                  <a:pt x="308146" y="650963"/>
                </a:lnTo>
                <a:lnTo>
                  <a:pt x="0" y="650963"/>
                </a:lnTo>
                <a:lnTo>
                  <a:pt x="0" y="325871"/>
                </a:lnTo>
                <a:lnTo>
                  <a:pt x="0" y="325679"/>
                </a:lnTo>
                <a:lnTo>
                  <a:pt x="0" y="325676"/>
                </a:lnTo>
                <a:lnTo>
                  <a:pt x="0" y="325673"/>
                </a:lnTo>
                <a:lnTo>
                  <a:pt x="0" y="310394"/>
                </a:lnTo>
                <a:lnTo>
                  <a:pt x="733" y="310394"/>
                </a:lnTo>
                <a:lnTo>
                  <a:pt x="1478" y="294646"/>
                </a:lnTo>
                <a:lnTo>
                  <a:pt x="1615" y="293690"/>
                </a:lnTo>
                <a:lnTo>
                  <a:pt x="1679" y="292417"/>
                </a:lnTo>
                <a:cubicBezTo>
                  <a:pt x="3631" y="273195"/>
                  <a:pt x="7257" y="254468"/>
                  <a:pt x="12408" y="236384"/>
                </a:cubicBezTo>
                <a:lnTo>
                  <a:pt x="12847" y="235065"/>
                </a:lnTo>
                <a:lnTo>
                  <a:pt x="12901" y="234838"/>
                </a:lnTo>
                <a:lnTo>
                  <a:pt x="13674" y="232576"/>
                </a:lnTo>
                <a:lnTo>
                  <a:pt x="21261" y="209757"/>
                </a:lnTo>
                <a:lnTo>
                  <a:pt x="22272" y="207415"/>
                </a:lnTo>
                <a:lnTo>
                  <a:pt x="22576" y="206525"/>
                </a:lnTo>
                <a:lnTo>
                  <a:pt x="24734" y="201713"/>
                </a:lnTo>
                <a:lnTo>
                  <a:pt x="32291" y="184206"/>
                </a:lnTo>
                <a:lnTo>
                  <a:pt x="34047" y="180939"/>
                </a:lnTo>
                <a:lnTo>
                  <a:pt x="34714" y="179452"/>
                </a:lnTo>
                <a:lnTo>
                  <a:pt x="37653" y="174231"/>
                </a:lnTo>
                <a:lnTo>
                  <a:pt x="45388" y="159842"/>
                </a:lnTo>
                <a:lnTo>
                  <a:pt x="48048" y="155764"/>
                </a:lnTo>
                <a:lnTo>
                  <a:pt x="49179" y="153755"/>
                </a:lnTo>
                <a:lnTo>
                  <a:pt x="52604" y="148783"/>
                </a:lnTo>
                <a:lnTo>
                  <a:pt x="60439" y="136774"/>
                </a:lnTo>
                <a:lnTo>
                  <a:pt x="64151" y="132016"/>
                </a:lnTo>
                <a:lnTo>
                  <a:pt x="65838" y="129567"/>
                </a:lnTo>
                <a:lnTo>
                  <a:pt x="69540" y="125108"/>
                </a:lnTo>
                <a:lnTo>
                  <a:pt x="77336" y="115115"/>
                </a:lnTo>
                <a:lnTo>
                  <a:pt x="82232" y="109821"/>
                </a:lnTo>
                <a:lnTo>
                  <a:pt x="84554" y="107024"/>
                </a:lnTo>
                <a:lnTo>
                  <a:pt x="88368" y="103188"/>
                </a:lnTo>
                <a:lnTo>
                  <a:pt x="95965" y="94974"/>
                </a:lnTo>
                <a:lnTo>
                  <a:pt x="102168" y="89305"/>
                </a:lnTo>
                <a:lnTo>
                  <a:pt x="105194" y="86261"/>
                </a:lnTo>
                <a:lnTo>
                  <a:pt x="108977" y="83081"/>
                </a:lnTo>
                <a:lnTo>
                  <a:pt x="116217" y="76465"/>
                </a:lnTo>
                <a:lnTo>
                  <a:pt x="123838" y="70592"/>
                </a:lnTo>
                <a:lnTo>
                  <a:pt x="127623" y="67412"/>
                </a:lnTo>
                <a:lnTo>
                  <a:pt x="131250" y="64881"/>
                </a:lnTo>
                <a:lnTo>
                  <a:pt x="137980" y="59696"/>
                </a:lnTo>
                <a:lnTo>
                  <a:pt x="147127" y="53805"/>
                </a:lnTo>
                <a:lnTo>
                  <a:pt x="151705" y="50612"/>
                </a:lnTo>
                <a:lnTo>
                  <a:pt x="155065" y="48694"/>
                </a:lnTo>
                <a:lnTo>
                  <a:pt x="161144" y="44779"/>
                </a:lnTo>
                <a:lnTo>
                  <a:pt x="171927" y="39067"/>
                </a:lnTo>
                <a:lnTo>
                  <a:pt x="177306" y="35997"/>
                </a:lnTo>
                <a:lnTo>
                  <a:pt x="180298" y="34633"/>
                </a:lnTo>
                <a:lnTo>
                  <a:pt x="185596" y="31826"/>
                </a:lnTo>
                <a:lnTo>
                  <a:pt x="198148" y="26499"/>
                </a:lnTo>
                <a:lnTo>
                  <a:pt x="204291" y="23700"/>
                </a:lnTo>
                <a:lnTo>
                  <a:pt x="206823" y="22817"/>
                </a:lnTo>
                <a:lnTo>
                  <a:pt x="211228" y="20947"/>
                </a:lnTo>
                <a:lnTo>
                  <a:pt x="225741" y="16221"/>
                </a:lnTo>
                <a:lnTo>
                  <a:pt x="232526" y="13856"/>
                </a:lnTo>
                <a:lnTo>
                  <a:pt x="234516" y="13364"/>
                </a:lnTo>
                <a:lnTo>
                  <a:pt x="237926" y="12254"/>
                </a:lnTo>
                <a:lnTo>
                  <a:pt x="254783" y="8354"/>
                </a:lnTo>
                <a:lnTo>
                  <a:pt x="261875" y="6601"/>
                </a:lnTo>
                <a:lnTo>
                  <a:pt x="263248" y="6396"/>
                </a:lnTo>
                <a:lnTo>
                  <a:pt x="265581" y="5856"/>
                </a:lnTo>
                <a:lnTo>
                  <a:pt x="285860" y="3017"/>
                </a:lnTo>
                <a:lnTo>
                  <a:pt x="292203" y="2069"/>
                </a:lnTo>
                <a:lnTo>
                  <a:pt x="292871" y="2036"/>
                </a:lnTo>
                <a:lnTo>
                  <a:pt x="294080" y="1866"/>
                </a:lnTo>
                <a:lnTo>
                  <a:pt x="308146" y="1201"/>
                </a:lnTo>
                <a:lnTo>
                  <a:pt x="308146" y="389"/>
                </a:lnTo>
                <a:lnTo>
                  <a:pt x="321113" y="389"/>
                </a:lnTo>
                <a:lnTo>
                  <a:pt x="325287" y="389"/>
                </a:lnTo>
                <a:lnTo>
                  <a:pt x="325384" y="389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  <a:sym typeface="Arial"/>
            </a:endParaRP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82969F58-1F2B-3740-B712-6F43C1F303D8}"/>
              </a:ext>
            </a:extLst>
          </p:cNvPr>
          <p:cNvSpPr txBox="1"/>
          <p:nvPr/>
        </p:nvSpPr>
        <p:spPr>
          <a:xfrm>
            <a:off x="3370661" y="322927"/>
            <a:ext cx="31582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Pemenuh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persyarat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usah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ranta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paso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sumber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day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konstruks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</a:p>
          <a:p>
            <a:pPr marL="0" marR="0" lvl="0" indent="0" algn="ctr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Chalkboard SE" panose="03050602040202020205" pitchFamily="66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339ED4BB-019F-6142-9948-6494B213710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67" t="16284" r="28604" b="55357"/>
          <a:stretch/>
        </p:blipFill>
        <p:spPr>
          <a:xfrm>
            <a:off x="-554608" y="-164636"/>
            <a:ext cx="2959331" cy="1732453"/>
          </a:xfrm>
          <a:prstGeom prst="rect">
            <a:avLst/>
          </a:prstGeom>
        </p:spPr>
      </p:pic>
      <p:sp>
        <p:nvSpPr>
          <p:cNvPr id="370" name="TextBox 369">
            <a:extLst>
              <a:ext uri="{FF2B5EF4-FFF2-40B4-BE49-F238E27FC236}">
                <a16:creationId xmlns:a16="http://schemas.microsoft.com/office/drawing/2014/main" id="{7B197106-4FAC-3342-9062-37E5553F9565}"/>
              </a:ext>
            </a:extLst>
          </p:cNvPr>
          <p:cNvSpPr txBox="1"/>
          <p:nvPr/>
        </p:nvSpPr>
        <p:spPr>
          <a:xfrm>
            <a:off x="2898770" y="1100940"/>
            <a:ext cx="507877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Pemeriksaan</a:t>
            </a:r>
          </a:p>
          <a:p>
            <a:pPr marL="354013" marR="0" lvl="0" indent="-354013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kepemilikan dan keabsahan dokumen perizin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.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lkboard SE" panose="03050602040202020205" pitchFamily="66" charset="77"/>
              <a:ea typeface="+mn-ea"/>
              <a:cs typeface="Arial"/>
              <a:sym typeface="Arial"/>
            </a:endParaRPr>
          </a:p>
          <a:p>
            <a:pPr marL="354013" marR="0" lvl="0" indent="-354013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bukt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pencatat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dan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pencantum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material dan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peralat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konstruks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pada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sistem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informas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material dan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peralat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konstruks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(SIMPK)</a:t>
            </a:r>
          </a:p>
          <a:p>
            <a:pPr marL="354013" marR="0" lvl="0" indent="-354013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bukt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pendaftar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teknolog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pada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Hak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atas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Kekaya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Intelektual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 (HAKI) di Kementerian Hukum dan HAM </a:t>
            </a:r>
          </a:p>
          <a:p>
            <a:pPr marL="354013" marR="0" lvl="0" indent="-354013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lkboard SE" panose="03050602040202020205" pitchFamily="66" charset="77"/>
              <a:ea typeface="+mn-ea"/>
              <a:cs typeface="Arial"/>
              <a:sym typeface="Arial"/>
            </a:endParaRPr>
          </a:p>
          <a:p>
            <a:pPr marL="457200" marR="0" lvl="0" indent="-457200" algn="l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lkboard SE" panose="03050602040202020205" pitchFamily="66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457200" marR="0" lvl="0" indent="-457200" algn="l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lkboard SE" panose="03050602040202020205" pitchFamily="66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2" name="Freeform: Shape 46">
            <a:extLst>
              <a:ext uri="{FF2B5EF4-FFF2-40B4-BE49-F238E27FC236}">
                <a16:creationId xmlns:a16="http://schemas.microsoft.com/office/drawing/2014/main" id="{3480F9BC-66D6-AC75-4B98-5F31A2FF4A10}"/>
              </a:ext>
            </a:extLst>
          </p:cNvPr>
          <p:cNvSpPr/>
          <p:nvPr/>
        </p:nvSpPr>
        <p:spPr>
          <a:xfrm rot="10800000" flipH="1">
            <a:off x="1470244" y="3199167"/>
            <a:ext cx="5238202" cy="1691782"/>
          </a:xfrm>
          <a:custGeom>
            <a:avLst/>
            <a:gdLst>
              <a:gd name="connsiteX0" fmla="*/ 0 w 5431992"/>
              <a:gd name="connsiteY0" fmla="*/ 3727301 h 3727301"/>
              <a:gd name="connsiteX1" fmla="*/ 844165 w 5431992"/>
              <a:gd name="connsiteY1" fmla="*/ 3727301 h 3727301"/>
              <a:gd name="connsiteX2" fmla="*/ 891390 w 5431992"/>
              <a:gd name="connsiteY2" fmla="*/ 3727301 h 3727301"/>
              <a:gd name="connsiteX3" fmla="*/ 2371823 w 5431992"/>
              <a:gd name="connsiteY3" fmla="*/ 3727301 h 3727301"/>
              <a:gd name="connsiteX4" fmla="*/ 2754923 w 5431992"/>
              <a:gd name="connsiteY4" fmla="*/ 3727301 h 3727301"/>
              <a:gd name="connsiteX5" fmla="*/ 4157501 w 5431992"/>
              <a:gd name="connsiteY5" fmla="*/ 3727301 h 3727301"/>
              <a:gd name="connsiteX6" fmla="*/ 4540601 w 5431992"/>
              <a:gd name="connsiteY6" fmla="*/ 3727301 h 3727301"/>
              <a:gd name="connsiteX7" fmla="*/ 4540601 w 5431992"/>
              <a:gd name="connsiteY7" fmla="*/ 3726212 h 3727301"/>
              <a:gd name="connsiteX8" fmla="*/ 4540602 w 5431992"/>
              <a:gd name="connsiteY8" fmla="*/ 3726212 h 3727301"/>
              <a:gd name="connsiteX9" fmla="*/ 4540868 w 5431992"/>
              <a:gd name="connsiteY9" fmla="*/ 3726212 h 3727301"/>
              <a:gd name="connsiteX10" fmla="*/ 4552303 w 5431992"/>
              <a:gd name="connsiteY10" fmla="*/ 3726212 h 3727301"/>
              <a:gd name="connsiteX11" fmla="*/ 4587827 w 5431992"/>
              <a:gd name="connsiteY11" fmla="*/ 3726212 h 3727301"/>
              <a:gd name="connsiteX12" fmla="*/ 4587827 w 5431992"/>
              <a:gd name="connsiteY12" fmla="*/ 3723939 h 3727301"/>
              <a:gd name="connsiteX13" fmla="*/ 4626359 w 5431992"/>
              <a:gd name="connsiteY13" fmla="*/ 3722075 h 3727301"/>
              <a:gd name="connsiteX14" fmla="*/ 4629673 w 5431992"/>
              <a:gd name="connsiteY14" fmla="*/ 3721600 h 3727301"/>
              <a:gd name="connsiteX15" fmla="*/ 4631501 w 5431992"/>
              <a:gd name="connsiteY15" fmla="*/ 3721506 h 3727301"/>
              <a:gd name="connsiteX16" fmla="*/ 4648879 w 5431992"/>
              <a:gd name="connsiteY16" fmla="*/ 3718852 h 3727301"/>
              <a:gd name="connsiteX17" fmla="*/ 4704433 w 5431992"/>
              <a:gd name="connsiteY17" fmla="*/ 3710902 h 3727301"/>
              <a:gd name="connsiteX18" fmla="*/ 4710823 w 5431992"/>
              <a:gd name="connsiteY18" fmla="*/ 3709391 h 3727301"/>
              <a:gd name="connsiteX19" fmla="*/ 4714586 w 5431992"/>
              <a:gd name="connsiteY19" fmla="*/ 3708817 h 3727301"/>
              <a:gd name="connsiteX20" fmla="*/ 4734014 w 5431992"/>
              <a:gd name="connsiteY20" fmla="*/ 3703907 h 3727301"/>
              <a:gd name="connsiteX21" fmla="*/ 4780194 w 5431992"/>
              <a:gd name="connsiteY21" fmla="*/ 3692988 h 3727301"/>
              <a:gd name="connsiteX22" fmla="*/ 4789537 w 5431992"/>
              <a:gd name="connsiteY22" fmla="*/ 3689878 h 3727301"/>
              <a:gd name="connsiteX23" fmla="*/ 4794988 w 5431992"/>
              <a:gd name="connsiteY23" fmla="*/ 3688501 h 3727301"/>
              <a:gd name="connsiteX24" fmla="*/ 4813574 w 5431992"/>
              <a:gd name="connsiteY24" fmla="*/ 3681879 h 3727301"/>
              <a:gd name="connsiteX25" fmla="*/ 4853335 w 5431992"/>
              <a:gd name="connsiteY25" fmla="*/ 3668644 h 3727301"/>
              <a:gd name="connsiteX26" fmla="*/ 4865400 w 5431992"/>
              <a:gd name="connsiteY26" fmla="*/ 3663410 h 3727301"/>
              <a:gd name="connsiteX27" fmla="*/ 4872337 w 5431992"/>
              <a:gd name="connsiteY27" fmla="*/ 3660937 h 3727301"/>
              <a:gd name="connsiteX28" fmla="*/ 4889166 w 5431992"/>
              <a:gd name="connsiteY28" fmla="*/ 3653099 h 3727301"/>
              <a:gd name="connsiteX29" fmla="*/ 4923551 w 5431992"/>
              <a:gd name="connsiteY29" fmla="*/ 3638182 h 3727301"/>
              <a:gd name="connsiteX30" fmla="*/ 4938066 w 5431992"/>
              <a:gd name="connsiteY30" fmla="*/ 3630322 h 3727301"/>
              <a:gd name="connsiteX31" fmla="*/ 4946263 w 5431992"/>
              <a:gd name="connsiteY31" fmla="*/ 3626504 h 3727301"/>
              <a:gd name="connsiteX32" fmla="*/ 4960997 w 5431992"/>
              <a:gd name="connsiteY32" fmla="*/ 3617905 h 3727301"/>
              <a:gd name="connsiteX33" fmla="*/ 4990539 w 5431992"/>
              <a:gd name="connsiteY33" fmla="*/ 3601910 h 3727301"/>
              <a:gd name="connsiteX34" fmla="*/ 5007191 w 5431992"/>
              <a:gd name="connsiteY34" fmla="*/ 3590949 h 3727301"/>
              <a:gd name="connsiteX35" fmla="*/ 5016397 w 5431992"/>
              <a:gd name="connsiteY35" fmla="*/ 3585577 h 3727301"/>
              <a:gd name="connsiteX36" fmla="*/ 5028936 w 5431992"/>
              <a:gd name="connsiteY36" fmla="*/ 3576636 h 3727301"/>
              <a:gd name="connsiteX37" fmla="*/ 5053995 w 5431992"/>
              <a:gd name="connsiteY37" fmla="*/ 3560142 h 3727301"/>
              <a:gd name="connsiteX38" fmla="*/ 5072432 w 5431992"/>
              <a:gd name="connsiteY38" fmla="*/ 3545621 h 3727301"/>
              <a:gd name="connsiteX39" fmla="*/ 5082370 w 5431992"/>
              <a:gd name="connsiteY39" fmla="*/ 3538535 h 3727301"/>
              <a:gd name="connsiteX40" fmla="*/ 5092737 w 5431992"/>
              <a:gd name="connsiteY40" fmla="*/ 3529630 h 3727301"/>
              <a:gd name="connsiteX41" fmla="*/ 5113615 w 5431992"/>
              <a:gd name="connsiteY41" fmla="*/ 3513186 h 3727301"/>
              <a:gd name="connsiteX42" fmla="*/ 5133448 w 5431992"/>
              <a:gd name="connsiteY42" fmla="*/ 3494657 h 3727301"/>
              <a:gd name="connsiteX43" fmla="*/ 5143812 w 5431992"/>
              <a:gd name="connsiteY43" fmla="*/ 3485754 h 3727301"/>
              <a:gd name="connsiteX44" fmla="*/ 5152102 w 5431992"/>
              <a:gd name="connsiteY44" fmla="*/ 3477230 h 3727301"/>
              <a:gd name="connsiteX45" fmla="*/ 5169095 w 5431992"/>
              <a:gd name="connsiteY45" fmla="*/ 3461355 h 3727301"/>
              <a:gd name="connsiteX46" fmla="*/ 5189909 w 5431992"/>
              <a:gd name="connsiteY46" fmla="*/ 3438356 h 3727301"/>
              <a:gd name="connsiteX47" fmla="*/ 5200355 w 5431992"/>
              <a:gd name="connsiteY47" fmla="*/ 3427614 h 3727301"/>
              <a:gd name="connsiteX48" fmla="*/ 5206717 w 5431992"/>
              <a:gd name="connsiteY48" fmla="*/ 3419781 h 3727301"/>
              <a:gd name="connsiteX49" fmla="*/ 5220131 w 5431992"/>
              <a:gd name="connsiteY49" fmla="*/ 3404959 h 3727301"/>
              <a:gd name="connsiteX50" fmla="*/ 5241486 w 5431992"/>
              <a:gd name="connsiteY50" fmla="*/ 3376975 h 3727301"/>
              <a:gd name="connsiteX51" fmla="*/ 5251629 w 5431992"/>
              <a:gd name="connsiteY51" fmla="*/ 3364490 h 3727301"/>
              <a:gd name="connsiteX52" fmla="*/ 5256249 w 5431992"/>
              <a:gd name="connsiteY52" fmla="*/ 3357632 h 3727301"/>
              <a:gd name="connsiteX53" fmla="*/ 5266418 w 5431992"/>
              <a:gd name="connsiteY53" fmla="*/ 3344309 h 3727301"/>
              <a:gd name="connsiteX54" fmla="*/ 5287884 w 5431992"/>
              <a:gd name="connsiteY54" fmla="*/ 3310683 h 3727301"/>
              <a:gd name="connsiteX55" fmla="*/ 5297265 w 5431992"/>
              <a:gd name="connsiteY55" fmla="*/ 3296759 h 3727301"/>
              <a:gd name="connsiteX56" fmla="*/ 5300364 w 5431992"/>
              <a:gd name="connsiteY56" fmla="*/ 3291135 h 3727301"/>
              <a:gd name="connsiteX57" fmla="*/ 5307652 w 5431992"/>
              <a:gd name="connsiteY57" fmla="*/ 3279716 h 3727301"/>
              <a:gd name="connsiteX58" fmla="*/ 5328841 w 5431992"/>
              <a:gd name="connsiteY58" fmla="*/ 3239424 h 3727301"/>
              <a:gd name="connsiteX59" fmla="*/ 5336893 w 5431992"/>
              <a:gd name="connsiteY59" fmla="*/ 3224802 h 3727301"/>
              <a:gd name="connsiteX60" fmla="*/ 5338719 w 5431992"/>
              <a:gd name="connsiteY60" fmla="*/ 3220638 h 3727301"/>
              <a:gd name="connsiteX61" fmla="*/ 5343530 w 5431992"/>
              <a:gd name="connsiteY61" fmla="*/ 3211490 h 3727301"/>
              <a:gd name="connsiteX62" fmla="*/ 5364233 w 5431992"/>
              <a:gd name="connsiteY62" fmla="*/ 3162469 h 3727301"/>
              <a:gd name="connsiteX63" fmla="*/ 5370144 w 5431992"/>
              <a:gd name="connsiteY63" fmla="*/ 3148994 h 3727301"/>
              <a:gd name="connsiteX64" fmla="*/ 5370977 w 5431992"/>
              <a:gd name="connsiteY64" fmla="*/ 3146500 h 3727301"/>
              <a:gd name="connsiteX65" fmla="*/ 5373748 w 5431992"/>
              <a:gd name="connsiteY65" fmla="*/ 3139941 h 3727301"/>
              <a:gd name="connsiteX66" fmla="*/ 5394531 w 5431992"/>
              <a:gd name="connsiteY66" fmla="*/ 3076045 h 3727301"/>
              <a:gd name="connsiteX67" fmla="*/ 5396648 w 5431992"/>
              <a:gd name="connsiteY67" fmla="*/ 3069712 h 3727301"/>
              <a:gd name="connsiteX68" fmla="*/ 5396798 w 5431992"/>
              <a:gd name="connsiteY68" fmla="*/ 3069075 h 3727301"/>
              <a:gd name="connsiteX69" fmla="*/ 5397999 w 5431992"/>
              <a:gd name="connsiteY69" fmla="*/ 3065384 h 3727301"/>
              <a:gd name="connsiteX70" fmla="*/ 5427392 w 5431992"/>
              <a:gd name="connsiteY70" fmla="*/ 2908479 h 3727301"/>
              <a:gd name="connsiteX71" fmla="*/ 5427567 w 5431992"/>
              <a:gd name="connsiteY71" fmla="*/ 2904915 h 3727301"/>
              <a:gd name="connsiteX72" fmla="*/ 5427942 w 5431992"/>
              <a:gd name="connsiteY72" fmla="*/ 2902239 h 3727301"/>
              <a:gd name="connsiteX73" fmla="*/ 5429984 w 5431992"/>
              <a:gd name="connsiteY73" fmla="*/ 2858141 h 3727301"/>
              <a:gd name="connsiteX74" fmla="*/ 5431992 w 5431992"/>
              <a:gd name="connsiteY74" fmla="*/ 2858141 h 3727301"/>
              <a:gd name="connsiteX75" fmla="*/ 5431992 w 5431992"/>
              <a:gd name="connsiteY75" fmla="*/ 2815358 h 3727301"/>
              <a:gd name="connsiteX76" fmla="*/ 5431992 w 5431992"/>
              <a:gd name="connsiteY76" fmla="*/ 2815349 h 3727301"/>
              <a:gd name="connsiteX77" fmla="*/ 5431992 w 5431992"/>
              <a:gd name="connsiteY77" fmla="*/ 2815340 h 3727301"/>
              <a:gd name="connsiteX78" fmla="*/ 5431992 w 5431992"/>
              <a:gd name="connsiteY78" fmla="*/ 2814803 h 3727301"/>
              <a:gd name="connsiteX79" fmla="*/ 5431992 w 5431992"/>
              <a:gd name="connsiteY79" fmla="*/ 2806157 h 3727301"/>
              <a:gd name="connsiteX80" fmla="*/ 5431992 w 5431992"/>
              <a:gd name="connsiteY80" fmla="*/ 2439693 h 3727301"/>
              <a:gd name="connsiteX81" fmla="*/ 5431992 w 5431992"/>
              <a:gd name="connsiteY81" fmla="*/ 2396910 h 3727301"/>
              <a:gd name="connsiteX82" fmla="*/ 5431992 w 5431992"/>
              <a:gd name="connsiteY82" fmla="*/ 2396901 h 3727301"/>
              <a:gd name="connsiteX83" fmla="*/ 5431992 w 5431992"/>
              <a:gd name="connsiteY83" fmla="*/ 2396892 h 3727301"/>
              <a:gd name="connsiteX84" fmla="*/ 5431992 w 5431992"/>
              <a:gd name="connsiteY84" fmla="*/ 2396355 h 3727301"/>
              <a:gd name="connsiteX85" fmla="*/ 5431992 w 5431992"/>
              <a:gd name="connsiteY85" fmla="*/ 2387709 h 3727301"/>
              <a:gd name="connsiteX86" fmla="*/ 5431992 w 5431992"/>
              <a:gd name="connsiteY86" fmla="*/ 2251532 h 3727301"/>
              <a:gd name="connsiteX87" fmla="*/ 5431992 w 5431992"/>
              <a:gd name="connsiteY87" fmla="*/ 1894207 h 3727301"/>
              <a:gd name="connsiteX88" fmla="*/ 5431992 w 5431992"/>
              <a:gd name="connsiteY88" fmla="*/ 1833084 h 3727301"/>
              <a:gd name="connsiteX89" fmla="*/ 5431992 w 5431992"/>
              <a:gd name="connsiteY89" fmla="*/ 1475759 h 3727301"/>
              <a:gd name="connsiteX90" fmla="*/ 5431992 w 5431992"/>
              <a:gd name="connsiteY90" fmla="*/ 1330390 h 3727301"/>
              <a:gd name="connsiteX91" fmla="*/ 5431992 w 5431992"/>
              <a:gd name="connsiteY91" fmla="*/ 911942 h 3727301"/>
              <a:gd name="connsiteX92" fmla="*/ 5431992 w 5431992"/>
              <a:gd name="connsiteY92" fmla="*/ 418448 h 3727301"/>
              <a:gd name="connsiteX93" fmla="*/ 5431992 w 5431992"/>
              <a:gd name="connsiteY93" fmla="*/ 0 h 3727301"/>
              <a:gd name="connsiteX94" fmla="*/ 4587827 w 5431992"/>
              <a:gd name="connsiteY94" fmla="*/ 0 h 3727301"/>
              <a:gd name="connsiteX95" fmla="*/ 4540602 w 5431992"/>
              <a:gd name="connsiteY95" fmla="*/ 0 h 3727301"/>
              <a:gd name="connsiteX96" fmla="*/ 3646314 w 5431992"/>
              <a:gd name="connsiteY96" fmla="*/ 0 h 3727301"/>
              <a:gd name="connsiteX97" fmla="*/ 3060170 w 5431992"/>
              <a:gd name="connsiteY97" fmla="*/ 0 h 3727301"/>
              <a:gd name="connsiteX98" fmla="*/ 2802149 w 5431992"/>
              <a:gd name="connsiteY98" fmla="*/ 0 h 3727301"/>
              <a:gd name="connsiteX99" fmla="*/ 2754924 w 5431992"/>
              <a:gd name="connsiteY99" fmla="*/ 0 h 3727301"/>
              <a:gd name="connsiteX100" fmla="*/ 2677069 w 5431992"/>
              <a:gd name="connsiteY100" fmla="*/ 0 h 3727301"/>
              <a:gd name="connsiteX101" fmla="*/ 1274492 w 5431992"/>
              <a:gd name="connsiteY101" fmla="*/ 0 h 3727301"/>
              <a:gd name="connsiteX102" fmla="*/ 891391 w 5431992"/>
              <a:gd name="connsiteY102" fmla="*/ 0 h 3727301"/>
              <a:gd name="connsiteX103" fmla="*/ 891391 w 5431992"/>
              <a:gd name="connsiteY103" fmla="*/ 1089 h 3727301"/>
              <a:gd name="connsiteX104" fmla="*/ 891390 w 5431992"/>
              <a:gd name="connsiteY104" fmla="*/ 1089 h 3727301"/>
              <a:gd name="connsiteX105" fmla="*/ 891124 w 5431992"/>
              <a:gd name="connsiteY105" fmla="*/ 1089 h 3727301"/>
              <a:gd name="connsiteX106" fmla="*/ 879689 w 5431992"/>
              <a:gd name="connsiteY106" fmla="*/ 1089 h 3727301"/>
              <a:gd name="connsiteX107" fmla="*/ 844165 w 5431992"/>
              <a:gd name="connsiteY107" fmla="*/ 1089 h 3727301"/>
              <a:gd name="connsiteX108" fmla="*/ 844165 w 5431992"/>
              <a:gd name="connsiteY108" fmla="*/ 3362 h 3727301"/>
              <a:gd name="connsiteX109" fmla="*/ 805634 w 5431992"/>
              <a:gd name="connsiteY109" fmla="*/ 5226 h 3727301"/>
              <a:gd name="connsiteX110" fmla="*/ 802321 w 5431992"/>
              <a:gd name="connsiteY110" fmla="*/ 5701 h 3727301"/>
              <a:gd name="connsiteX111" fmla="*/ 800491 w 5431992"/>
              <a:gd name="connsiteY111" fmla="*/ 5795 h 3727301"/>
              <a:gd name="connsiteX112" fmla="*/ 783113 w 5431992"/>
              <a:gd name="connsiteY112" fmla="*/ 8449 h 3727301"/>
              <a:gd name="connsiteX113" fmla="*/ 727559 w 5431992"/>
              <a:gd name="connsiteY113" fmla="*/ 16399 h 3727301"/>
              <a:gd name="connsiteX114" fmla="*/ 721169 w 5431992"/>
              <a:gd name="connsiteY114" fmla="*/ 17910 h 3727301"/>
              <a:gd name="connsiteX115" fmla="*/ 717406 w 5431992"/>
              <a:gd name="connsiteY115" fmla="*/ 18484 h 3727301"/>
              <a:gd name="connsiteX116" fmla="*/ 697980 w 5431992"/>
              <a:gd name="connsiteY116" fmla="*/ 23394 h 3727301"/>
              <a:gd name="connsiteX117" fmla="*/ 651798 w 5431992"/>
              <a:gd name="connsiteY117" fmla="*/ 34313 h 3727301"/>
              <a:gd name="connsiteX118" fmla="*/ 642455 w 5431992"/>
              <a:gd name="connsiteY118" fmla="*/ 37423 h 3727301"/>
              <a:gd name="connsiteX119" fmla="*/ 637004 w 5431992"/>
              <a:gd name="connsiteY119" fmla="*/ 38800 h 3727301"/>
              <a:gd name="connsiteX120" fmla="*/ 618418 w 5431992"/>
              <a:gd name="connsiteY120" fmla="*/ 45422 h 3727301"/>
              <a:gd name="connsiteX121" fmla="*/ 578659 w 5431992"/>
              <a:gd name="connsiteY121" fmla="*/ 58657 h 3727301"/>
              <a:gd name="connsiteX122" fmla="*/ 566594 w 5431992"/>
              <a:gd name="connsiteY122" fmla="*/ 63891 h 3727301"/>
              <a:gd name="connsiteX123" fmla="*/ 559656 w 5431992"/>
              <a:gd name="connsiteY123" fmla="*/ 66364 h 3727301"/>
              <a:gd name="connsiteX124" fmla="*/ 542827 w 5431992"/>
              <a:gd name="connsiteY124" fmla="*/ 74202 h 3727301"/>
              <a:gd name="connsiteX125" fmla="*/ 508443 w 5431992"/>
              <a:gd name="connsiteY125" fmla="*/ 89119 h 3727301"/>
              <a:gd name="connsiteX126" fmla="*/ 493927 w 5431992"/>
              <a:gd name="connsiteY126" fmla="*/ 96979 h 3727301"/>
              <a:gd name="connsiteX127" fmla="*/ 485730 w 5431992"/>
              <a:gd name="connsiteY127" fmla="*/ 100797 h 3727301"/>
              <a:gd name="connsiteX128" fmla="*/ 470995 w 5431992"/>
              <a:gd name="connsiteY128" fmla="*/ 109396 h 3727301"/>
              <a:gd name="connsiteX129" fmla="*/ 441454 w 5431992"/>
              <a:gd name="connsiteY129" fmla="*/ 125391 h 3727301"/>
              <a:gd name="connsiteX130" fmla="*/ 424802 w 5431992"/>
              <a:gd name="connsiteY130" fmla="*/ 136352 h 3727301"/>
              <a:gd name="connsiteX131" fmla="*/ 415596 w 5431992"/>
              <a:gd name="connsiteY131" fmla="*/ 141724 h 3727301"/>
              <a:gd name="connsiteX132" fmla="*/ 403056 w 5431992"/>
              <a:gd name="connsiteY132" fmla="*/ 150665 h 3727301"/>
              <a:gd name="connsiteX133" fmla="*/ 377997 w 5431992"/>
              <a:gd name="connsiteY133" fmla="*/ 167159 h 3727301"/>
              <a:gd name="connsiteX134" fmla="*/ 359561 w 5431992"/>
              <a:gd name="connsiteY134" fmla="*/ 181680 h 3727301"/>
              <a:gd name="connsiteX135" fmla="*/ 349622 w 5431992"/>
              <a:gd name="connsiteY135" fmla="*/ 188766 h 3727301"/>
              <a:gd name="connsiteX136" fmla="*/ 339257 w 5431992"/>
              <a:gd name="connsiteY136" fmla="*/ 197671 h 3727301"/>
              <a:gd name="connsiteX137" fmla="*/ 318377 w 5431992"/>
              <a:gd name="connsiteY137" fmla="*/ 214115 h 3727301"/>
              <a:gd name="connsiteX138" fmla="*/ 298544 w 5431992"/>
              <a:gd name="connsiteY138" fmla="*/ 232644 h 3727301"/>
              <a:gd name="connsiteX139" fmla="*/ 288180 w 5431992"/>
              <a:gd name="connsiteY139" fmla="*/ 241547 h 3727301"/>
              <a:gd name="connsiteX140" fmla="*/ 279890 w 5431992"/>
              <a:gd name="connsiteY140" fmla="*/ 250071 h 3727301"/>
              <a:gd name="connsiteX141" fmla="*/ 262898 w 5431992"/>
              <a:gd name="connsiteY141" fmla="*/ 265946 h 3727301"/>
              <a:gd name="connsiteX142" fmla="*/ 242085 w 5431992"/>
              <a:gd name="connsiteY142" fmla="*/ 288944 h 3727301"/>
              <a:gd name="connsiteX143" fmla="*/ 231637 w 5431992"/>
              <a:gd name="connsiteY143" fmla="*/ 299687 h 3727301"/>
              <a:gd name="connsiteX144" fmla="*/ 225275 w 5431992"/>
              <a:gd name="connsiteY144" fmla="*/ 307520 h 3727301"/>
              <a:gd name="connsiteX145" fmla="*/ 211862 w 5431992"/>
              <a:gd name="connsiteY145" fmla="*/ 322342 h 3727301"/>
              <a:gd name="connsiteX146" fmla="*/ 190506 w 5431992"/>
              <a:gd name="connsiteY146" fmla="*/ 350326 h 3727301"/>
              <a:gd name="connsiteX147" fmla="*/ 180363 w 5431992"/>
              <a:gd name="connsiteY147" fmla="*/ 362811 h 3727301"/>
              <a:gd name="connsiteX148" fmla="*/ 175743 w 5431992"/>
              <a:gd name="connsiteY148" fmla="*/ 369669 h 3727301"/>
              <a:gd name="connsiteX149" fmla="*/ 165574 w 5431992"/>
              <a:gd name="connsiteY149" fmla="*/ 382992 h 3727301"/>
              <a:gd name="connsiteX150" fmla="*/ 144110 w 5431992"/>
              <a:gd name="connsiteY150" fmla="*/ 416618 h 3727301"/>
              <a:gd name="connsiteX151" fmla="*/ 134728 w 5431992"/>
              <a:gd name="connsiteY151" fmla="*/ 430542 h 3727301"/>
              <a:gd name="connsiteX152" fmla="*/ 131630 w 5431992"/>
              <a:gd name="connsiteY152" fmla="*/ 436167 h 3727301"/>
              <a:gd name="connsiteX153" fmla="*/ 124340 w 5431992"/>
              <a:gd name="connsiteY153" fmla="*/ 447585 h 3727301"/>
              <a:gd name="connsiteX154" fmla="*/ 103153 w 5431992"/>
              <a:gd name="connsiteY154" fmla="*/ 487877 h 3727301"/>
              <a:gd name="connsiteX155" fmla="*/ 95100 w 5431992"/>
              <a:gd name="connsiteY155" fmla="*/ 502499 h 3727301"/>
              <a:gd name="connsiteX156" fmla="*/ 93274 w 5431992"/>
              <a:gd name="connsiteY156" fmla="*/ 506663 h 3727301"/>
              <a:gd name="connsiteX157" fmla="*/ 88463 w 5431992"/>
              <a:gd name="connsiteY157" fmla="*/ 515811 h 3727301"/>
              <a:gd name="connsiteX158" fmla="*/ 67759 w 5431992"/>
              <a:gd name="connsiteY158" fmla="*/ 564832 h 3727301"/>
              <a:gd name="connsiteX159" fmla="*/ 61850 w 5431992"/>
              <a:gd name="connsiteY159" fmla="*/ 578307 h 3727301"/>
              <a:gd name="connsiteX160" fmla="*/ 61016 w 5431992"/>
              <a:gd name="connsiteY160" fmla="*/ 580801 h 3727301"/>
              <a:gd name="connsiteX161" fmla="*/ 58246 w 5431992"/>
              <a:gd name="connsiteY161" fmla="*/ 587360 h 3727301"/>
              <a:gd name="connsiteX162" fmla="*/ 37462 w 5431992"/>
              <a:gd name="connsiteY162" fmla="*/ 651256 h 3727301"/>
              <a:gd name="connsiteX163" fmla="*/ 35344 w 5431992"/>
              <a:gd name="connsiteY163" fmla="*/ 657589 h 3727301"/>
              <a:gd name="connsiteX164" fmla="*/ 35195 w 5431992"/>
              <a:gd name="connsiteY164" fmla="*/ 658226 h 3727301"/>
              <a:gd name="connsiteX165" fmla="*/ 33994 w 5431992"/>
              <a:gd name="connsiteY165" fmla="*/ 661917 h 3727301"/>
              <a:gd name="connsiteX166" fmla="*/ 4602 w 5431992"/>
              <a:gd name="connsiteY166" fmla="*/ 818822 h 3727301"/>
              <a:gd name="connsiteX167" fmla="*/ 4426 w 5431992"/>
              <a:gd name="connsiteY167" fmla="*/ 822387 h 3727301"/>
              <a:gd name="connsiteX168" fmla="*/ 4051 w 5431992"/>
              <a:gd name="connsiteY168" fmla="*/ 825062 h 3727301"/>
              <a:gd name="connsiteX169" fmla="*/ 2008 w 5431992"/>
              <a:gd name="connsiteY169" fmla="*/ 869160 h 3727301"/>
              <a:gd name="connsiteX170" fmla="*/ 1 w 5431992"/>
              <a:gd name="connsiteY170" fmla="*/ 869160 h 3727301"/>
              <a:gd name="connsiteX171" fmla="*/ 1 w 5431992"/>
              <a:gd name="connsiteY171" fmla="*/ 911944 h 3727301"/>
              <a:gd name="connsiteX172" fmla="*/ 0 w 5431992"/>
              <a:gd name="connsiteY172" fmla="*/ 911952 h 3727301"/>
              <a:gd name="connsiteX173" fmla="*/ 1 w 5431992"/>
              <a:gd name="connsiteY173" fmla="*/ 911961 h 3727301"/>
              <a:gd name="connsiteX174" fmla="*/ 1 w 5431992"/>
              <a:gd name="connsiteY174" fmla="*/ 912498 h 3727301"/>
              <a:gd name="connsiteX175" fmla="*/ 1 w 5431992"/>
              <a:gd name="connsiteY175" fmla="*/ 921144 h 3727301"/>
              <a:gd name="connsiteX176" fmla="*/ 0 w 5431992"/>
              <a:gd name="connsiteY176" fmla="*/ 921144 h 3727301"/>
              <a:gd name="connsiteX177" fmla="*/ 0 w 5431992"/>
              <a:gd name="connsiteY177" fmla="*/ 1330400 h 3727301"/>
              <a:gd name="connsiteX178" fmla="*/ 0 w 5431992"/>
              <a:gd name="connsiteY178" fmla="*/ 1339592 h 3727301"/>
              <a:gd name="connsiteX179" fmla="*/ 0 w 5431992"/>
              <a:gd name="connsiteY179" fmla="*/ 1475768 h 3727301"/>
              <a:gd name="connsiteX180" fmla="*/ 0 w 5431992"/>
              <a:gd name="connsiteY180" fmla="*/ 1475769 h 3727301"/>
              <a:gd name="connsiteX181" fmla="*/ 0 w 5431992"/>
              <a:gd name="connsiteY181" fmla="*/ 1475770 h 3727301"/>
              <a:gd name="connsiteX182" fmla="*/ 0 w 5431992"/>
              <a:gd name="connsiteY182" fmla="*/ 1833095 h 3727301"/>
              <a:gd name="connsiteX183" fmla="*/ 0 w 5431992"/>
              <a:gd name="connsiteY183" fmla="*/ 1894216 h 3727301"/>
              <a:gd name="connsiteX184" fmla="*/ 0 w 5431992"/>
              <a:gd name="connsiteY184" fmla="*/ 1894217 h 3727301"/>
              <a:gd name="connsiteX185" fmla="*/ 0 w 5431992"/>
              <a:gd name="connsiteY185" fmla="*/ 1894218 h 3727301"/>
              <a:gd name="connsiteX186" fmla="*/ 0 w 5431992"/>
              <a:gd name="connsiteY186" fmla="*/ 2251543 h 3727301"/>
              <a:gd name="connsiteX187" fmla="*/ 0 w 5431992"/>
              <a:gd name="connsiteY187" fmla="*/ 2396911 h 3727301"/>
              <a:gd name="connsiteX188" fmla="*/ 0 w 5431992"/>
              <a:gd name="connsiteY188" fmla="*/ 2815359 h 3727301"/>
              <a:gd name="connsiteX189" fmla="*/ 0 w 5431992"/>
              <a:gd name="connsiteY189" fmla="*/ 3308853 h 3727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431992" h="3727301">
                <a:moveTo>
                  <a:pt x="0" y="3727301"/>
                </a:moveTo>
                <a:lnTo>
                  <a:pt x="844165" y="3727301"/>
                </a:lnTo>
                <a:lnTo>
                  <a:pt x="891390" y="3727301"/>
                </a:lnTo>
                <a:lnTo>
                  <a:pt x="2371823" y="3727301"/>
                </a:lnTo>
                <a:lnTo>
                  <a:pt x="2754923" y="3727301"/>
                </a:lnTo>
                <a:lnTo>
                  <a:pt x="4157501" y="3727301"/>
                </a:lnTo>
                <a:lnTo>
                  <a:pt x="4540601" y="3727301"/>
                </a:lnTo>
                <a:lnTo>
                  <a:pt x="4540601" y="3726212"/>
                </a:lnTo>
                <a:lnTo>
                  <a:pt x="4540602" y="3726212"/>
                </a:lnTo>
                <a:lnTo>
                  <a:pt x="4540868" y="3726212"/>
                </a:lnTo>
                <a:lnTo>
                  <a:pt x="4552303" y="3726212"/>
                </a:lnTo>
                <a:lnTo>
                  <a:pt x="4587827" y="3726212"/>
                </a:lnTo>
                <a:lnTo>
                  <a:pt x="4587827" y="3723939"/>
                </a:lnTo>
                <a:lnTo>
                  <a:pt x="4626359" y="3722075"/>
                </a:lnTo>
                <a:lnTo>
                  <a:pt x="4629673" y="3721600"/>
                </a:lnTo>
                <a:lnTo>
                  <a:pt x="4631501" y="3721506"/>
                </a:lnTo>
                <a:lnTo>
                  <a:pt x="4648879" y="3718852"/>
                </a:lnTo>
                <a:lnTo>
                  <a:pt x="4704433" y="3710902"/>
                </a:lnTo>
                <a:lnTo>
                  <a:pt x="4710823" y="3709391"/>
                </a:lnTo>
                <a:lnTo>
                  <a:pt x="4714586" y="3708817"/>
                </a:lnTo>
                <a:lnTo>
                  <a:pt x="4734014" y="3703907"/>
                </a:lnTo>
                <a:lnTo>
                  <a:pt x="4780194" y="3692988"/>
                </a:lnTo>
                <a:lnTo>
                  <a:pt x="4789537" y="3689878"/>
                </a:lnTo>
                <a:lnTo>
                  <a:pt x="4794988" y="3688501"/>
                </a:lnTo>
                <a:lnTo>
                  <a:pt x="4813574" y="3681879"/>
                </a:lnTo>
                <a:lnTo>
                  <a:pt x="4853335" y="3668644"/>
                </a:lnTo>
                <a:lnTo>
                  <a:pt x="4865400" y="3663410"/>
                </a:lnTo>
                <a:lnTo>
                  <a:pt x="4872337" y="3660937"/>
                </a:lnTo>
                <a:lnTo>
                  <a:pt x="4889166" y="3653099"/>
                </a:lnTo>
                <a:lnTo>
                  <a:pt x="4923551" y="3638182"/>
                </a:lnTo>
                <a:lnTo>
                  <a:pt x="4938066" y="3630322"/>
                </a:lnTo>
                <a:lnTo>
                  <a:pt x="4946263" y="3626504"/>
                </a:lnTo>
                <a:lnTo>
                  <a:pt x="4960997" y="3617905"/>
                </a:lnTo>
                <a:lnTo>
                  <a:pt x="4990539" y="3601910"/>
                </a:lnTo>
                <a:lnTo>
                  <a:pt x="5007191" y="3590949"/>
                </a:lnTo>
                <a:lnTo>
                  <a:pt x="5016397" y="3585577"/>
                </a:lnTo>
                <a:lnTo>
                  <a:pt x="5028936" y="3576636"/>
                </a:lnTo>
                <a:lnTo>
                  <a:pt x="5053995" y="3560142"/>
                </a:lnTo>
                <a:lnTo>
                  <a:pt x="5072432" y="3545621"/>
                </a:lnTo>
                <a:lnTo>
                  <a:pt x="5082370" y="3538535"/>
                </a:lnTo>
                <a:lnTo>
                  <a:pt x="5092737" y="3529630"/>
                </a:lnTo>
                <a:lnTo>
                  <a:pt x="5113615" y="3513186"/>
                </a:lnTo>
                <a:lnTo>
                  <a:pt x="5133448" y="3494657"/>
                </a:lnTo>
                <a:lnTo>
                  <a:pt x="5143812" y="3485754"/>
                </a:lnTo>
                <a:lnTo>
                  <a:pt x="5152102" y="3477230"/>
                </a:lnTo>
                <a:lnTo>
                  <a:pt x="5169095" y="3461355"/>
                </a:lnTo>
                <a:lnTo>
                  <a:pt x="5189909" y="3438356"/>
                </a:lnTo>
                <a:lnTo>
                  <a:pt x="5200355" y="3427614"/>
                </a:lnTo>
                <a:lnTo>
                  <a:pt x="5206717" y="3419781"/>
                </a:lnTo>
                <a:lnTo>
                  <a:pt x="5220131" y="3404959"/>
                </a:lnTo>
                <a:lnTo>
                  <a:pt x="5241486" y="3376975"/>
                </a:lnTo>
                <a:lnTo>
                  <a:pt x="5251629" y="3364490"/>
                </a:lnTo>
                <a:lnTo>
                  <a:pt x="5256249" y="3357632"/>
                </a:lnTo>
                <a:lnTo>
                  <a:pt x="5266418" y="3344309"/>
                </a:lnTo>
                <a:lnTo>
                  <a:pt x="5287884" y="3310683"/>
                </a:lnTo>
                <a:lnTo>
                  <a:pt x="5297265" y="3296759"/>
                </a:lnTo>
                <a:lnTo>
                  <a:pt x="5300364" y="3291135"/>
                </a:lnTo>
                <a:lnTo>
                  <a:pt x="5307652" y="3279716"/>
                </a:lnTo>
                <a:lnTo>
                  <a:pt x="5328841" y="3239424"/>
                </a:lnTo>
                <a:lnTo>
                  <a:pt x="5336893" y="3224802"/>
                </a:lnTo>
                <a:lnTo>
                  <a:pt x="5338719" y="3220638"/>
                </a:lnTo>
                <a:lnTo>
                  <a:pt x="5343530" y="3211490"/>
                </a:lnTo>
                <a:lnTo>
                  <a:pt x="5364233" y="3162469"/>
                </a:lnTo>
                <a:lnTo>
                  <a:pt x="5370144" y="3148994"/>
                </a:lnTo>
                <a:lnTo>
                  <a:pt x="5370977" y="3146500"/>
                </a:lnTo>
                <a:lnTo>
                  <a:pt x="5373748" y="3139941"/>
                </a:lnTo>
                <a:lnTo>
                  <a:pt x="5394531" y="3076045"/>
                </a:lnTo>
                <a:lnTo>
                  <a:pt x="5396648" y="3069712"/>
                </a:lnTo>
                <a:lnTo>
                  <a:pt x="5396798" y="3069075"/>
                </a:lnTo>
                <a:lnTo>
                  <a:pt x="5397999" y="3065384"/>
                </a:lnTo>
                <a:cubicBezTo>
                  <a:pt x="5412111" y="3014743"/>
                  <a:pt x="5422044" y="2962304"/>
                  <a:pt x="5427392" y="2908479"/>
                </a:cubicBezTo>
                <a:lnTo>
                  <a:pt x="5427567" y="2904915"/>
                </a:lnTo>
                <a:lnTo>
                  <a:pt x="5427942" y="2902239"/>
                </a:lnTo>
                <a:lnTo>
                  <a:pt x="5429984" y="2858141"/>
                </a:lnTo>
                <a:lnTo>
                  <a:pt x="5431992" y="2858141"/>
                </a:lnTo>
                <a:lnTo>
                  <a:pt x="5431992" y="2815358"/>
                </a:lnTo>
                <a:lnTo>
                  <a:pt x="5431992" y="2815349"/>
                </a:lnTo>
                <a:lnTo>
                  <a:pt x="5431992" y="2815340"/>
                </a:lnTo>
                <a:lnTo>
                  <a:pt x="5431992" y="2814803"/>
                </a:lnTo>
                <a:lnTo>
                  <a:pt x="5431992" y="2806157"/>
                </a:lnTo>
                <a:lnTo>
                  <a:pt x="5431992" y="2439693"/>
                </a:lnTo>
                <a:lnTo>
                  <a:pt x="5431992" y="2396910"/>
                </a:lnTo>
                <a:lnTo>
                  <a:pt x="5431992" y="2396901"/>
                </a:lnTo>
                <a:lnTo>
                  <a:pt x="5431992" y="2396892"/>
                </a:lnTo>
                <a:lnTo>
                  <a:pt x="5431992" y="2396355"/>
                </a:lnTo>
                <a:lnTo>
                  <a:pt x="5431992" y="2387709"/>
                </a:lnTo>
                <a:lnTo>
                  <a:pt x="5431992" y="2251532"/>
                </a:lnTo>
                <a:lnTo>
                  <a:pt x="5431992" y="1894207"/>
                </a:lnTo>
                <a:lnTo>
                  <a:pt x="5431992" y="1833084"/>
                </a:lnTo>
                <a:lnTo>
                  <a:pt x="5431992" y="1475759"/>
                </a:lnTo>
                <a:lnTo>
                  <a:pt x="5431992" y="1330390"/>
                </a:lnTo>
                <a:lnTo>
                  <a:pt x="5431992" y="911942"/>
                </a:lnTo>
                <a:lnTo>
                  <a:pt x="5431992" y="418448"/>
                </a:lnTo>
                <a:lnTo>
                  <a:pt x="5431992" y="0"/>
                </a:lnTo>
                <a:lnTo>
                  <a:pt x="4587827" y="0"/>
                </a:lnTo>
                <a:lnTo>
                  <a:pt x="4540602" y="0"/>
                </a:lnTo>
                <a:lnTo>
                  <a:pt x="3646314" y="0"/>
                </a:lnTo>
                <a:lnTo>
                  <a:pt x="3060170" y="0"/>
                </a:lnTo>
                <a:lnTo>
                  <a:pt x="2802149" y="0"/>
                </a:lnTo>
                <a:lnTo>
                  <a:pt x="2754924" y="0"/>
                </a:lnTo>
                <a:lnTo>
                  <a:pt x="2677069" y="0"/>
                </a:lnTo>
                <a:lnTo>
                  <a:pt x="1274492" y="0"/>
                </a:lnTo>
                <a:lnTo>
                  <a:pt x="891391" y="0"/>
                </a:lnTo>
                <a:lnTo>
                  <a:pt x="891391" y="1089"/>
                </a:lnTo>
                <a:lnTo>
                  <a:pt x="891390" y="1089"/>
                </a:lnTo>
                <a:lnTo>
                  <a:pt x="891124" y="1089"/>
                </a:lnTo>
                <a:lnTo>
                  <a:pt x="879689" y="1089"/>
                </a:lnTo>
                <a:lnTo>
                  <a:pt x="844165" y="1089"/>
                </a:lnTo>
                <a:lnTo>
                  <a:pt x="844165" y="3362"/>
                </a:lnTo>
                <a:lnTo>
                  <a:pt x="805634" y="5226"/>
                </a:lnTo>
                <a:lnTo>
                  <a:pt x="802321" y="5701"/>
                </a:lnTo>
                <a:lnTo>
                  <a:pt x="800491" y="5795"/>
                </a:lnTo>
                <a:lnTo>
                  <a:pt x="783113" y="8449"/>
                </a:lnTo>
                <a:lnTo>
                  <a:pt x="727559" y="16399"/>
                </a:lnTo>
                <a:lnTo>
                  <a:pt x="721169" y="17910"/>
                </a:lnTo>
                <a:lnTo>
                  <a:pt x="717406" y="18484"/>
                </a:lnTo>
                <a:lnTo>
                  <a:pt x="697980" y="23394"/>
                </a:lnTo>
                <a:lnTo>
                  <a:pt x="651798" y="34313"/>
                </a:lnTo>
                <a:lnTo>
                  <a:pt x="642455" y="37423"/>
                </a:lnTo>
                <a:lnTo>
                  <a:pt x="637004" y="38800"/>
                </a:lnTo>
                <a:lnTo>
                  <a:pt x="618418" y="45422"/>
                </a:lnTo>
                <a:lnTo>
                  <a:pt x="578659" y="58657"/>
                </a:lnTo>
                <a:lnTo>
                  <a:pt x="566594" y="63891"/>
                </a:lnTo>
                <a:lnTo>
                  <a:pt x="559656" y="66364"/>
                </a:lnTo>
                <a:lnTo>
                  <a:pt x="542827" y="74202"/>
                </a:lnTo>
                <a:lnTo>
                  <a:pt x="508443" y="89119"/>
                </a:lnTo>
                <a:lnTo>
                  <a:pt x="493927" y="96979"/>
                </a:lnTo>
                <a:lnTo>
                  <a:pt x="485730" y="100797"/>
                </a:lnTo>
                <a:lnTo>
                  <a:pt x="470995" y="109396"/>
                </a:lnTo>
                <a:lnTo>
                  <a:pt x="441454" y="125391"/>
                </a:lnTo>
                <a:lnTo>
                  <a:pt x="424802" y="136352"/>
                </a:lnTo>
                <a:lnTo>
                  <a:pt x="415596" y="141724"/>
                </a:lnTo>
                <a:lnTo>
                  <a:pt x="403056" y="150665"/>
                </a:lnTo>
                <a:lnTo>
                  <a:pt x="377997" y="167159"/>
                </a:lnTo>
                <a:lnTo>
                  <a:pt x="359561" y="181680"/>
                </a:lnTo>
                <a:lnTo>
                  <a:pt x="349622" y="188766"/>
                </a:lnTo>
                <a:lnTo>
                  <a:pt x="339257" y="197671"/>
                </a:lnTo>
                <a:lnTo>
                  <a:pt x="318377" y="214115"/>
                </a:lnTo>
                <a:lnTo>
                  <a:pt x="298544" y="232644"/>
                </a:lnTo>
                <a:lnTo>
                  <a:pt x="288180" y="241547"/>
                </a:lnTo>
                <a:lnTo>
                  <a:pt x="279890" y="250071"/>
                </a:lnTo>
                <a:lnTo>
                  <a:pt x="262898" y="265946"/>
                </a:lnTo>
                <a:lnTo>
                  <a:pt x="242085" y="288944"/>
                </a:lnTo>
                <a:lnTo>
                  <a:pt x="231637" y="299687"/>
                </a:lnTo>
                <a:lnTo>
                  <a:pt x="225275" y="307520"/>
                </a:lnTo>
                <a:lnTo>
                  <a:pt x="211862" y="322342"/>
                </a:lnTo>
                <a:lnTo>
                  <a:pt x="190506" y="350326"/>
                </a:lnTo>
                <a:lnTo>
                  <a:pt x="180363" y="362811"/>
                </a:lnTo>
                <a:lnTo>
                  <a:pt x="175743" y="369669"/>
                </a:lnTo>
                <a:lnTo>
                  <a:pt x="165574" y="382992"/>
                </a:lnTo>
                <a:lnTo>
                  <a:pt x="144110" y="416618"/>
                </a:lnTo>
                <a:lnTo>
                  <a:pt x="134728" y="430542"/>
                </a:lnTo>
                <a:lnTo>
                  <a:pt x="131630" y="436167"/>
                </a:lnTo>
                <a:lnTo>
                  <a:pt x="124340" y="447585"/>
                </a:lnTo>
                <a:lnTo>
                  <a:pt x="103153" y="487877"/>
                </a:lnTo>
                <a:lnTo>
                  <a:pt x="95100" y="502499"/>
                </a:lnTo>
                <a:lnTo>
                  <a:pt x="93274" y="506663"/>
                </a:lnTo>
                <a:lnTo>
                  <a:pt x="88463" y="515811"/>
                </a:lnTo>
                <a:lnTo>
                  <a:pt x="67759" y="564832"/>
                </a:lnTo>
                <a:lnTo>
                  <a:pt x="61850" y="578307"/>
                </a:lnTo>
                <a:lnTo>
                  <a:pt x="61016" y="580801"/>
                </a:lnTo>
                <a:lnTo>
                  <a:pt x="58246" y="587360"/>
                </a:lnTo>
                <a:lnTo>
                  <a:pt x="37462" y="651256"/>
                </a:lnTo>
                <a:lnTo>
                  <a:pt x="35344" y="657589"/>
                </a:lnTo>
                <a:lnTo>
                  <a:pt x="35195" y="658226"/>
                </a:lnTo>
                <a:lnTo>
                  <a:pt x="33994" y="661917"/>
                </a:lnTo>
                <a:cubicBezTo>
                  <a:pt x="19882" y="712558"/>
                  <a:pt x="9949" y="764997"/>
                  <a:pt x="4602" y="818822"/>
                </a:cubicBezTo>
                <a:lnTo>
                  <a:pt x="4426" y="822387"/>
                </a:lnTo>
                <a:lnTo>
                  <a:pt x="4051" y="825062"/>
                </a:lnTo>
                <a:lnTo>
                  <a:pt x="2008" y="869160"/>
                </a:lnTo>
                <a:lnTo>
                  <a:pt x="1" y="869160"/>
                </a:lnTo>
                <a:lnTo>
                  <a:pt x="1" y="911944"/>
                </a:lnTo>
                <a:lnTo>
                  <a:pt x="0" y="911952"/>
                </a:lnTo>
                <a:lnTo>
                  <a:pt x="1" y="911961"/>
                </a:lnTo>
                <a:lnTo>
                  <a:pt x="1" y="912498"/>
                </a:lnTo>
                <a:lnTo>
                  <a:pt x="1" y="921144"/>
                </a:lnTo>
                <a:lnTo>
                  <a:pt x="0" y="921144"/>
                </a:lnTo>
                <a:lnTo>
                  <a:pt x="0" y="1330400"/>
                </a:lnTo>
                <a:lnTo>
                  <a:pt x="0" y="1339592"/>
                </a:lnTo>
                <a:lnTo>
                  <a:pt x="0" y="1475768"/>
                </a:lnTo>
                <a:lnTo>
                  <a:pt x="0" y="1475769"/>
                </a:lnTo>
                <a:lnTo>
                  <a:pt x="0" y="1475770"/>
                </a:lnTo>
                <a:lnTo>
                  <a:pt x="0" y="1833095"/>
                </a:lnTo>
                <a:lnTo>
                  <a:pt x="0" y="1894216"/>
                </a:lnTo>
                <a:lnTo>
                  <a:pt x="0" y="1894217"/>
                </a:lnTo>
                <a:lnTo>
                  <a:pt x="0" y="1894218"/>
                </a:lnTo>
                <a:lnTo>
                  <a:pt x="0" y="2251543"/>
                </a:lnTo>
                <a:lnTo>
                  <a:pt x="0" y="2396911"/>
                </a:lnTo>
                <a:lnTo>
                  <a:pt x="0" y="2815359"/>
                </a:lnTo>
                <a:lnTo>
                  <a:pt x="0" y="3308853"/>
                </a:lnTo>
                <a:close/>
              </a:path>
            </a:pathLst>
          </a:custGeom>
          <a:solidFill>
            <a:srgbClr val="1D316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  <a:sym typeface="Arial"/>
            </a:endParaRPr>
          </a:p>
        </p:txBody>
      </p:sp>
      <p:sp>
        <p:nvSpPr>
          <p:cNvPr id="5" name="Freeform: Shape 90">
            <a:extLst>
              <a:ext uri="{FF2B5EF4-FFF2-40B4-BE49-F238E27FC236}">
                <a16:creationId xmlns:a16="http://schemas.microsoft.com/office/drawing/2014/main" id="{CB542E25-8554-8D3F-7D64-2483CDCD6384}"/>
              </a:ext>
            </a:extLst>
          </p:cNvPr>
          <p:cNvSpPr/>
          <p:nvPr/>
        </p:nvSpPr>
        <p:spPr>
          <a:xfrm>
            <a:off x="2488293" y="2927295"/>
            <a:ext cx="3225573" cy="601998"/>
          </a:xfrm>
          <a:custGeom>
            <a:avLst/>
            <a:gdLst>
              <a:gd name="connsiteX0" fmla="*/ 325384 w 4047850"/>
              <a:gd name="connsiteY0" fmla="*/ 0 h 651348"/>
              <a:gd name="connsiteX1" fmla="*/ 593248 w 4047850"/>
              <a:gd name="connsiteY1" fmla="*/ 0 h 651348"/>
              <a:gd name="connsiteX2" fmla="*/ 1005630 w 4047850"/>
              <a:gd name="connsiteY2" fmla="*/ 0 h 651348"/>
              <a:gd name="connsiteX3" fmla="*/ 1022869 w 4047850"/>
              <a:gd name="connsiteY3" fmla="*/ 0 h 651348"/>
              <a:gd name="connsiteX4" fmla="*/ 3042220 w 4047850"/>
              <a:gd name="connsiteY4" fmla="*/ 0 h 651348"/>
              <a:gd name="connsiteX5" fmla="*/ 3394765 w 4047850"/>
              <a:gd name="connsiteY5" fmla="*/ 0 h 651348"/>
              <a:gd name="connsiteX6" fmla="*/ 3722465 w 4047850"/>
              <a:gd name="connsiteY6" fmla="*/ 0 h 651348"/>
              <a:gd name="connsiteX7" fmla="*/ 3739704 w 4047850"/>
              <a:gd name="connsiteY7" fmla="*/ 0 h 651348"/>
              <a:gd name="connsiteX8" fmla="*/ 3739704 w 4047850"/>
              <a:gd name="connsiteY8" fmla="*/ 385 h 651348"/>
              <a:gd name="connsiteX9" fmla="*/ 4047850 w 4047850"/>
              <a:gd name="connsiteY9" fmla="*/ 385 h 651348"/>
              <a:gd name="connsiteX10" fmla="*/ 4047850 w 4047850"/>
              <a:gd name="connsiteY10" fmla="*/ 325477 h 651348"/>
              <a:gd name="connsiteX11" fmla="*/ 4047850 w 4047850"/>
              <a:gd name="connsiteY11" fmla="*/ 325669 h 651348"/>
              <a:gd name="connsiteX12" fmla="*/ 4047850 w 4047850"/>
              <a:gd name="connsiteY12" fmla="*/ 325672 h 651348"/>
              <a:gd name="connsiteX13" fmla="*/ 4047850 w 4047850"/>
              <a:gd name="connsiteY13" fmla="*/ 325675 h 651348"/>
              <a:gd name="connsiteX14" fmla="*/ 4047850 w 4047850"/>
              <a:gd name="connsiteY14" fmla="*/ 340954 h 651348"/>
              <a:gd name="connsiteX15" fmla="*/ 4047117 w 4047850"/>
              <a:gd name="connsiteY15" fmla="*/ 340954 h 651348"/>
              <a:gd name="connsiteX16" fmla="*/ 4046371 w 4047850"/>
              <a:gd name="connsiteY16" fmla="*/ 356703 h 651348"/>
              <a:gd name="connsiteX17" fmla="*/ 4046235 w 4047850"/>
              <a:gd name="connsiteY17" fmla="*/ 357658 h 651348"/>
              <a:gd name="connsiteX18" fmla="*/ 4046171 w 4047850"/>
              <a:gd name="connsiteY18" fmla="*/ 358931 h 651348"/>
              <a:gd name="connsiteX19" fmla="*/ 4035441 w 4047850"/>
              <a:gd name="connsiteY19" fmla="*/ 414965 h 651348"/>
              <a:gd name="connsiteX20" fmla="*/ 4035003 w 4047850"/>
              <a:gd name="connsiteY20" fmla="*/ 416283 h 651348"/>
              <a:gd name="connsiteX21" fmla="*/ 4034948 w 4047850"/>
              <a:gd name="connsiteY21" fmla="*/ 416510 h 651348"/>
              <a:gd name="connsiteX22" fmla="*/ 4034176 w 4047850"/>
              <a:gd name="connsiteY22" fmla="*/ 418772 h 651348"/>
              <a:gd name="connsiteX23" fmla="*/ 4026589 w 4047850"/>
              <a:gd name="connsiteY23" fmla="*/ 441591 h 651348"/>
              <a:gd name="connsiteX24" fmla="*/ 4025578 w 4047850"/>
              <a:gd name="connsiteY24" fmla="*/ 443933 h 651348"/>
              <a:gd name="connsiteX25" fmla="*/ 4025273 w 4047850"/>
              <a:gd name="connsiteY25" fmla="*/ 444823 h 651348"/>
              <a:gd name="connsiteX26" fmla="*/ 4023116 w 4047850"/>
              <a:gd name="connsiteY26" fmla="*/ 449636 h 651348"/>
              <a:gd name="connsiteX27" fmla="*/ 4015559 w 4047850"/>
              <a:gd name="connsiteY27" fmla="*/ 467142 h 651348"/>
              <a:gd name="connsiteX28" fmla="*/ 4013802 w 4047850"/>
              <a:gd name="connsiteY28" fmla="*/ 470409 h 651348"/>
              <a:gd name="connsiteX29" fmla="*/ 4013136 w 4047850"/>
              <a:gd name="connsiteY29" fmla="*/ 471896 h 651348"/>
              <a:gd name="connsiteX30" fmla="*/ 4010197 w 4047850"/>
              <a:gd name="connsiteY30" fmla="*/ 477118 h 651348"/>
              <a:gd name="connsiteX31" fmla="*/ 4002462 w 4047850"/>
              <a:gd name="connsiteY31" fmla="*/ 491507 h 651348"/>
              <a:gd name="connsiteX32" fmla="*/ 3999801 w 4047850"/>
              <a:gd name="connsiteY32" fmla="*/ 495585 h 651348"/>
              <a:gd name="connsiteX33" fmla="*/ 3998671 w 4047850"/>
              <a:gd name="connsiteY33" fmla="*/ 497594 h 651348"/>
              <a:gd name="connsiteX34" fmla="*/ 3995246 w 4047850"/>
              <a:gd name="connsiteY34" fmla="*/ 502566 h 651348"/>
              <a:gd name="connsiteX35" fmla="*/ 3987410 w 4047850"/>
              <a:gd name="connsiteY35" fmla="*/ 514574 h 651348"/>
              <a:gd name="connsiteX36" fmla="*/ 3983699 w 4047850"/>
              <a:gd name="connsiteY36" fmla="*/ 519333 h 651348"/>
              <a:gd name="connsiteX37" fmla="*/ 3982012 w 4047850"/>
              <a:gd name="connsiteY37" fmla="*/ 521781 h 651348"/>
              <a:gd name="connsiteX38" fmla="*/ 3978310 w 4047850"/>
              <a:gd name="connsiteY38" fmla="*/ 526240 h 651348"/>
              <a:gd name="connsiteX39" fmla="*/ 3970514 w 4047850"/>
              <a:gd name="connsiteY39" fmla="*/ 536234 h 651348"/>
              <a:gd name="connsiteX40" fmla="*/ 3965618 w 4047850"/>
              <a:gd name="connsiteY40" fmla="*/ 541527 h 651348"/>
              <a:gd name="connsiteX41" fmla="*/ 3963295 w 4047850"/>
              <a:gd name="connsiteY41" fmla="*/ 544324 h 651348"/>
              <a:gd name="connsiteX42" fmla="*/ 3959482 w 4047850"/>
              <a:gd name="connsiteY42" fmla="*/ 548161 h 651348"/>
              <a:gd name="connsiteX43" fmla="*/ 3951885 w 4047850"/>
              <a:gd name="connsiteY43" fmla="*/ 556374 h 651348"/>
              <a:gd name="connsiteX44" fmla="*/ 3945682 w 4047850"/>
              <a:gd name="connsiteY44" fmla="*/ 562043 h 651348"/>
              <a:gd name="connsiteX45" fmla="*/ 3942656 w 4047850"/>
              <a:gd name="connsiteY45" fmla="*/ 565087 h 651348"/>
              <a:gd name="connsiteX46" fmla="*/ 3938872 w 4047850"/>
              <a:gd name="connsiteY46" fmla="*/ 568267 h 651348"/>
              <a:gd name="connsiteX47" fmla="*/ 3931633 w 4047850"/>
              <a:gd name="connsiteY47" fmla="*/ 574884 h 651348"/>
              <a:gd name="connsiteX48" fmla="*/ 3924011 w 4047850"/>
              <a:gd name="connsiteY48" fmla="*/ 580756 h 651348"/>
              <a:gd name="connsiteX49" fmla="*/ 3920227 w 4047850"/>
              <a:gd name="connsiteY49" fmla="*/ 583936 h 651348"/>
              <a:gd name="connsiteX50" fmla="*/ 3916599 w 4047850"/>
              <a:gd name="connsiteY50" fmla="*/ 586467 h 651348"/>
              <a:gd name="connsiteX51" fmla="*/ 3909870 w 4047850"/>
              <a:gd name="connsiteY51" fmla="*/ 591652 h 651348"/>
              <a:gd name="connsiteX52" fmla="*/ 3900723 w 4047850"/>
              <a:gd name="connsiteY52" fmla="*/ 597543 h 651348"/>
              <a:gd name="connsiteX53" fmla="*/ 3896145 w 4047850"/>
              <a:gd name="connsiteY53" fmla="*/ 600736 h 651348"/>
              <a:gd name="connsiteX54" fmla="*/ 3892785 w 4047850"/>
              <a:gd name="connsiteY54" fmla="*/ 602655 h 651348"/>
              <a:gd name="connsiteX55" fmla="*/ 3886706 w 4047850"/>
              <a:gd name="connsiteY55" fmla="*/ 606569 h 651348"/>
              <a:gd name="connsiteX56" fmla="*/ 3875923 w 4047850"/>
              <a:gd name="connsiteY56" fmla="*/ 612281 h 651348"/>
              <a:gd name="connsiteX57" fmla="*/ 3870544 w 4047850"/>
              <a:gd name="connsiteY57" fmla="*/ 615352 h 651348"/>
              <a:gd name="connsiteX58" fmla="*/ 3867552 w 4047850"/>
              <a:gd name="connsiteY58" fmla="*/ 616715 h 651348"/>
              <a:gd name="connsiteX59" fmla="*/ 3862253 w 4047850"/>
              <a:gd name="connsiteY59" fmla="*/ 619522 h 651348"/>
              <a:gd name="connsiteX60" fmla="*/ 3849702 w 4047850"/>
              <a:gd name="connsiteY60" fmla="*/ 624849 h 651348"/>
              <a:gd name="connsiteX61" fmla="*/ 3843559 w 4047850"/>
              <a:gd name="connsiteY61" fmla="*/ 627649 h 651348"/>
              <a:gd name="connsiteX62" fmla="*/ 3841026 w 4047850"/>
              <a:gd name="connsiteY62" fmla="*/ 628532 h 651348"/>
              <a:gd name="connsiteX63" fmla="*/ 3836622 w 4047850"/>
              <a:gd name="connsiteY63" fmla="*/ 630401 h 651348"/>
              <a:gd name="connsiteX64" fmla="*/ 3822109 w 4047850"/>
              <a:gd name="connsiteY64" fmla="*/ 635127 h 651348"/>
              <a:gd name="connsiteX65" fmla="*/ 3815324 w 4047850"/>
              <a:gd name="connsiteY65" fmla="*/ 637492 h 651348"/>
              <a:gd name="connsiteX66" fmla="*/ 3813334 w 4047850"/>
              <a:gd name="connsiteY66" fmla="*/ 637984 h 651348"/>
              <a:gd name="connsiteX67" fmla="*/ 3809924 w 4047850"/>
              <a:gd name="connsiteY67" fmla="*/ 639095 h 651348"/>
              <a:gd name="connsiteX68" fmla="*/ 3793067 w 4047850"/>
              <a:gd name="connsiteY68" fmla="*/ 642994 h 651348"/>
              <a:gd name="connsiteX69" fmla="*/ 3785975 w 4047850"/>
              <a:gd name="connsiteY69" fmla="*/ 644747 h 651348"/>
              <a:gd name="connsiteX70" fmla="*/ 3784601 w 4047850"/>
              <a:gd name="connsiteY70" fmla="*/ 644952 h 651348"/>
              <a:gd name="connsiteX71" fmla="*/ 3782269 w 4047850"/>
              <a:gd name="connsiteY71" fmla="*/ 645492 h 651348"/>
              <a:gd name="connsiteX72" fmla="*/ 3761990 w 4047850"/>
              <a:gd name="connsiteY72" fmla="*/ 648331 h 651348"/>
              <a:gd name="connsiteX73" fmla="*/ 3755647 w 4047850"/>
              <a:gd name="connsiteY73" fmla="*/ 649279 h 651348"/>
              <a:gd name="connsiteX74" fmla="*/ 3754979 w 4047850"/>
              <a:gd name="connsiteY74" fmla="*/ 649313 h 651348"/>
              <a:gd name="connsiteX75" fmla="*/ 3753769 w 4047850"/>
              <a:gd name="connsiteY75" fmla="*/ 649482 h 651348"/>
              <a:gd name="connsiteX76" fmla="*/ 3739704 w 4047850"/>
              <a:gd name="connsiteY76" fmla="*/ 650148 h 651348"/>
              <a:gd name="connsiteX77" fmla="*/ 3739704 w 4047850"/>
              <a:gd name="connsiteY77" fmla="*/ 650959 h 651348"/>
              <a:gd name="connsiteX78" fmla="*/ 3726737 w 4047850"/>
              <a:gd name="connsiteY78" fmla="*/ 650959 h 651348"/>
              <a:gd name="connsiteX79" fmla="*/ 3722563 w 4047850"/>
              <a:gd name="connsiteY79" fmla="*/ 650959 h 651348"/>
              <a:gd name="connsiteX80" fmla="*/ 3722465 w 4047850"/>
              <a:gd name="connsiteY80" fmla="*/ 650959 h 651348"/>
              <a:gd name="connsiteX81" fmla="*/ 3722465 w 4047850"/>
              <a:gd name="connsiteY81" fmla="*/ 651348 h 651348"/>
              <a:gd name="connsiteX82" fmla="*/ 3394765 w 4047850"/>
              <a:gd name="connsiteY82" fmla="*/ 651348 h 651348"/>
              <a:gd name="connsiteX83" fmla="*/ 3042220 w 4047850"/>
              <a:gd name="connsiteY83" fmla="*/ 651348 h 651348"/>
              <a:gd name="connsiteX84" fmla="*/ 3024981 w 4047850"/>
              <a:gd name="connsiteY84" fmla="*/ 651348 h 651348"/>
              <a:gd name="connsiteX85" fmla="*/ 1005630 w 4047850"/>
              <a:gd name="connsiteY85" fmla="*/ 651348 h 651348"/>
              <a:gd name="connsiteX86" fmla="*/ 593248 w 4047850"/>
              <a:gd name="connsiteY86" fmla="*/ 651348 h 651348"/>
              <a:gd name="connsiteX87" fmla="*/ 325384 w 4047850"/>
              <a:gd name="connsiteY87" fmla="*/ 651348 h 651348"/>
              <a:gd name="connsiteX88" fmla="*/ 308146 w 4047850"/>
              <a:gd name="connsiteY88" fmla="*/ 651348 h 651348"/>
              <a:gd name="connsiteX89" fmla="*/ 308146 w 4047850"/>
              <a:gd name="connsiteY89" fmla="*/ 650963 h 651348"/>
              <a:gd name="connsiteX90" fmla="*/ 0 w 4047850"/>
              <a:gd name="connsiteY90" fmla="*/ 650963 h 651348"/>
              <a:gd name="connsiteX91" fmla="*/ 0 w 4047850"/>
              <a:gd name="connsiteY91" fmla="*/ 325871 h 651348"/>
              <a:gd name="connsiteX92" fmla="*/ 0 w 4047850"/>
              <a:gd name="connsiteY92" fmla="*/ 325679 h 651348"/>
              <a:gd name="connsiteX93" fmla="*/ 0 w 4047850"/>
              <a:gd name="connsiteY93" fmla="*/ 325676 h 651348"/>
              <a:gd name="connsiteX94" fmla="*/ 0 w 4047850"/>
              <a:gd name="connsiteY94" fmla="*/ 325673 h 651348"/>
              <a:gd name="connsiteX95" fmla="*/ 0 w 4047850"/>
              <a:gd name="connsiteY95" fmla="*/ 310394 h 651348"/>
              <a:gd name="connsiteX96" fmla="*/ 733 w 4047850"/>
              <a:gd name="connsiteY96" fmla="*/ 310394 h 651348"/>
              <a:gd name="connsiteX97" fmla="*/ 1478 w 4047850"/>
              <a:gd name="connsiteY97" fmla="*/ 294646 h 651348"/>
              <a:gd name="connsiteX98" fmla="*/ 1615 w 4047850"/>
              <a:gd name="connsiteY98" fmla="*/ 293690 h 651348"/>
              <a:gd name="connsiteX99" fmla="*/ 1679 w 4047850"/>
              <a:gd name="connsiteY99" fmla="*/ 292417 h 651348"/>
              <a:gd name="connsiteX100" fmla="*/ 12408 w 4047850"/>
              <a:gd name="connsiteY100" fmla="*/ 236384 h 651348"/>
              <a:gd name="connsiteX101" fmla="*/ 12847 w 4047850"/>
              <a:gd name="connsiteY101" fmla="*/ 235065 h 651348"/>
              <a:gd name="connsiteX102" fmla="*/ 12901 w 4047850"/>
              <a:gd name="connsiteY102" fmla="*/ 234838 h 651348"/>
              <a:gd name="connsiteX103" fmla="*/ 13674 w 4047850"/>
              <a:gd name="connsiteY103" fmla="*/ 232576 h 651348"/>
              <a:gd name="connsiteX104" fmla="*/ 21261 w 4047850"/>
              <a:gd name="connsiteY104" fmla="*/ 209757 h 651348"/>
              <a:gd name="connsiteX105" fmla="*/ 22272 w 4047850"/>
              <a:gd name="connsiteY105" fmla="*/ 207415 h 651348"/>
              <a:gd name="connsiteX106" fmla="*/ 22576 w 4047850"/>
              <a:gd name="connsiteY106" fmla="*/ 206525 h 651348"/>
              <a:gd name="connsiteX107" fmla="*/ 24734 w 4047850"/>
              <a:gd name="connsiteY107" fmla="*/ 201713 h 651348"/>
              <a:gd name="connsiteX108" fmla="*/ 32291 w 4047850"/>
              <a:gd name="connsiteY108" fmla="*/ 184206 h 651348"/>
              <a:gd name="connsiteX109" fmla="*/ 34047 w 4047850"/>
              <a:gd name="connsiteY109" fmla="*/ 180939 h 651348"/>
              <a:gd name="connsiteX110" fmla="*/ 34714 w 4047850"/>
              <a:gd name="connsiteY110" fmla="*/ 179452 h 651348"/>
              <a:gd name="connsiteX111" fmla="*/ 37653 w 4047850"/>
              <a:gd name="connsiteY111" fmla="*/ 174231 h 651348"/>
              <a:gd name="connsiteX112" fmla="*/ 45388 w 4047850"/>
              <a:gd name="connsiteY112" fmla="*/ 159842 h 651348"/>
              <a:gd name="connsiteX113" fmla="*/ 48048 w 4047850"/>
              <a:gd name="connsiteY113" fmla="*/ 155764 h 651348"/>
              <a:gd name="connsiteX114" fmla="*/ 49179 w 4047850"/>
              <a:gd name="connsiteY114" fmla="*/ 153755 h 651348"/>
              <a:gd name="connsiteX115" fmla="*/ 52604 w 4047850"/>
              <a:gd name="connsiteY115" fmla="*/ 148783 h 651348"/>
              <a:gd name="connsiteX116" fmla="*/ 60439 w 4047850"/>
              <a:gd name="connsiteY116" fmla="*/ 136774 h 651348"/>
              <a:gd name="connsiteX117" fmla="*/ 64151 w 4047850"/>
              <a:gd name="connsiteY117" fmla="*/ 132016 h 651348"/>
              <a:gd name="connsiteX118" fmla="*/ 65838 w 4047850"/>
              <a:gd name="connsiteY118" fmla="*/ 129567 h 651348"/>
              <a:gd name="connsiteX119" fmla="*/ 69540 w 4047850"/>
              <a:gd name="connsiteY119" fmla="*/ 125108 h 651348"/>
              <a:gd name="connsiteX120" fmla="*/ 77336 w 4047850"/>
              <a:gd name="connsiteY120" fmla="*/ 115115 h 651348"/>
              <a:gd name="connsiteX121" fmla="*/ 82232 w 4047850"/>
              <a:gd name="connsiteY121" fmla="*/ 109821 h 651348"/>
              <a:gd name="connsiteX122" fmla="*/ 84554 w 4047850"/>
              <a:gd name="connsiteY122" fmla="*/ 107024 h 651348"/>
              <a:gd name="connsiteX123" fmla="*/ 88368 w 4047850"/>
              <a:gd name="connsiteY123" fmla="*/ 103188 h 651348"/>
              <a:gd name="connsiteX124" fmla="*/ 95965 w 4047850"/>
              <a:gd name="connsiteY124" fmla="*/ 94974 h 651348"/>
              <a:gd name="connsiteX125" fmla="*/ 102168 w 4047850"/>
              <a:gd name="connsiteY125" fmla="*/ 89305 h 651348"/>
              <a:gd name="connsiteX126" fmla="*/ 105194 w 4047850"/>
              <a:gd name="connsiteY126" fmla="*/ 86261 h 651348"/>
              <a:gd name="connsiteX127" fmla="*/ 108977 w 4047850"/>
              <a:gd name="connsiteY127" fmla="*/ 83081 h 651348"/>
              <a:gd name="connsiteX128" fmla="*/ 116217 w 4047850"/>
              <a:gd name="connsiteY128" fmla="*/ 76465 h 651348"/>
              <a:gd name="connsiteX129" fmla="*/ 123838 w 4047850"/>
              <a:gd name="connsiteY129" fmla="*/ 70592 h 651348"/>
              <a:gd name="connsiteX130" fmla="*/ 127623 w 4047850"/>
              <a:gd name="connsiteY130" fmla="*/ 67412 h 651348"/>
              <a:gd name="connsiteX131" fmla="*/ 131250 w 4047850"/>
              <a:gd name="connsiteY131" fmla="*/ 64881 h 651348"/>
              <a:gd name="connsiteX132" fmla="*/ 137980 w 4047850"/>
              <a:gd name="connsiteY132" fmla="*/ 59696 h 651348"/>
              <a:gd name="connsiteX133" fmla="*/ 147127 w 4047850"/>
              <a:gd name="connsiteY133" fmla="*/ 53805 h 651348"/>
              <a:gd name="connsiteX134" fmla="*/ 151705 w 4047850"/>
              <a:gd name="connsiteY134" fmla="*/ 50612 h 651348"/>
              <a:gd name="connsiteX135" fmla="*/ 155065 w 4047850"/>
              <a:gd name="connsiteY135" fmla="*/ 48694 h 651348"/>
              <a:gd name="connsiteX136" fmla="*/ 161144 w 4047850"/>
              <a:gd name="connsiteY136" fmla="*/ 44779 h 651348"/>
              <a:gd name="connsiteX137" fmla="*/ 171927 w 4047850"/>
              <a:gd name="connsiteY137" fmla="*/ 39067 h 651348"/>
              <a:gd name="connsiteX138" fmla="*/ 177306 w 4047850"/>
              <a:gd name="connsiteY138" fmla="*/ 35997 h 651348"/>
              <a:gd name="connsiteX139" fmla="*/ 180298 w 4047850"/>
              <a:gd name="connsiteY139" fmla="*/ 34633 h 651348"/>
              <a:gd name="connsiteX140" fmla="*/ 185596 w 4047850"/>
              <a:gd name="connsiteY140" fmla="*/ 31826 h 651348"/>
              <a:gd name="connsiteX141" fmla="*/ 198148 w 4047850"/>
              <a:gd name="connsiteY141" fmla="*/ 26499 h 651348"/>
              <a:gd name="connsiteX142" fmla="*/ 204291 w 4047850"/>
              <a:gd name="connsiteY142" fmla="*/ 23700 h 651348"/>
              <a:gd name="connsiteX143" fmla="*/ 206823 w 4047850"/>
              <a:gd name="connsiteY143" fmla="*/ 22817 h 651348"/>
              <a:gd name="connsiteX144" fmla="*/ 211228 w 4047850"/>
              <a:gd name="connsiteY144" fmla="*/ 20947 h 651348"/>
              <a:gd name="connsiteX145" fmla="*/ 225741 w 4047850"/>
              <a:gd name="connsiteY145" fmla="*/ 16221 h 651348"/>
              <a:gd name="connsiteX146" fmla="*/ 232526 w 4047850"/>
              <a:gd name="connsiteY146" fmla="*/ 13856 h 651348"/>
              <a:gd name="connsiteX147" fmla="*/ 234516 w 4047850"/>
              <a:gd name="connsiteY147" fmla="*/ 13364 h 651348"/>
              <a:gd name="connsiteX148" fmla="*/ 237926 w 4047850"/>
              <a:gd name="connsiteY148" fmla="*/ 12254 h 651348"/>
              <a:gd name="connsiteX149" fmla="*/ 254783 w 4047850"/>
              <a:gd name="connsiteY149" fmla="*/ 8354 h 651348"/>
              <a:gd name="connsiteX150" fmla="*/ 261875 w 4047850"/>
              <a:gd name="connsiteY150" fmla="*/ 6601 h 651348"/>
              <a:gd name="connsiteX151" fmla="*/ 263248 w 4047850"/>
              <a:gd name="connsiteY151" fmla="*/ 6396 h 651348"/>
              <a:gd name="connsiteX152" fmla="*/ 265581 w 4047850"/>
              <a:gd name="connsiteY152" fmla="*/ 5856 h 651348"/>
              <a:gd name="connsiteX153" fmla="*/ 285860 w 4047850"/>
              <a:gd name="connsiteY153" fmla="*/ 3017 h 651348"/>
              <a:gd name="connsiteX154" fmla="*/ 292203 w 4047850"/>
              <a:gd name="connsiteY154" fmla="*/ 2069 h 651348"/>
              <a:gd name="connsiteX155" fmla="*/ 292871 w 4047850"/>
              <a:gd name="connsiteY155" fmla="*/ 2036 h 651348"/>
              <a:gd name="connsiteX156" fmla="*/ 294080 w 4047850"/>
              <a:gd name="connsiteY156" fmla="*/ 1866 h 651348"/>
              <a:gd name="connsiteX157" fmla="*/ 308146 w 4047850"/>
              <a:gd name="connsiteY157" fmla="*/ 1201 h 651348"/>
              <a:gd name="connsiteX158" fmla="*/ 308146 w 4047850"/>
              <a:gd name="connsiteY158" fmla="*/ 389 h 651348"/>
              <a:gd name="connsiteX159" fmla="*/ 321113 w 4047850"/>
              <a:gd name="connsiteY159" fmla="*/ 389 h 651348"/>
              <a:gd name="connsiteX160" fmla="*/ 325287 w 4047850"/>
              <a:gd name="connsiteY160" fmla="*/ 389 h 651348"/>
              <a:gd name="connsiteX161" fmla="*/ 325384 w 4047850"/>
              <a:gd name="connsiteY161" fmla="*/ 389 h 651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4047850" h="651348">
                <a:moveTo>
                  <a:pt x="325384" y="0"/>
                </a:moveTo>
                <a:lnTo>
                  <a:pt x="593248" y="0"/>
                </a:lnTo>
                <a:lnTo>
                  <a:pt x="1005630" y="0"/>
                </a:lnTo>
                <a:lnTo>
                  <a:pt x="1022869" y="0"/>
                </a:lnTo>
                <a:lnTo>
                  <a:pt x="3042220" y="0"/>
                </a:lnTo>
                <a:lnTo>
                  <a:pt x="3394765" y="0"/>
                </a:lnTo>
                <a:lnTo>
                  <a:pt x="3722465" y="0"/>
                </a:lnTo>
                <a:lnTo>
                  <a:pt x="3739704" y="0"/>
                </a:lnTo>
                <a:lnTo>
                  <a:pt x="3739704" y="385"/>
                </a:lnTo>
                <a:lnTo>
                  <a:pt x="4047850" y="385"/>
                </a:lnTo>
                <a:lnTo>
                  <a:pt x="4047850" y="325477"/>
                </a:lnTo>
                <a:lnTo>
                  <a:pt x="4047850" y="325669"/>
                </a:lnTo>
                <a:lnTo>
                  <a:pt x="4047850" y="325672"/>
                </a:lnTo>
                <a:lnTo>
                  <a:pt x="4047850" y="325675"/>
                </a:lnTo>
                <a:lnTo>
                  <a:pt x="4047850" y="340954"/>
                </a:lnTo>
                <a:lnTo>
                  <a:pt x="4047117" y="340954"/>
                </a:lnTo>
                <a:lnTo>
                  <a:pt x="4046371" y="356703"/>
                </a:lnTo>
                <a:lnTo>
                  <a:pt x="4046235" y="357658"/>
                </a:lnTo>
                <a:lnTo>
                  <a:pt x="4046171" y="358931"/>
                </a:lnTo>
                <a:cubicBezTo>
                  <a:pt x="4044218" y="378153"/>
                  <a:pt x="4040593" y="396880"/>
                  <a:pt x="4035441" y="414965"/>
                </a:cubicBezTo>
                <a:lnTo>
                  <a:pt x="4035003" y="416283"/>
                </a:lnTo>
                <a:lnTo>
                  <a:pt x="4034948" y="416510"/>
                </a:lnTo>
                <a:lnTo>
                  <a:pt x="4034176" y="418772"/>
                </a:lnTo>
                <a:lnTo>
                  <a:pt x="4026589" y="441591"/>
                </a:lnTo>
                <a:lnTo>
                  <a:pt x="4025578" y="443933"/>
                </a:lnTo>
                <a:lnTo>
                  <a:pt x="4025273" y="444823"/>
                </a:lnTo>
                <a:lnTo>
                  <a:pt x="4023116" y="449636"/>
                </a:lnTo>
                <a:lnTo>
                  <a:pt x="4015559" y="467142"/>
                </a:lnTo>
                <a:lnTo>
                  <a:pt x="4013802" y="470409"/>
                </a:lnTo>
                <a:lnTo>
                  <a:pt x="4013136" y="471896"/>
                </a:lnTo>
                <a:lnTo>
                  <a:pt x="4010197" y="477118"/>
                </a:lnTo>
                <a:lnTo>
                  <a:pt x="4002462" y="491507"/>
                </a:lnTo>
                <a:lnTo>
                  <a:pt x="3999801" y="495585"/>
                </a:lnTo>
                <a:lnTo>
                  <a:pt x="3998671" y="497594"/>
                </a:lnTo>
                <a:lnTo>
                  <a:pt x="3995246" y="502566"/>
                </a:lnTo>
                <a:lnTo>
                  <a:pt x="3987410" y="514574"/>
                </a:lnTo>
                <a:lnTo>
                  <a:pt x="3983699" y="519333"/>
                </a:lnTo>
                <a:lnTo>
                  <a:pt x="3982012" y="521781"/>
                </a:lnTo>
                <a:lnTo>
                  <a:pt x="3978310" y="526240"/>
                </a:lnTo>
                <a:lnTo>
                  <a:pt x="3970514" y="536234"/>
                </a:lnTo>
                <a:lnTo>
                  <a:pt x="3965618" y="541527"/>
                </a:lnTo>
                <a:lnTo>
                  <a:pt x="3963295" y="544324"/>
                </a:lnTo>
                <a:lnTo>
                  <a:pt x="3959482" y="548161"/>
                </a:lnTo>
                <a:lnTo>
                  <a:pt x="3951885" y="556374"/>
                </a:lnTo>
                <a:lnTo>
                  <a:pt x="3945682" y="562043"/>
                </a:lnTo>
                <a:lnTo>
                  <a:pt x="3942656" y="565087"/>
                </a:lnTo>
                <a:lnTo>
                  <a:pt x="3938872" y="568267"/>
                </a:lnTo>
                <a:lnTo>
                  <a:pt x="3931633" y="574884"/>
                </a:lnTo>
                <a:lnTo>
                  <a:pt x="3924011" y="580756"/>
                </a:lnTo>
                <a:lnTo>
                  <a:pt x="3920227" y="583936"/>
                </a:lnTo>
                <a:lnTo>
                  <a:pt x="3916599" y="586467"/>
                </a:lnTo>
                <a:lnTo>
                  <a:pt x="3909870" y="591652"/>
                </a:lnTo>
                <a:lnTo>
                  <a:pt x="3900723" y="597543"/>
                </a:lnTo>
                <a:lnTo>
                  <a:pt x="3896145" y="600736"/>
                </a:lnTo>
                <a:lnTo>
                  <a:pt x="3892785" y="602655"/>
                </a:lnTo>
                <a:lnTo>
                  <a:pt x="3886706" y="606569"/>
                </a:lnTo>
                <a:lnTo>
                  <a:pt x="3875923" y="612281"/>
                </a:lnTo>
                <a:lnTo>
                  <a:pt x="3870544" y="615352"/>
                </a:lnTo>
                <a:lnTo>
                  <a:pt x="3867552" y="616715"/>
                </a:lnTo>
                <a:lnTo>
                  <a:pt x="3862253" y="619522"/>
                </a:lnTo>
                <a:lnTo>
                  <a:pt x="3849702" y="624849"/>
                </a:lnTo>
                <a:lnTo>
                  <a:pt x="3843559" y="627649"/>
                </a:lnTo>
                <a:lnTo>
                  <a:pt x="3841026" y="628532"/>
                </a:lnTo>
                <a:lnTo>
                  <a:pt x="3836622" y="630401"/>
                </a:lnTo>
                <a:lnTo>
                  <a:pt x="3822109" y="635127"/>
                </a:lnTo>
                <a:lnTo>
                  <a:pt x="3815324" y="637492"/>
                </a:lnTo>
                <a:lnTo>
                  <a:pt x="3813334" y="637984"/>
                </a:lnTo>
                <a:lnTo>
                  <a:pt x="3809924" y="639095"/>
                </a:lnTo>
                <a:lnTo>
                  <a:pt x="3793067" y="642994"/>
                </a:lnTo>
                <a:lnTo>
                  <a:pt x="3785975" y="644747"/>
                </a:lnTo>
                <a:lnTo>
                  <a:pt x="3784601" y="644952"/>
                </a:lnTo>
                <a:lnTo>
                  <a:pt x="3782269" y="645492"/>
                </a:lnTo>
                <a:lnTo>
                  <a:pt x="3761990" y="648331"/>
                </a:lnTo>
                <a:lnTo>
                  <a:pt x="3755647" y="649279"/>
                </a:lnTo>
                <a:lnTo>
                  <a:pt x="3754979" y="649313"/>
                </a:lnTo>
                <a:lnTo>
                  <a:pt x="3753769" y="649482"/>
                </a:lnTo>
                <a:lnTo>
                  <a:pt x="3739704" y="650148"/>
                </a:lnTo>
                <a:lnTo>
                  <a:pt x="3739704" y="650959"/>
                </a:lnTo>
                <a:lnTo>
                  <a:pt x="3726737" y="650959"/>
                </a:lnTo>
                <a:lnTo>
                  <a:pt x="3722563" y="650959"/>
                </a:lnTo>
                <a:lnTo>
                  <a:pt x="3722465" y="650959"/>
                </a:lnTo>
                <a:lnTo>
                  <a:pt x="3722465" y="651348"/>
                </a:lnTo>
                <a:lnTo>
                  <a:pt x="3394765" y="651348"/>
                </a:lnTo>
                <a:lnTo>
                  <a:pt x="3042220" y="651348"/>
                </a:lnTo>
                <a:lnTo>
                  <a:pt x="3024981" y="651348"/>
                </a:lnTo>
                <a:lnTo>
                  <a:pt x="1005630" y="651348"/>
                </a:lnTo>
                <a:lnTo>
                  <a:pt x="593248" y="651348"/>
                </a:lnTo>
                <a:lnTo>
                  <a:pt x="325384" y="651348"/>
                </a:lnTo>
                <a:lnTo>
                  <a:pt x="308146" y="651348"/>
                </a:lnTo>
                <a:lnTo>
                  <a:pt x="308146" y="650963"/>
                </a:lnTo>
                <a:lnTo>
                  <a:pt x="0" y="650963"/>
                </a:lnTo>
                <a:lnTo>
                  <a:pt x="0" y="325871"/>
                </a:lnTo>
                <a:lnTo>
                  <a:pt x="0" y="325679"/>
                </a:lnTo>
                <a:lnTo>
                  <a:pt x="0" y="325676"/>
                </a:lnTo>
                <a:lnTo>
                  <a:pt x="0" y="325673"/>
                </a:lnTo>
                <a:lnTo>
                  <a:pt x="0" y="310394"/>
                </a:lnTo>
                <a:lnTo>
                  <a:pt x="733" y="310394"/>
                </a:lnTo>
                <a:lnTo>
                  <a:pt x="1478" y="294646"/>
                </a:lnTo>
                <a:lnTo>
                  <a:pt x="1615" y="293690"/>
                </a:lnTo>
                <a:lnTo>
                  <a:pt x="1679" y="292417"/>
                </a:lnTo>
                <a:cubicBezTo>
                  <a:pt x="3631" y="273195"/>
                  <a:pt x="7257" y="254468"/>
                  <a:pt x="12408" y="236384"/>
                </a:cubicBezTo>
                <a:lnTo>
                  <a:pt x="12847" y="235065"/>
                </a:lnTo>
                <a:lnTo>
                  <a:pt x="12901" y="234838"/>
                </a:lnTo>
                <a:lnTo>
                  <a:pt x="13674" y="232576"/>
                </a:lnTo>
                <a:lnTo>
                  <a:pt x="21261" y="209757"/>
                </a:lnTo>
                <a:lnTo>
                  <a:pt x="22272" y="207415"/>
                </a:lnTo>
                <a:lnTo>
                  <a:pt x="22576" y="206525"/>
                </a:lnTo>
                <a:lnTo>
                  <a:pt x="24734" y="201713"/>
                </a:lnTo>
                <a:lnTo>
                  <a:pt x="32291" y="184206"/>
                </a:lnTo>
                <a:lnTo>
                  <a:pt x="34047" y="180939"/>
                </a:lnTo>
                <a:lnTo>
                  <a:pt x="34714" y="179452"/>
                </a:lnTo>
                <a:lnTo>
                  <a:pt x="37653" y="174231"/>
                </a:lnTo>
                <a:lnTo>
                  <a:pt x="45388" y="159842"/>
                </a:lnTo>
                <a:lnTo>
                  <a:pt x="48048" y="155764"/>
                </a:lnTo>
                <a:lnTo>
                  <a:pt x="49179" y="153755"/>
                </a:lnTo>
                <a:lnTo>
                  <a:pt x="52604" y="148783"/>
                </a:lnTo>
                <a:lnTo>
                  <a:pt x="60439" y="136774"/>
                </a:lnTo>
                <a:lnTo>
                  <a:pt x="64151" y="132016"/>
                </a:lnTo>
                <a:lnTo>
                  <a:pt x="65838" y="129567"/>
                </a:lnTo>
                <a:lnTo>
                  <a:pt x="69540" y="125108"/>
                </a:lnTo>
                <a:lnTo>
                  <a:pt x="77336" y="115115"/>
                </a:lnTo>
                <a:lnTo>
                  <a:pt x="82232" y="109821"/>
                </a:lnTo>
                <a:lnTo>
                  <a:pt x="84554" y="107024"/>
                </a:lnTo>
                <a:lnTo>
                  <a:pt x="88368" y="103188"/>
                </a:lnTo>
                <a:lnTo>
                  <a:pt x="95965" y="94974"/>
                </a:lnTo>
                <a:lnTo>
                  <a:pt x="102168" y="89305"/>
                </a:lnTo>
                <a:lnTo>
                  <a:pt x="105194" y="86261"/>
                </a:lnTo>
                <a:lnTo>
                  <a:pt x="108977" y="83081"/>
                </a:lnTo>
                <a:lnTo>
                  <a:pt x="116217" y="76465"/>
                </a:lnTo>
                <a:lnTo>
                  <a:pt x="123838" y="70592"/>
                </a:lnTo>
                <a:lnTo>
                  <a:pt x="127623" y="67412"/>
                </a:lnTo>
                <a:lnTo>
                  <a:pt x="131250" y="64881"/>
                </a:lnTo>
                <a:lnTo>
                  <a:pt x="137980" y="59696"/>
                </a:lnTo>
                <a:lnTo>
                  <a:pt x="147127" y="53805"/>
                </a:lnTo>
                <a:lnTo>
                  <a:pt x="151705" y="50612"/>
                </a:lnTo>
                <a:lnTo>
                  <a:pt x="155065" y="48694"/>
                </a:lnTo>
                <a:lnTo>
                  <a:pt x="161144" y="44779"/>
                </a:lnTo>
                <a:lnTo>
                  <a:pt x="171927" y="39067"/>
                </a:lnTo>
                <a:lnTo>
                  <a:pt x="177306" y="35997"/>
                </a:lnTo>
                <a:lnTo>
                  <a:pt x="180298" y="34633"/>
                </a:lnTo>
                <a:lnTo>
                  <a:pt x="185596" y="31826"/>
                </a:lnTo>
                <a:lnTo>
                  <a:pt x="198148" y="26499"/>
                </a:lnTo>
                <a:lnTo>
                  <a:pt x="204291" y="23700"/>
                </a:lnTo>
                <a:lnTo>
                  <a:pt x="206823" y="22817"/>
                </a:lnTo>
                <a:lnTo>
                  <a:pt x="211228" y="20947"/>
                </a:lnTo>
                <a:lnTo>
                  <a:pt x="225741" y="16221"/>
                </a:lnTo>
                <a:lnTo>
                  <a:pt x="232526" y="13856"/>
                </a:lnTo>
                <a:lnTo>
                  <a:pt x="234516" y="13364"/>
                </a:lnTo>
                <a:lnTo>
                  <a:pt x="237926" y="12254"/>
                </a:lnTo>
                <a:lnTo>
                  <a:pt x="254783" y="8354"/>
                </a:lnTo>
                <a:lnTo>
                  <a:pt x="261875" y="6601"/>
                </a:lnTo>
                <a:lnTo>
                  <a:pt x="263248" y="6396"/>
                </a:lnTo>
                <a:lnTo>
                  <a:pt x="265581" y="5856"/>
                </a:lnTo>
                <a:lnTo>
                  <a:pt x="285860" y="3017"/>
                </a:lnTo>
                <a:lnTo>
                  <a:pt x="292203" y="2069"/>
                </a:lnTo>
                <a:lnTo>
                  <a:pt x="292871" y="2036"/>
                </a:lnTo>
                <a:lnTo>
                  <a:pt x="294080" y="1866"/>
                </a:lnTo>
                <a:lnTo>
                  <a:pt x="308146" y="1201"/>
                </a:lnTo>
                <a:lnTo>
                  <a:pt x="308146" y="389"/>
                </a:lnTo>
                <a:lnTo>
                  <a:pt x="321113" y="389"/>
                </a:lnTo>
                <a:lnTo>
                  <a:pt x="325287" y="389"/>
                </a:lnTo>
                <a:lnTo>
                  <a:pt x="325384" y="389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FBDFF5-60B8-DC2A-377C-889329A9A73F}"/>
              </a:ext>
            </a:extLst>
          </p:cNvPr>
          <p:cNvSpPr txBox="1"/>
          <p:nvPr/>
        </p:nvSpPr>
        <p:spPr>
          <a:xfrm>
            <a:off x="2258065" y="2942458"/>
            <a:ext cx="34922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Kesesuaian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Jenis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,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sifat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,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Klasifikasi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, dan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layanan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usaha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dengan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Kegiatan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Usaha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Jako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ctr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5D3C70A-6427-5D75-B434-93BFA6A623AD}"/>
              </a:ext>
            </a:extLst>
          </p:cNvPr>
          <p:cNvSpPr txBox="1"/>
          <p:nvPr/>
        </p:nvSpPr>
        <p:spPr>
          <a:xfrm>
            <a:off x="1750172" y="3663771"/>
            <a:ext cx="474451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pemeriksa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: SBU; dan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lapor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tahun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BUJK.</a:t>
            </a:r>
          </a:p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Membandingk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SBU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deng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seluruh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egi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usah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Jasa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onstruk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yang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telah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dilakuk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oleh badan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usah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Jasa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onstruk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, yang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terdapat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dalam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lapor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tahun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BUJK pada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aplika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usah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Jasa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onstruk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Sistem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Informa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Jasa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onstruk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terintegra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.</a:t>
            </a:r>
          </a:p>
          <a:p>
            <a:pPr marL="0" marR="0" lvl="0" indent="0" algn="just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457200" marR="0" lvl="0" indent="-457200" algn="l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68975AD-F99C-29F0-59B1-A6E08C37DF70}"/>
              </a:ext>
            </a:extLst>
          </p:cNvPr>
          <p:cNvSpPr/>
          <p:nvPr/>
        </p:nvSpPr>
        <p:spPr>
          <a:xfrm>
            <a:off x="8594353" y="736702"/>
            <a:ext cx="4114081" cy="207741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ilakuk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terhada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badan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usah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: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material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rodus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dan distributor)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ralat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mili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nyewa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, dan distributor/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ag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tungga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)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teknolog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;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05B4E64-252D-2926-B533-FEAEB08789AD}"/>
              </a:ext>
            </a:extLst>
          </p:cNvPr>
          <p:cNvSpPr/>
          <p:nvPr/>
        </p:nvSpPr>
        <p:spPr>
          <a:xfrm>
            <a:off x="6227436" y="2737854"/>
            <a:ext cx="4401266" cy="103899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memasti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egiat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usah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Jasa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yang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telah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ilaksana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sesua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eng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jenis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sifat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lasifika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, dan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layan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usah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yang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terter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alam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SBU</a:t>
            </a:r>
            <a:endParaRPr kumimoji="0" lang="en-ID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 SE" panose="03050602040202020205" pitchFamily="66" charset="77"/>
              <a:ea typeface="+mn-ea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AD0A5D3-2FC2-C66D-E5D1-E4B810C1FF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1544360" y="2810365"/>
            <a:ext cx="686301" cy="693809"/>
          </a:xfrm>
          <a:prstGeom prst="rect">
            <a:avLst/>
          </a:prstGeom>
        </p:spPr>
      </p:pic>
      <p:sp>
        <p:nvSpPr>
          <p:cNvPr id="11" name="Freeform: Shape 46">
            <a:extLst>
              <a:ext uri="{FF2B5EF4-FFF2-40B4-BE49-F238E27FC236}">
                <a16:creationId xmlns:a16="http://schemas.microsoft.com/office/drawing/2014/main" id="{634D1321-3D20-725B-1E62-4F58E00879A6}"/>
              </a:ext>
            </a:extLst>
          </p:cNvPr>
          <p:cNvSpPr/>
          <p:nvPr/>
        </p:nvSpPr>
        <p:spPr>
          <a:xfrm rot="10800000" flipH="1">
            <a:off x="1603291" y="5200051"/>
            <a:ext cx="5238202" cy="1691782"/>
          </a:xfrm>
          <a:custGeom>
            <a:avLst/>
            <a:gdLst>
              <a:gd name="connsiteX0" fmla="*/ 0 w 5431992"/>
              <a:gd name="connsiteY0" fmla="*/ 3727301 h 3727301"/>
              <a:gd name="connsiteX1" fmla="*/ 844165 w 5431992"/>
              <a:gd name="connsiteY1" fmla="*/ 3727301 h 3727301"/>
              <a:gd name="connsiteX2" fmla="*/ 891390 w 5431992"/>
              <a:gd name="connsiteY2" fmla="*/ 3727301 h 3727301"/>
              <a:gd name="connsiteX3" fmla="*/ 2371823 w 5431992"/>
              <a:gd name="connsiteY3" fmla="*/ 3727301 h 3727301"/>
              <a:gd name="connsiteX4" fmla="*/ 2754923 w 5431992"/>
              <a:gd name="connsiteY4" fmla="*/ 3727301 h 3727301"/>
              <a:gd name="connsiteX5" fmla="*/ 4157501 w 5431992"/>
              <a:gd name="connsiteY5" fmla="*/ 3727301 h 3727301"/>
              <a:gd name="connsiteX6" fmla="*/ 4540601 w 5431992"/>
              <a:gd name="connsiteY6" fmla="*/ 3727301 h 3727301"/>
              <a:gd name="connsiteX7" fmla="*/ 4540601 w 5431992"/>
              <a:gd name="connsiteY7" fmla="*/ 3726212 h 3727301"/>
              <a:gd name="connsiteX8" fmla="*/ 4540602 w 5431992"/>
              <a:gd name="connsiteY8" fmla="*/ 3726212 h 3727301"/>
              <a:gd name="connsiteX9" fmla="*/ 4540868 w 5431992"/>
              <a:gd name="connsiteY9" fmla="*/ 3726212 h 3727301"/>
              <a:gd name="connsiteX10" fmla="*/ 4552303 w 5431992"/>
              <a:gd name="connsiteY10" fmla="*/ 3726212 h 3727301"/>
              <a:gd name="connsiteX11" fmla="*/ 4587827 w 5431992"/>
              <a:gd name="connsiteY11" fmla="*/ 3726212 h 3727301"/>
              <a:gd name="connsiteX12" fmla="*/ 4587827 w 5431992"/>
              <a:gd name="connsiteY12" fmla="*/ 3723939 h 3727301"/>
              <a:gd name="connsiteX13" fmla="*/ 4626359 w 5431992"/>
              <a:gd name="connsiteY13" fmla="*/ 3722075 h 3727301"/>
              <a:gd name="connsiteX14" fmla="*/ 4629673 w 5431992"/>
              <a:gd name="connsiteY14" fmla="*/ 3721600 h 3727301"/>
              <a:gd name="connsiteX15" fmla="*/ 4631501 w 5431992"/>
              <a:gd name="connsiteY15" fmla="*/ 3721506 h 3727301"/>
              <a:gd name="connsiteX16" fmla="*/ 4648879 w 5431992"/>
              <a:gd name="connsiteY16" fmla="*/ 3718852 h 3727301"/>
              <a:gd name="connsiteX17" fmla="*/ 4704433 w 5431992"/>
              <a:gd name="connsiteY17" fmla="*/ 3710902 h 3727301"/>
              <a:gd name="connsiteX18" fmla="*/ 4710823 w 5431992"/>
              <a:gd name="connsiteY18" fmla="*/ 3709391 h 3727301"/>
              <a:gd name="connsiteX19" fmla="*/ 4714586 w 5431992"/>
              <a:gd name="connsiteY19" fmla="*/ 3708817 h 3727301"/>
              <a:gd name="connsiteX20" fmla="*/ 4734014 w 5431992"/>
              <a:gd name="connsiteY20" fmla="*/ 3703907 h 3727301"/>
              <a:gd name="connsiteX21" fmla="*/ 4780194 w 5431992"/>
              <a:gd name="connsiteY21" fmla="*/ 3692988 h 3727301"/>
              <a:gd name="connsiteX22" fmla="*/ 4789537 w 5431992"/>
              <a:gd name="connsiteY22" fmla="*/ 3689878 h 3727301"/>
              <a:gd name="connsiteX23" fmla="*/ 4794988 w 5431992"/>
              <a:gd name="connsiteY23" fmla="*/ 3688501 h 3727301"/>
              <a:gd name="connsiteX24" fmla="*/ 4813574 w 5431992"/>
              <a:gd name="connsiteY24" fmla="*/ 3681879 h 3727301"/>
              <a:gd name="connsiteX25" fmla="*/ 4853335 w 5431992"/>
              <a:gd name="connsiteY25" fmla="*/ 3668644 h 3727301"/>
              <a:gd name="connsiteX26" fmla="*/ 4865400 w 5431992"/>
              <a:gd name="connsiteY26" fmla="*/ 3663410 h 3727301"/>
              <a:gd name="connsiteX27" fmla="*/ 4872337 w 5431992"/>
              <a:gd name="connsiteY27" fmla="*/ 3660937 h 3727301"/>
              <a:gd name="connsiteX28" fmla="*/ 4889166 w 5431992"/>
              <a:gd name="connsiteY28" fmla="*/ 3653099 h 3727301"/>
              <a:gd name="connsiteX29" fmla="*/ 4923551 w 5431992"/>
              <a:gd name="connsiteY29" fmla="*/ 3638182 h 3727301"/>
              <a:gd name="connsiteX30" fmla="*/ 4938066 w 5431992"/>
              <a:gd name="connsiteY30" fmla="*/ 3630322 h 3727301"/>
              <a:gd name="connsiteX31" fmla="*/ 4946263 w 5431992"/>
              <a:gd name="connsiteY31" fmla="*/ 3626504 h 3727301"/>
              <a:gd name="connsiteX32" fmla="*/ 4960997 w 5431992"/>
              <a:gd name="connsiteY32" fmla="*/ 3617905 h 3727301"/>
              <a:gd name="connsiteX33" fmla="*/ 4990539 w 5431992"/>
              <a:gd name="connsiteY33" fmla="*/ 3601910 h 3727301"/>
              <a:gd name="connsiteX34" fmla="*/ 5007191 w 5431992"/>
              <a:gd name="connsiteY34" fmla="*/ 3590949 h 3727301"/>
              <a:gd name="connsiteX35" fmla="*/ 5016397 w 5431992"/>
              <a:gd name="connsiteY35" fmla="*/ 3585577 h 3727301"/>
              <a:gd name="connsiteX36" fmla="*/ 5028936 w 5431992"/>
              <a:gd name="connsiteY36" fmla="*/ 3576636 h 3727301"/>
              <a:gd name="connsiteX37" fmla="*/ 5053995 w 5431992"/>
              <a:gd name="connsiteY37" fmla="*/ 3560142 h 3727301"/>
              <a:gd name="connsiteX38" fmla="*/ 5072432 w 5431992"/>
              <a:gd name="connsiteY38" fmla="*/ 3545621 h 3727301"/>
              <a:gd name="connsiteX39" fmla="*/ 5082370 w 5431992"/>
              <a:gd name="connsiteY39" fmla="*/ 3538535 h 3727301"/>
              <a:gd name="connsiteX40" fmla="*/ 5092737 w 5431992"/>
              <a:gd name="connsiteY40" fmla="*/ 3529630 h 3727301"/>
              <a:gd name="connsiteX41" fmla="*/ 5113615 w 5431992"/>
              <a:gd name="connsiteY41" fmla="*/ 3513186 h 3727301"/>
              <a:gd name="connsiteX42" fmla="*/ 5133448 w 5431992"/>
              <a:gd name="connsiteY42" fmla="*/ 3494657 h 3727301"/>
              <a:gd name="connsiteX43" fmla="*/ 5143812 w 5431992"/>
              <a:gd name="connsiteY43" fmla="*/ 3485754 h 3727301"/>
              <a:gd name="connsiteX44" fmla="*/ 5152102 w 5431992"/>
              <a:gd name="connsiteY44" fmla="*/ 3477230 h 3727301"/>
              <a:gd name="connsiteX45" fmla="*/ 5169095 w 5431992"/>
              <a:gd name="connsiteY45" fmla="*/ 3461355 h 3727301"/>
              <a:gd name="connsiteX46" fmla="*/ 5189909 w 5431992"/>
              <a:gd name="connsiteY46" fmla="*/ 3438356 h 3727301"/>
              <a:gd name="connsiteX47" fmla="*/ 5200355 w 5431992"/>
              <a:gd name="connsiteY47" fmla="*/ 3427614 h 3727301"/>
              <a:gd name="connsiteX48" fmla="*/ 5206717 w 5431992"/>
              <a:gd name="connsiteY48" fmla="*/ 3419781 h 3727301"/>
              <a:gd name="connsiteX49" fmla="*/ 5220131 w 5431992"/>
              <a:gd name="connsiteY49" fmla="*/ 3404959 h 3727301"/>
              <a:gd name="connsiteX50" fmla="*/ 5241486 w 5431992"/>
              <a:gd name="connsiteY50" fmla="*/ 3376975 h 3727301"/>
              <a:gd name="connsiteX51" fmla="*/ 5251629 w 5431992"/>
              <a:gd name="connsiteY51" fmla="*/ 3364490 h 3727301"/>
              <a:gd name="connsiteX52" fmla="*/ 5256249 w 5431992"/>
              <a:gd name="connsiteY52" fmla="*/ 3357632 h 3727301"/>
              <a:gd name="connsiteX53" fmla="*/ 5266418 w 5431992"/>
              <a:gd name="connsiteY53" fmla="*/ 3344309 h 3727301"/>
              <a:gd name="connsiteX54" fmla="*/ 5287884 w 5431992"/>
              <a:gd name="connsiteY54" fmla="*/ 3310683 h 3727301"/>
              <a:gd name="connsiteX55" fmla="*/ 5297265 w 5431992"/>
              <a:gd name="connsiteY55" fmla="*/ 3296759 h 3727301"/>
              <a:gd name="connsiteX56" fmla="*/ 5300364 w 5431992"/>
              <a:gd name="connsiteY56" fmla="*/ 3291135 h 3727301"/>
              <a:gd name="connsiteX57" fmla="*/ 5307652 w 5431992"/>
              <a:gd name="connsiteY57" fmla="*/ 3279716 h 3727301"/>
              <a:gd name="connsiteX58" fmla="*/ 5328841 w 5431992"/>
              <a:gd name="connsiteY58" fmla="*/ 3239424 h 3727301"/>
              <a:gd name="connsiteX59" fmla="*/ 5336893 w 5431992"/>
              <a:gd name="connsiteY59" fmla="*/ 3224802 h 3727301"/>
              <a:gd name="connsiteX60" fmla="*/ 5338719 w 5431992"/>
              <a:gd name="connsiteY60" fmla="*/ 3220638 h 3727301"/>
              <a:gd name="connsiteX61" fmla="*/ 5343530 w 5431992"/>
              <a:gd name="connsiteY61" fmla="*/ 3211490 h 3727301"/>
              <a:gd name="connsiteX62" fmla="*/ 5364233 w 5431992"/>
              <a:gd name="connsiteY62" fmla="*/ 3162469 h 3727301"/>
              <a:gd name="connsiteX63" fmla="*/ 5370144 w 5431992"/>
              <a:gd name="connsiteY63" fmla="*/ 3148994 h 3727301"/>
              <a:gd name="connsiteX64" fmla="*/ 5370977 w 5431992"/>
              <a:gd name="connsiteY64" fmla="*/ 3146500 h 3727301"/>
              <a:gd name="connsiteX65" fmla="*/ 5373748 w 5431992"/>
              <a:gd name="connsiteY65" fmla="*/ 3139941 h 3727301"/>
              <a:gd name="connsiteX66" fmla="*/ 5394531 w 5431992"/>
              <a:gd name="connsiteY66" fmla="*/ 3076045 h 3727301"/>
              <a:gd name="connsiteX67" fmla="*/ 5396648 w 5431992"/>
              <a:gd name="connsiteY67" fmla="*/ 3069712 h 3727301"/>
              <a:gd name="connsiteX68" fmla="*/ 5396798 w 5431992"/>
              <a:gd name="connsiteY68" fmla="*/ 3069075 h 3727301"/>
              <a:gd name="connsiteX69" fmla="*/ 5397999 w 5431992"/>
              <a:gd name="connsiteY69" fmla="*/ 3065384 h 3727301"/>
              <a:gd name="connsiteX70" fmla="*/ 5427392 w 5431992"/>
              <a:gd name="connsiteY70" fmla="*/ 2908479 h 3727301"/>
              <a:gd name="connsiteX71" fmla="*/ 5427567 w 5431992"/>
              <a:gd name="connsiteY71" fmla="*/ 2904915 h 3727301"/>
              <a:gd name="connsiteX72" fmla="*/ 5427942 w 5431992"/>
              <a:gd name="connsiteY72" fmla="*/ 2902239 h 3727301"/>
              <a:gd name="connsiteX73" fmla="*/ 5429984 w 5431992"/>
              <a:gd name="connsiteY73" fmla="*/ 2858141 h 3727301"/>
              <a:gd name="connsiteX74" fmla="*/ 5431992 w 5431992"/>
              <a:gd name="connsiteY74" fmla="*/ 2858141 h 3727301"/>
              <a:gd name="connsiteX75" fmla="*/ 5431992 w 5431992"/>
              <a:gd name="connsiteY75" fmla="*/ 2815358 h 3727301"/>
              <a:gd name="connsiteX76" fmla="*/ 5431992 w 5431992"/>
              <a:gd name="connsiteY76" fmla="*/ 2815349 h 3727301"/>
              <a:gd name="connsiteX77" fmla="*/ 5431992 w 5431992"/>
              <a:gd name="connsiteY77" fmla="*/ 2815340 h 3727301"/>
              <a:gd name="connsiteX78" fmla="*/ 5431992 w 5431992"/>
              <a:gd name="connsiteY78" fmla="*/ 2814803 h 3727301"/>
              <a:gd name="connsiteX79" fmla="*/ 5431992 w 5431992"/>
              <a:gd name="connsiteY79" fmla="*/ 2806157 h 3727301"/>
              <a:gd name="connsiteX80" fmla="*/ 5431992 w 5431992"/>
              <a:gd name="connsiteY80" fmla="*/ 2439693 h 3727301"/>
              <a:gd name="connsiteX81" fmla="*/ 5431992 w 5431992"/>
              <a:gd name="connsiteY81" fmla="*/ 2396910 h 3727301"/>
              <a:gd name="connsiteX82" fmla="*/ 5431992 w 5431992"/>
              <a:gd name="connsiteY82" fmla="*/ 2396901 h 3727301"/>
              <a:gd name="connsiteX83" fmla="*/ 5431992 w 5431992"/>
              <a:gd name="connsiteY83" fmla="*/ 2396892 h 3727301"/>
              <a:gd name="connsiteX84" fmla="*/ 5431992 w 5431992"/>
              <a:gd name="connsiteY84" fmla="*/ 2396355 h 3727301"/>
              <a:gd name="connsiteX85" fmla="*/ 5431992 w 5431992"/>
              <a:gd name="connsiteY85" fmla="*/ 2387709 h 3727301"/>
              <a:gd name="connsiteX86" fmla="*/ 5431992 w 5431992"/>
              <a:gd name="connsiteY86" fmla="*/ 2251532 h 3727301"/>
              <a:gd name="connsiteX87" fmla="*/ 5431992 w 5431992"/>
              <a:gd name="connsiteY87" fmla="*/ 1894207 h 3727301"/>
              <a:gd name="connsiteX88" fmla="*/ 5431992 w 5431992"/>
              <a:gd name="connsiteY88" fmla="*/ 1833084 h 3727301"/>
              <a:gd name="connsiteX89" fmla="*/ 5431992 w 5431992"/>
              <a:gd name="connsiteY89" fmla="*/ 1475759 h 3727301"/>
              <a:gd name="connsiteX90" fmla="*/ 5431992 w 5431992"/>
              <a:gd name="connsiteY90" fmla="*/ 1330390 h 3727301"/>
              <a:gd name="connsiteX91" fmla="*/ 5431992 w 5431992"/>
              <a:gd name="connsiteY91" fmla="*/ 911942 h 3727301"/>
              <a:gd name="connsiteX92" fmla="*/ 5431992 w 5431992"/>
              <a:gd name="connsiteY92" fmla="*/ 418448 h 3727301"/>
              <a:gd name="connsiteX93" fmla="*/ 5431992 w 5431992"/>
              <a:gd name="connsiteY93" fmla="*/ 0 h 3727301"/>
              <a:gd name="connsiteX94" fmla="*/ 4587827 w 5431992"/>
              <a:gd name="connsiteY94" fmla="*/ 0 h 3727301"/>
              <a:gd name="connsiteX95" fmla="*/ 4540602 w 5431992"/>
              <a:gd name="connsiteY95" fmla="*/ 0 h 3727301"/>
              <a:gd name="connsiteX96" fmla="*/ 3646314 w 5431992"/>
              <a:gd name="connsiteY96" fmla="*/ 0 h 3727301"/>
              <a:gd name="connsiteX97" fmla="*/ 3060170 w 5431992"/>
              <a:gd name="connsiteY97" fmla="*/ 0 h 3727301"/>
              <a:gd name="connsiteX98" fmla="*/ 2802149 w 5431992"/>
              <a:gd name="connsiteY98" fmla="*/ 0 h 3727301"/>
              <a:gd name="connsiteX99" fmla="*/ 2754924 w 5431992"/>
              <a:gd name="connsiteY99" fmla="*/ 0 h 3727301"/>
              <a:gd name="connsiteX100" fmla="*/ 2677069 w 5431992"/>
              <a:gd name="connsiteY100" fmla="*/ 0 h 3727301"/>
              <a:gd name="connsiteX101" fmla="*/ 1274492 w 5431992"/>
              <a:gd name="connsiteY101" fmla="*/ 0 h 3727301"/>
              <a:gd name="connsiteX102" fmla="*/ 891391 w 5431992"/>
              <a:gd name="connsiteY102" fmla="*/ 0 h 3727301"/>
              <a:gd name="connsiteX103" fmla="*/ 891391 w 5431992"/>
              <a:gd name="connsiteY103" fmla="*/ 1089 h 3727301"/>
              <a:gd name="connsiteX104" fmla="*/ 891390 w 5431992"/>
              <a:gd name="connsiteY104" fmla="*/ 1089 h 3727301"/>
              <a:gd name="connsiteX105" fmla="*/ 891124 w 5431992"/>
              <a:gd name="connsiteY105" fmla="*/ 1089 h 3727301"/>
              <a:gd name="connsiteX106" fmla="*/ 879689 w 5431992"/>
              <a:gd name="connsiteY106" fmla="*/ 1089 h 3727301"/>
              <a:gd name="connsiteX107" fmla="*/ 844165 w 5431992"/>
              <a:gd name="connsiteY107" fmla="*/ 1089 h 3727301"/>
              <a:gd name="connsiteX108" fmla="*/ 844165 w 5431992"/>
              <a:gd name="connsiteY108" fmla="*/ 3362 h 3727301"/>
              <a:gd name="connsiteX109" fmla="*/ 805634 w 5431992"/>
              <a:gd name="connsiteY109" fmla="*/ 5226 h 3727301"/>
              <a:gd name="connsiteX110" fmla="*/ 802321 w 5431992"/>
              <a:gd name="connsiteY110" fmla="*/ 5701 h 3727301"/>
              <a:gd name="connsiteX111" fmla="*/ 800491 w 5431992"/>
              <a:gd name="connsiteY111" fmla="*/ 5795 h 3727301"/>
              <a:gd name="connsiteX112" fmla="*/ 783113 w 5431992"/>
              <a:gd name="connsiteY112" fmla="*/ 8449 h 3727301"/>
              <a:gd name="connsiteX113" fmla="*/ 727559 w 5431992"/>
              <a:gd name="connsiteY113" fmla="*/ 16399 h 3727301"/>
              <a:gd name="connsiteX114" fmla="*/ 721169 w 5431992"/>
              <a:gd name="connsiteY114" fmla="*/ 17910 h 3727301"/>
              <a:gd name="connsiteX115" fmla="*/ 717406 w 5431992"/>
              <a:gd name="connsiteY115" fmla="*/ 18484 h 3727301"/>
              <a:gd name="connsiteX116" fmla="*/ 697980 w 5431992"/>
              <a:gd name="connsiteY116" fmla="*/ 23394 h 3727301"/>
              <a:gd name="connsiteX117" fmla="*/ 651798 w 5431992"/>
              <a:gd name="connsiteY117" fmla="*/ 34313 h 3727301"/>
              <a:gd name="connsiteX118" fmla="*/ 642455 w 5431992"/>
              <a:gd name="connsiteY118" fmla="*/ 37423 h 3727301"/>
              <a:gd name="connsiteX119" fmla="*/ 637004 w 5431992"/>
              <a:gd name="connsiteY119" fmla="*/ 38800 h 3727301"/>
              <a:gd name="connsiteX120" fmla="*/ 618418 w 5431992"/>
              <a:gd name="connsiteY120" fmla="*/ 45422 h 3727301"/>
              <a:gd name="connsiteX121" fmla="*/ 578659 w 5431992"/>
              <a:gd name="connsiteY121" fmla="*/ 58657 h 3727301"/>
              <a:gd name="connsiteX122" fmla="*/ 566594 w 5431992"/>
              <a:gd name="connsiteY122" fmla="*/ 63891 h 3727301"/>
              <a:gd name="connsiteX123" fmla="*/ 559656 w 5431992"/>
              <a:gd name="connsiteY123" fmla="*/ 66364 h 3727301"/>
              <a:gd name="connsiteX124" fmla="*/ 542827 w 5431992"/>
              <a:gd name="connsiteY124" fmla="*/ 74202 h 3727301"/>
              <a:gd name="connsiteX125" fmla="*/ 508443 w 5431992"/>
              <a:gd name="connsiteY125" fmla="*/ 89119 h 3727301"/>
              <a:gd name="connsiteX126" fmla="*/ 493927 w 5431992"/>
              <a:gd name="connsiteY126" fmla="*/ 96979 h 3727301"/>
              <a:gd name="connsiteX127" fmla="*/ 485730 w 5431992"/>
              <a:gd name="connsiteY127" fmla="*/ 100797 h 3727301"/>
              <a:gd name="connsiteX128" fmla="*/ 470995 w 5431992"/>
              <a:gd name="connsiteY128" fmla="*/ 109396 h 3727301"/>
              <a:gd name="connsiteX129" fmla="*/ 441454 w 5431992"/>
              <a:gd name="connsiteY129" fmla="*/ 125391 h 3727301"/>
              <a:gd name="connsiteX130" fmla="*/ 424802 w 5431992"/>
              <a:gd name="connsiteY130" fmla="*/ 136352 h 3727301"/>
              <a:gd name="connsiteX131" fmla="*/ 415596 w 5431992"/>
              <a:gd name="connsiteY131" fmla="*/ 141724 h 3727301"/>
              <a:gd name="connsiteX132" fmla="*/ 403056 w 5431992"/>
              <a:gd name="connsiteY132" fmla="*/ 150665 h 3727301"/>
              <a:gd name="connsiteX133" fmla="*/ 377997 w 5431992"/>
              <a:gd name="connsiteY133" fmla="*/ 167159 h 3727301"/>
              <a:gd name="connsiteX134" fmla="*/ 359561 w 5431992"/>
              <a:gd name="connsiteY134" fmla="*/ 181680 h 3727301"/>
              <a:gd name="connsiteX135" fmla="*/ 349622 w 5431992"/>
              <a:gd name="connsiteY135" fmla="*/ 188766 h 3727301"/>
              <a:gd name="connsiteX136" fmla="*/ 339257 w 5431992"/>
              <a:gd name="connsiteY136" fmla="*/ 197671 h 3727301"/>
              <a:gd name="connsiteX137" fmla="*/ 318377 w 5431992"/>
              <a:gd name="connsiteY137" fmla="*/ 214115 h 3727301"/>
              <a:gd name="connsiteX138" fmla="*/ 298544 w 5431992"/>
              <a:gd name="connsiteY138" fmla="*/ 232644 h 3727301"/>
              <a:gd name="connsiteX139" fmla="*/ 288180 w 5431992"/>
              <a:gd name="connsiteY139" fmla="*/ 241547 h 3727301"/>
              <a:gd name="connsiteX140" fmla="*/ 279890 w 5431992"/>
              <a:gd name="connsiteY140" fmla="*/ 250071 h 3727301"/>
              <a:gd name="connsiteX141" fmla="*/ 262898 w 5431992"/>
              <a:gd name="connsiteY141" fmla="*/ 265946 h 3727301"/>
              <a:gd name="connsiteX142" fmla="*/ 242085 w 5431992"/>
              <a:gd name="connsiteY142" fmla="*/ 288944 h 3727301"/>
              <a:gd name="connsiteX143" fmla="*/ 231637 w 5431992"/>
              <a:gd name="connsiteY143" fmla="*/ 299687 h 3727301"/>
              <a:gd name="connsiteX144" fmla="*/ 225275 w 5431992"/>
              <a:gd name="connsiteY144" fmla="*/ 307520 h 3727301"/>
              <a:gd name="connsiteX145" fmla="*/ 211862 w 5431992"/>
              <a:gd name="connsiteY145" fmla="*/ 322342 h 3727301"/>
              <a:gd name="connsiteX146" fmla="*/ 190506 w 5431992"/>
              <a:gd name="connsiteY146" fmla="*/ 350326 h 3727301"/>
              <a:gd name="connsiteX147" fmla="*/ 180363 w 5431992"/>
              <a:gd name="connsiteY147" fmla="*/ 362811 h 3727301"/>
              <a:gd name="connsiteX148" fmla="*/ 175743 w 5431992"/>
              <a:gd name="connsiteY148" fmla="*/ 369669 h 3727301"/>
              <a:gd name="connsiteX149" fmla="*/ 165574 w 5431992"/>
              <a:gd name="connsiteY149" fmla="*/ 382992 h 3727301"/>
              <a:gd name="connsiteX150" fmla="*/ 144110 w 5431992"/>
              <a:gd name="connsiteY150" fmla="*/ 416618 h 3727301"/>
              <a:gd name="connsiteX151" fmla="*/ 134728 w 5431992"/>
              <a:gd name="connsiteY151" fmla="*/ 430542 h 3727301"/>
              <a:gd name="connsiteX152" fmla="*/ 131630 w 5431992"/>
              <a:gd name="connsiteY152" fmla="*/ 436167 h 3727301"/>
              <a:gd name="connsiteX153" fmla="*/ 124340 w 5431992"/>
              <a:gd name="connsiteY153" fmla="*/ 447585 h 3727301"/>
              <a:gd name="connsiteX154" fmla="*/ 103153 w 5431992"/>
              <a:gd name="connsiteY154" fmla="*/ 487877 h 3727301"/>
              <a:gd name="connsiteX155" fmla="*/ 95100 w 5431992"/>
              <a:gd name="connsiteY155" fmla="*/ 502499 h 3727301"/>
              <a:gd name="connsiteX156" fmla="*/ 93274 w 5431992"/>
              <a:gd name="connsiteY156" fmla="*/ 506663 h 3727301"/>
              <a:gd name="connsiteX157" fmla="*/ 88463 w 5431992"/>
              <a:gd name="connsiteY157" fmla="*/ 515811 h 3727301"/>
              <a:gd name="connsiteX158" fmla="*/ 67759 w 5431992"/>
              <a:gd name="connsiteY158" fmla="*/ 564832 h 3727301"/>
              <a:gd name="connsiteX159" fmla="*/ 61850 w 5431992"/>
              <a:gd name="connsiteY159" fmla="*/ 578307 h 3727301"/>
              <a:gd name="connsiteX160" fmla="*/ 61016 w 5431992"/>
              <a:gd name="connsiteY160" fmla="*/ 580801 h 3727301"/>
              <a:gd name="connsiteX161" fmla="*/ 58246 w 5431992"/>
              <a:gd name="connsiteY161" fmla="*/ 587360 h 3727301"/>
              <a:gd name="connsiteX162" fmla="*/ 37462 w 5431992"/>
              <a:gd name="connsiteY162" fmla="*/ 651256 h 3727301"/>
              <a:gd name="connsiteX163" fmla="*/ 35344 w 5431992"/>
              <a:gd name="connsiteY163" fmla="*/ 657589 h 3727301"/>
              <a:gd name="connsiteX164" fmla="*/ 35195 w 5431992"/>
              <a:gd name="connsiteY164" fmla="*/ 658226 h 3727301"/>
              <a:gd name="connsiteX165" fmla="*/ 33994 w 5431992"/>
              <a:gd name="connsiteY165" fmla="*/ 661917 h 3727301"/>
              <a:gd name="connsiteX166" fmla="*/ 4602 w 5431992"/>
              <a:gd name="connsiteY166" fmla="*/ 818822 h 3727301"/>
              <a:gd name="connsiteX167" fmla="*/ 4426 w 5431992"/>
              <a:gd name="connsiteY167" fmla="*/ 822387 h 3727301"/>
              <a:gd name="connsiteX168" fmla="*/ 4051 w 5431992"/>
              <a:gd name="connsiteY168" fmla="*/ 825062 h 3727301"/>
              <a:gd name="connsiteX169" fmla="*/ 2008 w 5431992"/>
              <a:gd name="connsiteY169" fmla="*/ 869160 h 3727301"/>
              <a:gd name="connsiteX170" fmla="*/ 1 w 5431992"/>
              <a:gd name="connsiteY170" fmla="*/ 869160 h 3727301"/>
              <a:gd name="connsiteX171" fmla="*/ 1 w 5431992"/>
              <a:gd name="connsiteY171" fmla="*/ 911944 h 3727301"/>
              <a:gd name="connsiteX172" fmla="*/ 0 w 5431992"/>
              <a:gd name="connsiteY172" fmla="*/ 911952 h 3727301"/>
              <a:gd name="connsiteX173" fmla="*/ 1 w 5431992"/>
              <a:gd name="connsiteY173" fmla="*/ 911961 h 3727301"/>
              <a:gd name="connsiteX174" fmla="*/ 1 w 5431992"/>
              <a:gd name="connsiteY174" fmla="*/ 912498 h 3727301"/>
              <a:gd name="connsiteX175" fmla="*/ 1 w 5431992"/>
              <a:gd name="connsiteY175" fmla="*/ 921144 h 3727301"/>
              <a:gd name="connsiteX176" fmla="*/ 0 w 5431992"/>
              <a:gd name="connsiteY176" fmla="*/ 921144 h 3727301"/>
              <a:gd name="connsiteX177" fmla="*/ 0 w 5431992"/>
              <a:gd name="connsiteY177" fmla="*/ 1330400 h 3727301"/>
              <a:gd name="connsiteX178" fmla="*/ 0 w 5431992"/>
              <a:gd name="connsiteY178" fmla="*/ 1339592 h 3727301"/>
              <a:gd name="connsiteX179" fmla="*/ 0 w 5431992"/>
              <a:gd name="connsiteY179" fmla="*/ 1475768 h 3727301"/>
              <a:gd name="connsiteX180" fmla="*/ 0 w 5431992"/>
              <a:gd name="connsiteY180" fmla="*/ 1475769 h 3727301"/>
              <a:gd name="connsiteX181" fmla="*/ 0 w 5431992"/>
              <a:gd name="connsiteY181" fmla="*/ 1475770 h 3727301"/>
              <a:gd name="connsiteX182" fmla="*/ 0 w 5431992"/>
              <a:gd name="connsiteY182" fmla="*/ 1833095 h 3727301"/>
              <a:gd name="connsiteX183" fmla="*/ 0 w 5431992"/>
              <a:gd name="connsiteY183" fmla="*/ 1894216 h 3727301"/>
              <a:gd name="connsiteX184" fmla="*/ 0 w 5431992"/>
              <a:gd name="connsiteY184" fmla="*/ 1894217 h 3727301"/>
              <a:gd name="connsiteX185" fmla="*/ 0 w 5431992"/>
              <a:gd name="connsiteY185" fmla="*/ 1894218 h 3727301"/>
              <a:gd name="connsiteX186" fmla="*/ 0 w 5431992"/>
              <a:gd name="connsiteY186" fmla="*/ 2251543 h 3727301"/>
              <a:gd name="connsiteX187" fmla="*/ 0 w 5431992"/>
              <a:gd name="connsiteY187" fmla="*/ 2396911 h 3727301"/>
              <a:gd name="connsiteX188" fmla="*/ 0 w 5431992"/>
              <a:gd name="connsiteY188" fmla="*/ 2815359 h 3727301"/>
              <a:gd name="connsiteX189" fmla="*/ 0 w 5431992"/>
              <a:gd name="connsiteY189" fmla="*/ 3308853 h 3727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431992" h="3727301">
                <a:moveTo>
                  <a:pt x="0" y="3727301"/>
                </a:moveTo>
                <a:lnTo>
                  <a:pt x="844165" y="3727301"/>
                </a:lnTo>
                <a:lnTo>
                  <a:pt x="891390" y="3727301"/>
                </a:lnTo>
                <a:lnTo>
                  <a:pt x="2371823" y="3727301"/>
                </a:lnTo>
                <a:lnTo>
                  <a:pt x="2754923" y="3727301"/>
                </a:lnTo>
                <a:lnTo>
                  <a:pt x="4157501" y="3727301"/>
                </a:lnTo>
                <a:lnTo>
                  <a:pt x="4540601" y="3727301"/>
                </a:lnTo>
                <a:lnTo>
                  <a:pt x="4540601" y="3726212"/>
                </a:lnTo>
                <a:lnTo>
                  <a:pt x="4540602" y="3726212"/>
                </a:lnTo>
                <a:lnTo>
                  <a:pt x="4540868" y="3726212"/>
                </a:lnTo>
                <a:lnTo>
                  <a:pt x="4552303" y="3726212"/>
                </a:lnTo>
                <a:lnTo>
                  <a:pt x="4587827" y="3726212"/>
                </a:lnTo>
                <a:lnTo>
                  <a:pt x="4587827" y="3723939"/>
                </a:lnTo>
                <a:lnTo>
                  <a:pt x="4626359" y="3722075"/>
                </a:lnTo>
                <a:lnTo>
                  <a:pt x="4629673" y="3721600"/>
                </a:lnTo>
                <a:lnTo>
                  <a:pt x="4631501" y="3721506"/>
                </a:lnTo>
                <a:lnTo>
                  <a:pt x="4648879" y="3718852"/>
                </a:lnTo>
                <a:lnTo>
                  <a:pt x="4704433" y="3710902"/>
                </a:lnTo>
                <a:lnTo>
                  <a:pt x="4710823" y="3709391"/>
                </a:lnTo>
                <a:lnTo>
                  <a:pt x="4714586" y="3708817"/>
                </a:lnTo>
                <a:lnTo>
                  <a:pt x="4734014" y="3703907"/>
                </a:lnTo>
                <a:lnTo>
                  <a:pt x="4780194" y="3692988"/>
                </a:lnTo>
                <a:lnTo>
                  <a:pt x="4789537" y="3689878"/>
                </a:lnTo>
                <a:lnTo>
                  <a:pt x="4794988" y="3688501"/>
                </a:lnTo>
                <a:lnTo>
                  <a:pt x="4813574" y="3681879"/>
                </a:lnTo>
                <a:lnTo>
                  <a:pt x="4853335" y="3668644"/>
                </a:lnTo>
                <a:lnTo>
                  <a:pt x="4865400" y="3663410"/>
                </a:lnTo>
                <a:lnTo>
                  <a:pt x="4872337" y="3660937"/>
                </a:lnTo>
                <a:lnTo>
                  <a:pt x="4889166" y="3653099"/>
                </a:lnTo>
                <a:lnTo>
                  <a:pt x="4923551" y="3638182"/>
                </a:lnTo>
                <a:lnTo>
                  <a:pt x="4938066" y="3630322"/>
                </a:lnTo>
                <a:lnTo>
                  <a:pt x="4946263" y="3626504"/>
                </a:lnTo>
                <a:lnTo>
                  <a:pt x="4960997" y="3617905"/>
                </a:lnTo>
                <a:lnTo>
                  <a:pt x="4990539" y="3601910"/>
                </a:lnTo>
                <a:lnTo>
                  <a:pt x="5007191" y="3590949"/>
                </a:lnTo>
                <a:lnTo>
                  <a:pt x="5016397" y="3585577"/>
                </a:lnTo>
                <a:lnTo>
                  <a:pt x="5028936" y="3576636"/>
                </a:lnTo>
                <a:lnTo>
                  <a:pt x="5053995" y="3560142"/>
                </a:lnTo>
                <a:lnTo>
                  <a:pt x="5072432" y="3545621"/>
                </a:lnTo>
                <a:lnTo>
                  <a:pt x="5082370" y="3538535"/>
                </a:lnTo>
                <a:lnTo>
                  <a:pt x="5092737" y="3529630"/>
                </a:lnTo>
                <a:lnTo>
                  <a:pt x="5113615" y="3513186"/>
                </a:lnTo>
                <a:lnTo>
                  <a:pt x="5133448" y="3494657"/>
                </a:lnTo>
                <a:lnTo>
                  <a:pt x="5143812" y="3485754"/>
                </a:lnTo>
                <a:lnTo>
                  <a:pt x="5152102" y="3477230"/>
                </a:lnTo>
                <a:lnTo>
                  <a:pt x="5169095" y="3461355"/>
                </a:lnTo>
                <a:lnTo>
                  <a:pt x="5189909" y="3438356"/>
                </a:lnTo>
                <a:lnTo>
                  <a:pt x="5200355" y="3427614"/>
                </a:lnTo>
                <a:lnTo>
                  <a:pt x="5206717" y="3419781"/>
                </a:lnTo>
                <a:lnTo>
                  <a:pt x="5220131" y="3404959"/>
                </a:lnTo>
                <a:lnTo>
                  <a:pt x="5241486" y="3376975"/>
                </a:lnTo>
                <a:lnTo>
                  <a:pt x="5251629" y="3364490"/>
                </a:lnTo>
                <a:lnTo>
                  <a:pt x="5256249" y="3357632"/>
                </a:lnTo>
                <a:lnTo>
                  <a:pt x="5266418" y="3344309"/>
                </a:lnTo>
                <a:lnTo>
                  <a:pt x="5287884" y="3310683"/>
                </a:lnTo>
                <a:lnTo>
                  <a:pt x="5297265" y="3296759"/>
                </a:lnTo>
                <a:lnTo>
                  <a:pt x="5300364" y="3291135"/>
                </a:lnTo>
                <a:lnTo>
                  <a:pt x="5307652" y="3279716"/>
                </a:lnTo>
                <a:lnTo>
                  <a:pt x="5328841" y="3239424"/>
                </a:lnTo>
                <a:lnTo>
                  <a:pt x="5336893" y="3224802"/>
                </a:lnTo>
                <a:lnTo>
                  <a:pt x="5338719" y="3220638"/>
                </a:lnTo>
                <a:lnTo>
                  <a:pt x="5343530" y="3211490"/>
                </a:lnTo>
                <a:lnTo>
                  <a:pt x="5364233" y="3162469"/>
                </a:lnTo>
                <a:lnTo>
                  <a:pt x="5370144" y="3148994"/>
                </a:lnTo>
                <a:lnTo>
                  <a:pt x="5370977" y="3146500"/>
                </a:lnTo>
                <a:lnTo>
                  <a:pt x="5373748" y="3139941"/>
                </a:lnTo>
                <a:lnTo>
                  <a:pt x="5394531" y="3076045"/>
                </a:lnTo>
                <a:lnTo>
                  <a:pt x="5396648" y="3069712"/>
                </a:lnTo>
                <a:lnTo>
                  <a:pt x="5396798" y="3069075"/>
                </a:lnTo>
                <a:lnTo>
                  <a:pt x="5397999" y="3065384"/>
                </a:lnTo>
                <a:cubicBezTo>
                  <a:pt x="5412111" y="3014743"/>
                  <a:pt x="5422044" y="2962304"/>
                  <a:pt x="5427392" y="2908479"/>
                </a:cubicBezTo>
                <a:lnTo>
                  <a:pt x="5427567" y="2904915"/>
                </a:lnTo>
                <a:lnTo>
                  <a:pt x="5427942" y="2902239"/>
                </a:lnTo>
                <a:lnTo>
                  <a:pt x="5429984" y="2858141"/>
                </a:lnTo>
                <a:lnTo>
                  <a:pt x="5431992" y="2858141"/>
                </a:lnTo>
                <a:lnTo>
                  <a:pt x="5431992" y="2815358"/>
                </a:lnTo>
                <a:lnTo>
                  <a:pt x="5431992" y="2815349"/>
                </a:lnTo>
                <a:lnTo>
                  <a:pt x="5431992" y="2815340"/>
                </a:lnTo>
                <a:lnTo>
                  <a:pt x="5431992" y="2814803"/>
                </a:lnTo>
                <a:lnTo>
                  <a:pt x="5431992" y="2806157"/>
                </a:lnTo>
                <a:lnTo>
                  <a:pt x="5431992" y="2439693"/>
                </a:lnTo>
                <a:lnTo>
                  <a:pt x="5431992" y="2396910"/>
                </a:lnTo>
                <a:lnTo>
                  <a:pt x="5431992" y="2396901"/>
                </a:lnTo>
                <a:lnTo>
                  <a:pt x="5431992" y="2396892"/>
                </a:lnTo>
                <a:lnTo>
                  <a:pt x="5431992" y="2396355"/>
                </a:lnTo>
                <a:lnTo>
                  <a:pt x="5431992" y="2387709"/>
                </a:lnTo>
                <a:lnTo>
                  <a:pt x="5431992" y="2251532"/>
                </a:lnTo>
                <a:lnTo>
                  <a:pt x="5431992" y="1894207"/>
                </a:lnTo>
                <a:lnTo>
                  <a:pt x="5431992" y="1833084"/>
                </a:lnTo>
                <a:lnTo>
                  <a:pt x="5431992" y="1475759"/>
                </a:lnTo>
                <a:lnTo>
                  <a:pt x="5431992" y="1330390"/>
                </a:lnTo>
                <a:lnTo>
                  <a:pt x="5431992" y="911942"/>
                </a:lnTo>
                <a:lnTo>
                  <a:pt x="5431992" y="418448"/>
                </a:lnTo>
                <a:lnTo>
                  <a:pt x="5431992" y="0"/>
                </a:lnTo>
                <a:lnTo>
                  <a:pt x="4587827" y="0"/>
                </a:lnTo>
                <a:lnTo>
                  <a:pt x="4540602" y="0"/>
                </a:lnTo>
                <a:lnTo>
                  <a:pt x="3646314" y="0"/>
                </a:lnTo>
                <a:lnTo>
                  <a:pt x="3060170" y="0"/>
                </a:lnTo>
                <a:lnTo>
                  <a:pt x="2802149" y="0"/>
                </a:lnTo>
                <a:lnTo>
                  <a:pt x="2754924" y="0"/>
                </a:lnTo>
                <a:lnTo>
                  <a:pt x="2677069" y="0"/>
                </a:lnTo>
                <a:lnTo>
                  <a:pt x="1274492" y="0"/>
                </a:lnTo>
                <a:lnTo>
                  <a:pt x="891391" y="0"/>
                </a:lnTo>
                <a:lnTo>
                  <a:pt x="891391" y="1089"/>
                </a:lnTo>
                <a:lnTo>
                  <a:pt x="891390" y="1089"/>
                </a:lnTo>
                <a:lnTo>
                  <a:pt x="891124" y="1089"/>
                </a:lnTo>
                <a:lnTo>
                  <a:pt x="879689" y="1089"/>
                </a:lnTo>
                <a:lnTo>
                  <a:pt x="844165" y="1089"/>
                </a:lnTo>
                <a:lnTo>
                  <a:pt x="844165" y="3362"/>
                </a:lnTo>
                <a:lnTo>
                  <a:pt x="805634" y="5226"/>
                </a:lnTo>
                <a:lnTo>
                  <a:pt x="802321" y="5701"/>
                </a:lnTo>
                <a:lnTo>
                  <a:pt x="800491" y="5795"/>
                </a:lnTo>
                <a:lnTo>
                  <a:pt x="783113" y="8449"/>
                </a:lnTo>
                <a:lnTo>
                  <a:pt x="727559" y="16399"/>
                </a:lnTo>
                <a:lnTo>
                  <a:pt x="721169" y="17910"/>
                </a:lnTo>
                <a:lnTo>
                  <a:pt x="717406" y="18484"/>
                </a:lnTo>
                <a:lnTo>
                  <a:pt x="697980" y="23394"/>
                </a:lnTo>
                <a:lnTo>
                  <a:pt x="651798" y="34313"/>
                </a:lnTo>
                <a:lnTo>
                  <a:pt x="642455" y="37423"/>
                </a:lnTo>
                <a:lnTo>
                  <a:pt x="637004" y="38800"/>
                </a:lnTo>
                <a:lnTo>
                  <a:pt x="618418" y="45422"/>
                </a:lnTo>
                <a:lnTo>
                  <a:pt x="578659" y="58657"/>
                </a:lnTo>
                <a:lnTo>
                  <a:pt x="566594" y="63891"/>
                </a:lnTo>
                <a:lnTo>
                  <a:pt x="559656" y="66364"/>
                </a:lnTo>
                <a:lnTo>
                  <a:pt x="542827" y="74202"/>
                </a:lnTo>
                <a:lnTo>
                  <a:pt x="508443" y="89119"/>
                </a:lnTo>
                <a:lnTo>
                  <a:pt x="493927" y="96979"/>
                </a:lnTo>
                <a:lnTo>
                  <a:pt x="485730" y="100797"/>
                </a:lnTo>
                <a:lnTo>
                  <a:pt x="470995" y="109396"/>
                </a:lnTo>
                <a:lnTo>
                  <a:pt x="441454" y="125391"/>
                </a:lnTo>
                <a:lnTo>
                  <a:pt x="424802" y="136352"/>
                </a:lnTo>
                <a:lnTo>
                  <a:pt x="415596" y="141724"/>
                </a:lnTo>
                <a:lnTo>
                  <a:pt x="403056" y="150665"/>
                </a:lnTo>
                <a:lnTo>
                  <a:pt x="377997" y="167159"/>
                </a:lnTo>
                <a:lnTo>
                  <a:pt x="359561" y="181680"/>
                </a:lnTo>
                <a:lnTo>
                  <a:pt x="349622" y="188766"/>
                </a:lnTo>
                <a:lnTo>
                  <a:pt x="339257" y="197671"/>
                </a:lnTo>
                <a:lnTo>
                  <a:pt x="318377" y="214115"/>
                </a:lnTo>
                <a:lnTo>
                  <a:pt x="298544" y="232644"/>
                </a:lnTo>
                <a:lnTo>
                  <a:pt x="288180" y="241547"/>
                </a:lnTo>
                <a:lnTo>
                  <a:pt x="279890" y="250071"/>
                </a:lnTo>
                <a:lnTo>
                  <a:pt x="262898" y="265946"/>
                </a:lnTo>
                <a:lnTo>
                  <a:pt x="242085" y="288944"/>
                </a:lnTo>
                <a:lnTo>
                  <a:pt x="231637" y="299687"/>
                </a:lnTo>
                <a:lnTo>
                  <a:pt x="225275" y="307520"/>
                </a:lnTo>
                <a:lnTo>
                  <a:pt x="211862" y="322342"/>
                </a:lnTo>
                <a:lnTo>
                  <a:pt x="190506" y="350326"/>
                </a:lnTo>
                <a:lnTo>
                  <a:pt x="180363" y="362811"/>
                </a:lnTo>
                <a:lnTo>
                  <a:pt x="175743" y="369669"/>
                </a:lnTo>
                <a:lnTo>
                  <a:pt x="165574" y="382992"/>
                </a:lnTo>
                <a:lnTo>
                  <a:pt x="144110" y="416618"/>
                </a:lnTo>
                <a:lnTo>
                  <a:pt x="134728" y="430542"/>
                </a:lnTo>
                <a:lnTo>
                  <a:pt x="131630" y="436167"/>
                </a:lnTo>
                <a:lnTo>
                  <a:pt x="124340" y="447585"/>
                </a:lnTo>
                <a:lnTo>
                  <a:pt x="103153" y="487877"/>
                </a:lnTo>
                <a:lnTo>
                  <a:pt x="95100" y="502499"/>
                </a:lnTo>
                <a:lnTo>
                  <a:pt x="93274" y="506663"/>
                </a:lnTo>
                <a:lnTo>
                  <a:pt x="88463" y="515811"/>
                </a:lnTo>
                <a:lnTo>
                  <a:pt x="67759" y="564832"/>
                </a:lnTo>
                <a:lnTo>
                  <a:pt x="61850" y="578307"/>
                </a:lnTo>
                <a:lnTo>
                  <a:pt x="61016" y="580801"/>
                </a:lnTo>
                <a:lnTo>
                  <a:pt x="58246" y="587360"/>
                </a:lnTo>
                <a:lnTo>
                  <a:pt x="37462" y="651256"/>
                </a:lnTo>
                <a:lnTo>
                  <a:pt x="35344" y="657589"/>
                </a:lnTo>
                <a:lnTo>
                  <a:pt x="35195" y="658226"/>
                </a:lnTo>
                <a:lnTo>
                  <a:pt x="33994" y="661917"/>
                </a:lnTo>
                <a:cubicBezTo>
                  <a:pt x="19882" y="712558"/>
                  <a:pt x="9949" y="764997"/>
                  <a:pt x="4602" y="818822"/>
                </a:cubicBezTo>
                <a:lnTo>
                  <a:pt x="4426" y="822387"/>
                </a:lnTo>
                <a:lnTo>
                  <a:pt x="4051" y="825062"/>
                </a:lnTo>
                <a:lnTo>
                  <a:pt x="2008" y="869160"/>
                </a:lnTo>
                <a:lnTo>
                  <a:pt x="1" y="869160"/>
                </a:lnTo>
                <a:lnTo>
                  <a:pt x="1" y="911944"/>
                </a:lnTo>
                <a:lnTo>
                  <a:pt x="0" y="911952"/>
                </a:lnTo>
                <a:lnTo>
                  <a:pt x="1" y="911961"/>
                </a:lnTo>
                <a:lnTo>
                  <a:pt x="1" y="912498"/>
                </a:lnTo>
                <a:lnTo>
                  <a:pt x="1" y="921144"/>
                </a:lnTo>
                <a:lnTo>
                  <a:pt x="0" y="921144"/>
                </a:lnTo>
                <a:lnTo>
                  <a:pt x="0" y="1330400"/>
                </a:lnTo>
                <a:lnTo>
                  <a:pt x="0" y="1339592"/>
                </a:lnTo>
                <a:lnTo>
                  <a:pt x="0" y="1475768"/>
                </a:lnTo>
                <a:lnTo>
                  <a:pt x="0" y="1475769"/>
                </a:lnTo>
                <a:lnTo>
                  <a:pt x="0" y="1475770"/>
                </a:lnTo>
                <a:lnTo>
                  <a:pt x="0" y="1833095"/>
                </a:lnTo>
                <a:lnTo>
                  <a:pt x="0" y="1894216"/>
                </a:lnTo>
                <a:lnTo>
                  <a:pt x="0" y="1894217"/>
                </a:lnTo>
                <a:lnTo>
                  <a:pt x="0" y="1894218"/>
                </a:lnTo>
                <a:lnTo>
                  <a:pt x="0" y="2251543"/>
                </a:lnTo>
                <a:lnTo>
                  <a:pt x="0" y="2396911"/>
                </a:lnTo>
                <a:lnTo>
                  <a:pt x="0" y="2815359"/>
                </a:lnTo>
                <a:lnTo>
                  <a:pt x="0" y="3308853"/>
                </a:lnTo>
                <a:close/>
              </a:path>
            </a:pathLst>
          </a:custGeom>
          <a:solidFill>
            <a:srgbClr val="1D316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  <a:sym typeface="Arial"/>
            </a:endParaRPr>
          </a:p>
        </p:txBody>
      </p:sp>
      <p:sp>
        <p:nvSpPr>
          <p:cNvPr id="12" name="Freeform: Shape 90">
            <a:extLst>
              <a:ext uri="{FF2B5EF4-FFF2-40B4-BE49-F238E27FC236}">
                <a16:creationId xmlns:a16="http://schemas.microsoft.com/office/drawing/2014/main" id="{2AA98355-E25D-1510-4EE1-DDEAF3A40625}"/>
              </a:ext>
            </a:extLst>
          </p:cNvPr>
          <p:cNvSpPr/>
          <p:nvPr/>
        </p:nvSpPr>
        <p:spPr>
          <a:xfrm>
            <a:off x="2621340" y="4928179"/>
            <a:ext cx="3225573" cy="601998"/>
          </a:xfrm>
          <a:custGeom>
            <a:avLst/>
            <a:gdLst>
              <a:gd name="connsiteX0" fmla="*/ 325384 w 4047850"/>
              <a:gd name="connsiteY0" fmla="*/ 0 h 651348"/>
              <a:gd name="connsiteX1" fmla="*/ 593248 w 4047850"/>
              <a:gd name="connsiteY1" fmla="*/ 0 h 651348"/>
              <a:gd name="connsiteX2" fmla="*/ 1005630 w 4047850"/>
              <a:gd name="connsiteY2" fmla="*/ 0 h 651348"/>
              <a:gd name="connsiteX3" fmla="*/ 1022869 w 4047850"/>
              <a:gd name="connsiteY3" fmla="*/ 0 h 651348"/>
              <a:gd name="connsiteX4" fmla="*/ 3042220 w 4047850"/>
              <a:gd name="connsiteY4" fmla="*/ 0 h 651348"/>
              <a:gd name="connsiteX5" fmla="*/ 3394765 w 4047850"/>
              <a:gd name="connsiteY5" fmla="*/ 0 h 651348"/>
              <a:gd name="connsiteX6" fmla="*/ 3722465 w 4047850"/>
              <a:gd name="connsiteY6" fmla="*/ 0 h 651348"/>
              <a:gd name="connsiteX7" fmla="*/ 3739704 w 4047850"/>
              <a:gd name="connsiteY7" fmla="*/ 0 h 651348"/>
              <a:gd name="connsiteX8" fmla="*/ 3739704 w 4047850"/>
              <a:gd name="connsiteY8" fmla="*/ 385 h 651348"/>
              <a:gd name="connsiteX9" fmla="*/ 4047850 w 4047850"/>
              <a:gd name="connsiteY9" fmla="*/ 385 h 651348"/>
              <a:gd name="connsiteX10" fmla="*/ 4047850 w 4047850"/>
              <a:gd name="connsiteY10" fmla="*/ 325477 h 651348"/>
              <a:gd name="connsiteX11" fmla="*/ 4047850 w 4047850"/>
              <a:gd name="connsiteY11" fmla="*/ 325669 h 651348"/>
              <a:gd name="connsiteX12" fmla="*/ 4047850 w 4047850"/>
              <a:gd name="connsiteY12" fmla="*/ 325672 h 651348"/>
              <a:gd name="connsiteX13" fmla="*/ 4047850 w 4047850"/>
              <a:gd name="connsiteY13" fmla="*/ 325675 h 651348"/>
              <a:gd name="connsiteX14" fmla="*/ 4047850 w 4047850"/>
              <a:gd name="connsiteY14" fmla="*/ 340954 h 651348"/>
              <a:gd name="connsiteX15" fmla="*/ 4047117 w 4047850"/>
              <a:gd name="connsiteY15" fmla="*/ 340954 h 651348"/>
              <a:gd name="connsiteX16" fmla="*/ 4046371 w 4047850"/>
              <a:gd name="connsiteY16" fmla="*/ 356703 h 651348"/>
              <a:gd name="connsiteX17" fmla="*/ 4046235 w 4047850"/>
              <a:gd name="connsiteY17" fmla="*/ 357658 h 651348"/>
              <a:gd name="connsiteX18" fmla="*/ 4046171 w 4047850"/>
              <a:gd name="connsiteY18" fmla="*/ 358931 h 651348"/>
              <a:gd name="connsiteX19" fmla="*/ 4035441 w 4047850"/>
              <a:gd name="connsiteY19" fmla="*/ 414965 h 651348"/>
              <a:gd name="connsiteX20" fmla="*/ 4035003 w 4047850"/>
              <a:gd name="connsiteY20" fmla="*/ 416283 h 651348"/>
              <a:gd name="connsiteX21" fmla="*/ 4034948 w 4047850"/>
              <a:gd name="connsiteY21" fmla="*/ 416510 h 651348"/>
              <a:gd name="connsiteX22" fmla="*/ 4034176 w 4047850"/>
              <a:gd name="connsiteY22" fmla="*/ 418772 h 651348"/>
              <a:gd name="connsiteX23" fmla="*/ 4026589 w 4047850"/>
              <a:gd name="connsiteY23" fmla="*/ 441591 h 651348"/>
              <a:gd name="connsiteX24" fmla="*/ 4025578 w 4047850"/>
              <a:gd name="connsiteY24" fmla="*/ 443933 h 651348"/>
              <a:gd name="connsiteX25" fmla="*/ 4025273 w 4047850"/>
              <a:gd name="connsiteY25" fmla="*/ 444823 h 651348"/>
              <a:gd name="connsiteX26" fmla="*/ 4023116 w 4047850"/>
              <a:gd name="connsiteY26" fmla="*/ 449636 h 651348"/>
              <a:gd name="connsiteX27" fmla="*/ 4015559 w 4047850"/>
              <a:gd name="connsiteY27" fmla="*/ 467142 h 651348"/>
              <a:gd name="connsiteX28" fmla="*/ 4013802 w 4047850"/>
              <a:gd name="connsiteY28" fmla="*/ 470409 h 651348"/>
              <a:gd name="connsiteX29" fmla="*/ 4013136 w 4047850"/>
              <a:gd name="connsiteY29" fmla="*/ 471896 h 651348"/>
              <a:gd name="connsiteX30" fmla="*/ 4010197 w 4047850"/>
              <a:gd name="connsiteY30" fmla="*/ 477118 h 651348"/>
              <a:gd name="connsiteX31" fmla="*/ 4002462 w 4047850"/>
              <a:gd name="connsiteY31" fmla="*/ 491507 h 651348"/>
              <a:gd name="connsiteX32" fmla="*/ 3999801 w 4047850"/>
              <a:gd name="connsiteY32" fmla="*/ 495585 h 651348"/>
              <a:gd name="connsiteX33" fmla="*/ 3998671 w 4047850"/>
              <a:gd name="connsiteY33" fmla="*/ 497594 h 651348"/>
              <a:gd name="connsiteX34" fmla="*/ 3995246 w 4047850"/>
              <a:gd name="connsiteY34" fmla="*/ 502566 h 651348"/>
              <a:gd name="connsiteX35" fmla="*/ 3987410 w 4047850"/>
              <a:gd name="connsiteY35" fmla="*/ 514574 h 651348"/>
              <a:gd name="connsiteX36" fmla="*/ 3983699 w 4047850"/>
              <a:gd name="connsiteY36" fmla="*/ 519333 h 651348"/>
              <a:gd name="connsiteX37" fmla="*/ 3982012 w 4047850"/>
              <a:gd name="connsiteY37" fmla="*/ 521781 h 651348"/>
              <a:gd name="connsiteX38" fmla="*/ 3978310 w 4047850"/>
              <a:gd name="connsiteY38" fmla="*/ 526240 h 651348"/>
              <a:gd name="connsiteX39" fmla="*/ 3970514 w 4047850"/>
              <a:gd name="connsiteY39" fmla="*/ 536234 h 651348"/>
              <a:gd name="connsiteX40" fmla="*/ 3965618 w 4047850"/>
              <a:gd name="connsiteY40" fmla="*/ 541527 h 651348"/>
              <a:gd name="connsiteX41" fmla="*/ 3963295 w 4047850"/>
              <a:gd name="connsiteY41" fmla="*/ 544324 h 651348"/>
              <a:gd name="connsiteX42" fmla="*/ 3959482 w 4047850"/>
              <a:gd name="connsiteY42" fmla="*/ 548161 h 651348"/>
              <a:gd name="connsiteX43" fmla="*/ 3951885 w 4047850"/>
              <a:gd name="connsiteY43" fmla="*/ 556374 h 651348"/>
              <a:gd name="connsiteX44" fmla="*/ 3945682 w 4047850"/>
              <a:gd name="connsiteY44" fmla="*/ 562043 h 651348"/>
              <a:gd name="connsiteX45" fmla="*/ 3942656 w 4047850"/>
              <a:gd name="connsiteY45" fmla="*/ 565087 h 651348"/>
              <a:gd name="connsiteX46" fmla="*/ 3938872 w 4047850"/>
              <a:gd name="connsiteY46" fmla="*/ 568267 h 651348"/>
              <a:gd name="connsiteX47" fmla="*/ 3931633 w 4047850"/>
              <a:gd name="connsiteY47" fmla="*/ 574884 h 651348"/>
              <a:gd name="connsiteX48" fmla="*/ 3924011 w 4047850"/>
              <a:gd name="connsiteY48" fmla="*/ 580756 h 651348"/>
              <a:gd name="connsiteX49" fmla="*/ 3920227 w 4047850"/>
              <a:gd name="connsiteY49" fmla="*/ 583936 h 651348"/>
              <a:gd name="connsiteX50" fmla="*/ 3916599 w 4047850"/>
              <a:gd name="connsiteY50" fmla="*/ 586467 h 651348"/>
              <a:gd name="connsiteX51" fmla="*/ 3909870 w 4047850"/>
              <a:gd name="connsiteY51" fmla="*/ 591652 h 651348"/>
              <a:gd name="connsiteX52" fmla="*/ 3900723 w 4047850"/>
              <a:gd name="connsiteY52" fmla="*/ 597543 h 651348"/>
              <a:gd name="connsiteX53" fmla="*/ 3896145 w 4047850"/>
              <a:gd name="connsiteY53" fmla="*/ 600736 h 651348"/>
              <a:gd name="connsiteX54" fmla="*/ 3892785 w 4047850"/>
              <a:gd name="connsiteY54" fmla="*/ 602655 h 651348"/>
              <a:gd name="connsiteX55" fmla="*/ 3886706 w 4047850"/>
              <a:gd name="connsiteY55" fmla="*/ 606569 h 651348"/>
              <a:gd name="connsiteX56" fmla="*/ 3875923 w 4047850"/>
              <a:gd name="connsiteY56" fmla="*/ 612281 h 651348"/>
              <a:gd name="connsiteX57" fmla="*/ 3870544 w 4047850"/>
              <a:gd name="connsiteY57" fmla="*/ 615352 h 651348"/>
              <a:gd name="connsiteX58" fmla="*/ 3867552 w 4047850"/>
              <a:gd name="connsiteY58" fmla="*/ 616715 h 651348"/>
              <a:gd name="connsiteX59" fmla="*/ 3862253 w 4047850"/>
              <a:gd name="connsiteY59" fmla="*/ 619522 h 651348"/>
              <a:gd name="connsiteX60" fmla="*/ 3849702 w 4047850"/>
              <a:gd name="connsiteY60" fmla="*/ 624849 h 651348"/>
              <a:gd name="connsiteX61" fmla="*/ 3843559 w 4047850"/>
              <a:gd name="connsiteY61" fmla="*/ 627649 h 651348"/>
              <a:gd name="connsiteX62" fmla="*/ 3841026 w 4047850"/>
              <a:gd name="connsiteY62" fmla="*/ 628532 h 651348"/>
              <a:gd name="connsiteX63" fmla="*/ 3836622 w 4047850"/>
              <a:gd name="connsiteY63" fmla="*/ 630401 h 651348"/>
              <a:gd name="connsiteX64" fmla="*/ 3822109 w 4047850"/>
              <a:gd name="connsiteY64" fmla="*/ 635127 h 651348"/>
              <a:gd name="connsiteX65" fmla="*/ 3815324 w 4047850"/>
              <a:gd name="connsiteY65" fmla="*/ 637492 h 651348"/>
              <a:gd name="connsiteX66" fmla="*/ 3813334 w 4047850"/>
              <a:gd name="connsiteY66" fmla="*/ 637984 h 651348"/>
              <a:gd name="connsiteX67" fmla="*/ 3809924 w 4047850"/>
              <a:gd name="connsiteY67" fmla="*/ 639095 h 651348"/>
              <a:gd name="connsiteX68" fmla="*/ 3793067 w 4047850"/>
              <a:gd name="connsiteY68" fmla="*/ 642994 h 651348"/>
              <a:gd name="connsiteX69" fmla="*/ 3785975 w 4047850"/>
              <a:gd name="connsiteY69" fmla="*/ 644747 h 651348"/>
              <a:gd name="connsiteX70" fmla="*/ 3784601 w 4047850"/>
              <a:gd name="connsiteY70" fmla="*/ 644952 h 651348"/>
              <a:gd name="connsiteX71" fmla="*/ 3782269 w 4047850"/>
              <a:gd name="connsiteY71" fmla="*/ 645492 h 651348"/>
              <a:gd name="connsiteX72" fmla="*/ 3761990 w 4047850"/>
              <a:gd name="connsiteY72" fmla="*/ 648331 h 651348"/>
              <a:gd name="connsiteX73" fmla="*/ 3755647 w 4047850"/>
              <a:gd name="connsiteY73" fmla="*/ 649279 h 651348"/>
              <a:gd name="connsiteX74" fmla="*/ 3754979 w 4047850"/>
              <a:gd name="connsiteY74" fmla="*/ 649313 h 651348"/>
              <a:gd name="connsiteX75" fmla="*/ 3753769 w 4047850"/>
              <a:gd name="connsiteY75" fmla="*/ 649482 h 651348"/>
              <a:gd name="connsiteX76" fmla="*/ 3739704 w 4047850"/>
              <a:gd name="connsiteY76" fmla="*/ 650148 h 651348"/>
              <a:gd name="connsiteX77" fmla="*/ 3739704 w 4047850"/>
              <a:gd name="connsiteY77" fmla="*/ 650959 h 651348"/>
              <a:gd name="connsiteX78" fmla="*/ 3726737 w 4047850"/>
              <a:gd name="connsiteY78" fmla="*/ 650959 h 651348"/>
              <a:gd name="connsiteX79" fmla="*/ 3722563 w 4047850"/>
              <a:gd name="connsiteY79" fmla="*/ 650959 h 651348"/>
              <a:gd name="connsiteX80" fmla="*/ 3722465 w 4047850"/>
              <a:gd name="connsiteY80" fmla="*/ 650959 h 651348"/>
              <a:gd name="connsiteX81" fmla="*/ 3722465 w 4047850"/>
              <a:gd name="connsiteY81" fmla="*/ 651348 h 651348"/>
              <a:gd name="connsiteX82" fmla="*/ 3394765 w 4047850"/>
              <a:gd name="connsiteY82" fmla="*/ 651348 h 651348"/>
              <a:gd name="connsiteX83" fmla="*/ 3042220 w 4047850"/>
              <a:gd name="connsiteY83" fmla="*/ 651348 h 651348"/>
              <a:gd name="connsiteX84" fmla="*/ 3024981 w 4047850"/>
              <a:gd name="connsiteY84" fmla="*/ 651348 h 651348"/>
              <a:gd name="connsiteX85" fmla="*/ 1005630 w 4047850"/>
              <a:gd name="connsiteY85" fmla="*/ 651348 h 651348"/>
              <a:gd name="connsiteX86" fmla="*/ 593248 w 4047850"/>
              <a:gd name="connsiteY86" fmla="*/ 651348 h 651348"/>
              <a:gd name="connsiteX87" fmla="*/ 325384 w 4047850"/>
              <a:gd name="connsiteY87" fmla="*/ 651348 h 651348"/>
              <a:gd name="connsiteX88" fmla="*/ 308146 w 4047850"/>
              <a:gd name="connsiteY88" fmla="*/ 651348 h 651348"/>
              <a:gd name="connsiteX89" fmla="*/ 308146 w 4047850"/>
              <a:gd name="connsiteY89" fmla="*/ 650963 h 651348"/>
              <a:gd name="connsiteX90" fmla="*/ 0 w 4047850"/>
              <a:gd name="connsiteY90" fmla="*/ 650963 h 651348"/>
              <a:gd name="connsiteX91" fmla="*/ 0 w 4047850"/>
              <a:gd name="connsiteY91" fmla="*/ 325871 h 651348"/>
              <a:gd name="connsiteX92" fmla="*/ 0 w 4047850"/>
              <a:gd name="connsiteY92" fmla="*/ 325679 h 651348"/>
              <a:gd name="connsiteX93" fmla="*/ 0 w 4047850"/>
              <a:gd name="connsiteY93" fmla="*/ 325676 h 651348"/>
              <a:gd name="connsiteX94" fmla="*/ 0 w 4047850"/>
              <a:gd name="connsiteY94" fmla="*/ 325673 h 651348"/>
              <a:gd name="connsiteX95" fmla="*/ 0 w 4047850"/>
              <a:gd name="connsiteY95" fmla="*/ 310394 h 651348"/>
              <a:gd name="connsiteX96" fmla="*/ 733 w 4047850"/>
              <a:gd name="connsiteY96" fmla="*/ 310394 h 651348"/>
              <a:gd name="connsiteX97" fmla="*/ 1478 w 4047850"/>
              <a:gd name="connsiteY97" fmla="*/ 294646 h 651348"/>
              <a:gd name="connsiteX98" fmla="*/ 1615 w 4047850"/>
              <a:gd name="connsiteY98" fmla="*/ 293690 h 651348"/>
              <a:gd name="connsiteX99" fmla="*/ 1679 w 4047850"/>
              <a:gd name="connsiteY99" fmla="*/ 292417 h 651348"/>
              <a:gd name="connsiteX100" fmla="*/ 12408 w 4047850"/>
              <a:gd name="connsiteY100" fmla="*/ 236384 h 651348"/>
              <a:gd name="connsiteX101" fmla="*/ 12847 w 4047850"/>
              <a:gd name="connsiteY101" fmla="*/ 235065 h 651348"/>
              <a:gd name="connsiteX102" fmla="*/ 12901 w 4047850"/>
              <a:gd name="connsiteY102" fmla="*/ 234838 h 651348"/>
              <a:gd name="connsiteX103" fmla="*/ 13674 w 4047850"/>
              <a:gd name="connsiteY103" fmla="*/ 232576 h 651348"/>
              <a:gd name="connsiteX104" fmla="*/ 21261 w 4047850"/>
              <a:gd name="connsiteY104" fmla="*/ 209757 h 651348"/>
              <a:gd name="connsiteX105" fmla="*/ 22272 w 4047850"/>
              <a:gd name="connsiteY105" fmla="*/ 207415 h 651348"/>
              <a:gd name="connsiteX106" fmla="*/ 22576 w 4047850"/>
              <a:gd name="connsiteY106" fmla="*/ 206525 h 651348"/>
              <a:gd name="connsiteX107" fmla="*/ 24734 w 4047850"/>
              <a:gd name="connsiteY107" fmla="*/ 201713 h 651348"/>
              <a:gd name="connsiteX108" fmla="*/ 32291 w 4047850"/>
              <a:gd name="connsiteY108" fmla="*/ 184206 h 651348"/>
              <a:gd name="connsiteX109" fmla="*/ 34047 w 4047850"/>
              <a:gd name="connsiteY109" fmla="*/ 180939 h 651348"/>
              <a:gd name="connsiteX110" fmla="*/ 34714 w 4047850"/>
              <a:gd name="connsiteY110" fmla="*/ 179452 h 651348"/>
              <a:gd name="connsiteX111" fmla="*/ 37653 w 4047850"/>
              <a:gd name="connsiteY111" fmla="*/ 174231 h 651348"/>
              <a:gd name="connsiteX112" fmla="*/ 45388 w 4047850"/>
              <a:gd name="connsiteY112" fmla="*/ 159842 h 651348"/>
              <a:gd name="connsiteX113" fmla="*/ 48048 w 4047850"/>
              <a:gd name="connsiteY113" fmla="*/ 155764 h 651348"/>
              <a:gd name="connsiteX114" fmla="*/ 49179 w 4047850"/>
              <a:gd name="connsiteY114" fmla="*/ 153755 h 651348"/>
              <a:gd name="connsiteX115" fmla="*/ 52604 w 4047850"/>
              <a:gd name="connsiteY115" fmla="*/ 148783 h 651348"/>
              <a:gd name="connsiteX116" fmla="*/ 60439 w 4047850"/>
              <a:gd name="connsiteY116" fmla="*/ 136774 h 651348"/>
              <a:gd name="connsiteX117" fmla="*/ 64151 w 4047850"/>
              <a:gd name="connsiteY117" fmla="*/ 132016 h 651348"/>
              <a:gd name="connsiteX118" fmla="*/ 65838 w 4047850"/>
              <a:gd name="connsiteY118" fmla="*/ 129567 h 651348"/>
              <a:gd name="connsiteX119" fmla="*/ 69540 w 4047850"/>
              <a:gd name="connsiteY119" fmla="*/ 125108 h 651348"/>
              <a:gd name="connsiteX120" fmla="*/ 77336 w 4047850"/>
              <a:gd name="connsiteY120" fmla="*/ 115115 h 651348"/>
              <a:gd name="connsiteX121" fmla="*/ 82232 w 4047850"/>
              <a:gd name="connsiteY121" fmla="*/ 109821 h 651348"/>
              <a:gd name="connsiteX122" fmla="*/ 84554 w 4047850"/>
              <a:gd name="connsiteY122" fmla="*/ 107024 h 651348"/>
              <a:gd name="connsiteX123" fmla="*/ 88368 w 4047850"/>
              <a:gd name="connsiteY123" fmla="*/ 103188 h 651348"/>
              <a:gd name="connsiteX124" fmla="*/ 95965 w 4047850"/>
              <a:gd name="connsiteY124" fmla="*/ 94974 h 651348"/>
              <a:gd name="connsiteX125" fmla="*/ 102168 w 4047850"/>
              <a:gd name="connsiteY125" fmla="*/ 89305 h 651348"/>
              <a:gd name="connsiteX126" fmla="*/ 105194 w 4047850"/>
              <a:gd name="connsiteY126" fmla="*/ 86261 h 651348"/>
              <a:gd name="connsiteX127" fmla="*/ 108977 w 4047850"/>
              <a:gd name="connsiteY127" fmla="*/ 83081 h 651348"/>
              <a:gd name="connsiteX128" fmla="*/ 116217 w 4047850"/>
              <a:gd name="connsiteY128" fmla="*/ 76465 h 651348"/>
              <a:gd name="connsiteX129" fmla="*/ 123838 w 4047850"/>
              <a:gd name="connsiteY129" fmla="*/ 70592 h 651348"/>
              <a:gd name="connsiteX130" fmla="*/ 127623 w 4047850"/>
              <a:gd name="connsiteY130" fmla="*/ 67412 h 651348"/>
              <a:gd name="connsiteX131" fmla="*/ 131250 w 4047850"/>
              <a:gd name="connsiteY131" fmla="*/ 64881 h 651348"/>
              <a:gd name="connsiteX132" fmla="*/ 137980 w 4047850"/>
              <a:gd name="connsiteY132" fmla="*/ 59696 h 651348"/>
              <a:gd name="connsiteX133" fmla="*/ 147127 w 4047850"/>
              <a:gd name="connsiteY133" fmla="*/ 53805 h 651348"/>
              <a:gd name="connsiteX134" fmla="*/ 151705 w 4047850"/>
              <a:gd name="connsiteY134" fmla="*/ 50612 h 651348"/>
              <a:gd name="connsiteX135" fmla="*/ 155065 w 4047850"/>
              <a:gd name="connsiteY135" fmla="*/ 48694 h 651348"/>
              <a:gd name="connsiteX136" fmla="*/ 161144 w 4047850"/>
              <a:gd name="connsiteY136" fmla="*/ 44779 h 651348"/>
              <a:gd name="connsiteX137" fmla="*/ 171927 w 4047850"/>
              <a:gd name="connsiteY137" fmla="*/ 39067 h 651348"/>
              <a:gd name="connsiteX138" fmla="*/ 177306 w 4047850"/>
              <a:gd name="connsiteY138" fmla="*/ 35997 h 651348"/>
              <a:gd name="connsiteX139" fmla="*/ 180298 w 4047850"/>
              <a:gd name="connsiteY139" fmla="*/ 34633 h 651348"/>
              <a:gd name="connsiteX140" fmla="*/ 185596 w 4047850"/>
              <a:gd name="connsiteY140" fmla="*/ 31826 h 651348"/>
              <a:gd name="connsiteX141" fmla="*/ 198148 w 4047850"/>
              <a:gd name="connsiteY141" fmla="*/ 26499 h 651348"/>
              <a:gd name="connsiteX142" fmla="*/ 204291 w 4047850"/>
              <a:gd name="connsiteY142" fmla="*/ 23700 h 651348"/>
              <a:gd name="connsiteX143" fmla="*/ 206823 w 4047850"/>
              <a:gd name="connsiteY143" fmla="*/ 22817 h 651348"/>
              <a:gd name="connsiteX144" fmla="*/ 211228 w 4047850"/>
              <a:gd name="connsiteY144" fmla="*/ 20947 h 651348"/>
              <a:gd name="connsiteX145" fmla="*/ 225741 w 4047850"/>
              <a:gd name="connsiteY145" fmla="*/ 16221 h 651348"/>
              <a:gd name="connsiteX146" fmla="*/ 232526 w 4047850"/>
              <a:gd name="connsiteY146" fmla="*/ 13856 h 651348"/>
              <a:gd name="connsiteX147" fmla="*/ 234516 w 4047850"/>
              <a:gd name="connsiteY147" fmla="*/ 13364 h 651348"/>
              <a:gd name="connsiteX148" fmla="*/ 237926 w 4047850"/>
              <a:gd name="connsiteY148" fmla="*/ 12254 h 651348"/>
              <a:gd name="connsiteX149" fmla="*/ 254783 w 4047850"/>
              <a:gd name="connsiteY149" fmla="*/ 8354 h 651348"/>
              <a:gd name="connsiteX150" fmla="*/ 261875 w 4047850"/>
              <a:gd name="connsiteY150" fmla="*/ 6601 h 651348"/>
              <a:gd name="connsiteX151" fmla="*/ 263248 w 4047850"/>
              <a:gd name="connsiteY151" fmla="*/ 6396 h 651348"/>
              <a:gd name="connsiteX152" fmla="*/ 265581 w 4047850"/>
              <a:gd name="connsiteY152" fmla="*/ 5856 h 651348"/>
              <a:gd name="connsiteX153" fmla="*/ 285860 w 4047850"/>
              <a:gd name="connsiteY153" fmla="*/ 3017 h 651348"/>
              <a:gd name="connsiteX154" fmla="*/ 292203 w 4047850"/>
              <a:gd name="connsiteY154" fmla="*/ 2069 h 651348"/>
              <a:gd name="connsiteX155" fmla="*/ 292871 w 4047850"/>
              <a:gd name="connsiteY155" fmla="*/ 2036 h 651348"/>
              <a:gd name="connsiteX156" fmla="*/ 294080 w 4047850"/>
              <a:gd name="connsiteY156" fmla="*/ 1866 h 651348"/>
              <a:gd name="connsiteX157" fmla="*/ 308146 w 4047850"/>
              <a:gd name="connsiteY157" fmla="*/ 1201 h 651348"/>
              <a:gd name="connsiteX158" fmla="*/ 308146 w 4047850"/>
              <a:gd name="connsiteY158" fmla="*/ 389 h 651348"/>
              <a:gd name="connsiteX159" fmla="*/ 321113 w 4047850"/>
              <a:gd name="connsiteY159" fmla="*/ 389 h 651348"/>
              <a:gd name="connsiteX160" fmla="*/ 325287 w 4047850"/>
              <a:gd name="connsiteY160" fmla="*/ 389 h 651348"/>
              <a:gd name="connsiteX161" fmla="*/ 325384 w 4047850"/>
              <a:gd name="connsiteY161" fmla="*/ 389 h 651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4047850" h="651348">
                <a:moveTo>
                  <a:pt x="325384" y="0"/>
                </a:moveTo>
                <a:lnTo>
                  <a:pt x="593248" y="0"/>
                </a:lnTo>
                <a:lnTo>
                  <a:pt x="1005630" y="0"/>
                </a:lnTo>
                <a:lnTo>
                  <a:pt x="1022869" y="0"/>
                </a:lnTo>
                <a:lnTo>
                  <a:pt x="3042220" y="0"/>
                </a:lnTo>
                <a:lnTo>
                  <a:pt x="3394765" y="0"/>
                </a:lnTo>
                <a:lnTo>
                  <a:pt x="3722465" y="0"/>
                </a:lnTo>
                <a:lnTo>
                  <a:pt x="3739704" y="0"/>
                </a:lnTo>
                <a:lnTo>
                  <a:pt x="3739704" y="385"/>
                </a:lnTo>
                <a:lnTo>
                  <a:pt x="4047850" y="385"/>
                </a:lnTo>
                <a:lnTo>
                  <a:pt x="4047850" y="325477"/>
                </a:lnTo>
                <a:lnTo>
                  <a:pt x="4047850" y="325669"/>
                </a:lnTo>
                <a:lnTo>
                  <a:pt x="4047850" y="325672"/>
                </a:lnTo>
                <a:lnTo>
                  <a:pt x="4047850" y="325675"/>
                </a:lnTo>
                <a:lnTo>
                  <a:pt x="4047850" y="340954"/>
                </a:lnTo>
                <a:lnTo>
                  <a:pt x="4047117" y="340954"/>
                </a:lnTo>
                <a:lnTo>
                  <a:pt x="4046371" y="356703"/>
                </a:lnTo>
                <a:lnTo>
                  <a:pt x="4046235" y="357658"/>
                </a:lnTo>
                <a:lnTo>
                  <a:pt x="4046171" y="358931"/>
                </a:lnTo>
                <a:cubicBezTo>
                  <a:pt x="4044218" y="378153"/>
                  <a:pt x="4040593" y="396880"/>
                  <a:pt x="4035441" y="414965"/>
                </a:cubicBezTo>
                <a:lnTo>
                  <a:pt x="4035003" y="416283"/>
                </a:lnTo>
                <a:lnTo>
                  <a:pt x="4034948" y="416510"/>
                </a:lnTo>
                <a:lnTo>
                  <a:pt x="4034176" y="418772"/>
                </a:lnTo>
                <a:lnTo>
                  <a:pt x="4026589" y="441591"/>
                </a:lnTo>
                <a:lnTo>
                  <a:pt x="4025578" y="443933"/>
                </a:lnTo>
                <a:lnTo>
                  <a:pt x="4025273" y="444823"/>
                </a:lnTo>
                <a:lnTo>
                  <a:pt x="4023116" y="449636"/>
                </a:lnTo>
                <a:lnTo>
                  <a:pt x="4015559" y="467142"/>
                </a:lnTo>
                <a:lnTo>
                  <a:pt x="4013802" y="470409"/>
                </a:lnTo>
                <a:lnTo>
                  <a:pt x="4013136" y="471896"/>
                </a:lnTo>
                <a:lnTo>
                  <a:pt x="4010197" y="477118"/>
                </a:lnTo>
                <a:lnTo>
                  <a:pt x="4002462" y="491507"/>
                </a:lnTo>
                <a:lnTo>
                  <a:pt x="3999801" y="495585"/>
                </a:lnTo>
                <a:lnTo>
                  <a:pt x="3998671" y="497594"/>
                </a:lnTo>
                <a:lnTo>
                  <a:pt x="3995246" y="502566"/>
                </a:lnTo>
                <a:lnTo>
                  <a:pt x="3987410" y="514574"/>
                </a:lnTo>
                <a:lnTo>
                  <a:pt x="3983699" y="519333"/>
                </a:lnTo>
                <a:lnTo>
                  <a:pt x="3982012" y="521781"/>
                </a:lnTo>
                <a:lnTo>
                  <a:pt x="3978310" y="526240"/>
                </a:lnTo>
                <a:lnTo>
                  <a:pt x="3970514" y="536234"/>
                </a:lnTo>
                <a:lnTo>
                  <a:pt x="3965618" y="541527"/>
                </a:lnTo>
                <a:lnTo>
                  <a:pt x="3963295" y="544324"/>
                </a:lnTo>
                <a:lnTo>
                  <a:pt x="3959482" y="548161"/>
                </a:lnTo>
                <a:lnTo>
                  <a:pt x="3951885" y="556374"/>
                </a:lnTo>
                <a:lnTo>
                  <a:pt x="3945682" y="562043"/>
                </a:lnTo>
                <a:lnTo>
                  <a:pt x="3942656" y="565087"/>
                </a:lnTo>
                <a:lnTo>
                  <a:pt x="3938872" y="568267"/>
                </a:lnTo>
                <a:lnTo>
                  <a:pt x="3931633" y="574884"/>
                </a:lnTo>
                <a:lnTo>
                  <a:pt x="3924011" y="580756"/>
                </a:lnTo>
                <a:lnTo>
                  <a:pt x="3920227" y="583936"/>
                </a:lnTo>
                <a:lnTo>
                  <a:pt x="3916599" y="586467"/>
                </a:lnTo>
                <a:lnTo>
                  <a:pt x="3909870" y="591652"/>
                </a:lnTo>
                <a:lnTo>
                  <a:pt x="3900723" y="597543"/>
                </a:lnTo>
                <a:lnTo>
                  <a:pt x="3896145" y="600736"/>
                </a:lnTo>
                <a:lnTo>
                  <a:pt x="3892785" y="602655"/>
                </a:lnTo>
                <a:lnTo>
                  <a:pt x="3886706" y="606569"/>
                </a:lnTo>
                <a:lnTo>
                  <a:pt x="3875923" y="612281"/>
                </a:lnTo>
                <a:lnTo>
                  <a:pt x="3870544" y="615352"/>
                </a:lnTo>
                <a:lnTo>
                  <a:pt x="3867552" y="616715"/>
                </a:lnTo>
                <a:lnTo>
                  <a:pt x="3862253" y="619522"/>
                </a:lnTo>
                <a:lnTo>
                  <a:pt x="3849702" y="624849"/>
                </a:lnTo>
                <a:lnTo>
                  <a:pt x="3843559" y="627649"/>
                </a:lnTo>
                <a:lnTo>
                  <a:pt x="3841026" y="628532"/>
                </a:lnTo>
                <a:lnTo>
                  <a:pt x="3836622" y="630401"/>
                </a:lnTo>
                <a:lnTo>
                  <a:pt x="3822109" y="635127"/>
                </a:lnTo>
                <a:lnTo>
                  <a:pt x="3815324" y="637492"/>
                </a:lnTo>
                <a:lnTo>
                  <a:pt x="3813334" y="637984"/>
                </a:lnTo>
                <a:lnTo>
                  <a:pt x="3809924" y="639095"/>
                </a:lnTo>
                <a:lnTo>
                  <a:pt x="3793067" y="642994"/>
                </a:lnTo>
                <a:lnTo>
                  <a:pt x="3785975" y="644747"/>
                </a:lnTo>
                <a:lnTo>
                  <a:pt x="3784601" y="644952"/>
                </a:lnTo>
                <a:lnTo>
                  <a:pt x="3782269" y="645492"/>
                </a:lnTo>
                <a:lnTo>
                  <a:pt x="3761990" y="648331"/>
                </a:lnTo>
                <a:lnTo>
                  <a:pt x="3755647" y="649279"/>
                </a:lnTo>
                <a:lnTo>
                  <a:pt x="3754979" y="649313"/>
                </a:lnTo>
                <a:lnTo>
                  <a:pt x="3753769" y="649482"/>
                </a:lnTo>
                <a:lnTo>
                  <a:pt x="3739704" y="650148"/>
                </a:lnTo>
                <a:lnTo>
                  <a:pt x="3739704" y="650959"/>
                </a:lnTo>
                <a:lnTo>
                  <a:pt x="3726737" y="650959"/>
                </a:lnTo>
                <a:lnTo>
                  <a:pt x="3722563" y="650959"/>
                </a:lnTo>
                <a:lnTo>
                  <a:pt x="3722465" y="650959"/>
                </a:lnTo>
                <a:lnTo>
                  <a:pt x="3722465" y="651348"/>
                </a:lnTo>
                <a:lnTo>
                  <a:pt x="3394765" y="651348"/>
                </a:lnTo>
                <a:lnTo>
                  <a:pt x="3042220" y="651348"/>
                </a:lnTo>
                <a:lnTo>
                  <a:pt x="3024981" y="651348"/>
                </a:lnTo>
                <a:lnTo>
                  <a:pt x="1005630" y="651348"/>
                </a:lnTo>
                <a:lnTo>
                  <a:pt x="593248" y="651348"/>
                </a:lnTo>
                <a:lnTo>
                  <a:pt x="325384" y="651348"/>
                </a:lnTo>
                <a:lnTo>
                  <a:pt x="308146" y="651348"/>
                </a:lnTo>
                <a:lnTo>
                  <a:pt x="308146" y="650963"/>
                </a:lnTo>
                <a:lnTo>
                  <a:pt x="0" y="650963"/>
                </a:lnTo>
                <a:lnTo>
                  <a:pt x="0" y="325871"/>
                </a:lnTo>
                <a:lnTo>
                  <a:pt x="0" y="325679"/>
                </a:lnTo>
                <a:lnTo>
                  <a:pt x="0" y="325676"/>
                </a:lnTo>
                <a:lnTo>
                  <a:pt x="0" y="325673"/>
                </a:lnTo>
                <a:lnTo>
                  <a:pt x="0" y="310394"/>
                </a:lnTo>
                <a:lnTo>
                  <a:pt x="733" y="310394"/>
                </a:lnTo>
                <a:lnTo>
                  <a:pt x="1478" y="294646"/>
                </a:lnTo>
                <a:lnTo>
                  <a:pt x="1615" y="293690"/>
                </a:lnTo>
                <a:lnTo>
                  <a:pt x="1679" y="292417"/>
                </a:lnTo>
                <a:cubicBezTo>
                  <a:pt x="3631" y="273195"/>
                  <a:pt x="7257" y="254468"/>
                  <a:pt x="12408" y="236384"/>
                </a:cubicBezTo>
                <a:lnTo>
                  <a:pt x="12847" y="235065"/>
                </a:lnTo>
                <a:lnTo>
                  <a:pt x="12901" y="234838"/>
                </a:lnTo>
                <a:lnTo>
                  <a:pt x="13674" y="232576"/>
                </a:lnTo>
                <a:lnTo>
                  <a:pt x="21261" y="209757"/>
                </a:lnTo>
                <a:lnTo>
                  <a:pt x="22272" y="207415"/>
                </a:lnTo>
                <a:lnTo>
                  <a:pt x="22576" y="206525"/>
                </a:lnTo>
                <a:lnTo>
                  <a:pt x="24734" y="201713"/>
                </a:lnTo>
                <a:lnTo>
                  <a:pt x="32291" y="184206"/>
                </a:lnTo>
                <a:lnTo>
                  <a:pt x="34047" y="180939"/>
                </a:lnTo>
                <a:lnTo>
                  <a:pt x="34714" y="179452"/>
                </a:lnTo>
                <a:lnTo>
                  <a:pt x="37653" y="174231"/>
                </a:lnTo>
                <a:lnTo>
                  <a:pt x="45388" y="159842"/>
                </a:lnTo>
                <a:lnTo>
                  <a:pt x="48048" y="155764"/>
                </a:lnTo>
                <a:lnTo>
                  <a:pt x="49179" y="153755"/>
                </a:lnTo>
                <a:lnTo>
                  <a:pt x="52604" y="148783"/>
                </a:lnTo>
                <a:lnTo>
                  <a:pt x="60439" y="136774"/>
                </a:lnTo>
                <a:lnTo>
                  <a:pt x="64151" y="132016"/>
                </a:lnTo>
                <a:lnTo>
                  <a:pt x="65838" y="129567"/>
                </a:lnTo>
                <a:lnTo>
                  <a:pt x="69540" y="125108"/>
                </a:lnTo>
                <a:lnTo>
                  <a:pt x="77336" y="115115"/>
                </a:lnTo>
                <a:lnTo>
                  <a:pt x="82232" y="109821"/>
                </a:lnTo>
                <a:lnTo>
                  <a:pt x="84554" y="107024"/>
                </a:lnTo>
                <a:lnTo>
                  <a:pt x="88368" y="103188"/>
                </a:lnTo>
                <a:lnTo>
                  <a:pt x="95965" y="94974"/>
                </a:lnTo>
                <a:lnTo>
                  <a:pt x="102168" y="89305"/>
                </a:lnTo>
                <a:lnTo>
                  <a:pt x="105194" y="86261"/>
                </a:lnTo>
                <a:lnTo>
                  <a:pt x="108977" y="83081"/>
                </a:lnTo>
                <a:lnTo>
                  <a:pt x="116217" y="76465"/>
                </a:lnTo>
                <a:lnTo>
                  <a:pt x="123838" y="70592"/>
                </a:lnTo>
                <a:lnTo>
                  <a:pt x="127623" y="67412"/>
                </a:lnTo>
                <a:lnTo>
                  <a:pt x="131250" y="64881"/>
                </a:lnTo>
                <a:lnTo>
                  <a:pt x="137980" y="59696"/>
                </a:lnTo>
                <a:lnTo>
                  <a:pt x="147127" y="53805"/>
                </a:lnTo>
                <a:lnTo>
                  <a:pt x="151705" y="50612"/>
                </a:lnTo>
                <a:lnTo>
                  <a:pt x="155065" y="48694"/>
                </a:lnTo>
                <a:lnTo>
                  <a:pt x="161144" y="44779"/>
                </a:lnTo>
                <a:lnTo>
                  <a:pt x="171927" y="39067"/>
                </a:lnTo>
                <a:lnTo>
                  <a:pt x="177306" y="35997"/>
                </a:lnTo>
                <a:lnTo>
                  <a:pt x="180298" y="34633"/>
                </a:lnTo>
                <a:lnTo>
                  <a:pt x="185596" y="31826"/>
                </a:lnTo>
                <a:lnTo>
                  <a:pt x="198148" y="26499"/>
                </a:lnTo>
                <a:lnTo>
                  <a:pt x="204291" y="23700"/>
                </a:lnTo>
                <a:lnTo>
                  <a:pt x="206823" y="22817"/>
                </a:lnTo>
                <a:lnTo>
                  <a:pt x="211228" y="20947"/>
                </a:lnTo>
                <a:lnTo>
                  <a:pt x="225741" y="16221"/>
                </a:lnTo>
                <a:lnTo>
                  <a:pt x="232526" y="13856"/>
                </a:lnTo>
                <a:lnTo>
                  <a:pt x="234516" y="13364"/>
                </a:lnTo>
                <a:lnTo>
                  <a:pt x="237926" y="12254"/>
                </a:lnTo>
                <a:lnTo>
                  <a:pt x="254783" y="8354"/>
                </a:lnTo>
                <a:lnTo>
                  <a:pt x="261875" y="6601"/>
                </a:lnTo>
                <a:lnTo>
                  <a:pt x="263248" y="6396"/>
                </a:lnTo>
                <a:lnTo>
                  <a:pt x="265581" y="5856"/>
                </a:lnTo>
                <a:lnTo>
                  <a:pt x="285860" y="3017"/>
                </a:lnTo>
                <a:lnTo>
                  <a:pt x="292203" y="2069"/>
                </a:lnTo>
                <a:lnTo>
                  <a:pt x="292871" y="2036"/>
                </a:lnTo>
                <a:lnTo>
                  <a:pt x="294080" y="1866"/>
                </a:lnTo>
                <a:lnTo>
                  <a:pt x="308146" y="1201"/>
                </a:lnTo>
                <a:lnTo>
                  <a:pt x="308146" y="389"/>
                </a:lnTo>
                <a:lnTo>
                  <a:pt x="321113" y="389"/>
                </a:lnTo>
                <a:lnTo>
                  <a:pt x="325287" y="389"/>
                </a:lnTo>
                <a:lnTo>
                  <a:pt x="325384" y="389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411A28B-9E09-1B13-3AD5-2C349A2F838D}"/>
              </a:ext>
            </a:extLst>
          </p:cNvPr>
          <p:cNvSpPr txBox="1"/>
          <p:nvPr/>
        </p:nvSpPr>
        <p:spPr>
          <a:xfrm>
            <a:off x="2391112" y="4943342"/>
            <a:ext cx="3492291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Kesesuaian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bentuk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dan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kualifikasi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usaha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dengan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kegiatan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usaha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dan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segmentasi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pasar</a:t>
            </a:r>
          </a:p>
          <a:p>
            <a:pPr marL="0" marR="0" lvl="0" indent="0" algn="ctr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ctr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1BC187-0B87-B45B-60C8-DE40AD8C0D3B}"/>
              </a:ext>
            </a:extLst>
          </p:cNvPr>
          <p:cNvSpPr txBox="1"/>
          <p:nvPr/>
        </p:nvSpPr>
        <p:spPr>
          <a:xfrm>
            <a:off x="1883219" y="5664655"/>
            <a:ext cx="474451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pemeriksa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: SBU; dan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lapor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tahun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BUJK.</a:t>
            </a:r>
          </a:p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Membandingk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bentuk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dan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ualifika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yang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tertuang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dalam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dokume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SBU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deng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egi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usah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Jasa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onstruk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yang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telah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dilakuk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oleh badan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usah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Jasa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onstruk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, yang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terdapat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dalam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Sistem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Informa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Jasa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onstruk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terintegra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. 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E96010E-BB73-5CB4-73AA-494F7E260BE5}"/>
              </a:ext>
            </a:extLst>
          </p:cNvPr>
          <p:cNvSpPr/>
          <p:nvPr/>
        </p:nvSpPr>
        <p:spPr>
          <a:xfrm>
            <a:off x="6627736" y="5865444"/>
            <a:ext cx="4401266" cy="103899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memasti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egiat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usah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Jasa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yang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telah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ilaksana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BUJK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sesua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bentuk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dan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ualifika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usah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yang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terter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alam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SBU</a:t>
            </a:r>
            <a:endParaRPr kumimoji="0" lang="en-ID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 SE" panose="03050602040202020205" pitchFamily="66" charset="77"/>
              <a:ea typeface="+mn-ea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A5365ED-F9D3-9B74-13A8-5707B58FA0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1556656" y="4858480"/>
            <a:ext cx="686301" cy="693809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CF7083FC-3F99-6687-779D-50A39BF77F91}"/>
              </a:ext>
            </a:extLst>
          </p:cNvPr>
          <p:cNvSpPr/>
          <p:nvPr/>
        </p:nvSpPr>
        <p:spPr>
          <a:xfrm>
            <a:off x="6205204" y="4181462"/>
            <a:ext cx="4236624" cy="16636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ilakukan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terhadap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BUJK Nasional yang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menyelenggarakan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layanan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usaha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: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a.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jasa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ultansi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;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b.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kerjaan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; dan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c.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kerjaan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terintegrasi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. 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A12B220-BCB2-C33E-3617-603BE35B4606}"/>
              </a:ext>
            </a:extLst>
          </p:cNvPr>
          <p:cNvSpPr/>
          <p:nvPr/>
        </p:nvSpPr>
        <p:spPr>
          <a:xfrm>
            <a:off x="6323553" y="99022"/>
            <a:ext cx="4305149" cy="103899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memasti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ecukup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dan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eberlanjut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aso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sumber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ay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yang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berkualitas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sesua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eng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Standar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Nasional Indonesia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atau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standar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lain yang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berlaku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dan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menuh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terhadap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tingkat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mpone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alam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negeri. </a:t>
            </a:r>
          </a:p>
        </p:txBody>
      </p:sp>
      <p:pic>
        <p:nvPicPr>
          <p:cNvPr id="8" name="Picture 7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E00DAC55-A62A-C78F-76F2-6C6492BC83A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3434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alphaModFix amt="16721"/>
            <a:lum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Freeform: Shape 46">
            <a:extLst>
              <a:ext uri="{FF2B5EF4-FFF2-40B4-BE49-F238E27FC236}">
                <a16:creationId xmlns:a16="http://schemas.microsoft.com/office/drawing/2014/main" id="{A72DCC20-54A7-3C4D-B0A5-F71AF1788066}"/>
              </a:ext>
            </a:extLst>
          </p:cNvPr>
          <p:cNvSpPr/>
          <p:nvPr/>
        </p:nvSpPr>
        <p:spPr>
          <a:xfrm rot="10800000" flipH="1">
            <a:off x="2789280" y="488250"/>
            <a:ext cx="5238202" cy="1570590"/>
          </a:xfrm>
          <a:custGeom>
            <a:avLst/>
            <a:gdLst>
              <a:gd name="connsiteX0" fmla="*/ 0 w 5431992"/>
              <a:gd name="connsiteY0" fmla="*/ 3727301 h 3727301"/>
              <a:gd name="connsiteX1" fmla="*/ 844165 w 5431992"/>
              <a:gd name="connsiteY1" fmla="*/ 3727301 h 3727301"/>
              <a:gd name="connsiteX2" fmla="*/ 891390 w 5431992"/>
              <a:gd name="connsiteY2" fmla="*/ 3727301 h 3727301"/>
              <a:gd name="connsiteX3" fmla="*/ 2371823 w 5431992"/>
              <a:gd name="connsiteY3" fmla="*/ 3727301 h 3727301"/>
              <a:gd name="connsiteX4" fmla="*/ 2754923 w 5431992"/>
              <a:gd name="connsiteY4" fmla="*/ 3727301 h 3727301"/>
              <a:gd name="connsiteX5" fmla="*/ 4157501 w 5431992"/>
              <a:gd name="connsiteY5" fmla="*/ 3727301 h 3727301"/>
              <a:gd name="connsiteX6" fmla="*/ 4540601 w 5431992"/>
              <a:gd name="connsiteY6" fmla="*/ 3727301 h 3727301"/>
              <a:gd name="connsiteX7" fmla="*/ 4540601 w 5431992"/>
              <a:gd name="connsiteY7" fmla="*/ 3726212 h 3727301"/>
              <a:gd name="connsiteX8" fmla="*/ 4540602 w 5431992"/>
              <a:gd name="connsiteY8" fmla="*/ 3726212 h 3727301"/>
              <a:gd name="connsiteX9" fmla="*/ 4540868 w 5431992"/>
              <a:gd name="connsiteY9" fmla="*/ 3726212 h 3727301"/>
              <a:gd name="connsiteX10" fmla="*/ 4552303 w 5431992"/>
              <a:gd name="connsiteY10" fmla="*/ 3726212 h 3727301"/>
              <a:gd name="connsiteX11" fmla="*/ 4587827 w 5431992"/>
              <a:gd name="connsiteY11" fmla="*/ 3726212 h 3727301"/>
              <a:gd name="connsiteX12" fmla="*/ 4587827 w 5431992"/>
              <a:gd name="connsiteY12" fmla="*/ 3723939 h 3727301"/>
              <a:gd name="connsiteX13" fmla="*/ 4626359 w 5431992"/>
              <a:gd name="connsiteY13" fmla="*/ 3722075 h 3727301"/>
              <a:gd name="connsiteX14" fmla="*/ 4629673 w 5431992"/>
              <a:gd name="connsiteY14" fmla="*/ 3721600 h 3727301"/>
              <a:gd name="connsiteX15" fmla="*/ 4631501 w 5431992"/>
              <a:gd name="connsiteY15" fmla="*/ 3721506 h 3727301"/>
              <a:gd name="connsiteX16" fmla="*/ 4648879 w 5431992"/>
              <a:gd name="connsiteY16" fmla="*/ 3718852 h 3727301"/>
              <a:gd name="connsiteX17" fmla="*/ 4704433 w 5431992"/>
              <a:gd name="connsiteY17" fmla="*/ 3710902 h 3727301"/>
              <a:gd name="connsiteX18" fmla="*/ 4710823 w 5431992"/>
              <a:gd name="connsiteY18" fmla="*/ 3709391 h 3727301"/>
              <a:gd name="connsiteX19" fmla="*/ 4714586 w 5431992"/>
              <a:gd name="connsiteY19" fmla="*/ 3708817 h 3727301"/>
              <a:gd name="connsiteX20" fmla="*/ 4734014 w 5431992"/>
              <a:gd name="connsiteY20" fmla="*/ 3703907 h 3727301"/>
              <a:gd name="connsiteX21" fmla="*/ 4780194 w 5431992"/>
              <a:gd name="connsiteY21" fmla="*/ 3692988 h 3727301"/>
              <a:gd name="connsiteX22" fmla="*/ 4789537 w 5431992"/>
              <a:gd name="connsiteY22" fmla="*/ 3689878 h 3727301"/>
              <a:gd name="connsiteX23" fmla="*/ 4794988 w 5431992"/>
              <a:gd name="connsiteY23" fmla="*/ 3688501 h 3727301"/>
              <a:gd name="connsiteX24" fmla="*/ 4813574 w 5431992"/>
              <a:gd name="connsiteY24" fmla="*/ 3681879 h 3727301"/>
              <a:gd name="connsiteX25" fmla="*/ 4853335 w 5431992"/>
              <a:gd name="connsiteY25" fmla="*/ 3668644 h 3727301"/>
              <a:gd name="connsiteX26" fmla="*/ 4865400 w 5431992"/>
              <a:gd name="connsiteY26" fmla="*/ 3663410 h 3727301"/>
              <a:gd name="connsiteX27" fmla="*/ 4872337 w 5431992"/>
              <a:gd name="connsiteY27" fmla="*/ 3660937 h 3727301"/>
              <a:gd name="connsiteX28" fmla="*/ 4889166 w 5431992"/>
              <a:gd name="connsiteY28" fmla="*/ 3653099 h 3727301"/>
              <a:gd name="connsiteX29" fmla="*/ 4923551 w 5431992"/>
              <a:gd name="connsiteY29" fmla="*/ 3638182 h 3727301"/>
              <a:gd name="connsiteX30" fmla="*/ 4938066 w 5431992"/>
              <a:gd name="connsiteY30" fmla="*/ 3630322 h 3727301"/>
              <a:gd name="connsiteX31" fmla="*/ 4946263 w 5431992"/>
              <a:gd name="connsiteY31" fmla="*/ 3626504 h 3727301"/>
              <a:gd name="connsiteX32" fmla="*/ 4960997 w 5431992"/>
              <a:gd name="connsiteY32" fmla="*/ 3617905 h 3727301"/>
              <a:gd name="connsiteX33" fmla="*/ 4990539 w 5431992"/>
              <a:gd name="connsiteY33" fmla="*/ 3601910 h 3727301"/>
              <a:gd name="connsiteX34" fmla="*/ 5007191 w 5431992"/>
              <a:gd name="connsiteY34" fmla="*/ 3590949 h 3727301"/>
              <a:gd name="connsiteX35" fmla="*/ 5016397 w 5431992"/>
              <a:gd name="connsiteY35" fmla="*/ 3585577 h 3727301"/>
              <a:gd name="connsiteX36" fmla="*/ 5028936 w 5431992"/>
              <a:gd name="connsiteY36" fmla="*/ 3576636 h 3727301"/>
              <a:gd name="connsiteX37" fmla="*/ 5053995 w 5431992"/>
              <a:gd name="connsiteY37" fmla="*/ 3560142 h 3727301"/>
              <a:gd name="connsiteX38" fmla="*/ 5072432 w 5431992"/>
              <a:gd name="connsiteY38" fmla="*/ 3545621 h 3727301"/>
              <a:gd name="connsiteX39" fmla="*/ 5082370 w 5431992"/>
              <a:gd name="connsiteY39" fmla="*/ 3538535 h 3727301"/>
              <a:gd name="connsiteX40" fmla="*/ 5092737 w 5431992"/>
              <a:gd name="connsiteY40" fmla="*/ 3529630 h 3727301"/>
              <a:gd name="connsiteX41" fmla="*/ 5113615 w 5431992"/>
              <a:gd name="connsiteY41" fmla="*/ 3513186 h 3727301"/>
              <a:gd name="connsiteX42" fmla="*/ 5133448 w 5431992"/>
              <a:gd name="connsiteY42" fmla="*/ 3494657 h 3727301"/>
              <a:gd name="connsiteX43" fmla="*/ 5143812 w 5431992"/>
              <a:gd name="connsiteY43" fmla="*/ 3485754 h 3727301"/>
              <a:gd name="connsiteX44" fmla="*/ 5152102 w 5431992"/>
              <a:gd name="connsiteY44" fmla="*/ 3477230 h 3727301"/>
              <a:gd name="connsiteX45" fmla="*/ 5169095 w 5431992"/>
              <a:gd name="connsiteY45" fmla="*/ 3461355 h 3727301"/>
              <a:gd name="connsiteX46" fmla="*/ 5189909 w 5431992"/>
              <a:gd name="connsiteY46" fmla="*/ 3438356 h 3727301"/>
              <a:gd name="connsiteX47" fmla="*/ 5200355 w 5431992"/>
              <a:gd name="connsiteY47" fmla="*/ 3427614 h 3727301"/>
              <a:gd name="connsiteX48" fmla="*/ 5206717 w 5431992"/>
              <a:gd name="connsiteY48" fmla="*/ 3419781 h 3727301"/>
              <a:gd name="connsiteX49" fmla="*/ 5220131 w 5431992"/>
              <a:gd name="connsiteY49" fmla="*/ 3404959 h 3727301"/>
              <a:gd name="connsiteX50" fmla="*/ 5241486 w 5431992"/>
              <a:gd name="connsiteY50" fmla="*/ 3376975 h 3727301"/>
              <a:gd name="connsiteX51" fmla="*/ 5251629 w 5431992"/>
              <a:gd name="connsiteY51" fmla="*/ 3364490 h 3727301"/>
              <a:gd name="connsiteX52" fmla="*/ 5256249 w 5431992"/>
              <a:gd name="connsiteY52" fmla="*/ 3357632 h 3727301"/>
              <a:gd name="connsiteX53" fmla="*/ 5266418 w 5431992"/>
              <a:gd name="connsiteY53" fmla="*/ 3344309 h 3727301"/>
              <a:gd name="connsiteX54" fmla="*/ 5287884 w 5431992"/>
              <a:gd name="connsiteY54" fmla="*/ 3310683 h 3727301"/>
              <a:gd name="connsiteX55" fmla="*/ 5297265 w 5431992"/>
              <a:gd name="connsiteY55" fmla="*/ 3296759 h 3727301"/>
              <a:gd name="connsiteX56" fmla="*/ 5300364 w 5431992"/>
              <a:gd name="connsiteY56" fmla="*/ 3291135 h 3727301"/>
              <a:gd name="connsiteX57" fmla="*/ 5307652 w 5431992"/>
              <a:gd name="connsiteY57" fmla="*/ 3279716 h 3727301"/>
              <a:gd name="connsiteX58" fmla="*/ 5328841 w 5431992"/>
              <a:gd name="connsiteY58" fmla="*/ 3239424 h 3727301"/>
              <a:gd name="connsiteX59" fmla="*/ 5336893 w 5431992"/>
              <a:gd name="connsiteY59" fmla="*/ 3224802 h 3727301"/>
              <a:gd name="connsiteX60" fmla="*/ 5338719 w 5431992"/>
              <a:gd name="connsiteY60" fmla="*/ 3220638 h 3727301"/>
              <a:gd name="connsiteX61" fmla="*/ 5343530 w 5431992"/>
              <a:gd name="connsiteY61" fmla="*/ 3211490 h 3727301"/>
              <a:gd name="connsiteX62" fmla="*/ 5364233 w 5431992"/>
              <a:gd name="connsiteY62" fmla="*/ 3162469 h 3727301"/>
              <a:gd name="connsiteX63" fmla="*/ 5370144 w 5431992"/>
              <a:gd name="connsiteY63" fmla="*/ 3148994 h 3727301"/>
              <a:gd name="connsiteX64" fmla="*/ 5370977 w 5431992"/>
              <a:gd name="connsiteY64" fmla="*/ 3146500 h 3727301"/>
              <a:gd name="connsiteX65" fmla="*/ 5373748 w 5431992"/>
              <a:gd name="connsiteY65" fmla="*/ 3139941 h 3727301"/>
              <a:gd name="connsiteX66" fmla="*/ 5394531 w 5431992"/>
              <a:gd name="connsiteY66" fmla="*/ 3076045 h 3727301"/>
              <a:gd name="connsiteX67" fmla="*/ 5396648 w 5431992"/>
              <a:gd name="connsiteY67" fmla="*/ 3069712 h 3727301"/>
              <a:gd name="connsiteX68" fmla="*/ 5396798 w 5431992"/>
              <a:gd name="connsiteY68" fmla="*/ 3069075 h 3727301"/>
              <a:gd name="connsiteX69" fmla="*/ 5397999 w 5431992"/>
              <a:gd name="connsiteY69" fmla="*/ 3065384 h 3727301"/>
              <a:gd name="connsiteX70" fmla="*/ 5427392 w 5431992"/>
              <a:gd name="connsiteY70" fmla="*/ 2908479 h 3727301"/>
              <a:gd name="connsiteX71" fmla="*/ 5427567 w 5431992"/>
              <a:gd name="connsiteY71" fmla="*/ 2904915 h 3727301"/>
              <a:gd name="connsiteX72" fmla="*/ 5427942 w 5431992"/>
              <a:gd name="connsiteY72" fmla="*/ 2902239 h 3727301"/>
              <a:gd name="connsiteX73" fmla="*/ 5429984 w 5431992"/>
              <a:gd name="connsiteY73" fmla="*/ 2858141 h 3727301"/>
              <a:gd name="connsiteX74" fmla="*/ 5431992 w 5431992"/>
              <a:gd name="connsiteY74" fmla="*/ 2858141 h 3727301"/>
              <a:gd name="connsiteX75" fmla="*/ 5431992 w 5431992"/>
              <a:gd name="connsiteY75" fmla="*/ 2815358 h 3727301"/>
              <a:gd name="connsiteX76" fmla="*/ 5431992 w 5431992"/>
              <a:gd name="connsiteY76" fmla="*/ 2815349 h 3727301"/>
              <a:gd name="connsiteX77" fmla="*/ 5431992 w 5431992"/>
              <a:gd name="connsiteY77" fmla="*/ 2815340 h 3727301"/>
              <a:gd name="connsiteX78" fmla="*/ 5431992 w 5431992"/>
              <a:gd name="connsiteY78" fmla="*/ 2814803 h 3727301"/>
              <a:gd name="connsiteX79" fmla="*/ 5431992 w 5431992"/>
              <a:gd name="connsiteY79" fmla="*/ 2806157 h 3727301"/>
              <a:gd name="connsiteX80" fmla="*/ 5431992 w 5431992"/>
              <a:gd name="connsiteY80" fmla="*/ 2439693 h 3727301"/>
              <a:gd name="connsiteX81" fmla="*/ 5431992 w 5431992"/>
              <a:gd name="connsiteY81" fmla="*/ 2396910 h 3727301"/>
              <a:gd name="connsiteX82" fmla="*/ 5431992 w 5431992"/>
              <a:gd name="connsiteY82" fmla="*/ 2396901 h 3727301"/>
              <a:gd name="connsiteX83" fmla="*/ 5431992 w 5431992"/>
              <a:gd name="connsiteY83" fmla="*/ 2396892 h 3727301"/>
              <a:gd name="connsiteX84" fmla="*/ 5431992 w 5431992"/>
              <a:gd name="connsiteY84" fmla="*/ 2396355 h 3727301"/>
              <a:gd name="connsiteX85" fmla="*/ 5431992 w 5431992"/>
              <a:gd name="connsiteY85" fmla="*/ 2387709 h 3727301"/>
              <a:gd name="connsiteX86" fmla="*/ 5431992 w 5431992"/>
              <a:gd name="connsiteY86" fmla="*/ 2251532 h 3727301"/>
              <a:gd name="connsiteX87" fmla="*/ 5431992 w 5431992"/>
              <a:gd name="connsiteY87" fmla="*/ 1894207 h 3727301"/>
              <a:gd name="connsiteX88" fmla="*/ 5431992 w 5431992"/>
              <a:gd name="connsiteY88" fmla="*/ 1833084 h 3727301"/>
              <a:gd name="connsiteX89" fmla="*/ 5431992 w 5431992"/>
              <a:gd name="connsiteY89" fmla="*/ 1475759 h 3727301"/>
              <a:gd name="connsiteX90" fmla="*/ 5431992 w 5431992"/>
              <a:gd name="connsiteY90" fmla="*/ 1330390 h 3727301"/>
              <a:gd name="connsiteX91" fmla="*/ 5431992 w 5431992"/>
              <a:gd name="connsiteY91" fmla="*/ 911942 h 3727301"/>
              <a:gd name="connsiteX92" fmla="*/ 5431992 w 5431992"/>
              <a:gd name="connsiteY92" fmla="*/ 418448 h 3727301"/>
              <a:gd name="connsiteX93" fmla="*/ 5431992 w 5431992"/>
              <a:gd name="connsiteY93" fmla="*/ 0 h 3727301"/>
              <a:gd name="connsiteX94" fmla="*/ 4587827 w 5431992"/>
              <a:gd name="connsiteY94" fmla="*/ 0 h 3727301"/>
              <a:gd name="connsiteX95" fmla="*/ 4540602 w 5431992"/>
              <a:gd name="connsiteY95" fmla="*/ 0 h 3727301"/>
              <a:gd name="connsiteX96" fmla="*/ 3646314 w 5431992"/>
              <a:gd name="connsiteY96" fmla="*/ 0 h 3727301"/>
              <a:gd name="connsiteX97" fmla="*/ 3060170 w 5431992"/>
              <a:gd name="connsiteY97" fmla="*/ 0 h 3727301"/>
              <a:gd name="connsiteX98" fmla="*/ 2802149 w 5431992"/>
              <a:gd name="connsiteY98" fmla="*/ 0 h 3727301"/>
              <a:gd name="connsiteX99" fmla="*/ 2754924 w 5431992"/>
              <a:gd name="connsiteY99" fmla="*/ 0 h 3727301"/>
              <a:gd name="connsiteX100" fmla="*/ 2677069 w 5431992"/>
              <a:gd name="connsiteY100" fmla="*/ 0 h 3727301"/>
              <a:gd name="connsiteX101" fmla="*/ 1274492 w 5431992"/>
              <a:gd name="connsiteY101" fmla="*/ 0 h 3727301"/>
              <a:gd name="connsiteX102" fmla="*/ 891391 w 5431992"/>
              <a:gd name="connsiteY102" fmla="*/ 0 h 3727301"/>
              <a:gd name="connsiteX103" fmla="*/ 891391 w 5431992"/>
              <a:gd name="connsiteY103" fmla="*/ 1089 h 3727301"/>
              <a:gd name="connsiteX104" fmla="*/ 891390 w 5431992"/>
              <a:gd name="connsiteY104" fmla="*/ 1089 h 3727301"/>
              <a:gd name="connsiteX105" fmla="*/ 891124 w 5431992"/>
              <a:gd name="connsiteY105" fmla="*/ 1089 h 3727301"/>
              <a:gd name="connsiteX106" fmla="*/ 879689 w 5431992"/>
              <a:gd name="connsiteY106" fmla="*/ 1089 h 3727301"/>
              <a:gd name="connsiteX107" fmla="*/ 844165 w 5431992"/>
              <a:gd name="connsiteY107" fmla="*/ 1089 h 3727301"/>
              <a:gd name="connsiteX108" fmla="*/ 844165 w 5431992"/>
              <a:gd name="connsiteY108" fmla="*/ 3362 h 3727301"/>
              <a:gd name="connsiteX109" fmla="*/ 805634 w 5431992"/>
              <a:gd name="connsiteY109" fmla="*/ 5226 h 3727301"/>
              <a:gd name="connsiteX110" fmla="*/ 802321 w 5431992"/>
              <a:gd name="connsiteY110" fmla="*/ 5701 h 3727301"/>
              <a:gd name="connsiteX111" fmla="*/ 800491 w 5431992"/>
              <a:gd name="connsiteY111" fmla="*/ 5795 h 3727301"/>
              <a:gd name="connsiteX112" fmla="*/ 783113 w 5431992"/>
              <a:gd name="connsiteY112" fmla="*/ 8449 h 3727301"/>
              <a:gd name="connsiteX113" fmla="*/ 727559 w 5431992"/>
              <a:gd name="connsiteY113" fmla="*/ 16399 h 3727301"/>
              <a:gd name="connsiteX114" fmla="*/ 721169 w 5431992"/>
              <a:gd name="connsiteY114" fmla="*/ 17910 h 3727301"/>
              <a:gd name="connsiteX115" fmla="*/ 717406 w 5431992"/>
              <a:gd name="connsiteY115" fmla="*/ 18484 h 3727301"/>
              <a:gd name="connsiteX116" fmla="*/ 697980 w 5431992"/>
              <a:gd name="connsiteY116" fmla="*/ 23394 h 3727301"/>
              <a:gd name="connsiteX117" fmla="*/ 651798 w 5431992"/>
              <a:gd name="connsiteY117" fmla="*/ 34313 h 3727301"/>
              <a:gd name="connsiteX118" fmla="*/ 642455 w 5431992"/>
              <a:gd name="connsiteY118" fmla="*/ 37423 h 3727301"/>
              <a:gd name="connsiteX119" fmla="*/ 637004 w 5431992"/>
              <a:gd name="connsiteY119" fmla="*/ 38800 h 3727301"/>
              <a:gd name="connsiteX120" fmla="*/ 618418 w 5431992"/>
              <a:gd name="connsiteY120" fmla="*/ 45422 h 3727301"/>
              <a:gd name="connsiteX121" fmla="*/ 578659 w 5431992"/>
              <a:gd name="connsiteY121" fmla="*/ 58657 h 3727301"/>
              <a:gd name="connsiteX122" fmla="*/ 566594 w 5431992"/>
              <a:gd name="connsiteY122" fmla="*/ 63891 h 3727301"/>
              <a:gd name="connsiteX123" fmla="*/ 559656 w 5431992"/>
              <a:gd name="connsiteY123" fmla="*/ 66364 h 3727301"/>
              <a:gd name="connsiteX124" fmla="*/ 542827 w 5431992"/>
              <a:gd name="connsiteY124" fmla="*/ 74202 h 3727301"/>
              <a:gd name="connsiteX125" fmla="*/ 508443 w 5431992"/>
              <a:gd name="connsiteY125" fmla="*/ 89119 h 3727301"/>
              <a:gd name="connsiteX126" fmla="*/ 493927 w 5431992"/>
              <a:gd name="connsiteY126" fmla="*/ 96979 h 3727301"/>
              <a:gd name="connsiteX127" fmla="*/ 485730 w 5431992"/>
              <a:gd name="connsiteY127" fmla="*/ 100797 h 3727301"/>
              <a:gd name="connsiteX128" fmla="*/ 470995 w 5431992"/>
              <a:gd name="connsiteY128" fmla="*/ 109396 h 3727301"/>
              <a:gd name="connsiteX129" fmla="*/ 441454 w 5431992"/>
              <a:gd name="connsiteY129" fmla="*/ 125391 h 3727301"/>
              <a:gd name="connsiteX130" fmla="*/ 424802 w 5431992"/>
              <a:gd name="connsiteY130" fmla="*/ 136352 h 3727301"/>
              <a:gd name="connsiteX131" fmla="*/ 415596 w 5431992"/>
              <a:gd name="connsiteY131" fmla="*/ 141724 h 3727301"/>
              <a:gd name="connsiteX132" fmla="*/ 403056 w 5431992"/>
              <a:gd name="connsiteY132" fmla="*/ 150665 h 3727301"/>
              <a:gd name="connsiteX133" fmla="*/ 377997 w 5431992"/>
              <a:gd name="connsiteY133" fmla="*/ 167159 h 3727301"/>
              <a:gd name="connsiteX134" fmla="*/ 359561 w 5431992"/>
              <a:gd name="connsiteY134" fmla="*/ 181680 h 3727301"/>
              <a:gd name="connsiteX135" fmla="*/ 349622 w 5431992"/>
              <a:gd name="connsiteY135" fmla="*/ 188766 h 3727301"/>
              <a:gd name="connsiteX136" fmla="*/ 339257 w 5431992"/>
              <a:gd name="connsiteY136" fmla="*/ 197671 h 3727301"/>
              <a:gd name="connsiteX137" fmla="*/ 318377 w 5431992"/>
              <a:gd name="connsiteY137" fmla="*/ 214115 h 3727301"/>
              <a:gd name="connsiteX138" fmla="*/ 298544 w 5431992"/>
              <a:gd name="connsiteY138" fmla="*/ 232644 h 3727301"/>
              <a:gd name="connsiteX139" fmla="*/ 288180 w 5431992"/>
              <a:gd name="connsiteY139" fmla="*/ 241547 h 3727301"/>
              <a:gd name="connsiteX140" fmla="*/ 279890 w 5431992"/>
              <a:gd name="connsiteY140" fmla="*/ 250071 h 3727301"/>
              <a:gd name="connsiteX141" fmla="*/ 262898 w 5431992"/>
              <a:gd name="connsiteY141" fmla="*/ 265946 h 3727301"/>
              <a:gd name="connsiteX142" fmla="*/ 242085 w 5431992"/>
              <a:gd name="connsiteY142" fmla="*/ 288944 h 3727301"/>
              <a:gd name="connsiteX143" fmla="*/ 231637 w 5431992"/>
              <a:gd name="connsiteY143" fmla="*/ 299687 h 3727301"/>
              <a:gd name="connsiteX144" fmla="*/ 225275 w 5431992"/>
              <a:gd name="connsiteY144" fmla="*/ 307520 h 3727301"/>
              <a:gd name="connsiteX145" fmla="*/ 211862 w 5431992"/>
              <a:gd name="connsiteY145" fmla="*/ 322342 h 3727301"/>
              <a:gd name="connsiteX146" fmla="*/ 190506 w 5431992"/>
              <a:gd name="connsiteY146" fmla="*/ 350326 h 3727301"/>
              <a:gd name="connsiteX147" fmla="*/ 180363 w 5431992"/>
              <a:gd name="connsiteY147" fmla="*/ 362811 h 3727301"/>
              <a:gd name="connsiteX148" fmla="*/ 175743 w 5431992"/>
              <a:gd name="connsiteY148" fmla="*/ 369669 h 3727301"/>
              <a:gd name="connsiteX149" fmla="*/ 165574 w 5431992"/>
              <a:gd name="connsiteY149" fmla="*/ 382992 h 3727301"/>
              <a:gd name="connsiteX150" fmla="*/ 144110 w 5431992"/>
              <a:gd name="connsiteY150" fmla="*/ 416618 h 3727301"/>
              <a:gd name="connsiteX151" fmla="*/ 134728 w 5431992"/>
              <a:gd name="connsiteY151" fmla="*/ 430542 h 3727301"/>
              <a:gd name="connsiteX152" fmla="*/ 131630 w 5431992"/>
              <a:gd name="connsiteY152" fmla="*/ 436167 h 3727301"/>
              <a:gd name="connsiteX153" fmla="*/ 124340 w 5431992"/>
              <a:gd name="connsiteY153" fmla="*/ 447585 h 3727301"/>
              <a:gd name="connsiteX154" fmla="*/ 103153 w 5431992"/>
              <a:gd name="connsiteY154" fmla="*/ 487877 h 3727301"/>
              <a:gd name="connsiteX155" fmla="*/ 95100 w 5431992"/>
              <a:gd name="connsiteY155" fmla="*/ 502499 h 3727301"/>
              <a:gd name="connsiteX156" fmla="*/ 93274 w 5431992"/>
              <a:gd name="connsiteY156" fmla="*/ 506663 h 3727301"/>
              <a:gd name="connsiteX157" fmla="*/ 88463 w 5431992"/>
              <a:gd name="connsiteY157" fmla="*/ 515811 h 3727301"/>
              <a:gd name="connsiteX158" fmla="*/ 67759 w 5431992"/>
              <a:gd name="connsiteY158" fmla="*/ 564832 h 3727301"/>
              <a:gd name="connsiteX159" fmla="*/ 61850 w 5431992"/>
              <a:gd name="connsiteY159" fmla="*/ 578307 h 3727301"/>
              <a:gd name="connsiteX160" fmla="*/ 61016 w 5431992"/>
              <a:gd name="connsiteY160" fmla="*/ 580801 h 3727301"/>
              <a:gd name="connsiteX161" fmla="*/ 58246 w 5431992"/>
              <a:gd name="connsiteY161" fmla="*/ 587360 h 3727301"/>
              <a:gd name="connsiteX162" fmla="*/ 37462 w 5431992"/>
              <a:gd name="connsiteY162" fmla="*/ 651256 h 3727301"/>
              <a:gd name="connsiteX163" fmla="*/ 35344 w 5431992"/>
              <a:gd name="connsiteY163" fmla="*/ 657589 h 3727301"/>
              <a:gd name="connsiteX164" fmla="*/ 35195 w 5431992"/>
              <a:gd name="connsiteY164" fmla="*/ 658226 h 3727301"/>
              <a:gd name="connsiteX165" fmla="*/ 33994 w 5431992"/>
              <a:gd name="connsiteY165" fmla="*/ 661917 h 3727301"/>
              <a:gd name="connsiteX166" fmla="*/ 4602 w 5431992"/>
              <a:gd name="connsiteY166" fmla="*/ 818822 h 3727301"/>
              <a:gd name="connsiteX167" fmla="*/ 4426 w 5431992"/>
              <a:gd name="connsiteY167" fmla="*/ 822387 h 3727301"/>
              <a:gd name="connsiteX168" fmla="*/ 4051 w 5431992"/>
              <a:gd name="connsiteY168" fmla="*/ 825062 h 3727301"/>
              <a:gd name="connsiteX169" fmla="*/ 2008 w 5431992"/>
              <a:gd name="connsiteY169" fmla="*/ 869160 h 3727301"/>
              <a:gd name="connsiteX170" fmla="*/ 1 w 5431992"/>
              <a:gd name="connsiteY170" fmla="*/ 869160 h 3727301"/>
              <a:gd name="connsiteX171" fmla="*/ 1 w 5431992"/>
              <a:gd name="connsiteY171" fmla="*/ 911944 h 3727301"/>
              <a:gd name="connsiteX172" fmla="*/ 0 w 5431992"/>
              <a:gd name="connsiteY172" fmla="*/ 911952 h 3727301"/>
              <a:gd name="connsiteX173" fmla="*/ 1 w 5431992"/>
              <a:gd name="connsiteY173" fmla="*/ 911961 h 3727301"/>
              <a:gd name="connsiteX174" fmla="*/ 1 w 5431992"/>
              <a:gd name="connsiteY174" fmla="*/ 912498 h 3727301"/>
              <a:gd name="connsiteX175" fmla="*/ 1 w 5431992"/>
              <a:gd name="connsiteY175" fmla="*/ 921144 h 3727301"/>
              <a:gd name="connsiteX176" fmla="*/ 0 w 5431992"/>
              <a:gd name="connsiteY176" fmla="*/ 921144 h 3727301"/>
              <a:gd name="connsiteX177" fmla="*/ 0 w 5431992"/>
              <a:gd name="connsiteY177" fmla="*/ 1330400 h 3727301"/>
              <a:gd name="connsiteX178" fmla="*/ 0 w 5431992"/>
              <a:gd name="connsiteY178" fmla="*/ 1339592 h 3727301"/>
              <a:gd name="connsiteX179" fmla="*/ 0 w 5431992"/>
              <a:gd name="connsiteY179" fmla="*/ 1475768 h 3727301"/>
              <a:gd name="connsiteX180" fmla="*/ 0 w 5431992"/>
              <a:gd name="connsiteY180" fmla="*/ 1475769 h 3727301"/>
              <a:gd name="connsiteX181" fmla="*/ 0 w 5431992"/>
              <a:gd name="connsiteY181" fmla="*/ 1475770 h 3727301"/>
              <a:gd name="connsiteX182" fmla="*/ 0 w 5431992"/>
              <a:gd name="connsiteY182" fmla="*/ 1833095 h 3727301"/>
              <a:gd name="connsiteX183" fmla="*/ 0 w 5431992"/>
              <a:gd name="connsiteY183" fmla="*/ 1894216 h 3727301"/>
              <a:gd name="connsiteX184" fmla="*/ 0 w 5431992"/>
              <a:gd name="connsiteY184" fmla="*/ 1894217 h 3727301"/>
              <a:gd name="connsiteX185" fmla="*/ 0 w 5431992"/>
              <a:gd name="connsiteY185" fmla="*/ 1894218 h 3727301"/>
              <a:gd name="connsiteX186" fmla="*/ 0 w 5431992"/>
              <a:gd name="connsiteY186" fmla="*/ 2251543 h 3727301"/>
              <a:gd name="connsiteX187" fmla="*/ 0 w 5431992"/>
              <a:gd name="connsiteY187" fmla="*/ 2396911 h 3727301"/>
              <a:gd name="connsiteX188" fmla="*/ 0 w 5431992"/>
              <a:gd name="connsiteY188" fmla="*/ 2815359 h 3727301"/>
              <a:gd name="connsiteX189" fmla="*/ 0 w 5431992"/>
              <a:gd name="connsiteY189" fmla="*/ 3308853 h 3727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431992" h="3727301">
                <a:moveTo>
                  <a:pt x="0" y="3727301"/>
                </a:moveTo>
                <a:lnTo>
                  <a:pt x="844165" y="3727301"/>
                </a:lnTo>
                <a:lnTo>
                  <a:pt x="891390" y="3727301"/>
                </a:lnTo>
                <a:lnTo>
                  <a:pt x="2371823" y="3727301"/>
                </a:lnTo>
                <a:lnTo>
                  <a:pt x="2754923" y="3727301"/>
                </a:lnTo>
                <a:lnTo>
                  <a:pt x="4157501" y="3727301"/>
                </a:lnTo>
                <a:lnTo>
                  <a:pt x="4540601" y="3727301"/>
                </a:lnTo>
                <a:lnTo>
                  <a:pt x="4540601" y="3726212"/>
                </a:lnTo>
                <a:lnTo>
                  <a:pt x="4540602" y="3726212"/>
                </a:lnTo>
                <a:lnTo>
                  <a:pt x="4540868" y="3726212"/>
                </a:lnTo>
                <a:lnTo>
                  <a:pt x="4552303" y="3726212"/>
                </a:lnTo>
                <a:lnTo>
                  <a:pt x="4587827" y="3726212"/>
                </a:lnTo>
                <a:lnTo>
                  <a:pt x="4587827" y="3723939"/>
                </a:lnTo>
                <a:lnTo>
                  <a:pt x="4626359" y="3722075"/>
                </a:lnTo>
                <a:lnTo>
                  <a:pt x="4629673" y="3721600"/>
                </a:lnTo>
                <a:lnTo>
                  <a:pt x="4631501" y="3721506"/>
                </a:lnTo>
                <a:lnTo>
                  <a:pt x="4648879" y="3718852"/>
                </a:lnTo>
                <a:lnTo>
                  <a:pt x="4704433" y="3710902"/>
                </a:lnTo>
                <a:lnTo>
                  <a:pt x="4710823" y="3709391"/>
                </a:lnTo>
                <a:lnTo>
                  <a:pt x="4714586" y="3708817"/>
                </a:lnTo>
                <a:lnTo>
                  <a:pt x="4734014" y="3703907"/>
                </a:lnTo>
                <a:lnTo>
                  <a:pt x="4780194" y="3692988"/>
                </a:lnTo>
                <a:lnTo>
                  <a:pt x="4789537" y="3689878"/>
                </a:lnTo>
                <a:lnTo>
                  <a:pt x="4794988" y="3688501"/>
                </a:lnTo>
                <a:lnTo>
                  <a:pt x="4813574" y="3681879"/>
                </a:lnTo>
                <a:lnTo>
                  <a:pt x="4853335" y="3668644"/>
                </a:lnTo>
                <a:lnTo>
                  <a:pt x="4865400" y="3663410"/>
                </a:lnTo>
                <a:lnTo>
                  <a:pt x="4872337" y="3660937"/>
                </a:lnTo>
                <a:lnTo>
                  <a:pt x="4889166" y="3653099"/>
                </a:lnTo>
                <a:lnTo>
                  <a:pt x="4923551" y="3638182"/>
                </a:lnTo>
                <a:lnTo>
                  <a:pt x="4938066" y="3630322"/>
                </a:lnTo>
                <a:lnTo>
                  <a:pt x="4946263" y="3626504"/>
                </a:lnTo>
                <a:lnTo>
                  <a:pt x="4960997" y="3617905"/>
                </a:lnTo>
                <a:lnTo>
                  <a:pt x="4990539" y="3601910"/>
                </a:lnTo>
                <a:lnTo>
                  <a:pt x="5007191" y="3590949"/>
                </a:lnTo>
                <a:lnTo>
                  <a:pt x="5016397" y="3585577"/>
                </a:lnTo>
                <a:lnTo>
                  <a:pt x="5028936" y="3576636"/>
                </a:lnTo>
                <a:lnTo>
                  <a:pt x="5053995" y="3560142"/>
                </a:lnTo>
                <a:lnTo>
                  <a:pt x="5072432" y="3545621"/>
                </a:lnTo>
                <a:lnTo>
                  <a:pt x="5082370" y="3538535"/>
                </a:lnTo>
                <a:lnTo>
                  <a:pt x="5092737" y="3529630"/>
                </a:lnTo>
                <a:lnTo>
                  <a:pt x="5113615" y="3513186"/>
                </a:lnTo>
                <a:lnTo>
                  <a:pt x="5133448" y="3494657"/>
                </a:lnTo>
                <a:lnTo>
                  <a:pt x="5143812" y="3485754"/>
                </a:lnTo>
                <a:lnTo>
                  <a:pt x="5152102" y="3477230"/>
                </a:lnTo>
                <a:lnTo>
                  <a:pt x="5169095" y="3461355"/>
                </a:lnTo>
                <a:lnTo>
                  <a:pt x="5189909" y="3438356"/>
                </a:lnTo>
                <a:lnTo>
                  <a:pt x="5200355" y="3427614"/>
                </a:lnTo>
                <a:lnTo>
                  <a:pt x="5206717" y="3419781"/>
                </a:lnTo>
                <a:lnTo>
                  <a:pt x="5220131" y="3404959"/>
                </a:lnTo>
                <a:lnTo>
                  <a:pt x="5241486" y="3376975"/>
                </a:lnTo>
                <a:lnTo>
                  <a:pt x="5251629" y="3364490"/>
                </a:lnTo>
                <a:lnTo>
                  <a:pt x="5256249" y="3357632"/>
                </a:lnTo>
                <a:lnTo>
                  <a:pt x="5266418" y="3344309"/>
                </a:lnTo>
                <a:lnTo>
                  <a:pt x="5287884" y="3310683"/>
                </a:lnTo>
                <a:lnTo>
                  <a:pt x="5297265" y="3296759"/>
                </a:lnTo>
                <a:lnTo>
                  <a:pt x="5300364" y="3291135"/>
                </a:lnTo>
                <a:lnTo>
                  <a:pt x="5307652" y="3279716"/>
                </a:lnTo>
                <a:lnTo>
                  <a:pt x="5328841" y="3239424"/>
                </a:lnTo>
                <a:lnTo>
                  <a:pt x="5336893" y="3224802"/>
                </a:lnTo>
                <a:lnTo>
                  <a:pt x="5338719" y="3220638"/>
                </a:lnTo>
                <a:lnTo>
                  <a:pt x="5343530" y="3211490"/>
                </a:lnTo>
                <a:lnTo>
                  <a:pt x="5364233" y="3162469"/>
                </a:lnTo>
                <a:lnTo>
                  <a:pt x="5370144" y="3148994"/>
                </a:lnTo>
                <a:lnTo>
                  <a:pt x="5370977" y="3146500"/>
                </a:lnTo>
                <a:lnTo>
                  <a:pt x="5373748" y="3139941"/>
                </a:lnTo>
                <a:lnTo>
                  <a:pt x="5394531" y="3076045"/>
                </a:lnTo>
                <a:lnTo>
                  <a:pt x="5396648" y="3069712"/>
                </a:lnTo>
                <a:lnTo>
                  <a:pt x="5396798" y="3069075"/>
                </a:lnTo>
                <a:lnTo>
                  <a:pt x="5397999" y="3065384"/>
                </a:lnTo>
                <a:cubicBezTo>
                  <a:pt x="5412111" y="3014743"/>
                  <a:pt x="5422044" y="2962304"/>
                  <a:pt x="5427392" y="2908479"/>
                </a:cubicBezTo>
                <a:lnTo>
                  <a:pt x="5427567" y="2904915"/>
                </a:lnTo>
                <a:lnTo>
                  <a:pt x="5427942" y="2902239"/>
                </a:lnTo>
                <a:lnTo>
                  <a:pt x="5429984" y="2858141"/>
                </a:lnTo>
                <a:lnTo>
                  <a:pt x="5431992" y="2858141"/>
                </a:lnTo>
                <a:lnTo>
                  <a:pt x="5431992" y="2815358"/>
                </a:lnTo>
                <a:lnTo>
                  <a:pt x="5431992" y="2815349"/>
                </a:lnTo>
                <a:lnTo>
                  <a:pt x="5431992" y="2815340"/>
                </a:lnTo>
                <a:lnTo>
                  <a:pt x="5431992" y="2814803"/>
                </a:lnTo>
                <a:lnTo>
                  <a:pt x="5431992" y="2806157"/>
                </a:lnTo>
                <a:lnTo>
                  <a:pt x="5431992" y="2439693"/>
                </a:lnTo>
                <a:lnTo>
                  <a:pt x="5431992" y="2396910"/>
                </a:lnTo>
                <a:lnTo>
                  <a:pt x="5431992" y="2396901"/>
                </a:lnTo>
                <a:lnTo>
                  <a:pt x="5431992" y="2396892"/>
                </a:lnTo>
                <a:lnTo>
                  <a:pt x="5431992" y="2396355"/>
                </a:lnTo>
                <a:lnTo>
                  <a:pt x="5431992" y="2387709"/>
                </a:lnTo>
                <a:lnTo>
                  <a:pt x="5431992" y="2251532"/>
                </a:lnTo>
                <a:lnTo>
                  <a:pt x="5431992" y="1894207"/>
                </a:lnTo>
                <a:lnTo>
                  <a:pt x="5431992" y="1833084"/>
                </a:lnTo>
                <a:lnTo>
                  <a:pt x="5431992" y="1475759"/>
                </a:lnTo>
                <a:lnTo>
                  <a:pt x="5431992" y="1330390"/>
                </a:lnTo>
                <a:lnTo>
                  <a:pt x="5431992" y="911942"/>
                </a:lnTo>
                <a:lnTo>
                  <a:pt x="5431992" y="418448"/>
                </a:lnTo>
                <a:lnTo>
                  <a:pt x="5431992" y="0"/>
                </a:lnTo>
                <a:lnTo>
                  <a:pt x="4587827" y="0"/>
                </a:lnTo>
                <a:lnTo>
                  <a:pt x="4540602" y="0"/>
                </a:lnTo>
                <a:lnTo>
                  <a:pt x="3646314" y="0"/>
                </a:lnTo>
                <a:lnTo>
                  <a:pt x="3060170" y="0"/>
                </a:lnTo>
                <a:lnTo>
                  <a:pt x="2802149" y="0"/>
                </a:lnTo>
                <a:lnTo>
                  <a:pt x="2754924" y="0"/>
                </a:lnTo>
                <a:lnTo>
                  <a:pt x="2677069" y="0"/>
                </a:lnTo>
                <a:lnTo>
                  <a:pt x="1274492" y="0"/>
                </a:lnTo>
                <a:lnTo>
                  <a:pt x="891391" y="0"/>
                </a:lnTo>
                <a:lnTo>
                  <a:pt x="891391" y="1089"/>
                </a:lnTo>
                <a:lnTo>
                  <a:pt x="891390" y="1089"/>
                </a:lnTo>
                <a:lnTo>
                  <a:pt x="891124" y="1089"/>
                </a:lnTo>
                <a:lnTo>
                  <a:pt x="879689" y="1089"/>
                </a:lnTo>
                <a:lnTo>
                  <a:pt x="844165" y="1089"/>
                </a:lnTo>
                <a:lnTo>
                  <a:pt x="844165" y="3362"/>
                </a:lnTo>
                <a:lnTo>
                  <a:pt x="805634" y="5226"/>
                </a:lnTo>
                <a:lnTo>
                  <a:pt x="802321" y="5701"/>
                </a:lnTo>
                <a:lnTo>
                  <a:pt x="800491" y="5795"/>
                </a:lnTo>
                <a:lnTo>
                  <a:pt x="783113" y="8449"/>
                </a:lnTo>
                <a:lnTo>
                  <a:pt x="727559" y="16399"/>
                </a:lnTo>
                <a:lnTo>
                  <a:pt x="721169" y="17910"/>
                </a:lnTo>
                <a:lnTo>
                  <a:pt x="717406" y="18484"/>
                </a:lnTo>
                <a:lnTo>
                  <a:pt x="697980" y="23394"/>
                </a:lnTo>
                <a:lnTo>
                  <a:pt x="651798" y="34313"/>
                </a:lnTo>
                <a:lnTo>
                  <a:pt x="642455" y="37423"/>
                </a:lnTo>
                <a:lnTo>
                  <a:pt x="637004" y="38800"/>
                </a:lnTo>
                <a:lnTo>
                  <a:pt x="618418" y="45422"/>
                </a:lnTo>
                <a:lnTo>
                  <a:pt x="578659" y="58657"/>
                </a:lnTo>
                <a:lnTo>
                  <a:pt x="566594" y="63891"/>
                </a:lnTo>
                <a:lnTo>
                  <a:pt x="559656" y="66364"/>
                </a:lnTo>
                <a:lnTo>
                  <a:pt x="542827" y="74202"/>
                </a:lnTo>
                <a:lnTo>
                  <a:pt x="508443" y="89119"/>
                </a:lnTo>
                <a:lnTo>
                  <a:pt x="493927" y="96979"/>
                </a:lnTo>
                <a:lnTo>
                  <a:pt x="485730" y="100797"/>
                </a:lnTo>
                <a:lnTo>
                  <a:pt x="470995" y="109396"/>
                </a:lnTo>
                <a:lnTo>
                  <a:pt x="441454" y="125391"/>
                </a:lnTo>
                <a:lnTo>
                  <a:pt x="424802" y="136352"/>
                </a:lnTo>
                <a:lnTo>
                  <a:pt x="415596" y="141724"/>
                </a:lnTo>
                <a:lnTo>
                  <a:pt x="403056" y="150665"/>
                </a:lnTo>
                <a:lnTo>
                  <a:pt x="377997" y="167159"/>
                </a:lnTo>
                <a:lnTo>
                  <a:pt x="359561" y="181680"/>
                </a:lnTo>
                <a:lnTo>
                  <a:pt x="349622" y="188766"/>
                </a:lnTo>
                <a:lnTo>
                  <a:pt x="339257" y="197671"/>
                </a:lnTo>
                <a:lnTo>
                  <a:pt x="318377" y="214115"/>
                </a:lnTo>
                <a:lnTo>
                  <a:pt x="298544" y="232644"/>
                </a:lnTo>
                <a:lnTo>
                  <a:pt x="288180" y="241547"/>
                </a:lnTo>
                <a:lnTo>
                  <a:pt x="279890" y="250071"/>
                </a:lnTo>
                <a:lnTo>
                  <a:pt x="262898" y="265946"/>
                </a:lnTo>
                <a:lnTo>
                  <a:pt x="242085" y="288944"/>
                </a:lnTo>
                <a:lnTo>
                  <a:pt x="231637" y="299687"/>
                </a:lnTo>
                <a:lnTo>
                  <a:pt x="225275" y="307520"/>
                </a:lnTo>
                <a:lnTo>
                  <a:pt x="211862" y="322342"/>
                </a:lnTo>
                <a:lnTo>
                  <a:pt x="190506" y="350326"/>
                </a:lnTo>
                <a:lnTo>
                  <a:pt x="180363" y="362811"/>
                </a:lnTo>
                <a:lnTo>
                  <a:pt x="175743" y="369669"/>
                </a:lnTo>
                <a:lnTo>
                  <a:pt x="165574" y="382992"/>
                </a:lnTo>
                <a:lnTo>
                  <a:pt x="144110" y="416618"/>
                </a:lnTo>
                <a:lnTo>
                  <a:pt x="134728" y="430542"/>
                </a:lnTo>
                <a:lnTo>
                  <a:pt x="131630" y="436167"/>
                </a:lnTo>
                <a:lnTo>
                  <a:pt x="124340" y="447585"/>
                </a:lnTo>
                <a:lnTo>
                  <a:pt x="103153" y="487877"/>
                </a:lnTo>
                <a:lnTo>
                  <a:pt x="95100" y="502499"/>
                </a:lnTo>
                <a:lnTo>
                  <a:pt x="93274" y="506663"/>
                </a:lnTo>
                <a:lnTo>
                  <a:pt x="88463" y="515811"/>
                </a:lnTo>
                <a:lnTo>
                  <a:pt x="67759" y="564832"/>
                </a:lnTo>
                <a:lnTo>
                  <a:pt x="61850" y="578307"/>
                </a:lnTo>
                <a:lnTo>
                  <a:pt x="61016" y="580801"/>
                </a:lnTo>
                <a:lnTo>
                  <a:pt x="58246" y="587360"/>
                </a:lnTo>
                <a:lnTo>
                  <a:pt x="37462" y="651256"/>
                </a:lnTo>
                <a:lnTo>
                  <a:pt x="35344" y="657589"/>
                </a:lnTo>
                <a:lnTo>
                  <a:pt x="35195" y="658226"/>
                </a:lnTo>
                <a:lnTo>
                  <a:pt x="33994" y="661917"/>
                </a:lnTo>
                <a:cubicBezTo>
                  <a:pt x="19882" y="712558"/>
                  <a:pt x="9949" y="764997"/>
                  <a:pt x="4602" y="818822"/>
                </a:cubicBezTo>
                <a:lnTo>
                  <a:pt x="4426" y="822387"/>
                </a:lnTo>
                <a:lnTo>
                  <a:pt x="4051" y="825062"/>
                </a:lnTo>
                <a:lnTo>
                  <a:pt x="2008" y="869160"/>
                </a:lnTo>
                <a:lnTo>
                  <a:pt x="1" y="869160"/>
                </a:lnTo>
                <a:lnTo>
                  <a:pt x="1" y="911944"/>
                </a:lnTo>
                <a:lnTo>
                  <a:pt x="0" y="911952"/>
                </a:lnTo>
                <a:lnTo>
                  <a:pt x="1" y="911961"/>
                </a:lnTo>
                <a:lnTo>
                  <a:pt x="1" y="912498"/>
                </a:lnTo>
                <a:lnTo>
                  <a:pt x="1" y="921144"/>
                </a:lnTo>
                <a:lnTo>
                  <a:pt x="0" y="921144"/>
                </a:lnTo>
                <a:lnTo>
                  <a:pt x="0" y="1330400"/>
                </a:lnTo>
                <a:lnTo>
                  <a:pt x="0" y="1339592"/>
                </a:lnTo>
                <a:lnTo>
                  <a:pt x="0" y="1475768"/>
                </a:lnTo>
                <a:lnTo>
                  <a:pt x="0" y="1475769"/>
                </a:lnTo>
                <a:lnTo>
                  <a:pt x="0" y="1475770"/>
                </a:lnTo>
                <a:lnTo>
                  <a:pt x="0" y="1833095"/>
                </a:lnTo>
                <a:lnTo>
                  <a:pt x="0" y="1894216"/>
                </a:lnTo>
                <a:lnTo>
                  <a:pt x="0" y="1894217"/>
                </a:lnTo>
                <a:lnTo>
                  <a:pt x="0" y="1894218"/>
                </a:lnTo>
                <a:lnTo>
                  <a:pt x="0" y="2251543"/>
                </a:lnTo>
                <a:lnTo>
                  <a:pt x="0" y="2396911"/>
                </a:lnTo>
                <a:lnTo>
                  <a:pt x="0" y="2815359"/>
                </a:lnTo>
                <a:lnTo>
                  <a:pt x="0" y="3308853"/>
                </a:lnTo>
                <a:close/>
              </a:path>
            </a:pathLst>
          </a:custGeom>
          <a:solidFill>
            <a:srgbClr val="1D316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  <a:sym typeface="Arial"/>
            </a:endParaRPr>
          </a:p>
        </p:txBody>
      </p:sp>
      <p:pic>
        <p:nvPicPr>
          <p:cNvPr id="359" name="Graphic 358">
            <a:extLst>
              <a:ext uri="{FF2B5EF4-FFF2-40B4-BE49-F238E27FC236}">
                <a16:creationId xmlns:a16="http://schemas.microsoft.com/office/drawing/2014/main" id="{1BDCE869-3CFA-F946-94D7-A6FE0C2ABB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2512512" y="109016"/>
            <a:ext cx="686301" cy="693809"/>
          </a:xfrm>
          <a:prstGeom prst="rect">
            <a:avLst/>
          </a:prstGeom>
        </p:spPr>
      </p:pic>
      <p:sp>
        <p:nvSpPr>
          <p:cNvPr id="361" name="Freeform: Shape 90">
            <a:extLst>
              <a:ext uri="{FF2B5EF4-FFF2-40B4-BE49-F238E27FC236}">
                <a16:creationId xmlns:a16="http://schemas.microsoft.com/office/drawing/2014/main" id="{12DE67FE-FCDF-8D4C-8F8A-CA29008023C9}"/>
              </a:ext>
            </a:extLst>
          </p:cNvPr>
          <p:cNvSpPr/>
          <p:nvPr/>
        </p:nvSpPr>
        <p:spPr>
          <a:xfrm>
            <a:off x="3335926" y="212986"/>
            <a:ext cx="3225573" cy="880373"/>
          </a:xfrm>
          <a:custGeom>
            <a:avLst/>
            <a:gdLst>
              <a:gd name="connsiteX0" fmla="*/ 325384 w 4047850"/>
              <a:gd name="connsiteY0" fmla="*/ 0 h 651348"/>
              <a:gd name="connsiteX1" fmla="*/ 593248 w 4047850"/>
              <a:gd name="connsiteY1" fmla="*/ 0 h 651348"/>
              <a:gd name="connsiteX2" fmla="*/ 1005630 w 4047850"/>
              <a:gd name="connsiteY2" fmla="*/ 0 h 651348"/>
              <a:gd name="connsiteX3" fmla="*/ 1022869 w 4047850"/>
              <a:gd name="connsiteY3" fmla="*/ 0 h 651348"/>
              <a:gd name="connsiteX4" fmla="*/ 3042220 w 4047850"/>
              <a:gd name="connsiteY4" fmla="*/ 0 h 651348"/>
              <a:gd name="connsiteX5" fmla="*/ 3394765 w 4047850"/>
              <a:gd name="connsiteY5" fmla="*/ 0 h 651348"/>
              <a:gd name="connsiteX6" fmla="*/ 3722465 w 4047850"/>
              <a:gd name="connsiteY6" fmla="*/ 0 h 651348"/>
              <a:gd name="connsiteX7" fmla="*/ 3739704 w 4047850"/>
              <a:gd name="connsiteY7" fmla="*/ 0 h 651348"/>
              <a:gd name="connsiteX8" fmla="*/ 3739704 w 4047850"/>
              <a:gd name="connsiteY8" fmla="*/ 385 h 651348"/>
              <a:gd name="connsiteX9" fmla="*/ 4047850 w 4047850"/>
              <a:gd name="connsiteY9" fmla="*/ 385 h 651348"/>
              <a:gd name="connsiteX10" fmla="*/ 4047850 w 4047850"/>
              <a:gd name="connsiteY10" fmla="*/ 325477 h 651348"/>
              <a:gd name="connsiteX11" fmla="*/ 4047850 w 4047850"/>
              <a:gd name="connsiteY11" fmla="*/ 325669 h 651348"/>
              <a:gd name="connsiteX12" fmla="*/ 4047850 w 4047850"/>
              <a:gd name="connsiteY12" fmla="*/ 325672 h 651348"/>
              <a:gd name="connsiteX13" fmla="*/ 4047850 w 4047850"/>
              <a:gd name="connsiteY13" fmla="*/ 325675 h 651348"/>
              <a:gd name="connsiteX14" fmla="*/ 4047850 w 4047850"/>
              <a:gd name="connsiteY14" fmla="*/ 340954 h 651348"/>
              <a:gd name="connsiteX15" fmla="*/ 4047117 w 4047850"/>
              <a:gd name="connsiteY15" fmla="*/ 340954 h 651348"/>
              <a:gd name="connsiteX16" fmla="*/ 4046371 w 4047850"/>
              <a:gd name="connsiteY16" fmla="*/ 356703 h 651348"/>
              <a:gd name="connsiteX17" fmla="*/ 4046235 w 4047850"/>
              <a:gd name="connsiteY17" fmla="*/ 357658 h 651348"/>
              <a:gd name="connsiteX18" fmla="*/ 4046171 w 4047850"/>
              <a:gd name="connsiteY18" fmla="*/ 358931 h 651348"/>
              <a:gd name="connsiteX19" fmla="*/ 4035441 w 4047850"/>
              <a:gd name="connsiteY19" fmla="*/ 414965 h 651348"/>
              <a:gd name="connsiteX20" fmla="*/ 4035003 w 4047850"/>
              <a:gd name="connsiteY20" fmla="*/ 416283 h 651348"/>
              <a:gd name="connsiteX21" fmla="*/ 4034948 w 4047850"/>
              <a:gd name="connsiteY21" fmla="*/ 416510 h 651348"/>
              <a:gd name="connsiteX22" fmla="*/ 4034176 w 4047850"/>
              <a:gd name="connsiteY22" fmla="*/ 418772 h 651348"/>
              <a:gd name="connsiteX23" fmla="*/ 4026589 w 4047850"/>
              <a:gd name="connsiteY23" fmla="*/ 441591 h 651348"/>
              <a:gd name="connsiteX24" fmla="*/ 4025578 w 4047850"/>
              <a:gd name="connsiteY24" fmla="*/ 443933 h 651348"/>
              <a:gd name="connsiteX25" fmla="*/ 4025273 w 4047850"/>
              <a:gd name="connsiteY25" fmla="*/ 444823 h 651348"/>
              <a:gd name="connsiteX26" fmla="*/ 4023116 w 4047850"/>
              <a:gd name="connsiteY26" fmla="*/ 449636 h 651348"/>
              <a:gd name="connsiteX27" fmla="*/ 4015559 w 4047850"/>
              <a:gd name="connsiteY27" fmla="*/ 467142 h 651348"/>
              <a:gd name="connsiteX28" fmla="*/ 4013802 w 4047850"/>
              <a:gd name="connsiteY28" fmla="*/ 470409 h 651348"/>
              <a:gd name="connsiteX29" fmla="*/ 4013136 w 4047850"/>
              <a:gd name="connsiteY29" fmla="*/ 471896 h 651348"/>
              <a:gd name="connsiteX30" fmla="*/ 4010197 w 4047850"/>
              <a:gd name="connsiteY30" fmla="*/ 477118 h 651348"/>
              <a:gd name="connsiteX31" fmla="*/ 4002462 w 4047850"/>
              <a:gd name="connsiteY31" fmla="*/ 491507 h 651348"/>
              <a:gd name="connsiteX32" fmla="*/ 3999801 w 4047850"/>
              <a:gd name="connsiteY32" fmla="*/ 495585 h 651348"/>
              <a:gd name="connsiteX33" fmla="*/ 3998671 w 4047850"/>
              <a:gd name="connsiteY33" fmla="*/ 497594 h 651348"/>
              <a:gd name="connsiteX34" fmla="*/ 3995246 w 4047850"/>
              <a:gd name="connsiteY34" fmla="*/ 502566 h 651348"/>
              <a:gd name="connsiteX35" fmla="*/ 3987410 w 4047850"/>
              <a:gd name="connsiteY35" fmla="*/ 514574 h 651348"/>
              <a:gd name="connsiteX36" fmla="*/ 3983699 w 4047850"/>
              <a:gd name="connsiteY36" fmla="*/ 519333 h 651348"/>
              <a:gd name="connsiteX37" fmla="*/ 3982012 w 4047850"/>
              <a:gd name="connsiteY37" fmla="*/ 521781 h 651348"/>
              <a:gd name="connsiteX38" fmla="*/ 3978310 w 4047850"/>
              <a:gd name="connsiteY38" fmla="*/ 526240 h 651348"/>
              <a:gd name="connsiteX39" fmla="*/ 3970514 w 4047850"/>
              <a:gd name="connsiteY39" fmla="*/ 536234 h 651348"/>
              <a:gd name="connsiteX40" fmla="*/ 3965618 w 4047850"/>
              <a:gd name="connsiteY40" fmla="*/ 541527 h 651348"/>
              <a:gd name="connsiteX41" fmla="*/ 3963295 w 4047850"/>
              <a:gd name="connsiteY41" fmla="*/ 544324 h 651348"/>
              <a:gd name="connsiteX42" fmla="*/ 3959482 w 4047850"/>
              <a:gd name="connsiteY42" fmla="*/ 548161 h 651348"/>
              <a:gd name="connsiteX43" fmla="*/ 3951885 w 4047850"/>
              <a:gd name="connsiteY43" fmla="*/ 556374 h 651348"/>
              <a:gd name="connsiteX44" fmla="*/ 3945682 w 4047850"/>
              <a:gd name="connsiteY44" fmla="*/ 562043 h 651348"/>
              <a:gd name="connsiteX45" fmla="*/ 3942656 w 4047850"/>
              <a:gd name="connsiteY45" fmla="*/ 565087 h 651348"/>
              <a:gd name="connsiteX46" fmla="*/ 3938872 w 4047850"/>
              <a:gd name="connsiteY46" fmla="*/ 568267 h 651348"/>
              <a:gd name="connsiteX47" fmla="*/ 3931633 w 4047850"/>
              <a:gd name="connsiteY47" fmla="*/ 574884 h 651348"/>
              <a:gd name="connsiteX48" fmla="*/ 3924011 w 4047850"/>
              <a:gd name="connsiteY48" fmla="*/ 580756 h 651348"/>
              <a:gd name="connsiteX49" fmla="*/ 3920227 w 4047850"/>
              <a:gd name="connsiteY49" fmla="*/ 583936 h 651348"/>
              <a:gd name="connsiteX50" fmla="*/ 3916599 w 4047850"/>
              <a:gd name="connsiteY50" fmla="*/ 586467 h 651348"/>
              <a:gd name="connsiteX51" fmla="*/ 3909870 w 4047850"/>
              <a:gd name="connsiteY51" fmla="*/ 591652 h 651348"/>
              <a:gd name="connsiteX52" fmla="*/ 3900723 w 4047850"/>
              <a:gd name="connsiteY52" fmla="*/ 597543 h 651348"/>
              <a:gd name="connsiteX53" fmla="*/ 3896145 w 4047850"/>
              <a:gd name="connsiteY53" fmla="*/ 600736 h 651348"/>
              <a:gd name="connsiteX54" fmla="*/ 3892785 w 4047850"/>
              <a:gd name="connsiteY54" fmla="*/ 602655 h 651348"/>
              <a:gd name="connsiteX55" fmla="*/ 3886706 w 4047850"/>
              <a:gd name="connsiteY55" fmla="*/ 606569 h 651348"/>
              <a:gd name="connsiteX56" fmla="*/ 3875923 w 4047850"/>
              <a:gd name="connsiteY56" fmla="*/ 612281 h 651348"/>
              <a:gd name="connsiteX57" fmla="*/ 3870544 w 4047850"/>
              <a:gd name="connsiteY57" fmla="*/ 615352 h 651348"/>
              <a:gd name="connsiteX58" fmla="*/ 3867552 w 4047850"/>
              <a:gd name="connsiteY58" fmla="*/ 616715 h 651348"/>
              <a:gd name="connsiteX59" fmla="*/ 3862253 w 4047850"/>
              <a:gd name="connsiteY59" fmla="*/ 619522 h 651348"/>
              <a:gd name="connsiteX60" fmla="*/ 3849702 w 4047850"/>
              <a:gd name="connsiteY60" fmla="*/ 624849 h 651348"/>
              <a:gd name="connsiteX61" fmla="*/ 3843559 w 4047850"/>
              <a:gd name="connsiteY61" fmla="*/ 627649 h 651348"/>
              <a:gd name="connsiteX62" fmla="*/ 3841026 w 4047850"/>
              <a:gd name="connsiteY62" fmla="*/ 628532 h 651348"/>
              <a:gd name="connsiteX63" fmla="*/ 3836622 w 4047850"/>
              <a:gd name="connsiteY63" fmla="*/ 630401 h 651348"/>
              <a:gd name="connsiteX64" fmla="*/ 3822109 w 4047850"/>
              <a:gd name="connsiteY64" fmla="*/ 635127 h 651348"/>
              <a:gd name="connsiteX65" fmla="*/ 3815324 w 4047850"/>
              <a:gd name="connsiteY65" fmla="*/ 637492 h 651348"/>
              <a:gd name="connsiteX66" fmla="*/ 3813334 w 4047850"/>
              <a:gd name="connsiteY66" fmla="*/ 637984 h 651348"/>
              <a:gd name="connsiteX67" fmla="*/ 3809924 w 4047850"/>
              <a:gd name="connsiteY67" fmla="*/ 639095 h 651348"/>
              <a:gd name="connsiteX68" fmla="*/ 3793067 w 4047850"/>
              <a:gd name="connsiteY68" fmla="*/ 642994 h 651348"/>
              <a:gd name="connsiteX69" fmla="*/ 3785975 w 4047850"/>
              <a:gd name="connsiteY69" fmla="*/ 644747 h 651348"/>
              <a:gd name="connsiteX70" fmla="*/ 3784601 w 4047850"/>
              <a:gd name="connsiteY70" fmla="*/ 644952 h 651348"/>
              <a:gd name="connsiteX71" fmla="*/ 3782269 w 4047850"/>
              <a:gd name="connsiteY71" fmla="*/ 645492 h 651348"/>
              <a:gd name="connsiteX72" fmla="*/ 3761990 w 4047850"/>
              <a:gd name="connsiteY72" fmla="*/ 648331 h 651348"/>
              <a:gd name="connsiteX73" fmla="*/ 3755647 w 4047850"/>
              <a:gd name="connsiteY73" fmla="*/ 649279 h 651348"/>
              <a:gd name="connsiteX74" fmla="*/ 3754979 w 4047850"/>
              <a:gd name="connsiteY74" fmla="*/ 649313 h 651348"/>
              <a:gd name="connsiteX75" fmla="*/ 3753769 w 4047850"/>
              <a:gd name="connsiteY75" fmla="*/ 649482 h 651348"/>
              <a:gd name="connsiteX76" fmla="*/ 3739704 w 4047850"/>
              <a:gd name="connsiteY76" fmla="*/ 650148 h 651348"/>
              <a:gd name="connsiteX77" fmla="*/ 3739704 w 4047850"/>
              <a:gd name="connsiteY77" fmla="*/ 650959 h 651348"/>
              <a:gd name="connsiteX78" fmla="*/ 3726737 w 4047850"/>
              <a:gd name="connsiteY78" fmla="*/ 650959 h 651348"/>
              <a:gd name="connsiteX79" fmla="*/ 3722563 w 4047850"/>
              <a:gd name="connsiteY79" fmla="*/ 650959 h 651348"/>
              <a:gd name="connsiteX80" fmla="*/ 3722465 w 4047850"/>
              <a:gd name="connsiteY80" fmla="*/ 650959 h 651348"/>
              <a:gd name="connsiteX81" fmla="*/ 3722465 w 4047850"/>
              <a:gd name="connsiteY81" fmla="*/ 651348 h 651348"/>
              <a:gd name="connsiteX82" fmla="*/ 3394765 w 4047850"/>
              <a:gd name="connsiteY82" fmla="*/ 651348 h 651348"/>
              <a:gd name="connsiteX83" fmla="*/ 3042220 w 4047850"/>
              <a:gd name="connsiteY83" fmla="*/ 651348 h 651348"/>
              <a:gd name="connsiteX84" fmla="*/ 3024981 w 4047850"/>
              <a:gd name="connsiteY84" fmla="*/ 651348 h 651348"/>
              <a:gd name="connsiteX85" fmla="*/ 1005630 w 4047850"/>
              <a:gd name="connsiteY85" fmla="*/ 651348 h 651348"/>
              <a:gd name="connsiteX86" fmla="*/ 593248 w 4047850"/>
              <a:gd name="connsiteY86" fmla="*/ 651348 h 651348"/>
              <a:gd name="connsiteX87" fmla="*/ 325384 w 4047850"/>
              <a:gd name="connsiteY87" fmla="*/ 651348 h 651348"/>
              <a:gd name="connsiteX88" fmla="*/ 308146 w 4047850"/>
              <a:gd name="connsiteY88" fmla="*/ 651348 h 651348"/>
              <a:gd name="connsiteX89" fmla="*/ 308146 w 4047850"/>
              <a:gd name="connsiteY89" fmla="*/ 650963 h 651348"/>
              <a:gd name="connsiteX90" fmla="*/ 0 w 4047850"/>
              <a:gd name="connsiteY90" fmla="*/ 650963 h 651348"/>
              <a:gd name="connsiteX91" fmla="*/ 0 w 4047850"/>
              <a:gd name="connsiteY91" fmla="*/ 325871 h 651348"/>
              <a:gd name="connsiteX92" fmla="*/ 0 w 4047850"/>
              <a:gd name="connsiteY92" fmla="*/ 325679 h 651348"/>
              <a:gd name="connsiteX93" fmla="*/ 0 w 4047850"/>
              <a:gd name="connsiteY93" fmla="*/ 325676 h 651348"/>
              <a:gd name="connsiteX94" fmla="*/ 0 w 4047850"/>
              <a:gd name="connsiteY94" fmla="*/ 325673 h 651348"/>
              <a:gd name="connsiteX95" fmla="*/ 0 w 4047850"/>
              <a:gd name="connsiteY95" fmla="*/ 310394 h 651348"/>
              <a:gd name="connsiteX96" fmla="*/ 733 w 4047850"/>
              <a:gd name="connsiteY96" fmla="*/ 310394 h 651348"/>
              <a:gd name="connsiteX97" fmla="*/ 1478 w 4047850"/>
              <a:gd name="connsiteY97" fmla="*/ 294646 h 651348"/>
              <a:gd name="connsiteX98" fmla="*/ 1615 w 4047850"/>
              <a:gd name="connsiteY98" fmla="*/ 293690 h 651348"/>
              <a:gd name="connsiteX99" fmla="*/ 1679 w 4047850"/>
              <a:gd name="connsiteY99" fmla="*/ 292417 h 651348"/>
              <a:gd name="connsiteX100" fmla="*/ 12408 w 4047850"/>
              <a:gd name="connsiteY100" fmla="*/ 236384 h 651348"/>
              <a:gd name="connsiteX101" fmla="*/ 12847 w 4047850"/>
              <a:gd name="connsiteY101" fmla="*/ 235065 h 651348"/>
              <a:gd name="connsiteX102" fmla="*/ 12901 w 4047850"/>
              <a:gd name="connsiteY102" fmla="*/ 234838 h 651348"/>
              <a:gd name="connsiteX103" fmla="*/ 13674 w 4047850"/>
              <a:gd name="connsiteY103" fmla="*/ 232576 h 651348"/>
              <a:gd name="connsiteX104" fmla="*/ 21261 w 4047850"/>
              <a:gd name="connsiteY104" fmla="*/ 209757 h 651348"/>
              <a:gd name="connsiteX105" fmla="*/ 22272 w 4047850"/>
              <a:gd name="connsiteY105" fmla="*/ 207415 h 651348"/>
              <a:gd name="connsiteX106" fmla="*/ 22576 w 4047850"/>
              <a:gd name="connsiteY106" fmla="*/ 206525 h 651348"/>
              <a:gd name="connsiteX107" fmla="*/ 24734 w 4047850"/>
              <a:gd name="connsiteY107" fmla="*/ 201713 h 651348"/>
              <a:gd name="connsiteX108" fmla="*/ 32291 w 4047850"/>
              <a:gd name="connsiteY108" fmla="*/ 184206 h 651348"/>
              <a:gd name="connsiteX109" fmla="*/ 34047 w 4047850"/>
              <a:gd name="connsiteY109" fmla="*/ 180939 h 651348"/>
              <a:gd name="connsiteX110" fmla="*/ 34714 w 4047850"/>
              <a:gd name="connsiteY110" fmla="*/ 179452 h 651348"/>
              <a:gd name="connsiteX111" fmla="*/ 37653 w 4047850"/>
              <a:gd name="connsiteY111" fmla="*/ 174231 h 651348"/>
              <a:gd name="connsiteX112" fmla="*/ 45388 w 4047850"/>
              <a:gd name="connsiteY112" fmla="*/ 159842 h 651348"/>
              <a:gd name="connsiteX113" fmla="*/ 48048 w 4047850"/>
              <a:gd name="connsiteY113" fmla="*/ 155764 h 651348"/>
              <a:gd name="connsiteX114" fmla="*/ 49179 w 4047850"/>
              <a:gd name="connsiteY114" fmla="*/ 153755 h 651348"/>
              <a:gd name="connsiteX115" fmla="*/ 52604 w 4047850"/>
              <a:gd name="connsiteY115" fmla="*/ 148783 h 651348"/>
              <a:gd name="connsiteX116" fmla="*/ 60439 w 4047850"/>
              <a:gd name="connsiteY116" fmla="*/ 136774 h 651348"/>
              <a:gd name="connsiteX117" fmla="*/ 64151 w 4047850"/>
              <a:gd name="connsiteY117" fmla="*/ 132016 h 651348"/>
              <a:gd name="connsiteX118" fmla="*/ 65838 w 4047850"/>
              <a:gd name="connsiteY118" fmla="*/ 129567 h 651348"/>
              <a:gd name="connsiteX119" fmla="*/ 69540 w 4047850"/>
              <a:gd name="connsiteY119" fmla="*/ 125108 h 651348"/>
              <a:gd name="connsiteX120" fmla="*/ 77336 w 4047850"/>
              <a:gd name="connsiteY120" fmla="*/ 115115 h 651348"/>
              <a:gd name="connsiteX121" fmla="*/ 82232 w 4047850"/>
              <a:gd name="connsiteY121" fmla="*/ 109821 h 651348"/>
              <a:gd name="connsiteX122" fmla="*/ 84554 w 4047850"/>
              <a:gd name="connsiteY122" fmla="*/ 107024 h 651348"/>
              <a:gd name="connsiteX123" fmla="*/ 88368 w 4047850"/>
              <a:gd name="connsiteY123" fmla="*/ 103188 h 651348"/>
              <a:gd name="connsiteX124" fmla="*/ 95965 w 4047850"/>
              <a:gd name="connsiteY124" fmla="*/ 94974 h 651348"/>
              <a:gd name="connsiteX125" fmla="*/ 102168 w 4047850"/>
              <a:gd name="connsiteY125" fmla="*/ 89305 h 651348"/>
              <a:gd name="connsiteX126" fmla="*/ 105194 w 4047850"/>
              <a:gd name="connsiteY126" fmla="*/ 86261 h 651348"/>
              <a:gd name="connsiteX127" fmla="*/ 108977 w 4047850"/>
              <a:gd name="connsiteY127" fmla="*/ 83081 h 651348"/>
              <a:gd name="connsiteX128" fmla="*/ 116217 w 4047850"/>
              <a:gd name="connsiteY128" fmla="*/ 76465 h 651348"/>
              <a:gd name="connsiteX129" fmla="*/ 123838 w 4047850"/>
              <a:gd name="connsiteY129" fmla="*/ 70592 h 651348"/>
              <a:gd name="connsiteX130" fmla="*/ 127623 w 4047850"/>
              <a:gd name="connsiteY130" fmla="*/ 67412 h 651348"/>
              <a:gd name="connsiteX131" fmla="*/ 131250 w 4047850"/>
              <a:gd name="connsiteY131" fmla="*/ 64881 h 651348"/>
              <a:gd name="connsiteX132" fmla="*/ 137980 w 4047850"/>
              <a:gd name="connsiteY132" fmla="*/ 59696 h 651348"/>
              <a:gd name="connsiteX133" fmla="*/ 147127 w 4047850"/>
              <a:gd name="connsiteY133" fmla="*/ 53805 h 651348"/>
              <a:gd name="connsiteX134" fmla="*/ 151705 w 4047850"/>
              <a:gd name="connsiteY134" fmla="*/ 50612 h 651348"/>
              <a:gd name="connsiteX135" fmla="*/ 155065 w 4047850"/>
              <a:gd name="connsiteY135" fmla="*/ 48694 h 651348"/>
              <a:gd name="connsiteX136" fmla="*/ 161144 w 4047850"/>
              <a:gd name="connsiteY136" fmla="*/ 44779 h 651348"/>
              <a:gd name="connsiteX137" fmla="*/ 171927 w 4047850"/>
              <a:gd name="connsiteY137" fmla="*/ 39067 h 651348"/>
              <a:gd name="connsiteX138" fmla="*/ 177306 w 4047850"/>
              <a:gd name="connsiteY138" fmla="*/ 35997 h 651348"/>
              <a:gd name="connsiteX139" fmla="*/ 180298 w 4047850"/>
              <a:gd name="connsiteY139" fmla="*/ 34633 h 651348"/>
              <a:gd name="connsiteX140" fmla="*/ 185596 w 4047850"/>
              <a:gd name="connsiteY140" fmla="*/ 31826 h 651348"/>
              <a:gd name="connsiteX141" fmla="*/ 198148 w 4047850"/>
              <a:gd name="connsiteY141" fmla="*/ 26499 h 651348"/>
              <a:gd name="connsiteX142" fmla="*/ 204291 w 4047850"/>
              <a:gd name="connsiteY142" fmla="*/ 23700 h 651348"/>
              <a:gd name="connsiteX143" fmla="*/ 206823 w 4047850"/>
              <a:gd name="connsiteY143" fmla="*/ 22817 h 651348"/>
              <a:gd name="connsiteX144" fmla="*/ 211228 w 4047850"/>
              <a:gd name="connsiteY144" fmla="*/ 20947 h 651348"/>
              <a:gd name="connsiteX145" fmla="*/ 225741 w 4047850"/>
              <a:gd name="connsiteY145" fmla="*/ 16221 h 651348"/>
              <a:gd name="connsiteX146" fmla="*/ 232526 w 4047850"/>
              <a:gd name="connsiteY146" fmla="*/ 13856 h 651348"/>
              <a:gd name="connsiteX147" fmla="*/ 234516 w 4047850"/>
              <a:gd name="connsiteY147" fmla="*/ 13364 h 651348"/>
              <a:gd name="connsiteX148" fmla="*/ 237926 w 4047850"/>
              <a:gd name="connsiteY148" fmla="*/ 12254 h 651348"/>
              <a:gd name="connsiteX149" fmla="*/ 254783 w 4047850"/>
              <a:gd name="connsiteY149" fmla="*/ 8354 h 651348"/>
              <a:gd name="connsiteX150" fmla="*/ 261875 w 4047850"/>
              <a:gd name="connsiteY150" fmla="*/ 6601 h 651348"/>
              <a:gd name="connsiteX151" fmla="*/ 263248 w 4047850"/>
              <a:gd name="connsiteY151" fmla="*/ 6396 h 651348"/>
              <a:gd name="connsiteX152" fmla="*/ 265581 w 4047850"/>
              <a:gd name="connsiteY152" fmla="*/ 5856 h 651348"/>
              <a:gd name="connsiteX153" fmla="*/ 285860 w 4047850"/>
              <a:gd name="connsiteY153" fmla="*/ 3017 h 651348"/>
              <a:gd name="connsiteX154" fmla="*/ 292203 w 4047850"/>
              <a:gd name="connsiteY154" fmla="*/ 2069 h 651348"/>
              <a:gd name="connsiteX155" fmla="*/ 292871 w 4047850"/>
              <a:gd name="connsiteY155" fmla="*/ 2036 h 651348"/>
              <a:gd name="connsiteX156" fmla="*/ 294080 w 4047850"/>
              <a:gd name="connsiteY156" fmla="*/ 1866 h 651348"/>
              <a:gd name="connsiteX157" fmla="*/ 308146 w 4047850"/>
              <a:gd name="connsiteY157" fmla="*/ 1201 h 651348"/>
              <a:gd name="connsiteX158" fmla="*/ 308146 w 4047850"/>
              <a:gd name="connsiteY158" fmla="*/ 389 h 651348"/>
              <a:gd name="connsiteX159" fmla="*/ 321113 w 4047850"/>
              <a:gd name="connsiteY159" fmla="*/ 389 h 651348"/>
              <a:gd name="connsiteX160" fmla="*/ 325287 w 4047850"/>
              <a:gd name="connsiteY160" fmla="*/ 389 h 651348"/>
              <a:gd name="connsiteX161" fmla="*/ 325384 w 4047850"/>
              <a:gd name="connsiteY161" fmla="*/ 389 h 651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4047850" h="651348">
                <a:moveTo>
                  <a:pt x="325384" y="0"/>
                </a:moveTo>
                <a:lnTo>
                  <a:pt x="593248" y="0"/>
                </a:lnTo>
                <a:lnTo>
                  <a:pt x="1005630" y="0"/>
                </a:lnTo>
                <a:lnTo>
                  <a:pt x="1022869" y="0"/>
                </a:lnTo>
                <a:lnTo>
                  <a:pt x="3042220" y="0"/>
                </a:lnTo>
                <a:lnTo>
                  <a:pt x="3394765" y="0"/>
                </a:lnTo>
                <a:lnTo>
                  <a:pt x="3722465" y="0"/>
                </a:lnTo>
                <a:lnTo>
                  <a:pt x="3739704" y="0"/>
                </a:lnTo>
                <a:lnTo>
                  <a:pt x="3739704" y="385"/>
                </a:lnTo>
                <a:lnTo>
                  <a:pt x="4047850" y="385"/>
                </a:lnTo>
                <a:lnTo>
                  <a:pt x="4047850" y="325477"/>
                </a:lnTo>
                <a:lnTo>
                  <a:pt x="4047850" y="325669"/>
                </a:lnTo>
                <a:lnTo>
                  <a:pt x="4047850" y="325672"/>
                </a:lnTo>
                <a:lnTo>
                  <a:pt x="4047850" y="325675"/>
                </a:lnTo>
                <a:lnTo>
                  <a:pt x="4047850" y="340954"/>
                </a:lnTo>
                <a:lnTo>
                  <a:pt x="4047117" y="340954"/>
                </a:lnTo>
                <a:lnTo>
                  <a:pt x="4046371" y="356703"/>
                </a:lnTo>
                <a:lnTo>
                  <a:pt x="4046235" y="357658"/>
                </a:lnTo>
                <a:lnTo>
                  <a:pt x="4046171" y="358931"/>
                </a:lnTo>
                <a:cubicBezTo>
                  <a:pt x="4044218" y="378153"/>
                  <a:pt x="4040593" y="396880"/>
                  <a:pt x="4035441" y="414965"/>
                </a:cubicBezTo>
                <a:lnTo>
                  <a:pt x="4035003" y="416283"/>
                </a:lnTo>
                <a:lnTo>
                  <a:pt x="4034948" y="416510"/>
                </a:lnTo>
                <a:lnTo>
                  <a:pt x="4034176" y="418772"/>
                </a:lnTo>
                <a:lnTo>
                  <a:pt x="4026589" y="441591"/>
                </a:lnTo>
                <a:lnTo>
                  <a:pt x="4025578" y="443933"/>
                </a:lnTo>
                <a:lnTo>
                  <a:pt x="4025273" y="444823"/>
                </a:lnTo>
                <a:lnTo>
                  <a:pt x="4023116" y="449636"/>
                </a:lnTo>
                <a:lnTo>
                  <a:pt x="4015559" y="467142"/>
                </a:lnTo>
                <a:lnTo>
                  <a:pt x="4013802" y="470409"/>
                </a:lnTo>
                <a:lnTo>
                  <a:pt x="4013136" y="471896"/>
                </a:lnTo>
                <a:lnTo>
                  <a:pt x="4010197" y="477118"/>
                </a:lnTo>
                <a:lnTo>
                  <a:pt x="4002462" y="491507"/>
                </a:lnTo>
                <a:lnTo>
                  <a:pt x="3999801" y="495585"/>
                </a:lnTo>
                <a:lnTo>
                  <a:pt x="3998671" y="497594"/>
                </a:lnTo>
                <a:lnTo>
                  <a:pt x="3995246" y="502566"/>
                </a:lnTo>
                <a:lnTo>
                  <a:pt x="3987410" y="514574"/>
                </a:lnTo>
                <a:lnTo>
                  <a:pt x="3983699" y="519333"/>
                </a:lnTo>
                <a:lnTo>
                  <a:pt x="3982012" y="521781"/>
                </a:lnTo>
                <a:lnTo>
                  <a:pt x="3978310" y="526240"/>
                </a:lnTo>
                <a:lnTo>
                  <a:pt x="3970514" y="536234"/>
                </a:lnTo>
                <a:lnTo>
                  <a:pt x="3965618" y="541527"/>
                </a:lnTo>
                <a:lnTo>
                  <a:pt x="3963295" y="544324"/>
                </a:lnTo>
                <a:lnTo>
                  <a:pt x="3959482" y="548161"/>
                </a:lnTo>
                <a:lnTo>
                  <a:pt x="3951885" y="556374"/>
                </a:lnTo>
                <a:lnTo>
                  <a:pt x="3945682" y="562043"/>
                </a:lnTo>
                <a:lnTo>
                  <a:pt x="3942656" y="565087"/>
                </a:lnTo>
                <a:lnTo>
                  <a:pt x="3938872" y="568267"/>
                </a:lnTo>
                <a:lnTo>
                  <a:pt x="3931633" y="574884"/>
                </a:lnTo>
                <a:lnTo>
                  <a:pt x="3924011" y="580756"/>
                </a:lnTo>
                <a:lnTo>
                  <a:pt x="3920227" y="583936"/>
                </a:lnTo>
                <a:lnTo>
                  <a:pt x="3916599" y="586467"/>
                </a:lnTo>
                <a:lnTo>
                  <a:pt x="3909870" y="591652"/>
                </a:lnTo>
                <a:lnTo>
                  <a:pt x="3900723" y="597543"/>
                </a:lnTo>
                <a:lnTo>
                  <a:pt x="3896145" y="600736"/>
                </a:lnTo>
                <a:lnTo>
                  <a:pt x="3892785" y="602655"/>
                </a:lnTo>
                <a:lnTo>
                  <a:pt x="3886706" y="606569"/>
                </a:lnTo>
                <a:lnTo>
                  <a:pt x="3875923" y="612281"/>
                </a:lnTo>
                <a:lnTo>
                  <a:pt x="3870544" y="615352"/>
                </a:lnTo>
                <a:lnTo>
                  <a:pt x="3867552" y="616715"/>
                </a:lnTo>
                <a:lnTo>
                  <a:pt x="3862253" y="619522"/>
                </a:lnTo>
                <a:lnTo>
                  <a:pt x="3849702" y="624849"/>
                </a:lnTo>
                <a:lnTo>
                  <a:pt x="3843559" y="627649"/>
                </a:lnTo>
                <a:lnTo>
                  <a:pt x="3841026" y="628532"/>
                </a:lnTo>
                <a:lnTo>
                  <a:pt x="3836622" y="630401"/>
                </a:lnTo>
                <a:lnTo>
                  <a:pt x="3822109" y="635127"/>
                </a:lnTo>
                <a:lnTo>
                  <a:pt x="3815324" y="637492"/>
                </a:lnTo>
                <a:lnTo>
                  <a:pt x="3813334" y="637984"/>
                </a:lnTo>
                <a:lnTo>
                  <a:pt x="3809924" y="639095"/>
                </a:lnTo>
                <a:lnTo>
                  <a:pt x="3793067" y="642994"/>
                </a:lnTo>
                <a:lnTo>
                  <a:pt x="3785975" y="644747"/>
                </a:lnTo>
                <a:lnTo>
                  <a:pt x="3784601" y="644952"/>
                </a:lnTo>
                <a:lnTo>
                  <a:pt x="3782269" y="645492"/>
                </a:lnTo>
                <a:lnTo>
                  <a:pt x="3761990" y="648331"/>
                </a:lnTo>
                <a:lnTo>
                  <a:pt x="3755647" y="649279"/>
                </a:lnTo>
                <a:lnTo>
                  <a:pt x="3754979" y="649313"/>
                </a:lnTo>
                <a:lnTo>
                  <a:pt x="3753769" y="649482"/>
                </a:lnTo>
                <a:lnTo>
                  <a:pt x="3739704" y="650148"/>
                </a:lnTo>
                <a:lnTo>
                  <a:pt x="3739704" y="650959"/>
                </a:lnTo>
                <a:lnTo>
                  <a:pt x="3726737" y="650959"/>
                </a:lnTo>
                <a:lnTo>
                  <a:pt x="3722563" y="650959"/>
                </a:lnTo>
                <a:lnTo>
                  <a:pt x="3722465" y="650959"/>
                </a:lnTo>
                <a:lnTo>
                  <a:pt x="3722465" y="651348"/>
                </a:lnTo>
                <a:lnTo>
                  <a:pt x="3394765" y="651348"/>
                </a:lnTo>
                <a:lnTo>
                  <a:pt x="3042220" y="651348"/>
                </a:lnTo>
                <a:lnTo>
                  <a:pt x="3024981" y="651348"/>
                </a:lnTo>
                <a:lnTo>
                  <a:pt x="1005630" y="651348"/>
                </a:lnTo>
                <a:lnTo>
                  <a:pt x="593248" y="651348"/>
                </a:lnTo>
                <a:lnTo>
                  <a:pt x="325384" y="651348"/>
                </a:lnTo>
                <a:lnTo>
                  <a:pt x="308146" y="651348"/>
                </a:lnTo>
                <a:lnTo>
                  <a:pt x="308146" y="650963"/>
                </a:lnTo>
                <a:lnTo>
                  <a:pt x="0" y="650963"/>
                </a:lnTo>
                <a:lnTo>
                  <a:pt x="0" y="325871"/>
                </a:lnTo>
                <a:lnTo>
                  <a:pt x="0" y="325679"/>
                </a:lnTo>
                <a:lnTo>
                  <a:pt x="0" y="325676"/>
                </a:lnTo>
                <a:lnTo>
                  <a:pt x="0" y="325673"/>
                </a:lnTo>
                <a:lnTo>
                  <a:pt x="0" y="310394"/>
                </a:lnTo>
                <a:lnTo>
                  <a:pt x="733" y="310394"/>
                </a:lnTo>
                <a:lnTo>
                  <a:pt x="1478" y="294646"/>
                </a:lnTo>
                <a:lnTo>
                  <a:pt x="1615" y="293690"/>
                </a:lnTo>
                <a:lnTo>
                  <a:pt x="1679" y="292417"/>
                </a:lnTo>
                <a:cubicBezTo>
                  <a:pt x="3631" y="273195"/>
                  <a:pt x="7257" y="254468"/>
                  <a:pt x="12408" y="236384"/>
                </a:cubicBezTo>
                <a:lnTo>
                  <a:pt x="12847" y="235065"/>
                </a:lnTo>
                <a:lnTo>
                  <a:pt x="12901" y="234838"/>
                </a:lnTo>
                <a:lnTo>
                  <a:pt x="13674" y="232576"/>
                </a:lnTo>
                <a:lnTo>
                  <a:pt x="21261" y="209757"/>
                </a:lnTo>
                <a:lnTo>
                  <a:pt x="22272" y="207415"/>
                </a:lnTo>
                <a:lnTo>
                  <a:pt x="22576" y="206525"/>
                </a:lnTo>
                <a:lnTo>
                  <a:pt x="24734" y="201713"/>
                </a:lnTo>
                <a:lnTo>
                  <a:pt x="32291" y="184206"/>
                </a:lnTo>
                <a:lnTo>
                  <a:pt x="34047" y="180939"/>
                </a:lnTo>
                <a:lnTo>
                  <a:pt x="34714" y="179452"/>
                </a:lnTo>
                <a:lnTo>
                  <a:pt x="37653" y="174231"/>
                </a:lnTo>
                <a:lnTo>
                  <a:pt x="45388" y="159842"/>
                </a:lnTo>
                <a:lnTo>
                  <a:pt x="48048" y="155764"/>
                </a:lnTo>
                <a:lnTo>
                  <a:pt x="49179" y="153755"/>
                </a:lnTo>
                <a:lnTo>
                  <a:pt x="52604" y="148783"/>
                </a:lnTo>
                <a:lnTo>
                  <a:pt x="60439" y="136774"/>
                </a:lnTo>
                <a:lnTo>
                  <a:pt x="64151" y="132016"/>
                </a:lnTo>
                <a:lnTo>
                  <a:pt x="65838" y="129567"/>
                </a:lnTo>
                <a:lnTo>
                  <a:pt x="69540" y="125108"/>
                </a:lnTo>
                <a:lnTo>
                  <a:pt x="77336" y="115115"/>
                </a:lnTo>
                <a:lnTo>
                  <a:pt x="82232" y="109821"/>
                </a:lnTo>
                <a:lnTo>
                  <a:pt x="84554" y="107024"/>
                </a:lnTo>
                <a:lnTo>
                  <a:pt x="88368" y="103188"/>
                </a:lnTo>
                <a:lnTo>
                  <a:pt x="95965" y="94974"/>
                </a:lnTo>
                <a:lnTo>
                  <a:pt x="102168" y="89305"/>
                </a:lnTo>
                <a:lnTo>
                  <a:pt x="105194" y="86261"/>
                </a:lnTo>
                <a:lnTo>
                  <a:pt x="108977" y="83081"/>
                </a:lnTo>
                <a:lnTo>
                  <a:pt x="116217" y="76465"/>
                </a:lnTo>
                <a:lnTo>
                  <a:pt x="123838" y="70592"/>
                </a:lnTo>
                <a:lnTo>
                  <a:pt x="127623" y="67412"/>
                </a:lnTo>
                <a:lnTo>
                  <a:pt x="131250" y="64881"/>
                </a:lnTo>
                <a:lnTo>
                  <a:pt x="137980" y="59696"/>
                </a:lnTo>
                <a:lnTo>
                  <a:pt x="147127" y="53805"/>
                </a:lnTo>
                <a:lnTo>
                  <a:pt x="151705" y="50612"/>
                </a:lnTo>
                <a:lnTo>
                  <a:pt x="155065" y="48694"/>
                </a:lnTo>
                <a:lnTo>
                  <a:pt x="161144" y="44779"/>
                </a:lnTo>
                <a:lnTo>
                  <a:pt x="171927" y="39067"/>
                </a:lnTo>
                <a:lnTo>
                  <a:pt x="177306" y="35997"/>
                </a:lnTo>
                <a:lnTo>
                  <a:pt x="180298" y="34633"/>
                </a:lnTo>
                <a:lnTo>
                  <a:pt x="185596" y="31826"/>
                </a:lnTo>
                <a:lnTo>
                  <a:pt x="198148" y="26499"/>
                </a:lnTo>
                <a:lnTo>
                  <a:pt x="204291" y="23700"/>
                </a:lnTo>
                <a:lnTo>
                  <a:pt x="206823" y="22817"/>
                </a:lnTo>
                <a:lnTo>
                  <a:pt x="211228" y="20947"/>
                </a:lnTo>
                <a:lnTo>
                  <a:pt x="225741" y="16221"/>
                </a:lnTo>
                <a:lnTo>
                  <a:pt x="232526" y="13856"/>
                </a:lnTo>
                <a:lnTo>
                  <a:pt x="234516" y="13364"/>
                </a:lnTo>
                <a:lnTo>
                  <a:pt x="237926" y="12254"/>
                </a:lnTo>
                <a:lnTo>
                  <a:pt x="254783" y="8354"/>
                </a:lnTo>
                <a:lnTo>
                  <a:pt x="261875" y="6601"/>
                </a:lnTo>
                <a:lnTo>
                  <a:pt x="263248" y="6396"/>
                </a:lnTo>
                <a:lnTo>
                  <a:pt x="265581" y="5856"/>
                </a:lnTo>
                <a:lnTo>
                  <a:pt x="285860" y="3017"/>
                </a:lnTo>
                <a:lnTo>
                  <a:pt x="292203" y="2069"/>
                </a:lnTo>
                <a:lnTo>
                  <a:pt x="292871" y="2036"/>
                </a:lnTo>
                <a:lnTo>
                  <a:pt x="294080" y="1866"/>
                </a:lnTo>
                <a:lnTo>
                  <a:pt x="308146" y="1201"/>
                </a:lnTo>
                <a:lnTo>
                  <a:pt x="308146" y="389"/>
                </a:lnTo>
                <a:lnTo>
                  <a:pt x="321113" y="389"/>
                </a:lnTo>
                <a:lnTo>
                  <a:pt x="325287" y="389"/>
                </a:lnTo>
                <a:lnTo>
                  <a:pt x="325384" y="389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  <a:sym typeface="Arial"/>
            </a:endParaRP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82969F58-1F2B-3740-B712-6F43C1F303D8}"/>
              </a:ext>
            </a:extLst>
          </p:cNvPr>
          <p:cNvSpPr txBox="1"/>
          <p:nvPr/>
        </p:nvSpPr>
        <p:spPr>
          <a:xfrm>
            <a:off x="3340401" y="372933"/>
            <a:ext cx="31582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Pemenuh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Persyarat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Usaha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Chalkboard SE" panose="03050602040202020205" pitchFamily="66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Jako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Chalkboard SE" panose="03050602040202020205" pitchFamily="66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339ED4BB-019F-6142-9948-6494B213710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67" t="16284" r="28604" b="55357"/>
          <a:stretch/>
        </p:blipFill>
        <p:spPr>
          <a:xfrm>
            <a:off x="-554608" y="-164636"/>
            <a:ext cx="2959331" cy="1732453"/>
          </a:xfrm>
          <a:prstGeom prst="rect">
            <a:avLst/>
          </a:prstGeom>
        </p:spPr>
      </p:pic>
      <p:sp>
        <p:nvSpPr>
          <p:cNvPr id="370" name="TextBox 369">
            <a:extLst>
              <a:ext uri="{FF2B5EF4-FFF2-40B4-BE49-F238E27FC236}">
                <a16:creationId xmlns:a16="http://schemas.microsoft.com/office/drawing/2014/main" id="{7B197106-4FAC-3342-9062-37E5553F9565}"/>
              </a:ext>
            </a:extLst>
          </p:cNvPr>
          <p:cNvSpPr txBox="1"/>
          <p:nvPr/>
        </p:nvSpPr>
        <p:spPr>
          <a:xfrm>
            <a:off x="2898770" y="1100940"/>
            <a:ext cx="50787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pemeriksaan: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a</a:t>
            </a: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. kepemilikan dan keabsahan dokumen Nomor Induk Berusaha; dan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b</a:t>
            </a: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Arial"/>
                <a:sym typeface="Arial"/>
              </a:rPr>
              <a:t>. kepemilikan dan keabsahan dokumen SBU/SKK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lkboard SE" panose="03050602040202020205" pitchFamily="66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457200" marR="0" lvl="0" indent="-457200" algn="l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lkboard SE" panose="03050602040202020205" pitchFamily="66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2" name="Freeform: Shape 46">
            <a:extLst>
              <a:ext uri="{FF2B5EF4-FFF2-40B4-BE49-F238E27FC236}">
                <a16:creationId xmlns:a16="http://schemas.microsoft.com/office/drawing/2014/main" id="{3480F9BC-66D6-AC75-4B98-5F31A2FF4A10}"/>
              </a:ext>
            </a:extLst>
          </p:cNvPr>
          <p:cNvSpPr/>
          <p:nvPr/>
        </p:nvSpPr>
        <p:spPr>
          <a:xfrm rot="10800000" flipH="1">
            <a:off x="363219" y="3170497"/>
            <a:ext cx="5238202" cy="2960479"/>
          </a:xfrm>
          <a:custGeom>
            <a:avLst/>
            <a:gdLst>
              <a:gd name="connsiteX0" fmla="*/ 0 w 5431992"/>
              <a:gd name="connsiteY0" fmla="*/ 3727301 h 3727301"/>
              <a:gd name="connsiteX1" fmla="*/ 844165 w 5431992"/>
              <a:gd name="connsiteY1" fmla="*/ 3727301 h 3727301"/>
              <a:gd name="connsiteX2" fmla="*/ 891390 w 5431992"/>
              <a:gd name="connsiteY2" fmla="*/ 3727301 h 3727301"/>
              <a:gd name="connsiteX3" fmla="*/ 2371823 w 5431992"/>
              <a:gd name="connsiteY3" fmla="*/ 3727301 h 3727301"/>
              <a:gd name="connsiteX4" fmla="*/ 2754923 w 5431992"/>
              <a:gd name="connsiteY4" fmla="*/ 3727301 h 3727301"/>
              <a:gd name="connsiteX5" fmla="*/ 4157501 w 5431992"/>
              <a:gd name="connsiteY5" fmla="*/ 3727301 h 3727301"/>
              <a:gd name="connsiteX6" fmla="*/ 4540601 w 5431992"/>
              <a:gd name="connsiteY6" fmla="*/ 3727301 h 3727301"/>
              <a:gd name="connsiteX7" fmla="*/ 4540601 w 5431992"/>
              <a:gd name="connsiteY7" fmla="*/ 3726212 h 3727301"/>
              <a:gd name="connsiteX8" fmla="*/ 4540602 w 5431992"/>
              <a:gd name="connsiteY8" fmla="*/ 3726212 h 3727301"/>
              <a:gd name="connsiteX9" fmla="*/ 4540868 w 5431992"/>
              <a:gd name="connsiteY9" fmla="*/ 3726212 h 3727301"/>
              <a:gd name="connsiteX10" fmla="*/ 4552303 w 5431992"/>
              <a:gd name="connsiteY10" fmla="*/ 3726212 h 3727301"/>
              <a:gd name="connsiteX11" fmla="*/ 4587827 w 5431992"/>
              <a:gd name="connsiteY11" fmla="*/ 3726212 h 3727301"/>
              <a:gd name="connsiteX12" fmla="*/ 4587827 w 5431992"/>
              <a:gd name="connsiteY12" fmla="*/ 3723939 h 3727301"/>
              <a:gd name="connsiteX13" fmla="*/ 4626359 w 5431992"/>
              <a:gd name="connsiteY13" fmla="*/ 3722075 h 3727301"/>
              <a:gd name="connsiteX14" fmla="*/ 4629673 w 5431992"/>
              <a:gd name="connsiteY14" fmla="*/ 3721600 h 3727301"/>
              <a:gd name="connsiteX15" fmla="*/ 4631501 w 5431992"/>
              <a:gd name="connsiteY15" fmla="*/ 3721506 h 3727301"/>
              <a:gd name="connsiteX16" fmla="*/ 4648879 w 5431992"/>
              <a:gd name="connsiteY16" fmla="*/ 3718852 h 3727301"/>
              <a:gd name="connsiteX17" fmla="*/ 4704433 w 5431992"/>
              <a:gd name="connsiteY17" fmla="*/ 3710902 h 3727301"/>
              <a:gd name="connsiteX18" fmla="*/ 4710823 w 5431992"/>
              <a:gd name="connsiteY18" fmla="*/ 3709391 h 3727301"/>
              <a:gd name="connsiteX19" fmla="*/ 4714586 w 5431992"/>
              <a:gd name="connsiteY19" fmla="*/ 3708817 h 3727301"/>
              <a:gd name="connsiteX20" fmla="*/ 4734014 w 5431992"/>
              <a:gd name="connsiteY20" fmla="*/ 3703907 h 3727301"/>
              <a:gd name="connsiteX21" fmla="*/ 4780194 w 5431992"/>
              <a:gd name="connsiteY21" fmla="*/ 3692988 h 3727301"/>
              <a:gd name="connsiteX22" fmla="*/ 4789537 w 5431992"/>
              <a:gd name="connsiteY22" fmla="*/ 3689878 h 3727301"/>
              <a:gd name="connsiteX23" fmla="*/ 4794988 w 5431992"/>
              <a:gd name="connsiteY23" fmla="*/ 3688501 h 3727301"/>
              <a:gd name="connsiteX24" fmla="*/ 4813574 w 5431992"/>
              <a:gd name="connsiteY24" fmla="*/ 3681879 h 3727301"/>
              <a:gd name="connsiteX25" fmla="*/ 4853335 w 5431992"/>
              <a:gd name="connsiteY25" fmla="*/ 3668644 h 3727301"/>
              <a:gd name="connsiteX26" fmla="*/ 4865400 w 5431992"/>
              <a:gd name="connsiteY26" fmla="*/ 3663410 h 3727301"/>
              <a:gd name="connsiteX27" fmla="*/ 4872337 w 5431992"/>
              <a:gd name="connsiteY27" fmla="*/ 3660937 h 3727301"/>
              <a:gd name="connsiteX28" fmla="*/ 4889166 w 5431992"/>
              <a:gd name="connsiteY28" fmla="*/ 3653099 h 3727301"/>
              <a:gd name="connsiteX29" fmla="*/ 4923551 w 5431992"/>
              <a:gd name="connsiteY29" fmla="*/ 3638182 h 3727301"/>
              <a:gd name="connsiteX30" fmla="*/ 4938066 w 5431992"/>
              <a:gd name="connsiteY30" fmla="*/ 3630322 h 3727301"/>
              <a:gd name="connsiteX31" fmla="*/ 4946263 w 5431992"/>
              <a:gd name="connsiteY31" fmla="*/ 3626504 h 3727301"/>
              <a:gd name="connsiteX32" fmla="*/ 4960997 w 5431992"/>
              <a:gd name="connsiteY32" fmla="*/ 3617905 h 3727301"/>
              <a:gd name="connsiteX33" fmla="*/ 4990539 w 5431992"/>
              <a:gd name="connsiteY33" fmla="*/ 3601910 h 3727301"/>
              <a:gd name="connsiteX34" fmla="*/ 5007191 w 5431992"/>
              <a:gd name="connsiteY34" fmla="*/ 3590949 h 3727301"/>
              <a:gd name="connsiteX35" fmla="*/ 5016397 w 5431992"/>
              <a:gd name="connsiteY35" fmla="*/ 3585577 h 3727301"/>
              <a:gd name="connsiteX36" fmla="*/ 5028936 w 5431992"/>
              <a:gd name="connsiteY36" fmla="*/ 3576636 h 3727301"/>
              <a:gd name="connsiteX37" fmla="*/ 5053995 w 5431992"/>
              <a:gd name="connsiteY37" fmla="*/ 3560142 h 3727301"/>
              <a:gd name="connsiteX38" fmla="*/ 5072432 w 5431992"/>
              <a:gd name="connsiteY38" fmla="*/ 3545621 h 3727301"/>
              <a:gd name="connsiteX39" fmla="*/ 5082370 w 5431992"/>
              <a:gd name="connsiteY39" fmla="*/ 3538535 h 3727301"/>
              <a:gd name="connsiteX40" fmla="*/ 5092737 w 5431992"/>
              <a:gd name="connsiteY40" fmla="*/ 3529630 h 3727301"/>
              <a:gd name="connsiteX41" fmla="*/ 5113615 w 5431992"/>
              <a:gd name="connsiteY41" fmla="*/ 3513186 h 3727301"/>
              <a:gd name="connsiteX42" fmla="*/ 5133448 w 5431992"/>
              <a:gd name="connsiteY42" fmla="*/ 3494657 h 3727301"/>
              <a:gd name="connsiteX43" fmla="*/ 5143812 w 5431992"/>
              <a:gd name="connsiteY43" fmla="*/ 3485754 h 3727301"/>
              <a:gd name="connsiteX44" fmla="*/ 5152102 w 5431992"/>
              <a:gd name="connsiteY44" fmla="*/ 3477230 h 3727301"/>
              <a:gd name="connsiteX45" fmla="*/ 5169095 w 5431992"/>
              <a:gd name="connsiteY45" fmla="*/ 3461355 h 3727301"/>
              <a:gd name="connsiteX46" fmla="*/ 5189909 w 5431992"/>
              <a:gd name="connsiteY46" fmla="*/ 3438356 h 3727301"/>
              <a:gd name="connsiteX47" fmla="*/ 5200355 w 5431992"/>
              <a:gd name="connsiteY47" fmla="*/ 3427614 h 3727301"/>
              <a:gd name="connsiteX48" fmla="*/ 5206717 w 5431992"/>
              <a:gd name="connsiteY48" fmla="*/ 3419781 h 3727301"/>
              <a:gd name="connsiteX49" fmla="*/ 5220131 w 5431992"/>
              <a:gd name="connsiteY49" fmla="*/ 3404959 h 3727301"/>
              <a:gd name="connsiteX50" fmla="*/ 5241486 w 5431992"/>
              <a:gd name="connsiteY50" fmla="*/ 3376975 h 3727301"/>
              <a:gd name="connsiteX51" fmla="*/ 5251629 w 5431992"/>
              <a:gd name="connsiteY51" fmla="*/ 3364490 h 3727301"/>
              <a:gd name="connsiteX52" fmla="*/ 5256249 w 5431992"/>
              <a:gd name="connsiteY52" fmla="*/ 3357632 h 3727301"/>
              <a:gd name="connsiteX53" fmla="*/ 5266418 w 5431992"/>
              <a:gd name="connsiteY53" fmla="*/ 3344309 h 3727301"/>
              <a:gd name="connsiteX54" fmla="*/ 5287884 w 5431992"/>
              <a:gd name="connsiteY54" fmla="*/ 3310683 h 3727301"/>
              <a:gd name="connsiteX55" fmla="*/ 5297265 w 5431992"/>
              <a:gd name="connsiteY55" fmla="*/ 3296759 h 3727301"/>
              <a:gd name="connsiteX56" fmla="*/ 5300364 w 5431992"/>
              <a:gd name="connsiteY56" fmla="*/ 3291135 h 3727301"/>
              <a:gd name="connsiteX57" fmla="*/ 5307652 w 5431992"/>
              <a:gd name="connsiteY57" fmla="*/ 3279716 h 3727301"/>
              <a:gd name="connsiteX58" fmla="*/ 5328841 w 5431992"/>
              <a:gd name="connsiteY58" fmla="*/ 3239424 h 3727301"/>
              <a:gd name="connsiteX59" fmla="*/ 5336893 w 5431992"/>
              <a:gd name="connsiteY59" fmla="*/ 3224802 h 3727301"/>
              <a:gd name="connsiteX60" fmla="*/ 5338719 w 5431992"/>
              <a:gd name="connsiteY60" fmla="*/ 3220638 h 3727301"/>
              <a:gd name="connsiteX61" fmla="*/ 5343530 w 5431992"/>
              <a:gd name="connsiteY61" fmla="*/ 3211490 h 3727301"/>
              <a:gd name="connsiteX62" fmla="*/ 5364233 w 5431992"/>
              <a:gd name="connsiteY62" fmla="*/ 3162469 h 3727301"/>
              <a:gd name="connsiteX63" fmla="*/ 5370144 w 5431992"/>
              <a:gd name="connsiteY63" fmla="*/ 3148994 h 3727301"/>
              <a:gd name="connsiteX64" fmla="*/ 5370977 w 5431992"/>
              <a:gd name="connsiteY64" fmla="*/ 3146500 h 3727301"/>
              <a:gd name="connsiteX65" fmla="*/ 5373748 w 5431992"/>
              <a:gd name="connsiteY65" fmla="*/ 3139941 h 3727301"/>
              <a:gd name="connsiteX66" fmla="*/ 5394531 w 5431992"/>
              <a:gd name="connsiteY66" fmla="*/ 3076045 h 3727301"/>
              <a:gd name="connsiteX67" fmla="*/ 5396648 w 5431992"/>
              <a:gd name="connsiteY67" fmla="*/ 3069712 h 3727301"/>
              <a:gd name="connsiteX68" fmla="*/ 5396798 w 5431992"/>
              <a:gd name="connsiteY68" fmla="*/ 3069075 h 3727301"/>
              <a:gd name="connsiteX69" fmla="*/ 5397999 w 5431992"/>
              <a:gd name="connsiteY69" fmla="*/ 3065384 h 3727301"/>
              <a:gd name="connsiteX70" fmla="*/ 5427392 w 5431992"/>
              <a:gd name="connsiteY70" fmla="*/ 2908479 h 3727301"/>
              <a:gd name="connsiteX71" fmla="*/ 5427567 w 5431992"/>
              <a:gd name="connsiteY71" fmla="*/ 2904915 h 3727301"/>
              <a:gd name="connsiteX72" fmla="*/ 5427942 w 5431992"/>
              <a:gd name="connsiteY72" fmla="*/ 2902239 h 3727301"/>
              <a:gd name="connsiteX73" fmla="*/ 5429984 w 5431992"/>
              <a:gd name="connsiteY73" fmla="*/ 2858141 h 3727301"/>
              <a:gd name="connsiteX74" fmla="*/ 5431992 w 5431992"/>
              <a:gd name="connsiteY74" fmla="*/ 2858141 h 3727301"/>
              <a:gd name="connsiteX75" fmla="*/ 5431992 w 5431992"/>
              <a:gd name="connsiteY75" fmla="*/ 2815358 h 3727301"/>
              <a:gd name="connsiteX76" fmla="*/ 5431992 w 5431992"/>
              <a:gd name="connsiteY76" fmla="*/ 2815349 h 3727301"/>
              <a:gd name="connsiteX77" fmla="*/ 5431992 w 5431992"/>
              <a:gd name="connsiteY77" fmla="*/ 2815340 h 3727301"/>
              <a:gd name="connsiteX78" fmla="*/ 5431992 w 5431992"/>
              <a:gd name="connsiteY78" fmla="*/ 2814803 h 3727301"/>
              <a:gd name="connsiteX79" fmla="*/ 5431992 w 5431992"/>
              <a:gd name="connsiteY79" fmla="*/ 2806157 h 3727301"/>
              <a:gd name="connsiteX80" fmla="*/ 5431992 w 5431992"/>
              <a:gd name="connsiteY80" fmla="*/ 2439693 h 3727301"/>
              <a:gd name="connsiteX81" fmla="*/ 5431992 w 5431992"/>
              <a:gd name="connsiteY81" fmla="*/ 2396910 h 3727301"/>
              <a:gd name="connsiteX82" fmla="*/ 5431992 w 5431992"/>
              <a:gd name="connsiteY82" fmla="*/ 2396901 h 3727301"/>
              <a:gd name="connsiteX83" fmla="*/ 5431992 w 5431992"/>
              <a:gd name="connsiteY83" fmla="*/ 2396892 h 3727301"/>
              <a:gd name="connsiteX84" fmla="*/ 5431992 w 5431992"/>
              <a:gd name="connsiteY84" fmla="*/ 2396355 h 3727301"/>
              <a:gd name="connsiteX85" fmla="*/ 5431992 w 5431992"/>
              <a:gd name="connsiteY85" fmla="*/ 2387709 h 3727301"/>
              <a:gd name="connsiteX86" fmla="*/ 5431992 w 5431992"/>
              <a:gd name="connsiteY86" fmla="*/ 2251532 h 3727301"/>
              <a:gd name="connsiteX87" fmla="*/ 5431992 w 5431992"/>
              <a:gd name="connsiteY87" fmla="*/ 1894207 h 3727301"/>
              <a:gd name="connsiteX88" fmla="*/ 5431992 w 5431992"/>
              <a:gd name="connsiteY88" fmla="*/ 1833084 h 3727301"/>
              <a:gd name="connsiteX89" fmla="*/ 5431992 w 5431992"/>
              <a:gd name="connsiteY89" fmla="*/ 1475759 h 3727301"/>
              <a:gd name="connsiteX90" fmla="*/ 5431992 w 5431992"/>
              <a:gd name="connsiteY90" fmla="*/ 1330390 h 3727301"/>
              <a:gd name="connsiteX91" fmla="*/ 5431992 w 5431992"/>
              <a:gd name="connsiteY91" fmla="*/ 911942 h 3727301"/>
              <a:gd name="connsiteX92" fmla="*/ 5431992 w 5431992"/>
              <a:gd name="connsiteY92" fmla="*/ 418448 h 3727301"/>
              <a:gd name="connsiteX93" fmla="*/ 5431992 w 5431992"/>
              <a:gd name="connsiteY93" fmla="*/ 0 h 3727301"/>
              <a:gd name="connsiteX94" fmla="*/ 4587827 w 5431992"/>
              <a:gd name="connsiteY94" fmla="*/ 0 h 3727301"/>
              <a:gd name="connsiteX95" fmla="*/ 4540602 w 5431992"/>
              <a:gd name="connsiteY95" fmla="*/ 0 h 3727301"/>
              <a:gd name="connsiteX96" fmla="*/ 3646314 w 5431992"/>
              <a:gd name="connsiteY96" fmla="*/ 0 h 3727301"/>
              <a:gd name="connsiteX97" fmla="*/ 3060170 w 5431992"/>
              <a:gd name="connsiteY97" fmla="*/ 0 h 3727301"/>
              <a:gd name="connsiteX98" fmla="*/ 2802149 w 5431992"/>
              <a:gd name="connsiteY98" fmla="*/ 0 h 3727301"/>
              <a:gd name="connsiteX99" fmla="*/ 2754924 w 5431992"/>
              <a:gd name="connsiteY99" fmla="*/ 0 h 3727301"/>
              <a:gd name="connsiteX100" fmla="*/ 2677069 w 5431992"/>
              <a:gd name="connsiteY100" fmla="*/ 0 h 3727301"/>
              <a:gd name="connsiteX101" fmla="*/ 1274492 w 5431992"/>
              <a:gd name="connsiteY101" fmla="*/ 0 h 3727301"/>
              <a:gd name="connsiteX102" fmla="*/ 891391 w 5431992"/>
              <a:gd name="connsiteY102" fmla="*/ 0 h 3727301"/>
              <a:gd name="connsiteX103" fmla="*/ 891391 w 5431992"/>
              <a:gd name="connsiteY103" fmla="*/ 1089 h 3727301"/>
              <a:gd name="connsiteX104" fmla="*/ 891390 w 5431992"/>
              <a:gd name="connsiteY104" fmla="*/ 1089 h 3727301"/>
              <a:gd name="connsiteX105" fmla="*/ 891124 w 5431992"/>
              <a:gd name="connsiteY105" fmla="*/ 1089 h 3727301"/>
              <a:gd name="connsiteX106" fmla="*/ 879689 w 5431992"/>
              <a:gd name="connsiteY106" fmla="*/ 1089 h 3727301"/>
              <a:gd name="connsiteX107" fmla="*/ 844165 w 5431992"/>
              <a:gd name="connsiteY107" fmla="*/ 1089 h 3727301"/>
              <a:gd name="connsiteX108" fmla="*/ 844165 w 5431992"/>
              <a:gd name="connsiteY108" fmla="*/ 3362 h 3727301"/>
              <a:gd name="connsiteX109" fmla="*/ 805634 w 5431992"/>
              <a:gd name="connsiteY109" fmla="*/ 5226 h 3727301"/>
              <a:gd name="connsiteX110" fmla="*/ 802321 w 5431992"/>
              <a:gd name="connsiteY110" fmla="*/ 5701 h 3727301"/>
              <a:gd name="connsiteX111" fmla="*/ 800491 w 5431992"/>
              <a:gd name="connsiteY111" fmla="*/ 5795 h 3727301"/>
              <a:gd name="connsiteX112" fmla="*/ 783113 w 5431992"/>
              <a:gd name="connsiteY112" fmla="*/ 8449 h 3727301"/>
              <a:gd name="connsiteX113" fmla="*/ 727559 w 5431992"/>
              <a:gd name="connsiteY113" fmla="*/ 16399 h 3727301"/>
              <a:gd name="connsiteX114" fmla="*/ 721169 w 5431992"/>
              <a:gd name="connsiteY114" fmla="*/ 17910 h 3727301"/>
              <a:gd name="connsiteX115" fmla="*/ 717406 w 5431992"/>
              <a:gd name="connsiteY115" fmla="*/ 18484 h 3727301"/>
              <a:gd name="connsiteX116" fmla="*/ 697980 w 5431992"/>
              <a:gd name="connsiteY116" fmla="*/ 23394 h 3727301"/>
              <a:gd name="connsiteX117" fmla="*/ 651798 w 5431992"/>
              <a:gd name="connsiteY117" fmla="*/ 34313 h 3727301"/>
              <a:gd name="connsiteX118" fmla="*/ 642455 w 5431992"/>
              <a:gd name="connsiteY118" fmla="*/ 37423 h 3727301"/>
              <a:gd name="connsiteX119" fmla="*/ 637004 w 5431992"/>
              <a:gd name="connsiteY119" fmla="*/ 38800 h 3727301"/>
              <a:gd name="connsiteX120" fmla="*/ 618418 w 5431992"/>
              <a:gd name="connsiteY120" fmla="*/ 45422 h 3727301"/>
              <a:gd name="connsiteX121" fmla="*/ 578659 w 5431992"/>
              <a:gd name="connsiteY121" fmla="*/ 58657 h 3727301"/>
              <a:gd name="connsiteX122" fmla="*/ 566594 w 5431992"/>
              <a:gd name="connsiteY122" fmla="*/ 63891 h 3727301"/>
              <a:gd name="connsiteX123" fmla="*/ 559656 w 5431992"/>
              <a:gd name="connsiteY123" fmla="*/ 66364 h 3727301"/>
              <a:gd name="connsiteX124" fmla="*/ 542827 w 5431992"/>
              <a:gd name="connsiteY124" fmla="*/ 74202 h 3727301"/>
              <a:gd name="connsiteX125" fmla="*/ 508443 w 5431992"/>
              <a:gd name="connsiteY125" fmla="*/ 89119 h 3727301"/>
              <a:gd name="connsiteX126" fmla="*/ 493927 w 5431992"/>
              <a:gd name="connsiteY126" fmla="*/ 96979 h 3727301"/>
              <a:gd name="connsiteX127" fmla="*/ 485730 w 5431992"/>
              <a:gd name="connsiteY127" fmla="*/ 100797 h 3727301"/>
              <a:gd name="connsiteX128" fmla="*/ 470995 w 5431992"/>
              <a:gd name="connsiteY128" fmla="*/ 109396 h 3727301"/>
              <a:gd name="connsiteX129" fmla="*/ 441454 w 5431992"/>
              <a:gd name="connsiteY129" fmla="*/ 125391 h 3727301"/>
              <a:gd name="connsiteX130" fmla="*/ 424802 w 5431992"/>
              <a:gd name="connsiteY130" fmla="*/ 136352 h 3727301"/>
              <a:gd name="connsiteX131" fmla="*/ 415596 w 5431992"/>
              <a:gd name="connsiteY131" fmla="*/ 141724 h 3727301"/>
              <a:gd name="connsiteX132" fmla="*/ 403056 w 5431992"/>
              <a:gd name="connsiteY132" fmla="*/ 150665 h 3727301"/>
              <a:gd name="connsiteX133" fmla="*/ 377997 w 5431992"/>
              <a:gd name="connsiteY133" fmla="*/ 167159 h 3727301"/>
              <a:gd name="connsiteX134" fmla="*/ 359561 w 5431992"/>
              <a:gd name="connsiteY134" fmla="*/ 181680 h 3727301"/>
              <a:gd name="connsiteX135" fmla="*/ 349622 w 5431992"/>
              <a:gd name="connsiteY135" fmla="*/ 188766 h 3727301"/>
              <a:gd name="connsiteX136" fmla="*/ 339257 w 5431992"/>
              <a:gd name="connsiteY136" fmla="*/ 197671 h 3727301"/>
              <a:gd name="connsiteX137" fmla="*/ 318377 w 5431992"/>
              <a:gd name="connsiteY137" fmla="*/ 214115 h 3727301"/>
              <a:gd name="connsiteX138" fmla="*/ 298544 w 5431992"/>
              <a:gd name="connsiteY138" fmla="*/ 232644 h 3727301"/>
              <a:gd name="connsiteX139" fmla="*/ 288180 w 5431992"/>
              <a:gd name="connsiteY139" fmla="*/ 241547 h 3727301"/>
              <a:gd name="connsiteX140" fmla="*/ 279890 w 5431992"/>
              <a:gd name="connsiteY140" fmla="*/ 250071 h 3727301"/>
              <a:gd name="connsiteX141" fmla="*/ 262898 w 5431992"/>
              <a:gd name="connsiteY141" fmla="*/ 265946 h 3727301"/>
              <a:gd name="connsiteX142" fmla="*/ 242085 w 5431992"/>
              <a:gd name="connsiteY142" fmla="*/ 288944 h 3727301"/>
              <a:gd name="connsiteX143" fmla="*/ 231637 w 5431992"/>
              <a:gd name="connsiteY143" fmla="*/ 299687 h 3727301"/>
              <a:gd name="connsiteX144" fmla="*/ 225275 w 5431992"/>
              <a:gd name="connsiteY144" fmla="*/ 307520 h 3727301"/>
              <a:gd name="connsiteX145" fmla="*/ 211862 w 5431992"/>
              <a:gd name="connsiteY145" fmla="*/ 322342 h 3727301"/>
              <a:gd name="connsiteX146" fmla="*/ 190506 w 5431992"/>
              <a:gd name="connsiteY146" fmla="*/ 350326 h 3727301"/>
              <a:gd name="connsiteX147" fmla="*/ 180363 w 5431992"/>
              <a:gd name="connsiteY147" fmla="*/ 362811 h 3727301"/>
              <a:gd name="connsiteX148" fmla="*/ 175743 w 5431992"/>
              <a:gd name="connsiteY148" fmla="*/ 369669 h 3727301"/>
              <a:gd name="connsiteX149" fmla="*/ 165574 w 5431992"/>
              <a:gd name="connsiteY149" fmla="*/ 382992 h 3727301"/>
              <a:gd name="connsiteX150" fmla="*/ 144110 w 5431992"/>
              <a:gd name="connsiteY150" fmla="*/ 416618 h 3727301"/>
              <a:gd name="connsiteX151" fmla="*/ 134728 w 5431992"/>
              <a:gd name="connsiteY151" fmla="*/ 430542 h 3727301"/>
              <a:gd name="connsiteX152" fmla="*/ 131630 w 5431992"/>
              <a:gd name="connsiteY152" fmla="*/ 436167 h 3727301"/>
              <a:gd name="connsiteX153" fmla="*/ 124340 w 5431992"/>
              <a:gd name="connsiteY153" fmla="*/ 447585 h 3727301"/>
              <a:gd name="connsiteX154" fmla="*/ 103153 w 5431992"/>
              <a:gd name="connsiteY154" fmla="*/ 487877 h 3727301"/>
              <a:gd name="connsiteX155" fmla="*/ 95100 w 5431992"/>
              <a:gd name="connsiteY155" fmla="*/ 502499 h 3727301"/>
              <a:gd name="connsiteX156" fmla="*/ 93274 w 5431992"/>
              <a:gd name="connsiteY156" fmla="*/ 506663 h 3727301"/>
              <a:gd name="connsiteX157" fmla="*/ 88463 w 5431992"/>
              <a:gd name="connsiteY157" fmla="*/ 515811 h 3727301"/>
              <a:gd name="connsiteX158" fmla="*/ 67759 w 5431992"/>
              <a:gd name="connsiteY158" fmla="*/ 564832 h 3727301"/>
              <a:gd name="connsiteX159" fmla="*/ 61850 w 5431992"/>
              <a:gd name="connsiteY159" fmla="*/ 578307 h 3727301"/>
              <a:gd name="connsiteX160" fmla="*/ 61016 w 5431992"/>
              <a:gd name="connsiteY160" fmla="*/ 580801 h 3727301"/>
              <a:gd name="connsiteX161" fmla="*/ 58246 w 5431992"/>
              <a:gd name="connsiteY161" fmla="*/ 587360 h 3727301"/>
              <a:gd name="connsiteX162" fmla="*/ 37462 w 5431992"/>
              <a:gd name="connsiteY162" fmla="*/ 651256 h 3727301"/>
              <a:gd name="connsiteX163" fmla="*/ 35344 w 5431992"/>
              <a:gd name="connsiteY163" fmla="*/ 657589 h 3727301"/>
              <a:gd name="connsiteX164" fmla="*/ 35195 w 5431992"/>
              <a:gd name="connsiteY164" fmla="*/ 658226 h 3727301"/>
              <a:gd name="connsiteX165" fmla="*/ 33994 w 5431992"/>
              <a:gd name="connsiteY165" fmla="*/ 661917 h 3727301"/>
              <a:gd name="connsiteX166" fmla="*/ 4602 w 5431992"/>
              <a:gd name="connsiteY166" fmla="*/ 818822 h 3727301"/>
              <a:gd name="connsiteX167" fmla="*/ 4426 w 5431992"/>
              <a:gd name="connsiteY167" fmla="*/ 822387 h 3727301"/>
              <a:gd name="connsiteX168" fmla="*/ 4051 w 5431992"/>
              <a:gd name="connsiteY168" fmla="*/ 825062 h 3727301"/>
              <a:gd name="connsiteX169" fmla="*/ 2008 w 5431992"/>
              <a:gd name="connsiteY169" fmla="*/ 869160 h 3727301"/>
              <a:gd name="connsiteX170" fmla="*/ 1 w 5431992"/>
              <a:gd name="connsiteY170" fmla="*/ 869160 h 3727301"/>
              <a:gd name="connsiteX171" fmla="*/ 1 w 5431992"/>
              <a:gd name="connsiteY171" fmla="*/ 911944 h 3727301"/>
              <a:gd name="connsiteX172" fmla="*/ 0 w 5431992"/>
              <a:gd name="connsiteY172" fmla="*/ 911952 h 3727301"/>
              <a:gd name="connsiteX173" fmla="*/ 1 w 5431992"/>
              <a:gd name="connsiteY173" fmla="*/ 911961 h 3727301"/>
              <a:gd name="connsiteX174" fmla="*/ 1 w 5431992"/>
              <a:gd name="connsiteY174" fmla="*/ 912498 h 3727301"/>
              <a:gd name="connsiteX175" fmla="*/ 1 w 5431992"/>
              <a:gd name="connsiteY175" fmla="*/ 921144 h 3727301"/>
              <a:gd name="connsiteX176" fmla="*/ 0 w 5431992"/>
              <a:gd name="connsiteY176" fmla="*/ 921144 h 3727301"/>
              <a:gd name="connsiteX177" fmla="*/ 0 w 5431992"/>
              <a:gd name="connsiteY177" fmla="*/ 1330400 h 3727301"/>
              <a:gd name="connsiteX178" fmla="*/ 0 w 5431992"/>
              <a:gd name="connsiteY178" fmla="*/ 1339592 h 3727301"/>
              <a:gd name="connsiteX179" fmla="*/ 0 w 5431992"/>
              <a:gd name="connsiteY179" fmla="*/ 1475768 h 3727301"/>
              <a:gd name="connsiteX180" fmla="*/ 0 w 5431992"/>
              <a:gd name="connsiteY180" fmla="*/ 1475769 h 3727301"/>
              <a:gd name="connsiteX181" fmla="*/ 0 w 5431992"/>
              <a:gd name="connsiteY181" fmla="*/ 1475770 h 3727301"/>
              <a:gd name="connsiteX182" fmla="*/ 0 w 5431992"/>
              <a:gd name="connsiteY182" fmla="*/ 1833095 h 3727301"/>
              <a:gd name="connsiteX183" fmla="*/ 0 w 5431992"/>
              <a:gd name="connsiteY183" fmla="*/ 1894216 h 3727301"/>
              <a:gd name="connsiteX184" fmla="*/ 0 w 5431992"/>
              <a:gd name="connsiteY184" fmla="*/ 1894217 h 3727301"/>
              <a:gd name="connsiteX185" fmla="*/ 0 w 5431992"/>
              <a:gd name="connsiteY185" fmla="*/ 1894218 h 3727301"/>
              <a:gd name="connsiteX186" fmla="*/ 0 w 5431992"/>
              <a:gd name="connsiteY186" fmla="*/ 2251543 h 3727301"/>
              <a:gd name="connsiteX187" fmla="*/ 0 w 5431992"/>
              <a:gd name="connsiteY187" fmla="*/ 2396911 h 3727301"/>
              <a:gd name="connsiteX188" fmla="*/ 0 w 5431992"/>
              <a:gd name="connsiteY188" fmla="*/ 2815359 h 3727301"/>
              <a:gd name="connsiteX189" fmla="*/ 0 w 5431992"/>
              <a:gd name="connsiteY189" fmla="*/ 3308853 h 3727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431992" h="3727301">
                <a:moveTo>
                  <a:pt x="0" y="3727301"/>
                </a:moveTo>
                <a:lnTo>
                  <a:pt x="844165" y="3727301"/>
                </a:lnTo>
                <a:lnTo>
                  <a:pt x="891390" y="3727301"/>
                </a:lnTo>
                <a:lnTo>
                  <a:pt x="2371823" y="3727301"/>
                </a:lnTo>
                <a:lnTo>
                  <a:pt x="2754923" y="3727301"/>
                </a:lnTo>
                <a:lnTo>
                  <a:pt x="4157501" y="3727301"/>
                </a:lnTo>
                <a:lnTo>
                  <a:pt x="4540601" y="3727301"/>
                </a:lnTo>
                <a:lnTo>
                  <a:pt x="4540601" y="3726212"/>
                </a:lnTo>
                <a:lnTo>
                  <a:pt x="4540602" y="3726212"/>
                </a:lnTo>
                <a:lnTo>
                  <a:pt x="4540868" y="3726212"/>
                </a:lnTo>
                <a:lnTo>
                  <a:pt x="4552303" y="3726212"/>
                </a:lnTo>
                <a:lnTo>
                  <a:pt x="4587827" y="3726212"/>
                </a:lnTo>
                <a:lnTo>
                  <a:pt x="4587827" y="3723939"/>
                </a:lnTo>
                <a:lnTo>
                  <a:pt x="4626359" y="3722075"/>
                </a:lnTo>
                <a:lnTo>
                  <a:pt x="4629673" y="3721600"/>
                </a:lnTo>
                <a:lnTo>
                  <a:pt x="4631501" y="3721506"/>
                </a:lnTo>
                <a:lnTo>
                  <a:pt x="4648879" y="3718852"/>
                </a:lnTo>
                <a:lnTo>
                  <a:pt x="4704433" y="3710902"/>
                </a:lnTo>
                <a:lnTo>
                  <a:pt x="4710823" y="3709391"/>
                </a:lnTo>
                <a:lnTo>
                  <a:pt x="4714586" y="3708817"/>
                </a:lnTo>
                <a:lnTo>
                  <a:pt x="4734014" y="3703907"/>
                </a:lnTo>
                <a:lnTo>
                  <a:pt x="4780194" y="3692988"/>
                </a:lnTo>
                <a:lnTo>
                  <a:pt x="4789537" y="3689878"/>
                </a:lnTo>
                <a:lnTo>
                  <a:pt x="4794988" y="3688501"/>
                </a:lnTo>
                <a:lnTo>
                  <a:pt x="4813574" y="3681879"/>
                </a:lnTo>
                <a:lnTo>
                  <a:pt x="4853335" y="3668644"/>
                </a:lnTo>
                <a:lnTo>
                  <a:pt x="4865400" y="3663410"/>
                </a:lnTo>
                <a:lnTo>
                  <a:pt x="4872337" y="3660937"/>
                </a:lnTo>
                <a:lnTo>
                  <a:pt x="4889166" y="3653099"/>
                </a:lnTo>
                <a:lnTo>
                  <a:pt x="4923551" y="3638182"/>
                </a:lnTo>
                <a:lnTo>
                  <a:pt x="4938066" y="3630322"/>
                </a:lnTo>
                <a:lnTo>
                  <a:pt x="4946263" y="3626504"/>
                </a:lnTo>
                <a:lnTo>
                  <a:pt x="4960997" y="3617905"/>
                </a:lnTo>
                <a:lnTo>
                  <a:pt x="4990539" y="3601910"/>
                </a:lnTo>
                <a:lnTo>
                  <a:pt x="5007191" y="3590949"/>
                </a:lnTo>
                <a:lnTo>
                  <a:pt x="5016397" y="3585577"/>
                </a:lnTo>
                <a:lnTo>
                  <a:pt x="5028936" y="3576636"/>
                </a:lnTo>
                <a:lnTo>
                  <a:pt x="5053995" y="3560142"/>
                </a:lnTo>
                <a:lnTo>
                  <a:pt x="5072432" y="3545621"/>
                </a:lnTo>
                <a:lnTo>
                  <a:pt x="5082370" y="3538535"/>
                </a:lnTo>
                <a:lnTo>
                  <a:pt x="5092737" y="3529630"/>
                </a:lnTo>
                <a:lnTo>
                  <a:pt x="5113615" y="3513186"/>
                </a:lnTo>
                <a:lnTo>
                  <a:pt x="5133448" y="3494657"/>
                </a:lnTo>
                <a:lnTo>
                  <a:pt x="5143812" y="3485754"/>
                </a:lnTo>
                <a:lnTo>
                  <a:pt x="5152102" y="3477230"/>
                </a:lnTo>
                <a:lnTo>
                  <a:pt x="5169095" y="3461355"/>
                </a:lnTo>
                <a:lnTo>
                  <a:pt x="5189909" y="3438356"/>
                </a:lnTo>
                <a:lnTo>
                  <a:pt x="5200355" y="3427614"/>
                </a:lnTo>
                <a:lnTo>
                  <a:pt x="5206717" y="3419781"/>
                </a:lnTo>
                <a:lnTo>
                  <a:pt x="5220131" y="3404959"/>
                </a:lnTo>
                <a:lnTo>
                  <a:pt x="5241486" y="3376975"/>
                </a:lnTo>
                <a:lnTo>
                  <a:pt x="5251629" y="3364490"/>
                </a:lnTo>
                <a:lnTo>
                  <a:pt x="5256249" y="3357632"/>
                </a:lnTo>
                <a:lnTo>
                  <a:pt x="5266418" y="3344309"/>
                </a:lnTo>
                <a:lnTo>
                  <a:pt x="5287884" y="3310683"/>
                </a:lnTo>
                <a:lnTo>
                  <a:pt x="5297265" y="3296759"/>
                </a:lnTo>
                <a:lnTo>
                  <a:pt x="5300364" y="3291135"/>
                </a:lnTo>
                <a:lnTo>
                  <a:pt x="5307652" y="3279716"/>
                </a:lnTo>
                <a:lnTo>
                  <a:pt x="5328841" y="3239424"/>
                </a:lnTo>
                <a:lnTo>
                  <a:pt x="5336893" y="3224802"/>
                </a:lnTo>
                <a:lnTo>
                  <a:pt x="5338719" y="3220638"/>
                </a:lnTo>
                <a:lnTo>
                  <a:pt x="5343530" y="3211490"/>
                </a:lnTo>
                <a:lnTo>
                  <a:pt x="5364233" y="3162469"/>
                </a:lnTo>
                <a:lnTo>
                  <a:pt x="5370144" y="3148994"/>
                </a:lnTo>
                <a:lnTo>
                  <a:pt x="5370977" y="3146500"/>
                </a:lnTo>
                <a:lnTo>
                  <a:pt x="5373748" y="3139941"/>
                </a:lnTo>
                <a:lnTo>
                  <a:pt x="5394531" y="3076045"/>
                </a:lnTo>
                <a:lnTo>
                  <a:pt x="5396648" y="3069712"/>
                </a:lnTo>
                <a:lnTo>
                  <a:pt x="5396798" y="3069075"/>
                </a:lnTo>
                <a:lnTo>
                  <a:pt x="5397999" y="3065384"/>
                </a:lnTo>
                <a:cubicBezTo>
                  <a:pt x="5412111" y="3014743"/>
                  <a:pt x="5422044" y="2962304"/>
                  <a:pt x="5427392" y="2908479"/>
                </a:cubicBezTo>
                <a:lnTo>
                  <a:pt x="5427567" y="2904915"/>
                </a:lnTo>
                <a:lnTo>
                  <a:pt x="5427942" y="2902239"/>
                </a:lnTo>
                <a:lnTo>
                  <a:pt x="5429984" y="2858141"/>
                </a:lnTo>
                <a:lnTo>
                  <a:pt x="5431992" y="2858141"/>
                </a:lnTo>
                <a:lnTo>
                  <a:pt x="5431992" y="2815358"/>
                </a:lnTo>
                <a:lnTo>
                  <a:pt x="5431992" y="2815349"/>
                </a:lnTo>
                <a:lnTo>
                  <a:pt x="5431992" y="2815340"/>
                </a:lnTo>
                <a:lnTo>
                  <a:pt x="5431992" y="2814803"/>
                </a:lnTo>
                <a:lnTo>
                  <a:pt x="5431992" y="2806157"/>
                </a:lnTo>
                <a:lnTo>
                  <a:pt x="5431992" y="2439693"/>
                </a:lnTo>
                <a:lnTo>
                  <a:pt x="5431992" y="2396910"/>
                </a:lnTo>
                <a:lnTo>
                  <a:pt x="5431992" y="2396901"/>
                </a:lnTo>
                <a:lnTo>
                  <a:pt x="5431992" y="2396892"/>
                </a:lnTo>
                <a:lnTo>
                  <a:pt x="5431992" y="2396355"/>
                </a:lnTo>
                <a:lnTo>
                  <a:pt x="5431992" y="2387709"/>
                </a:lnTo>
                <a:lnTo>
                  <a:pt x="5431992" y="2251532"/>
                </a:lnTo>
                <a:lnTo>
                  <a:pt x="5431992" y="1894207"/>
                </a:lnTo>
                <a:lnTo>
                  <a:pt x="5431992" y="1833084"/>
                </a:lnTo>
                <a:lnTo>
                  <a:pt x="5431992" y="1475759"/>
                </a:lnTo>
                <a:lnTo>
                  <a:pt x="5431992" y="1330390"/>
                </a:lnTo>
                <a:lnTo>
                  <a:pt x="5431992" y="911942"/>
                </a:lnTo>
                <a:lnTo>
                  <a:pt x="5431992" y="418448"/>
                </a:lnTo>
                <a:lnTo>
                  <a:pt x="5431992" y="0"/>
                </a:lnTo>
                <a:lnTo>
                  <a:pt x="4587827" y="0"/>
                </a:lnTo>
                <a:lnTo>
                  <a:pt x="4540602" y="0"/>
                </a:lnTo>
                <a:lnTo>
                  <a:pt x="3646314" y="0"/>
                </a:lnTo>
                <a:lnTo>
                  <a:pt x="3060170" y="0"/>
                </a:lnTo>
                <a:lnTo>
                  <a:pt x="2802149" y="0"/>
                </a:lnTo>
                <a:lnTo>
                  <a:pt x="2754924" y="0"/>
                </a:lnTo>
                <a:lnTo>
                  <a:pt x="2677069" y="0"/>
                </a:lnTo>
                <a:lnTo>
                  <a:pt x="1274492" y="0"/>
                </a:lnTo>
                <a:lnTo>
                  <a:pt x="891391" y="0"/>
                </a:lnTo>
                <a:lnTo>
                  <a:pt x="891391" y="1089"/>
                </a:lnTo>
                <a:lnTo>
                  <a:pt x="891390" y="1089"/>
                </a:lnTo>
                <a:lnTo>
                  <a:pt x="891124" y="1089"/>
                </a:lnTo>
                <a:lnTo>
                  <a:pt x="879689" y="1089"/>
                </a:lnTo>
                <a:lnTo>
                  <a:pt x="844165" y="1089"/>
                </a:lnTo>
                <a:lnTo>
                  <a:pt x="844165" y="3362"/>
                </a:lnTo>
                <a:lnTo>
                  <a:pt x="805634" y="5226"/>
                </a:lnTo>
                <a:lnTo>
                  <a:pt x="802321" y="5701"/>
                </a:lnTo>
                <a:lnTo>
                  <a:pt x="800491" y="5795"/>
                </a:lnTo>
                <a:lnTo>
                  <a:pt x="783113" y="8449"/>
                </a:lnTo>
                <a:lnTo>
                  <a:pt x="727559" y="16399"/>
                </a:lnTo>
                <a:lnTo>
                  <a:pt x="721169" y="17910"/>
                </a:lnTo>
                <a:lnTo>
                  <a:pt x="717406" y="18484"/>
                </a:lnTo>
                <a:lnTo>
                  <a:pt x="697980" y="23394"/>
                </a:lnTo>
                <a:lnTo>
                  <a:pt x="651798" y="34313"/>
                </a:lnTo>
                <a:lnTo>
                  <a:pt x="642455" y="37423"/>
                </a:lnTo>
                <a:lnTo>
                  <a:pt x="637004" y="38800"/>
                </a:lnTo>
                <a:lnTo>
                  <a:pt x="618418" y="45422"/>
                </a:lnTo>
                <a:lnTo>
                  <a:pt x="578659" y="58657"/>
                </a:lnTo>
                <a:lnTo>
                  <a:pt x="566594" y="63891"/>
                </a:lnTo>
                <a:lnTo>
                  <a:pt x="559656" y="66364"/>
                </a:lnTo>
                <a:lnTo>
                  <a:pt x="542827" y="74202"/>
                </a:lnTo>
                <a:lnTo>
                  <a:pt x="508443" y="89119"/>
                </a:lnTo>
                <a:lnTo>
                  <a:pt x="493927" y="96979"/>
                </a:lnTo>
                <a:lnTo>
                  <a:pt x="485730" y="100797"/>
                </a:lnTo>
                <a:lnTo>
                  <a:pt x="470995" y="109396"/>
                </a:lnTo>
                <a:lnTo>
                  <a:pt x="441454" y="125391"/>
                </a:lnTo>
                <a:lnTo>
                  <a:pt x="424802" y="136352"/>
                </a:lnTo>
                <a:lnTo>
                  <a:pt x="415596" y="141724"/>
                </a:lnTo>
                <a:lnTo>
                  <a:pt x="403056" y="150665"/>
                </a:lnTo>
                <a:lnTo>
                  <a:pt x="377997" y="167159"/>
                </a:lnTo>
                <a:lnTo>
                  <a:pt x="359561" y="181680"/>
                </a:lnTo>
                <a:lnTo>
                  <a:pt x="349622" y="188766"/>
                </a:lnTo>
                <a:lnTo>
                  <a:pt x="339257" y="197671"/>
                </a:lnTo>
                <a:lnTo>
                  <a:pt x="318377" y="214115"/>
                </a:lnTo>
                <a:lnTo>
                  <a:pt x="298544" y="232644"/>
                </a:lnTo>
                <a:lnTo>
                  <a:pt x="288180" y="241547"/>
                </a:lnTo>
                <a:lnTo>
                  <a:pt x="279890" y="250071"/>
                </a:lnTo>
                <a:lnTo>
                  <a:pt x="262898" y="265946"/>
                </a:lnTo>
                <a:lnTo>
                  <a:pt x="242085" y="288944"/>
                </a:lnTo>
                <a:lnTo>
                  <a:pt x="231637" y="299687"/>
                </a:lnTo>
                <a:lnTo>
                  <a:pt x="225275" y="307520"/>
                </a:lnTo>
                <a:lnTo>
                  <a:pt x="211862" y="322342"/>
                </a:lnTo>
                <a:lnTo>
                  <a:pt x="190506" y="350326"/>
                </a:lnTo>
                <a:lnTo>
                  <a:pt x="180363" y="362811"/>
                </a:lnTo>
                <a:lnTo>
                  <a:pt x="175743" y="369669"/>
                </a:lnTo>
                <a:lnTo>
                  <a:pt x="165574" y="382992"/>
                </a:lnTo>
                <a:lnTo>
                  <a:pt x="144110" y="416618"/>
                </a:lnTo>
                <a:lnTo>
                  <a:pt x="134728" y="430542"/>
                </a:lnTo>
                <a:lnTo>
                  <a:pt x="131630" y="436167"/>
                </a:lnTo>
                <a:lnTo>
                  <a:pt x="124340" y="447585"/>
                </a:lnTo>
                <a:lnTo>
                  <a:pt x="103153" y="487877"/>
                </a:lnTo>
                <a:lnTo>
                  <a:pt x="95100" y="502499"/>
                </a:lnTo>
                <a:lnTo>
                  <a:pt x="93274" y="506663"/>
                </a:lnTo>
                <a:lnTo>
                  <a:pt x="88463" y="515811"/>
                </a:lnTo>
                <a:lnTo>
                  <a:pt x="67759" y="564832"/>
                </a:lnTo>
                <a:lnTo>
                  <a:pt x="61850" y="578307"/>
                </a:lnTo>
                <a:lnTo>
                  <a:pt x="61016" y="580801"/>
                </a:lnTo>
                <a:lnTo>
                  <a:pt x="58246" y="587360"/>
                </a:lnTo>
                <a:lnTo>
                  <a:pt x="37462" y="651256"/>
                </a:lnTo>
                <a:lnTo>
                  <a:pt x="35344" y="657589"/>
                </a:lnTo>
                <a:lnTo>
                  <a:pt x="35195" y="658226"/>
                </a:lnTo>
                <a:lnTo>
                  <a:pt x="33994" y="661917"/>
                </a:lnTo>
                <a:cubicBezTo>
                  <a:pt x="19882" y="712558"/>
                  <a:pt x="9949" y="764997"/>
                  <a:pt x="4602" y="818822"/>
                </a:cubicBezTo>
                <a:lnTo>
                  <a:pt x="4426" y="822387"/>
                </a:lnTo>
                <a:lnTo>
                  <a:pt x="4051" y="825062"/>
                </a:lnTo>
                <a:lnTo>
                  <a:pt x="2008" y="869160"/>
                </a:lnTo>
                <a:lnTo>
                  <a:pt x="1" y="869160"/>
                </a:lnTo>
                <a:lnTo>
                  <a:pt x="1" y="911944"/>
                </a:lnTo>
                <a:lnTo>
                  <a:pt x="0" y="911952"/>
                </a:lnTo>
                <a:lnTo>
                  <a:pt x="1" y="911961"/>
                </a:lnTo>
                <a:lnTo>
                  <a:pt x="1" y="912498"/>
                </a:lnTo>
                <a:lnTo>
                  <a:pt x="1" y="921144"/>
                </a:lnTo>
                <a:lnTo>
                  <a:pt x="0" y="921144"/>
                </a:lnTo>
                <a:lnTo>
                  <a:pt x="0" y="1330400"/>
                </a:lnTo>
                <a:lnTo>
                  <a:pt x="0" y="1339592"/>
                </a:lnTo>
                <a:lnTo>
                  <a:pt x="0" y="1475768"/>
                </a:lnTo>
                <a:lnTo>
                  <a:pt x="0" y="1475769"/>
                </a:lnTo>
                <a:lnTo>
                  <a:pt x="0" y="1475770"/>
                </a:lnTo>
                <a:lnTo>
                  <a:pt x="0" y="1833095"/>
                </a:lnTo>
                <a:lnTo>
                  <a:pt x="0" y="1894216"/>
                </a:lnTo>
                <a:lnTo>
                  <a:pt x="0" y="1894217"/>
                </a:lnTo>
                <a:lnTo>
                  <a:pt x="0" y="1894218"/>
                </a:lnTo>
                <a:lnTo>
                  <a:pt x="0" y="2251543"/>
                </a:lnTo>
                <a:lnTo>
                  <a:pt x="0" y="2396911"/>
                </a:lnTo>
                <a:lnTo>
                  <a:pt x="0" y="2815359"/>
                </a:lnTo>
                <a:lnTo>
                  <a:pt x="0" y="3308853"/>
                </a:lnTo>
                <a:close/>
              </a:path>
            </a:pathLst>
          </a:custGeom>
          <a:solidFill>
            <a:srgbClr val="1D316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  <a:sym typeface="Arial"/>
            </a:endParaRPr>
          </a:p>
        </p:txBody>
      </p:sp>
      <p:sp>
        <p:nvSpPr>
          <p:cNvPr id="5" name="Freeform: Shape 90">
            <a:extLst>
              <a:ext uri="{FF2B5EF4-FFF2-40B4-BE49-F238E27FC236}">
                <a16:creationId xmlns:a16="http://schemas.microsoft.com/office/drawing/2014/main" id="{CB542E25-8554-8D3F-7D64-2483CDCD6384}"/>
              </a:ext>
            </a:extLst>
          </p:cNvPr>
          <p:cNvSpPr/>
          <p:nvPr/>
        </p:nvSpPr>
        <p:spPr>
          <a:xfrm>
            <a:off x="1381268" y="2898627"/>
            <a:ext cx="3225573" cy="601998"/>
          </a:xfrm>
          <a:custGeom>
            <a:avLst/>
            <a:gdLst>
              <a:gd name="connsiteX0" fmla="*/ 325384 w 4047850"/>
              <a:gd name="connsiteY0" fmla="*/ 0 h 651348"/>
              <a:gd name="connsiteX1" fmla="*/ 593248 w 4047850"/>
              <a:gd name="connsiteY1" fmla="*/ 0 h 651348"/>
              <a:gd name="connsiteX2" fmla="*/ 1005630 w 4047850"/>
              <a:gd name="connsiteY2" fmla="*/ 0 h 651348"/>
              <a:gd name="connsiteX3" fmla="*/ 1022869 w 4047850"/>
              <a:gd name="connsiteY3" fmla="*/ 0 h 651348"/>
              <a:gd name="connsiteX4" fmla="*/ 3042220 w 4047850"/>
              <a:gd name="connsiteY4" fmla="*/ 0 h 651348"/>
              <a:gd name="connsiteX5" fmla="*/ 3394765 w 4047850"/>
              <a:gd name="connsiteY5" fmla="*/ 0 h 651348"/>
              <a:gd name="connsiteX6" fmla="*/ 3722465 w 4047850"/>
              <a:gd name="connsiteY6" fmla="*/ 0 h 651348"/>
              <a:gd name="connsiteX7" fmla="*/ 3739704 w 4047850"/>
              <a:gd name="connsiteY7" fmla="*/ 0 h 651348"/>
              <a:gd name="connsiteX8" fmla="*/ 3739704 w 4047850"/>
              <a:gd name="connsiteY8" fmla="*/ 385 h 651348"/>
              <a:gd name="connsiteX9" fmla="*/ 4047850 w 4047850"/>
              <a:gd name="connsiteY9" fmla="*/ 385 h 651348"/>
              <a:gd name="connsiteX10" fmla="*/ 4047850 w 4047850"/>
              <a:gd name="connsiteY10" fmla="*/ 325477 h 651348"/>
              <a:gd name="connsiteX11" fmla="*/ 4047850 w 4047850"/>
              <a:gd name="connsiteY11" fmla="*/ 325669 h 651348"/>
              <a:gd name="connsiteX12" fmla="*/ 4047850 w 4047850"/>
              <a:gd name="connsiteY12" fmla="*/ 325672 h 651348"/>
              <a:gd name="connsiteX13" fmla="*/ 4047850 w 4047850"/>
              <a:gd name="connsiteY13" fmla="*/ 325675 h 651348"/>
              <a:gd name="connsiteX14" fmla="*/ 4047850 w 4047850"/>
              <a:gd name="connsiteY14" fmla="*/ 340954 h 651348"/>
              <a:gd name="connsiteX15" fmla="*/ 4047117 w 4047850"/>
              <a:gd name="connsiteY15" fmla="*/ 340954 h 651348"/>
              <a:gd name="connsiteX16" fmla="*/ 4046371 w 4047850"/>
              <a:gd name="connsiteY16" fmla="*/ 356703 h 651348"/>
              <a:gd name="connsiteX17" fmla="*/ 4046235 w 4047850"/>
              <a:gd name="connsiteY17" fmla="*/ 357658 h 651348"/>
              <a:gd name="connsiteX18" fmla="*/ 4046171 w 4047850"/>
              <a:gd name="connsiteY18" fmla="*/ 358931 h 651348"/>
              <a:gd name="connsiteX19" fmla="*/ 4035441 w 4047850"/>
              <a:gd name="connsiteY19" fmla="*/ 414965 h 651348"/>
              <a:gd name="connsiteX20" fmla="*/ 4035003 w 4047850"/>
              <a:gd name="connsiteY20" fmla="*/ 416283 h 651348"/>
              <a:gd name="connsiteX21" fmla="*/ 4034948 w 4047850"/>
              <a:gd name="connsiteY21" fmla="*/ 416510 h 651348"/>
              <a:gd name="connsiteX22" fmla="*/ 4034176 w 4047850"/>
              <a:gd name="connsiteY22" fmla="*/ 418772 h 651348"/>
              <a:gd name="connsiteX23" fmla="*/ 4026589 w 4047850"/>
              <a:gd name="connsiteY23" fmla="*/ 441591 h 651348"/>
              <a:gd name="connsiteX24" fmla="*/ 4025578 w 4047850"/>
              <a:gd name="connsiteY24" fmla="*/ 443933 h 651348"/>
              <a:gd name="connsiteX25" fmla="*/ 4025273 w 4047850"/>
              <a:gd name="connsiteY25" fmla="*/ 444823 h 651348"/>
              <a:gd name="connsiteX26" fmla="*/ 4023116 w 4047850"/>
              <a:gd name="connsiteY26" fmla="*/ 449636 h 651348"/>
              <a:gd name="connsiteX27" fmla="*/ 4015559 w 4047850"/>
              <a:gd name="connsiteY27" fmla="*/ 467142 h 651348"/>
              <a:gd name="connsiteX28" fmla="*/ 4013802 w 4047850"/>
              <a:gd name="connsiteY28" fmla="*/ 470409 h 651348"/>
              <a:gd name="connsiteX29" fmla="*/ 4013136 w 4047850"/>
              <a:gd name="connsiteY29" fmla="*/ 471896 h 651348"/>
              <a:gd name="connsiteX30" fmla="*/ 4010197 w 4047850"/>
              <a:gd name="connsiteY30" fmla="*/ 477118 h 651348"/>
              <a:gd name="connsiteX31" fmla="*/ 4002462 w 4047850"/>
              <a:gd name="connsiteY31" fmla="*/ 491507 h 651348"/>
              <a:gd name="connsiteX32" fmla="*/ 3999801 w 4047850"/>
              <a:gd name="connsiteY32" fmla="*/ 495585 h 651348"/>
              <a:gd name="connsiteX33" fmla="*/ 3998671 w 4047850"/>
              <a:gd name="connsiteY33" fmla="*/ 497594 h 651348"/>
              <a:gd name="connsiteX34" fmla="*/ 3995246 w 4047850"/>
              <a:gd name="connsiteY34" fmla="*/ 502566 h 651348"/>
              <a:gd name="connsiteX35" fmla="*/ 3987410 w 4047850"/>
              <a:gd name="connsiteY35" fmla="*/ 514574 h 651348"/>
              <a:gd name="connsiteX36" fmla="*/ 3983699 w 4047850"/>
              <a:gd name="connsiteY36" fmla="*/ 519333 h 651348"/>
              <a:gd name="connsiteX37" fmla="*/ 3982012 w 4047850"/>
              <a:gd name="connsiteY37" fmla="*/ 521781 h 651348"/>
              <a:gd name="connsiteX38" fmla="*/ 3978310 w 4047850"/>
              <a:gd name="connsiteY38" fmla="*/ 526240 h 651348"/>
              <a:gd name="connsiteX39" fmla="*/ 3970514 w 4047850"/>
              <a:gd name="connsiteY39" fmla="*/ 536234 h 651348"/>
              <a:gd name="connsiteX40" fmla="*/ 3965618 w 4047850"/>
              <a:gd name="connsiteY40" fmla="*/ 541527 h 651348"/>
              <a:gd name="connsiteX41" fmla="*/ 3963295 w 4047850"/>
              <a:gd name="connsiteY41" fmla="*/ 544324 h 651348"/>
              <a:gd name="connsiteX42" fmla="*/ 3959482 w 4047850"/>
              <a:gd name="connsiteY42" fmla="*/ 548161 h 651348"/>
              <a:gd name="connsiteX43" fmla="*/ 3951885 w 4047850"/>
              <a:gd name="connsiteY43" fmla="*/ 556374 h 651348"/>
              <a:gd name="connsiteX44" fmla="*/ 3945682 w 4047850"/>
              <a:gd name="connsiteY44" fmla="*/ 562043 h 651348"/>
              <a:gd name="connsiteX45" fmla="*/ 3942656 w 4047850"/>
              <a:gd name="connsiteY45" fmla="*/ 565087 h 651348"/>
              <a:gd name="connsiteX46" fmla="*/ 3938872 w 4047850"/>
              <a:gd name="connsiteY46" fmla="*/ 568267 h 651348"/>
              <a:gd name="connsiteX47" fmla="*/ 3931633 w 4047850"/>
              <a:gd name="connsiteY47" fmla="*/ 574884 h 651348"/>
              <a:gd name="connsiteX48" fmla="*/ 3924011 w 4047850"/>
              <a:gd name="connsiteY48" fmla="*/ 580756 h 651348"/>
              <a:gd name="connsiteX49" fmla="*/ 3920227 w 4047850"/>
              <a:gd name="connsiteY49" fmla="*/ 583936 h 651348"/>
              <a:gd name="connsiteX50" fmla="*/ 3916599 w 4047850"/>
              <a:gd name="connsiteY50" fmla="*/ 586467 h 651348"/>
              <a:gd name="connsiteX51" fmla="*/ 3909870 w 4047850"/>
              <a:gd name="connsiteY51" fmla="*/ 591652 h 651348"/>
              <a:gd name="connsiteX52" fmla="*/ 3900723 w 4047850"/>
              <a:gd name="connsiteY52" fmla="*/ 597543 h 651348"/>
              <a:gd name="connsiteX53" fmla="*/ 3896145 w 4047850"/>
              <a:gd name="connsiteY53" fmla="*/ 600736 h 651348"/>
              <a:gd name="connsiteX54" fmla="*/ 3892785 w 4047850"/>
              <a:gd name="connsiteY54" fmla="*/ 602655 h 651348"/>
              <a:gd name="connsiteX55" fmla="*/ 3886706 w 4047850"/>
              <a:gd name="connsiteY55" fmla="*/ 606569 h 651348"/>
              <a:gd name="connsiteX56" fmla="*/ 3875923 w 4047850"/>
              <a:gd name="connsiteY56" fmla="*/ 612281 h 651348"/>
              <a:gd name="connsiteX57" fmla="*/ 3870544 w 4047850"/>
              <a:gd name="connsiteY57" fmla="*/ 615352 h 651348"/>
              <a:gd name="connsiteX58" fmla="*/ 3867552 w 4047850"/>
              <a:gd name="connsiteY58" fmla="*/ 616715 h 651348"/>
              <a:gd name="connsiteX59" fmla="*/ 3862253 w 4047850"/>
              <a:gd name="connsiteY59" fmla="*/ 619522 h 651348"/>
              <a:gd name="connsiteX60" fmla="*/ 3849702 w 4047850"/>
              <a:gd name="connsiteY60" fmla="*/ 624849 h 651348"/>
              <a:gd name="connsiteX61" fmla="*/ 3843559 w 4047850"/>
              <a:gd name="connsiteY61" fmla="*/ 627649 h 651348"/>
              <a:gd name="connsiteX62" fmla="*/ 3841026 w 4047850"/>
              <a:gd name="connsiteY62" fmla="*/ 628532 h 651348"/>
              <a:gd name="connsiteX63" fmla="*/ 3836622 w 4047850"/>
              <a:gd name="connsiteY63" fmla="*/ 630401 h 651348"/>
              <a:gd name="connsiteX64" fmla="*/ 3822109 w 4047850"/>
              <a:gd name="connsiteY64" fmla="*/ 635127 h 651348"/>
              <a:gd name="connsiteX65" fmla="*/ 3815324 w 4047850"/>
              <a:gd name="connsiteY65" fmla="*/ 637492 h 651348"/>
              <a:gd name="connsiteX66" fmla="*/ 3813334 w 4047850"/>
              <a:gd name="connsiteY66" fmla="*/ 637984 h 651348"/>
              <a:gd name="connsiteX67" fmla="*/ 3809924 w 4047850"/>
              <a:gd name="connsiteY67" fmla="*/ 639095 h 651348"/>
              <a:gd name="connsiteX68" fmla="*/ 3793067 w 4047850"/>
              <a:gd name="connsiteY68" fmla="*/ 642994 h 651348"/>
              <a:gd name="connsiteX69" fmla="*/ 3785975 w 4047850"/>
              <a:gd name="connsiteY69" fmla="*/ 644747 h 651348"/>
              <a:gd name="connsiteX70" fmla="*/ 3784601 w 4047850"/>
              <a:gd name="connsiteY70" fmla="*/ 644952 h 651348"/>
              <a:gd name="connsiteX71" fmla="*/ 3782269 w 4047850"/>
              <a:gd name="connsiteY71" fmla="*/ 645492 h 651348"/>
              <a:gd name="connsiteX72" fmla="*/ 3761990 w 4047850"/>
              <a:gd name="connsiteY72" fmla="*/ 648331 h 651348"/>
              <a:gd name="connsiteX73" fmla="*/ 3755647 w 4047850"/>
              <a:gd name="connsiteY73" fmla="*/ 649279 h 651348"/>
              <a:gd name="connsiteX74" fmla="*/ 3754979 w 4047850"/>
              <a:gd name="connsiteY74" fmla="*/ 649313 h 651348"/>
              <a:gd name="connsiteX75" fmla="*/ 3753769 w 4047850"/>
              <a:gd name="connsiteY75" fmla="*/ 649482 h 651348"/>
              <a:gd name="connsiteX76" fmla="*/ 3739704 w 4047850"/>
              <a:gd name="connsiteY76" fmla="*/ 650148 h 651348"/>
              <a:gd name="connsiteX77" fmla="*/ 3739704 w 4047850"/>
              <a:gd name="connsiteY77" fmla="*/ 650959 h 651348"/>
              <a:gd name="connsiteX78" fmla="*/ 3726737 w 4047850"/>
              <a:gd name="connsiteY78" fmla="*/ 650959 h 651348"/>
              <a:gd name="connsiteX79" fmla="*/ 3722563 w 4047850"/>
              <a:gd name="connsiteY79" fmla="*/ 650959 h 651348"/>
              <a:gd name="connsiteX80" fmla="*/ 3722465 w 4047850"/>
              <a:gd name="connsiteY80" fmla="*/ 650959 h 651348"/>
              <a:gd name="connsiteX81" fmla="*/ 3722465 w 4047850"/>
              <a:gd name="connsiteY81" fmla="*/ 651348 h 651348"/>
              <a:gd name="connsiteX82" fmla="*/ 3394765 w 4047850"/>
              <a:gd name="connsiteY82" fmla="*/ 651348 h 651348"/>
              <a:gd name="connsiteX83" fmla="*/ 3042220 w 4047850"/>
              <a:gd name="connsiteY83" fmla="*/ 651348 h 651348"/>
              <a:gd name="connsiteX84" fmla="*/ 3024981 w 4047850"/>
              <a:gd name="connsiteY84" fmla="*/ 651348 h 651348"/>
              <a:gd name="connsiteX85" fmla="*/ 1005630 w 4047850"/>
              <a:gd name="connsiteY85" fmla="*/ 651348 h 651348"/>
              <a:gd name="connsiteX86" fmla="*/ 593248 w 4047850"/>
              <a:gd name="connsiteY86" fmla="*/ 651348 h 651348"/>
              <a:gd name="connsiteX87" fmla="*/ 325384 w 4047850"/>
              <a:gd name="connsiteY87" fmla="*/ 651348 h 651348"/>
              <a:gd name="connsiteX88" fmla="*/ 308146 w 4047850"/>
              <a:gd name="connsiteY88" fmla="*/ 651348 h 651348"/>
              <a:gd name="connsiteX89" fmla="*/ 308146 w 4047850"/>
              <a:gd name="connsiteY89" fmla="*/ 650963 h 651348"/>
              <a:gd name="connsiteX90" fmla="*/ 0 w 4047850"/>
              <a:gd name="connsiteY90" fmla="*/ 650963 h 651348"/>
              <a:gd name="connsiteX91" fmla="*/ 0 w 4047850"/>
              <a:gd name="connsiteY91" fmla="*/ 325871 h 651348"/>
              <a:gd name="connsiteX92" fmla="*/ 0 w 4047850"/>
              <a:gd name="connsiteY92" fmla="*/ 325679 h 651348"/>
              <a:gd name="connsiteX93" fmla="*/ 0 w 4047850"/>
              <a:gd name="connsiteY93" fmla="*/ 325676 h 651348"/>
              <a:gd name="connsiteX94" fmla="*/ 0 w 4047850"/>
              <a:gd name="connsiteY94" fmla="*/ 325673 h 651348"/>
              <a:gd name="connsiteX95" fmla="*/ 0 w 4047850"/>
              <a:gd name="connsiteY95" fmla="*/ 310394 h 651348"/>
              <a:gd name="connsiteX96" fmla="*/ 733 w 4047850"/>
              <a:gd name="connsiteY96" fmla="*/ 310394 h 651348"/>
              <a:gd name="connsiteX97" fmla="*/ 1478 w 4047850"/>
              <a:gd name="connsiteY97" fmla="*/ 294646 h 651348"/>
              <a:gd name="connsiteX98" fmla="*/ 1615 w 4047850"/>
              <a:gd name="connsiteY98" fmla="*/ 293690 h 651348"/>
              <a:gd name="connsiteX99" fmla="*/ 1679 w 4047850"/>
              <a:gd name="connsiteY99" fmla="*/ 292417 h 651348"/>
              <a:gd name="connsiteX100" fmla="*/ 12408 w 4047850"/>
              <a:gd name="connsiteY100" fmla="*/ 236384 h 651348"/>
              <a:gd name="connsiteX101" fmla="*/ 12847 w 4047850"/>
              <a:gd name="connsiteY101" fmla="*/ 235065 h 651348"/>
              <a:gd name="connsiteX102" fmla="*/ 12901 w 4047850"/>
              <a:gd name="connsiteY102" fmla="*/ 234838 h 651348"/>
              <a:gd name="connsiteX103" fmla="*/ 13674 w 4047850"/>
              <a:gd name="connsiteY103" fmla="*/ 232576 h 651348"/>
              <a:gd name="connsiteX104" fmla="*/ 21261 w 4047850"/>
              <a:gd name="connsiteY104" fmla="*/ 209757 h 651348"/>
              <a:gd name="connsiteX105" fmla="*/ 22272 w 4047850"/>
              <a:gd name="connsiteY105" fmla="*/ 207415 h 651348"/>
              <a:gd name="connsiteX106" fmla="*/ 22576 w 4047850"/>
              <a:gd name="connsiteY106" fmla="*/ 206525 h 651348"/>
              <a:gd name="connsiteX107" fmla="*/ 24734 w 4047850"/>
              <a:gd name="connsiteY107" fmla="*/ 201713 h 651348"/>
              <a:gd name="connsiteX108" fmla="*/ 32291 w 4047850"/>
              <a:gd name="connsiteY108" fmla="*/ 184206 h 651348"/>
              <a:gd name="connsiteX109" fmla="*/ 34047 w 4047850"/>
              <a:gd name="connsiteY109" fmla="*/ 180939 h 651348"/>
              <a:gd name="connsiteX110" fmla="*/ 34714 w 4047850"/>
              <a:gd name="connsiteY110" fmla="*/ 179452 h 651348"/>
              <a:gd name="connsiteX111" fmla="*/ 37653 w 4047850"/>
              <a:gd name="connsiteY111" fmla="*/ 174231 h 651348"/>
              <a:gd name="connsiteX112" fmla="*/ 45388 w 4047850"/>
              <a:gd name="connsiteY112" fmla="*/ 159842 h 651348"/>
              <a:gd name="connsiteX113" fmla="*/ 48048 w 4047850"/>
              <a:gd name="connsiteY113" fmla="*/ 155764 h 651348"/>
              <a:gd name="connsiteX114" fmla="*/ 49179 w 4047850"/>
              <a:gd name="connsiteY114" fmla="*/ 153755 h 651348"/>
              <a:gd name="connsiteX115" fmla="*/ 52604 w 4047850"/>
              <a:gd name="connsiteY115" fmla="*/ 148783 h 651348"/>
              <a:gd name="connsiteX116" fmla="*/ 60439 w 4047850"/>
              <a:gd name="connsiteY116" fmla="*/ 136774 h 651348"/>
              <a:gd name="connsiteX117" fmla="*/ 64151 w 4047850"/>
              <a:gd name="connsiteY117" fmla="*/ 132016 h 651348"/>
              <a:gd name="connsiteX118" fmla="*/ 65838 w 4047850"/>
              <a:gd name="connsiteY118" fmla="*/ 129567 h 651348"/>
              <a:gd name="connsiteX119" fmla="*/ 69540 w 4047850"/>
              <a:gd name="connsiteY119" fmla="*/ 125108 h 651348"/>
              <a:gd name="connsiteX120" fmla="*/ 77336 w 4047850"/>
              <a:gd name="connsiteY120" fmla="*/ 115115 h 651348"/>
              <a:gd name="connsiteX121" fmla="*/ 82232 w 4047850"/>
              <a:gd name="connsiteY121" fmla="*/ 109821 h 651348"/>
              <a:gd name="connsiteX122" fmla="*/ 84554 w 4047850"/>
              <a:gd name="connsiteY122" fmla="*/ 107024 h 651348"/>
              <a:gd name="connsiteX123" fmla="*/ 88368 w 4047850"/>
              <a:gd name="connsiteY123" fmla="*/ 103188 h 651348"/>
              <a:gd name="connsiteX124" fmla="*/ 95965 w 4047850"/>
              <a:gd name="connsiteY124" fmla="*/ 94974 h 651348"/>
              <a:gd name="connsiteX125" fmla="*/ 102168 w 4047850"/>
              <a:gd name="connsiteY125" fmla="*/ 89305 h 651348"/>
              <a:gd name="connsiteX126" fmla="*/ 105194 w 4047850"/>
              <a:gd name="connsiteY126" fmla="*/ 86261 h 651348"/>
              <a:gd name="connsiteX127" fmla="*/ 108977 w 4047850"/>
              <a:gd name="connsiteY127" fmla="*/ 83081 h 651348"/>
              <a:gd name="connsiteX128" fmla="*/ 116217 w 4047850"/>
              <a:gd name="connsiteY128" fmla="*/ 76465 h 651348"/>
              <a:gd name="connsiteX129" fmla="*/ 123838 w 4047850"/>
              <a:gd name="connsiteY129" fmla="*/ 70592 h 651348"/>
              <a:gd name="connsiteX130" fmla="*/ 127623 w 4047850"/>
              <a:gd name="connsiteY130" fmla="*/ 67412 h 651348"/>
              <a:gd name="connsiteX131" fmla="*/ 131250 w 4047850"/>
              <a:gd name="connsiteY131" fmla="*/ 64881 h 651348"/>
              <a:gd name="connsiteX132" fmla="*/ 137980 w 4047850"/>
              <a:gd name="connsiteY132" fmla="*/ 59696 h 651348"/>
              <a:gd name="connsiteX133" fmla="*/ 147127 w 4047850"/>
              <a:gd name="connsiteY133" fmla="*/ 53805 h 651348"/>
              <a:gd name="connsiteX134" fmla="*/ 151705 w 4047850"/>
              <a:gd name="connsiteY134" fmla="*/ 50612 h 651348"/>
              <a:gd name="connsiteX135" fmla="*/ 155065 w 4047850"/>
              <a:gd name="connsiteY135" fmla="*/ 48694 h 651348"/>
              <a:gd name="connsiteX136" fmla="*/ 161144 w 4047850"/>
              <a:gd name="connsiteY136" fmla="*/ 44779 h 651348"/>
              <a:gd name="connsiteX137" fmla="*/ 171927 w 4047850"/>
              <a:gd name="connsiteY137" fmla="*/ 39067 h 651348"/>
              <a:gd name="connsiteX138" fmla="*/ 177306 w 4047850"/>
              <a:gd name="connsiteY138" fmla="*/ 35997 h 651348"/>
              <a:gd name="connsiteX139" fmla="*/ 180298 w 4047850"/>
              <a:gd name="connsiteY139" fmla="*/ 34633 h 651348"/>
              <a:gd name="connsiteX140" fmla="*/ 185596 w 4047850"/>
              <a:gd name="connsiteY140" fmla="*/ 31826 h 651348"/>
              <a:gd name="connsiteX141" fmla="*/ 198148 w 4047850"/>
              <a:gd name="connsiteY141" fmla="*/ 26499 h 651348"/>
              <a:gd name="connsiteX142" fmla="*/ 204291 w 4047850"/>
              <a:gd name="connsiteY142" fmla="*/ 23700 h 651348"/>
              <a:gd name="connsiteX143" fmla="*/ 206823 w 4047850"/>
              <a:gd name="connsiteY143" fmla="*/ 22817 h 651348"/>
              <a:gd name="connsiteX144" fmla="*/ 211228 w 4047850"/>
              <a:gd name="connsiteY144" fmla="*/ 20947 h 651348"/>
              <a:gd name="connsiteX145" fmla="*/ 225741 w 4047850"/>
              <a:gd name="connsiteY145" fmla="*/ 16221 h 651348"/>
              <a:gd name="connsiteX146" fmla="*/ 232526 w 4047850"/>
              <a:gd name="connsiteY146" fmla="*/ 13856 h 651348"/>
              <a:gd name="connsiteX147" fmla="*/ 234516 w 4047850"/>
              <a:gd name="connsiteY147" fmla="*/ 13364 h 651348"/>
              <a:gd name="connsiteX148" fmla="*/ 237926 w 4047850"/>
              <a:gd name="connsiteY148" fmla="*/ 12254 h 651348"/>
              <a:gd name="connsiteX149" fmla="*/ 254783 w 4047850"/>
              <a:gd name="connsiteY149" fmla="*/ 8354 h 651348"/>
              <a:gd name="connsiteX150" fmla="*/ 261875 w 4047850"/>
              <a:gd name="connsiteY150" fmla="*/ 6601 h 651348"/>
              <a:gd name="connsiteX151" fmla="*/ 263248 w 4047850"/>
              <a:gd name="connsiteY151" fmla="*/ 6396 h 651348"/>
              <a:gd name="connsiteX152" fmla="*/ 265581 w 4047850"/>
              <a:gd name="connsiteY152" fmla="*/ 5856 h 651348"/>
              <a:gd name="connsiteX153" fmla="*/ 285860 w 4047850"/>
              <a:gd name="connsiteY153" fmla="*/ 3017 h 651348"/>
              <a:gd name="connsiteX154" fmla="*/ 292203 w 4047850"/>
              <a:gd name="connsiteY154" fmla="*/ 2069 h 651348"/>
              <a:gd name="connsiteX155" fmla="*/ 292871 w 4047850"/>
              <a:gd name="connsiteY155" fmla="*/ 2036 h 651348"/>
              <a:gd name="connsiteX156" fmla="*/ 294080 w 4047850"/>
              <a:gd name="connsiteY156" fmla="*/ 1866 h 651348"/>
              <a:gd name="connsiteX157" fmla="*/ 308146 w 4047850"/>
              <a:gd name="connsiteY157" fmla="*/ 1201 h 651348"/>
              <a:gd name="connsiteX158" fmla="*/ 308146 w 4047850"/>
              <a:gd name="connsiteY158" fmla="*/ 389 h 651348"/>
              <a:gd name="connsiteX159" fmla="*/ 321113 w 4047850"/>
              <a:gd name="connsiteY159" fmla="*/ 389 h 651348"/>
              <a:gd name="connsiteX160" fmla="*/ 325287 w 4047850"/>
              <a:gd name="connsiteY160" fmla="*/ 389 h 651348"/>
              <a:gd name="connsiteX161" fmla="*/ 325384 w 4047850"/>
              <a:gd name="connsiteY161" fmla="*/ 389 h 651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4047850" h="651348">
                <a:moveTo>
                  <a:pt x="325384" y="0"/>
                </a:moveTo>
                <a:lnTo>
                  <a:pt x="593248" y="0"/>
                </a:lnTo>
                <a:lnTo>
                  <a:pt x="1005630" y="0"/>
                </a:lnTo>
                <a:lnTo>
                  <a:pt x="1022869" y="0"/>
                </a:lnTo>
                <a:lnTo>
                  <a:pt x="3042220" y="0"/>
                </a:lnTo>
                <a:lnTo>
                  <a:pt x="3394765" y="0"/>
                </a:lnTo>
                <a:lnTo>
                  <a:pt x="3722465" y="0"/>
                </a:lnTo>
                <a:lnTo>
                  <a:pt x="3739704" y="0"/>
                </a:lnTo>
                <a:lnTo>
                  <a:pt x="3739704" y="385"/>
                </a:lnTo>
                <a:lnTo>
                  <a:pt x="4047850" y="385"/>
                </a:lnTo>
                <a:lnTo>
                  <a:pt x="4047850" y="325477"/>
                </a:lnTo>
                <a:lnTo>
                  <a:pt x="4047850" y="325669"/>
                </a:lnTo>
                <a:lnTo>
                  <a:pt x="4047850" y="325672"/>
                </a:lnTo>
                <a:lnTo>
                  <a:pt x="4047850" y="325675"/>
                </a:lnTo>
                <a:lnTo>
                  <a:pt x="4047850" y="340954"/>
                </a:lnTo>
                <a:lnTo>
                  <a:pt x="4047117" y="340954"/>
                </a:lnTo>
                <a:lnTo>
                  <a:pt x="4046371" y="356703"/>
                </a:lnTo>
                <a:lnTo>
                  <a:pt x="4046235" y="357658"/>
                </a:lnTo>
                <a:lnTo>
                  <a:pt x="4046171" y="358931"/>
                </a:lnTo>
                <a:cubicBezTo>
                  <a:pt x="4044218" y="378153"/>
                  <a:pt x="4040593" y="396880"/>
                  <a:pt x="4035441" y="414965"/>
                </a:cubicBezTo>
                <a:lnTo>
                  <a:pt x="4035003" y="416283"/>
                </a:lnTo>
                <a:lnTo>
                  <a:pt x="4034948" y="416510"/>
                </a:lnTo>
                <a:lnTo>
                  <a:pt x="4034176" y="418772"/>
                </a:lnTo>
                <a:lnTo>
                  <a:pt x="4026589" y="441591"/>
                </a:lnTo>
                <a:lnTo>
                  <a:pt x="4025578" y="443933"/>
                </a:lnTo>
                <a:lnTo>
                  <a:pt x="4025273" y="444823"/>
                </a:lnTo>
                <a:lnTo>
                  <a:pt x="4023116" y="449636"/>
                </a:lnTo>
                <a:lnTo>
                  <a:pt x="4015559" y="467142"/>
                </a:lnTo>
                <a:lnTo>
                  <a:pt x="4013802" y="470409"/>
                </a:lnTo>
                <a:lnTo>
                  <a:pt x="4013136" y="471896"/>
                </a:lnTo>
                <a:lnTo>
                  <a:pt x="4010197" y="477118"/>
                </a:lnTo>
                <a:lnTo>
                  <a:pt x="4002462" y="491507"/>
                </a:lnTo>
                <a:lnTo>
                  <a:pt x="3999801" y="495585"/>
                </a:lnTo>
                <a:lnTo>
                  <a:pt x="3998671" y="497594"/>
                </a:lnTo>
                <a:lnTo>
                  <a:pt x="3995246" y="502566"/>
                </a:lnTo>
                <a:lnTo>
                  <a:pt x="3987410" y="514574"/>
                </a:lnTo>
                <a:lnTo>
                  <a:pt x="3983699" y="519333"/>
                </a:lnTo>
                <a:lnTo>
                  <a:pt x="3982012" y="521781"/>
                </a:lnTo>
                <a:lnTo>
                  <a:pt x="3978310" y="526240"/>
                </a:lnTo>
                <a:lnTo>
                  <a:pt x="3970514" y="536234"/>
                </a:lnTo>
                <a:lnTo>
                  <a:pt x="3965618" y="541527"/>
                </a:lnTo>
                <a:lnTo>
                  <a:pt x="3963295" y="544324"/>
                </a:lnTo>
                <a:lnTo>
                  <a:pt x="3959482" y="548161"/>
                </a:lnTo>
                <a:lnTo>
                  <a:pt x="3951885" y="556374"/>
                </a:lnTo>
                <a:lnTo>
                  <a:pt x="3945682" y="562043"/>
                </a:lnTo>
                <a:lnTo>
                  <a:pt x="3942656" y="565087"/>
                </a:lnTo>
                <a:lnTo>
                  <a:pt x="3938872" y="568267"/>
                </a:lnTo>
                <a:lnTo>
                  <a:pt x="3931633" y="574884"/>
                </a:lnTo>
                <a:lnTo>
                  <a:pt x="3924011" y="580756"/>
                </a:lnTo>
                <a:lnTo>
                  <a:pt x="3920227" y="583936"/>
                </a:lnTo>
                <a:lnTo>
                  <a:pt x="3916599" y="586467"/>
                </a:lnTo>
                <a:lnTo>
                  <a:pt x="3909870" y="591652"/>
                </a:lnTo>
                <a:lnTo>
                  <a:pt x="3900723" y="597543"/>
                </a:lnTo>
                <a:lnTo>
                  <a:pt x="3896145" y="600736"/>
                </a:lnTo>
                <a:lnTo>
                  <a:pt x="3892785" y="602655"/>
                </a:lnTo>
                <a:lnTo>
                  <a:pt x="3886706" y="606569"/>
                </a:lnTo>
                <a:lnTo>
                  <a:pt x="3875923" y="612281"/>
                </a:lnTo>
                <a:lnTo>
                  <a:pt x="3870544" y="615352"/>
                </a:lnTo>
                <a:lnTo>
                  <a:pt x="3867552" y="616715"/>
                </a:lnTo>
                <a:lnTo>
                  <a:pt x="3862253" y="619522"/>
                </a:lnTo>
                <a:lnTo>
                  <a:pt x="3849702" y="624849"/>
                </a:lnTo>
                <a:lnTo>
                  <a:pt x="3843559" y="627649"/>
                </a:lnTo>
                <a:lnTo>
                  <a:pt x="3841026" y="628532"/>
                </a:lnTo>
                <a:lnTo>
                  <a:pt x="3836622" y="630401"/>
                </a:lnTo>
                <a:lnTo>
                  <a:pt x="3822109" y="635127"/>
                </a:lnTo>
                <a:lnTo>
                  <a:pt x="3815324" y="637492"/>
                </a:lnTo>
                <a:lnTo>
                  <a:pt x="3813334" y="637984"/>
                </a:lnTo>
                <a:lnTo>
                  <a:pt x="3809924" y="639095"/>
                </a:lnTo>
                <a:lnTo>
                  <a:pt x="3793067" y="642994"/>
                </a:lnTo>
                <a:lnTo>
                  <a:pt x="3785975" y="644747"/>
                </a:lnTo>
                <a:lnTo>
                  <a:pt x="3784601" y="644952"/>
                </a:lnTo>
                <a:lnTo>
                  <a:pt x="3782269" y="645492"/>
                </a:lnTo>
                <a:lnTo>
                  <a:pt x="3761990" y="648331"/>
                </a:lnTo>
                <a:lnTo>
                  <a:pt x="3755647" y="649279"/>
                </a:lnTo>
                <a:lnTo>
                  <a:pt x="3754979" y="649313"/>
                </a:lnTo>
                <a:lnTo>
                  <a:pt x="3753769" y="649482"/>
                </a:lnTo>
                <a:lnTo>
                  <a:pt x="3739704" y="650148"/>
                </a:lnTo>
                <a:lnTo>
                  <a:pt x="3739704" y="650959"/>
                </a:lnTo>
                <a:lnTo>
                  <a:pt x="3726737" y="650959"/>
                </a:lnTo>
                <a:lnTo>
                  <a:pt x="3722563" y="650959"/>
                </a:lnTo>
                <a:lnTo>
                  <a:pt x="3722465" y="650959"/>
                </a:lnTo>
                <a:lnTo>
                  <a:pt x="3722465" y="651348"/>
                </a:lnTo>
                <a:lnTo>
                  <a:pt x="3394765" y="651348"/>
                </a:lnTo>
                <a:lnTo>
                  <a:pt x="3042220" y="651348"/>
                </a:lnTo>
                <a:lnTo>
                  <a:pt x="3024981" y="651348"/>
                </a:lnTo>
                <a:lnTo>
                  <a:pt x="1005630" y="651348"/>
                </a:lnTo>
                <a:lnTo>
                  <a:pt x="593248" y="651348"/>
                </a:lnTo>
                <a:lnTo>
                  <a:pt x="325384" y="651348"/>
                </a:lnTo>
                <a:lnTo>
                  <a:pt x="308146" y="651348"/>
                </a:lnTo>
                <a:lnTo>
                  <a:pt x="308146" y="650963"/>
                </a:lnTo>
                <a:lnTo>
                  <a:pt x="0" y="650963"/>
                </a:lnTo>
                <a:lnTo>
                  <a:pt x="0" y="325871"/>
                </a:lnTo>
                <a:lnTo>
                  <a:pt x="0" y="325679"/>
                </a:lnTo>
                <a:lnTo>
                  <a:pt x="0" y="325676"/>
                </a:lnTo>
                <a:lnTo>
                  <a:pt x="0" y="325673"/>
                </a:lnTo>
                <a:lnTo>
                  <a:pt x="0" y="310394"/>
                </a:lnTo>
                <a:lnTo>
                  <a:pt x="733" y="310394"/>
                </a:lnTo>
                <a:lnTo>
                  <a:pt x="1478" y="294646"/>
                </a:lnTo>
                <a:lnTo>
                  <a:pt x="1615" y="293690"/>
                </a:lnTo>
                <a:lnTo>
                  <a:pt x="1679" y="292417"/>
                </a:lnTo>
                <a:cubicBezTo>
                  <a:pt x="3631" y="273195"/>
                  <a:pt x="7257" y="254468"/>
                  <a:pt x="12408" y="236384"/>
                </a:cubicBezTo>
                <a:lnTo>
                  <a:pt x="12847" y="235065"/>
                </a:lnTo>
                <a:lnTo>
                  <a:pt x="12901" y="234838"/>
                </a:lnTo>
                <a:lnTo>
                  <a:pt x="13674" y="232576"/>
                </a:lnTo>
                <a:lnTo>
                  <a:pt x="21261" y="209757"/>
                </a:lnTo>
                <a:lnTo>
                  <a:pt x="22272" y="207415"/>
                </a:lnTo>
                <a:lnTo>
                  <a:pt x="22576" y="206525"/>
                </a:lnTo>
                <a:lnTo>
                  <a:pt x="24734" y="201713"/>
                </a:lnTo>
                <a:lnTo>
                  <a:pt x="32291" y="184206"/>
                </a:lnTo>
                <a:lnTo>
                  <a:pt x="34047" y="180939"/>
                </a:lnTo>
                <a:lnTo>
                  <a:pt x="34714" y="179452"/>
                </a:lnTo>
                <a:lnTo>
                  <a:pt x="37653" y="174231"/>
                </a:lnTo>
                <a:lnTo>
                  <a:pt x="45388" y="159842"/>
                </a:lnTo>
                <a:lnTo>
                  <a:pt x="48048" y="155764"/>
                </a:lnTo>
                <a:lnTo>
                  <a:pt x="49179" y="153755"/>
                </a:lnTo>
                <a:lnTo>
                  <a:pt x="52604" y="148783"/>
                </a:lnTo>
                <a:lnTo>
                  <a:pt x="60439" y="136774"/>
                </a:lnTo>
                <a:lnTo>
                  <a:pt x="64151" y="132016"/>
                </a:lnTo>
                <a:lnTo>
                  <a:pt x="65838" y="129567"/>
                </a:lnTo>
                <a:lnTo>
                  <a:pt x="69540" y="125108"/>
                </a:lnTo>
                <a:lnTo>
                  <a:pt x="77336" y="115115"/>
                </a:lnTo>
                <a:lnTo>
                  <a:pt x="82232" y="109821"/>
                </a:lnTo>
                <a:lnTo>
                  <a:pt x="84554" y="107024"/>
                </a:lnTo>
                <a:lnTo>
                  <a:pt x="88368" y="103188"/>
                </a:lnTo>
                <a:lnTo>
                  <a:pt x="95965" y="94974"/>
                </a:lnTo>
                <a:lnTo>
                  <a:pt x="102168" y="89305"/>
                </a:lnTo>
                <a:lnTo>
                  <a:pt x="105194" y="86261"/>
                </a:lnTo>
                <a:lnTo>
                  <a:pt x="108977" y="83081"/>
                </a:lnTo>
                <a:lnTo>
                  <a:pt x="116217" y="76465"/>
                </a:lnTo>
                <a:lnTo>
                  <a:pt x="123838" y="70592"/>
                </a:lnTo>
                <a:lnTo>
                  <a:pt x="127623" y="67412"/>
                </a:lnTo>
                <a:lnTo>
                  <a:pt x="131250" y="64881"/>
                </a:lnTo>
                <a:lnTo>
                  <a:pt x="137980" y="59696"/>
                </a:lnTo>
                <a:lnTo>
                  <a:pt x="147127" y="53805"/>
                </a:lnTo>
                <a:lnTo>
                  <a:pt x="151705" y="50612"/>
                </a:lnTo>
                <a:lnTo>
                  <a:pt x="155065" y="48694"/>
                </a:lnTo>
                <a:lnTo>
                  <a:pt x="161144" y="44779"/>
                </a:lnTo>
                <a:lnTo>
                  <a:pt x="171927" y="39067"/>
                </a:lnTo>
                <a:lnTo>
                  <a:pt x="177306" y="35997"/>
                </a:lnTo>
                <a:lnTo>
                  <a:pt x="180298" y="34633"/>
                </a:lnTo>
                <a:lnTo>
                  <a:pt x="185596" y="31826"/>
                </a:lnTo>
                <a:lnTo>
                  <a:pt x="198148" y="26499"/>
                </a:lnTo>
                <a:lnTo>
                  <a:pt x="204291" y="23700"/>
                </a:lnTo>
                <a:lnTo>
                  <a:pt x="206823" y="22817"/>
                </a:lnTo>
                <a:lnTo>
                  <a:pt x="211228" y="20947"/>
                </a:lnTo>
                <a:lnTo>
                  <a:pt x="225741" y="16221"/>
                </a:lnTo>
                <a:lnTo>
                  <a:pt x="232526" y="13856"/>
                </a:lnTo>
                <a:lnTo>
                  <a:pt x="234516" y="13364"/>
                </a:lnTo>
                <a:lnTo>
                  <a:pt x="237926" y="12254"/>
                </a:lnTo>
                <a:lnTo>
                  <a:pt x="254783" y="8354"/>
                </a:lnTo>
                <a:lnTo>
                  <a:pt x="261875" y="6601"/>
                </a:lnTo>
                <a:lnTo>
                  <a:pt x="263248" y="6396"/>
                </a:lnTo>
                <a:lnTo>
                  <a:pt x="265581" y="5856"/>
                </a:lnTo>
                <a:lnTo>
                  <a:pt x="285860" y="3017"/>
                </a:lnTo>
                <a:lnTo>
                  <a:pt x="292203" y="2069"/>
                </a:lnTo>
                <a:lnTo>
                  <a:pt x="292871" y="2036"/>
                </a:lnTo>
                <a:lnTo>
                  <a:pt x="294080" y="1866"/>
                </a:lnTo>
                <a:lnTo>
                  <a:pt x="308146" y="1201"/>
                </a:lnTo>
                <a:lnTo>
                  <a:pt x="308146" y="389"/>
                </a:lnTo>
                <a:lnTo>
                  <a:pt x="321113" y="389"/>
                </a:lnTo>
                <a:lnTo>
                  <a:pt x="325287" y="389"/>
                </a:lnTo>
                <a:lnTo>
                  <a:pt x="325384" y="389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FBDFF5-60B8-DC2A-377C-889329A9A73F}"/>
              </a:ext>
            </a:extLst>
          </p:cNvPr>
          <p:cNvSpPr txBox="1"/>
          <p:nvPr/>
        </p:nvSpPr>
        <p:spPr>
          <a:xfrm>
            <a:off x="1151040" y="2913790"/>
            <a:ext cx="349229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pelaksanaan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pengembangan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usaha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berkelanjuta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5D3C70A-6427-5D75-B434-93BFA6A623AD}"/>
              </a:ext>
            </a:extLst>
          </p:cNvPr>
          <p:cNvSpPr txBox="1"/>
          <p:nvPr/>
        </p:nvSpPr>
        <p:spPr>
          <a:xfrm>
            <a:off x="643147" y="3635103"/>
            <a:ext cx="4744517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egi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pengembang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usah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berkelanju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meliput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:</a:t>
            </a:r>
          </a:p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a.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peningk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apasitas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sumber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day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manusi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badan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usah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;</a:t>
            </a:r>
          </a:p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b.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peningk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peral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;</a:t>
            </a:r>
          </a:p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c.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peningk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teknolog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;</a:t>
            </a:r>
          </a:p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d.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peningk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ualitas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pengelola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euang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; dan/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atau</a:t>
            </a:r>
            <a:endParaRPr kumimoji="0" lang="en-ID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  <a:sym typeface="Arial"/>
            </a:endParaRPr>
          </a:p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e.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peningk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manajeme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usah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457200" marR="0" lvl="0" indent="-457200" algn="l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68975AD-F99C-29F0-59B1-A6E08C37DF70}"/>
              </a:ext>
            </a:extLst>
          </p:cNvPr>
          <p:cNvSpPr/>
          <p:nvPr/>
        </p:nvSpPr>
        <p:spPr>
          <a:xfrm>
            <a:off x="7469279" y="893228"/>
            <a:ext cx="5238202" cy="15410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</a:b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lkboard SE" panose="03050602040202020205" pitchFamily="66" charset="77"/>
              <a:ea typeface="+mn-ea"/>
              <a:cs typeface="+mn-cs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ilakuk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epad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: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a. BUJK Nasional yang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menyelenggarak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layan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usah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: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jas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ultan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; 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kerja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; 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kerja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terintegra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.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b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usah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orang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rseorang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yang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menyelenggarak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layan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usah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: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jas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ultan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dan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kerja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.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</a:b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lkboard SE" panose="03050602040202020205" pitchFamily="66" charset="77"/>
              <a:ea typeface="+mn-ea"/>
              <a:cs typeface="+mn-cs"/>
              <a:sym typeface="Arial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05B4E64-252D-2926-B533-FEAEB08789AD}"/>
              </a:ext>
            </a:extLst>
          </p:cNvPr>
          <p:cNvSpPr/>
          <p:nvPr/>
        </p:nvSpPr>
        <p:spPr>
          <a:xfrm>
            <a:off x="5408381" y="3635103"/>
            <a:ext cx="4605666" cy="10389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</a:b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lkboard SE" panose="03050602040202020205" pitchFamily="66" charset="77"/>
              <a:ea typeface="+mn-ea"/>
              <a:cs typeface="+mn-cs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ilaku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epad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BUJK Nasional yang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menyelenggara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layan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usah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a.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jas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ultan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;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b.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kerja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; dan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c.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kerja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terintegra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.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</a:b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lkboard SE" panose="03050602040202020205" pitchFamily="66" charset="77"/>
              <a:ea typeface="+mn-ea"/>
              <a:cs typeface="+mn-cs"/>
              <a:sym typeface="Arial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AD0A5D3-2FC2-C66D-E5D1-E4B810C1FF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437335" y="2781697"/>
            <a:ext cx="686301" cy="693809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9CEB99AD-67AC-3AC7-CE7A-E3B58B4F0C31}"/>
              </a:ext>
            </a:extLst>
          </p:cNvPr>
          <p:cNvSpPr/>
          <p:nvPr/>
        </p:nvSpPr>
        <p:spPr>
          <a:xfrm>
            <a:off x="6284288" y="159247"/>
            <a:ext cx="3804092" cy="68630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memasti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epemili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dan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eabsah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okume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rizin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Berusah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.</a:t>
            </a:r>
            <a:endParaRPr kumimoji="0" lang="en-ID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 SE" panose="03050602040202020205" pitchFamily="66" charset="77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40FE6BC-753E-5FE6-F780-1725732FBC34}"/>
              </a:ext>
            </a:extLst>
          </p:cNvPr>
          <p:cNvSpPr/>
          <p:nvPr/>
        </p:nvSpPr>
        <p:spPr>
          <a:xfrm>
            <a:off x="4643330" y="2847994"/>
            <a:ext cx="4110925" cy="68630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memasti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BUJK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apat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melaksana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kegiat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pengembang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usah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secar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berkelanjut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alam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rangk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meningkat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day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 SE" panose="03050602040202020205" pitchFamily="66" charset="77"/>
                <a:ea typeface="+mn-ea"/>
                <a:cs typeface="+mn-cs"/>
                <a:sym typeface="Arial"/>
              </a:rPr>
              <a:t>saing</a:t>
            </a:r>
            <a:endParaRPr kumimoji="0" lang="en-ID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 SE" panose="03050602040202020205" pitchFamily="66" charset="77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CC7BE6-CFF4-B45A-A45A-09AEBF4C3DA8}"/>
              </a:ext>
            </a:extLst>
          </p:cNvPr>
          <p:cNvSpPr txBox="1"/>
          <p:nvPr/>
        </p:nvSpPr>
        <p:spPr>
          <a:xfrm>
            <a:off x="610060" y="4925858"/>
            <a:ext cx="474451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pemeriksa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:</a:t>
            </a:r>
          </a:p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a.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lapor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tahun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BUJK;</a:t>
            </a:r>
          </a:p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b.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lapor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pengembang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usah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berkelanju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dar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asosia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badan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usah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; dan/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atau</a:t>
            </a:r>
            <a:endParaRPr kumimoji="0" lang="en-ID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  <a:sym typeface="Arial"/>
            </a:endParaRPr>
          </a:p>
          <a:p>
            <a:pPr marL="0" marR="0" lvl="0" indent="0" algn="just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c.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lapor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keuang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  <a:sym typeface="Arial"/>
              </a:rPr>
              <a:t> BUJK.</a:t>
            </a: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pic>
        <p:nvPicPr>
          <p:cNvPr id="11" name="Picture 10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9439E5F1-8CA8-F2FC-000E-13140C4FB17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8998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A28E77CD-FE85-CF47-8A7F-38A1629F5AA1}"/>
              </a:ext>
            </a:extLst>
          </p:cNvPr>
          <p:cNvSpPr txBox="1"/>
          <p:nvPr/>
        </p:nvSpPr>
        <p:spPr>
          <a:xfrm>
            <a:off x="2732689" y="94573"/>
            <a:ext cx="7178566" cy="3882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Tabel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 1 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Pengawasan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Tertib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Usaha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Jasa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Konstruksi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 </a:t>
            </a: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D60B1C2-1656-B54D-9BC8-647BB1E74860}"/>
              </a:ext>
            </a:extLst>
          </p:cNvPr>
          <p:cNvGraphicFramePr>
            <a:graphicFrameLocks noGrp="1"/>
          </p:cNvGraphicFramePr>
          <p:nvPr/>
        </p:nvGraphicFramePr>
        <p:xfrm>
          <a:off x="142047" y="699169"/>
          <a:ext cx="11766173" cy="60350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56739">
                  <a:extLst>
                    <a:ext uri="{9D8B030D-6E8A-4147-A177-3AD203B41FA5}">
                      <a16:colId xmlns:a16="http://schemas.microsoft.com/office/drawing/2014/main" val="3060449567"/>
                    </a:ext>
                  </a:extLst>
                </a:gridCol>
                <a:gridCol w="1576552">
                  <a:extLst>
                    <a:ext uri="{9D8B030D-6E8A-4147-A177-3AD203B41FA5}">
                      <a16:colId xmlns:a16="http://schemas.microsoft.com/office/drawing/2014/main" val="2464217317"/>
                    </a:ext>
                  </a:extLst>
                </a:gridCol>
                <a:gridCol w="1513490">
                  <a:extLst>
                    <a:ext uri="{9D8B030D-6E8A-4147-A177-3AD203B41FA5}">
                      <a16:colId xmlns:a16="http://schemas.microsoft.com/office/drawing/2014/main" val="2854022104"/>
                    </a:ext>
                  </a:extLst>
                </a:gridCol>
                <a:gridCol w="262758">
                  <a:extLst>
                    <a:ext uri="{9D8B030D-6E8A-4147-A177-3AD203B41FA5}">
                      <a16:colId xmlns:a16="http://schemas.microsoft.com/office/drawing/2014/main" val="2728231499"/>
                    </a:ext>
                  </a:extLst>
                </a:gridCol>
                <a:gridCol w="4588718">
                  <a:extLst>
                    <a:ext uri="{9D8B030D-6E8A-4147-A177-3AD203B41FA5}">
                      <a16:colId xmlns:a16="http://schemas.microsoft.com/office/drawing/2014/main" val="3694558890"/>
                    </a:ext>
                  </a:extLst>
                </a:gridCol>
                <a:gridCol w="1583958">
                  <a:extLst>
                    <a:ext uri="{9D8B030D-6E8A-4147-A177-3AD203B41FA5}">
                      <a16:colId xmlns:a16="http://schemas.microsoft.com/office/drawing/2014/main" val="1691732735"/>
                    </a:ext>
                  </a:extLst>
                </a:gridCol>
                <a:gridCol w="1583958">
                  <a:extLst>
                    <a:ext uri="{9D8B030D-6E8A-4147-A177-3AD203B41FA5}">
                      <a16:colId xmlns:a16="http://schemas.microsoft.com/office/drawing/2014/main" val="3316202826"/>
                    </a:ext>
                  </a:extLst>
                </a:gridCol>
              </a:tblGrid>
              <a:tr h="165072"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No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LINGKUP PENGAWASAN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pPr algn="ctr"/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OBYEK PENGAWASAN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INDIKATOR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pPr algn="ctr"/>
                      <a:r>
                        <a:rPr lang="id-ID" sz="1200">
                          <a:effectLst/>
                          <a:latin typeface="Montserrat" pitchFamily="2" charset="77"/>
                        </a:rPr>
                        <a:t>JENIS PENGAWASAN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LEMBAR</a:t>
                      </a:r>
                    </a:p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PEMERIKSAAN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 anchor="ctr"/>
                </a:tc>
                <a:extLst>
                  <a:ext uri="{0D108BD9-81ED-4DB2-BD59-A6C34878D82A}">
                    <a16:rowId xmlns:a16="http://schemas.microsoft.com/office/drawing/2014/main" val="2247307382"/>
                  </a:ext>
                </a:extLst>
              </a:tr>
              <a:tr h="165072">
                <a:tc rowSpan="8"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1</a:t>
                      </a: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rowSpan="8">
                  <a:txBody>
                    <a:bodyPr/>
                    <a:lstStyle/>
                    <a:p>
                      <a:pPr algn="just"/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ngawas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terhadap</a:t>
                      </a: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 pemenuhan persyarat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Usah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Ranta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aso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umber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Day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onstruks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</a:p>
                    <a:p>
                      <a:pPr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pPr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rowSpan="3">
                  <a:txBody>
                    <a:bodyPr/>
                    <a:lstStyle/>
                    <a:p>
                      <a:pPr algn="just"/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Produsen Rantai </a:t>
                      </a:r>
                      <a:r>
                        <a:rPr lang="en-US" sz="1200" dirty="0" err="1">
                          <a:effectLst/>
                          <a:latin typeface="Montserrat" pitchFamily="2" charset="77"/>
                        </a:rPr>
                        <a:t>Pasok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Material Konstruksi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a.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Badan Usah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Ranta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aso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memilik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rizin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Ber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yang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ah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.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200">
                          <a:effectLst/>
                          <a:latin typeface="Montserrat" pitchFamily="2" charset="77"/>
                        </a:rPr>
                        <a:t>Rutin atau Insidental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>
                          <a:effectLst/>
                          <a:latin typeface="Montserrat" pitchFamily="2" charset="77"/>
                        </a:rPr>
                        <a:t>Lihat SIMAK - 1a</a:t>
                      </a:r>
                      <a:r>
                        <a:rPr lang="id-ID" sz="1200">
                          <a:effectLst/>
                          <a:latin typeface="Montserrat" pitchFamily="2" charset="77"/>
                        </a:rPr>
                        <a:t>1 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2584152743"/>
                  </a:ext>
                </a:extLst>
              </a:tr>
              <a:tr h="3301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>
                          <a:effectLst/>
                          <a:latin typeface="Montserrat" pitchFamily="2" charset="77"/>
                        </a:rPr>
                        <a:t>b.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marR="24765"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Badan Usah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Ranta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aso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memilik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rizin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ngguna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bah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baku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untu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memproduks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material yang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ah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.</a:t>
                      </a:r>
                    </a:p>
                    <a:p>
                      <a:pPr marR="24765"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endParaRPr lang="en-ID" sz="1200" dirty="0">
                        <a:effectLst/>
                        <a:latin typeface="Montserrat" pitchFamily="2" charset="77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3251033437"/>
                  </a:ext>
                </a:extLst>
              </a:tr>
              <a:tr h="3301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 dirty="0">
                          <a:effectLst/>
                          <a:latin typeface="Montserrat" pitchFamily="2" charset="77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.</a:t>
                      </a: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marR="24765" algn="just"/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Badan usaha rantai mencatatkan produk yang dibuatnya pada SIMPK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endParaRPr lang="en-ID" sz="1200" dirty="0">
                        <a:effectLst/>
                        <a:latin typeface="Montserrat" pitchFamily="2" charset="77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2217232232"/>
                  </a:ext>
                </a:extLst>
              </a:tr>
              <a:tr h="247608">
                <a:tc vMerge="1"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vMerge="1">
                  <a:txBody>
                    <a:bodyPr/>
                    <a:lstStyle/>
                    <a:p>
                      <a:pPr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Distributor</a:t>
                      </a: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 Rantai </a:t>
                      </a:r>
                      <a:r>
                        <a:rPr lang="en-US" sz="1200" dirty="0" err="1">
                          <a:effectLst/>
                          <a:latin typeface="Montserrat" pitchFamily="2" charset="77"/>
                        </a:rPr>
                        <a:t>Pasok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Material Konstruksi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gridSpan="2">
                  <a:txBody>
                    <a:bodyPr/>
                    <a:lstStyle/>
                    <a:p>
                      <a:pPr marL="228600" indent="-228600" algn="just">
                        <a:buFont typeface="+mj-lt"/>
                        <a:buAutoNum type="alphaLcPeriod"/>
                      </a:pP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Badan Usah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Ranta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aso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memilik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rizin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Ber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yang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ah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.</a:t>
                      </a:r>
                    </a:p>
                    <a:p>
                      <a:pPr marL="228600" indent="-228600" algn="just">
                        <a:buFont typeface="+mj-lt"/>
                        <a:buAutoNum type="alphaLcPeriod"/>
                      </a:pP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Badan Usah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Ranta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aso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mencantumk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rodukny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  pada SIMPK</a:t>
                      </a:r>
                    </a:p>
                  </a:txBody>
                  <a:tcPr marL="15475" marR="15475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Rutin atau Insidental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Lihat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SIMAK - 1a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2</a:t>
                      </a:r>
                      <a:endParaRPr lang="en-ID" sz="1200" dirty="0">
                        <a:effectLst/>
                        <a:latin typeface="Montserrat" pitchFamily="2" charset="77"/>
                      </a:endParaRPr>
                    </a:p>
                    <a:p>
                      <a:pPr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995748467"/>
                  </a:ext>
                </a:extLst>
              </a:tr>
              <a:tr h="2476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200">
                          <a:effectLst/>
                          <a:latin typeface="Montserrat" pitchFamily="2" charset="77"/>
                        </a:rPr>
                        <a:t>Pe</a:t>
                      </a:r>
                      <a:r>
                        <a:rPr lang="en-US" sz="1200">
                          <a:effectLst/>
                          <a:latin typeface="Montserrat" pitchFamily="2" charset="77"/>
                        </a:rPr>
                        <a:t>milik</a:t>
                      </a:r>
                      <a:r>
                        <a:rPr lang="id-ID" sz="1200">
                          <a:effectLst/>
                          <a:latin typeface="Montserrat" pitchFamily="2" charset="77"/>
                        </a:rPr>
                        <a:t> Rantai Pasok Peralatan Konstruksi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gridSpan="2">
                  <a:txBody>
                    <a:bodyPr/>
                    <a:lstStyle/>
                    <a:p>
                      <a:pPr marL="228600" lvl="0" indent="-228600" algn="just">
                        <a:buFont typeface="+mj-lt"/>
                        <a:buAutoNum type="alphaLcPeriod"/>
                      </a:pP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BUJK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memilik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rizin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Ber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yang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ah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.</a:t>
                      </a:r>
                    </a:p>
                    <a:p>
                      <a:pPr marL="228600" lvl="0" indent="-228600" algn="just">
                        <a:buFont typeface="+mj-lt"/>
                        <a:buAutoNum type="alphaLcPeriod"/>
                      </a:pP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BUJK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ebaga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mili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ralat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mencatatkan </a:t>
                      </a:r>
                      <a:r>
                        <a:rPr lang="en-US" sz="1200" dirty="0" err="1">
                          <a:effectLst/>
                          <a:latin typeface="Montserrat" pitchFamily="2" charset="77"/>
                        </a:rPr>
                        <a:t>peralatannya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pada SIMPK</a:t>
                      </a:r>
                      <a:endParaRPr lang="en-ID" sz="1200" dirty="0">
                        <a:effectLst/>
                        <a:latin typeface="Montserrat" pitchFamily="2" charset="77"/>
                      </a:endParaRPr>
                    </a:p>
                    <a:p>
                      <a:pPr marL="457200"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200">
                          <a:effectLst/>
                          <a:latin typeface="Montserrat" pitchFamily="2" charset="77"/>
                        </a:rPr>
                        <a:t>Rutin atau Insidental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>
                          <a:effectLst/>
                          <a:latin typeface="Montserrat" pitchFamily="2" charset="77"/>
                        </a:rPr>
                        <a:t>Lihat SIMAK - 1a</a:t>
                      </a:r>
                      <a:r>
                        <a:rPr lang="en-US" sz="1200">
                          <a:effectLst/>
                          <a:latin typeface="Montserrat" pitchFamily="2" charset="77"/>
                        </a:rPr>
                        <a:t>3</a:t>
                      </a:r>
                      <a:endParaRPr lang="en-ID" sz="1200">
                        <a:effectLst/>
                        <a:latin typeface="Montserrat" pitchFamily="2" charset="77"/>
                      </a:endParaRPr>
                    </a:p>
                    <a:p>
                      <a:pPr algn="just"/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558139843"/>
                  </a:ext>
                </a:extLst>
              </a:tr>
              <a:tr h="2476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200">
                          <a:effectLst/>
                          <a:latin typeface="Montserrat" pitchFamily="2" charset="77"/>
                        </a:rPr>
                        <a:t>Penyewaan Rantai Pasok Peralatan Konstruksi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gridSpan="2">
                  <a:txBody>
                    <a:bodyPr/>
                    <a:lstStyle/>
                    <a:p>
                      <a:pPr marL="228600" lvl="0" indent="-228600" algn="just">
                        <a:buFont typeface="+mj-lt"/>
                        <a:buAutoNum type="alphaLcPeriod"/>
                      </a:pP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Badan Usah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Ranta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aso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memilik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rizin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Ber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yang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ah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.</a:t>
                      </a:r>
                    </a:p>
                    <a:p>
                      <a:pPr marL="228600" lvl="0" indent="-228600" algn="just">
                        <a:buFont typeface="+mj-lt"/>
                        <a:buAutoNum type="alphaLcPeriod"/>
                      </a:pP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Badan usaha rantai mencat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a</a:t>
                      </a:r>
                      <a:r>
                        <a:rPr lang="id-ID" sz="1200" dirty="0" err="1">
                          <a:effectLst/>
                          <a:latin typeface="Montserrat" pitchFamily="2" charset="77"/>
                        </a:rPr>
                        <a:t>tkan</a:t>
                      </a: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 peralatan yang akan disewakannya pada SIMPK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200">
                          <a:effectLst/>
                          <a:latin typeface="Montserrat" pitchFamily="2" charset="77"/>
                        </a:rPr>
                        <a:t>Rutin atau Insidental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>
                          <a:effectLst/>
                          <a:latin typeface="Montserrat" pitchFamily="2" charset="77"/>
                        </a:rPr>
                        <a:t>Lihat SIMAK - 1a</a:t>
                      </a:r>
                      <a:r>
                        <a:rPr lang="en-US" sz="1200">
                          <a:effectLst/>
                          <a:latin typeface="Montserrat" pitchFamily="2" charset="77"/>
                        </a:rPr>
                        <a:t>4</a:t>
                      </a:r>
                      <a:endParaRPr lang="en-ID" sz="1200">
                        <a:effectLst/>
                        <a:latin typeface="Montserrat" pitchFamily="2" charset="77"/>
                      </a:endParaRPr>
                    </a:p>
                    <a:p>
                      <a:pPr algn="just"/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3499552294"/>
                  </a:ext>
                </a:extLst>
              </a:tr>
              <a:tr h="2476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200">
                          <a:effectLst/>
                          <a:latin typeface="Montserrat" pitchFamily="2" charset="77"/>
                        </a:rPr>
                        <a:t>Distributor</a:t>
                      </a:r>
                      <a:r>
                        <a:rPr lang="id-ID" sz="1200">
                          <a:effectLst/>
                          <a:latin typeface="Montserrat" pitchFamily="2" charset="77"/>
                        </a:rPr>
                        <a:t> atau agen tunggal Rantai </a:t>
                      </a:r>
                      <a:r>
                        <a:rPr lang="en-US" sz="1200">
                          <a:effectLst/>
                          <a:latin typeface="Montserrat" pitchFamily="2" charset="77"/>
                        </a:rPr>
                        <a:t>Pasok </a:t>
                      </a:r>
                      <a:r>
                        <a:rPr lang="id-ID" sz="1200">
                          <a:effectLst/>
                          <a:latin typeface="Montserrat" pitchFamily="2" charset="77"/>
                        </a:rPr>
                        <a:t>Peralatan Konstruksi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gridSpan="2">
                  <a:txBody>
                    <a:bodyPr/>
                    <a:lstStyle/>
                    <a:p>
                      <a:pPr marL="228600" lvl="0" indent="-228600" algn="just">
                        <a:buFont typeface="+mj-lt"/>
                        <a:buAutoNum type="alphaLcPeriod"/>
                      </a:pP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Badan Usah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Ranta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aso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memilik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rizin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Ber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yang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ah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pPr marL="228600" marR="0" lvl="0" indent="-228600" algn="just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lphaLcPeriod"/>
                        <a:tabLst/>
                        <a:defRPr/>
                      </a:pP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tercantum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pad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istem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informas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material dan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ralat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onstruks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.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200">
                          <a:effectLst/>
                          <a:latin typeface="Montserrat" pitchFamily="2" charset="77"/>
                        </a:rPr>
                        <a:t>Rutin atau Insidental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>
                          <a:effectLst/>
                          <a:latin typeface="Montserrat" pitchFamily="2" charset="77"/>
                        </a:rPr>
                        <a:t>Lihat SIMAK - 1a</a:t>
                      </a:r>
                      <a:r>
                        <a:rPr lang="en-US" sz="1200">
                          <a:effectLst/>
                          <a:latin typeface="Montserrat" pitchFamily="2" charset="77"/>
                        </a:rPr>
                        <a:t>5</a:t>
                      </a:r>
                      <a:endParaRPr lang="en-ID" sz="1200">
                        <a:effectLst/>
                        <a:latin typeface="Montserrat" pitchFamily="2" charset="77"/>
                      </a:endParaRPr>
                    </a:p>
                    <a:p>
                      <a:pPr algn="just"/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2624662423"/>
                  </a:ext>
                </a:extLst>
              </a:tr>
              <a:tr h="40365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200">
                          <a:effectLst/>
                          <a:latin typeface="Montserrat" pitchFamily="2" charset="77"/>
                        </a:rPr>
                        <a:t>Badan usaha rantai pasok teknologi konstruksi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gridSpan="2">
                  <a:txBody>
                    <a:bodyPr/>
                    <a:lstStyle/>
                    <a:p>
                      <a:pPr marL="228600" lvl="0" indent="-228600" algn="just">
                        <a:buFont typeface="+mj-lt"/>
                        <a:buAutoNum type="alphaLcPeriod"/>
                      </a:pP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Badan Usah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Ranta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aso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memilik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rizin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Ber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yang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ah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.</a:t>
                      </a:r>
                    </a:p>
                    <a:p>
                      <a:pPr marL="228600" lvl="0" indent="-228600" algn="just">
                        <a:buFont typeface="+mj-lt"/>
                        <a:buAutoNum type="alphaLcPeriod"/>
                      </a:pP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Badan Usah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Ranta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aso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Teknolog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mendaftark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teknolog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pad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Ha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atas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ekaya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Intelektual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(HAKI) di Kementerian Hukum dan HAM</a:t>
                      </a:r>
                    </a:p>
                  </a:txBody>
                  <a:tcPr marL="15475" marR="15475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200">
                          <a:effectLst/>
                          <a:latin typeface="Montserrat" pitchFamily="2" charset="77"/>
                        </a:rPr>
                        <a:t>Rutin atau Insidental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Lihat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SIMAK - 1a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6</a:t>
                      </a:r>
                      <a:endParaRPr lang="en-ID" sz="1200" dirty="0">
                        <a:effectLst/>
                        <a:latin typeface="Montserrat" pitchFamily="2" charset="77"/>
                      </a:endParaRPr>
                    </a:p>
                    <a:p>
                      <a:pPr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17135643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80372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A28E77CD-FE85-CF47-8A7F-38A1629F5AA1}"/>
              </a:ext>
            </a:extLst>
          </p:cNvPr>
          <p:cNvSpPr txBox="1"/>
          <p:nvPr/>
        </p:nvSpPr>
        <p:spPr>
          <a:xfrm>
            <a:off x="2732689" y="94573"/>
            <a:ext cx="7178566" cy="3882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Tabel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 1 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Pengawasan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Tertib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Usaha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Jasa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Konstruksi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Trebuchet MS" panose="020B0703020202090204" pitchFamily="34" charset="0"/>
              </a:rPr>
              <a:t> </a:t>
            </a: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D60B1C2-1656-B54D-9BC8-647BB1E74860}"/>
              </a:ext>
            </a:extLst>
          </p:cNvPr>
          <p:cNvGraphicFramePr>
            <a:graphicFrameLocks noGrp="1"/>
          </p:cNvGraphicFramePr>
          <p:nvPr/>
        </p:nvGraphicFramePr>
        <p:xfrm>
          <a:off x="142047" y="699169"/>
          <a:ext cx="11766173" cy="60350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88574">
                  <a:extLst>
                    <a:ext uri="{9D8B030D-6E8A-4147-A177-3AD203B41FA5}">
                      <a16:colId xmlns:a16="http://schemas.microsoft.com/office/drawing/2014/main" val="3060449567"/>
                    </a:ext>
                  </a:extLst>
                </a:gridCol>
                <a:gridCol w="1975945">
                  <a:extLst>
                    <a:ext uri="{9D8B030D-6E8A-4147-A177-3AD203B41FA5}">
                      <a16:colId xmlns:a16="http://schemas.microsoft.com/office/drawing/2014/main" val="2464217317"/>
                    </a:ext>
                  </a:extLst>
                </a:gridCol>
                <a:gridCol w="1744717">
                  <a:extLst>
                    <a:ext uri="{9D8B030D-6E8A-4147-A177-3AD203B41FA5}">
                      <a16:colId xmlns:a16="http://schemas.microsoft.com/office/drawing/2014/main" val="2854022104"/>
                    </a:ext>
                  </a:extLst>
                </a:gridCol>
                <a:gridCol w="252248">
                  <a:extLst>
                    <a:ext uri="{9D8B030D-6E8A-4147-A177-3AD203B41FA5}">
                      <a16:colId xmlns:a16="http://schemas.microsoft.com/office/drawing/2014/main" val="2728231499"/>
                    </a:ext>
                  </a:extLst>
                </a:gridCol>
                <a:gridCol w="4136773">
                  <a:extLst>
                    <a:ext uri="{9D8B030D-6E8A-4147-A177-3AD203B41FA5}">
                      <a16:colId xmlns:a16="http://schemas.microsoft.com/office/drawing/2014/main" val="2530055004"/>
                    </a:ext>
                  </a:extLst>
                </a:gridCol>
                <a:gridCol w="1583958">
                  <a:extLst>
                    <a:ext uri="{9D8B030D-6E8A-4147-A177-3AD203B41FA5}">
                      <a16:colId xmlns:a16="http://schemas.microsoft.com/office/drawing/2014/main" val="1691732735"/>
                    </a:ext>
                  </a:extLst>
                </a:gridCol>
                <a:gridCol w="1583958">
                  <a:extLst>
                    <a:ext uri="{9D8B030D-6E8A-4147-A177-3AD203B41FA5}">
                      <a16:colId xmlns:a16="http://schemas.microsoft.com/office/drawing/2014/main" val="3316202826"/>
                    </a:ext>
                  </a:extLst>
                </a:gridCol>
              </a:tblGrid>
              <a:tr h="165072"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No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LINGKUP PENGAWASAN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pPr algn="ctr"/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OBYEK PENGAWASAN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INDIKATOR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pPr algn="ctr"/>
                      <a:r>
                        <a:rPr lang="id-ID" sz="1200">
                          <a:effectLst/>
                          <a:latin typeface="Montserrat" pitchFamily="2" charset="77"/>
                        </a:rPr>
                        <a:t>JENIS PENGAWASAN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LEMBAR</a:t>
                      </a:r>
                    </a:p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PEMERIKSAAN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 anchor="ctr"/>
                </a:tc>
                <a:extLst>
                  <a:ext uri="{0D108BD9-81ED-4DB2-BD59-A6C34878D82A}">
                    <a16:rowId xmlns:a16="http://schemas.microsoft.com/office/drawing/2014/main" val="2247307382"/>
                  </a:ext>
                </a:extLst>
              </a:tr>
              <a:tr h="330144">
                <a:tc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2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ngawas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terhadap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esesuai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jenis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,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ifat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,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lasifikas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, dan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layan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deng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egiat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Jas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onstruks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</a:p>
                    <a:p>
                      <a:pPr algn="just"/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200">
                          <a:effectLst/>
                          <a:latin typeface="Montserrat" pitchFamily="2" charset="77"/>
                        </a:rPr>
                        <a:t>Badan Usaha Jasa Konstruksi Nasional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gridSpan="2">
                  <a:txBody>
                    <a:bodyPr/>
                    <a:lstStyle/>
                    <a:p>
                      <a:pPr algn="just"/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egiat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Jas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onstruks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yang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telah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dilaksanak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BUJK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esua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jenis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,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ifat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,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lasifikas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, dan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layan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yang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terter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dalam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SBU. 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200">
                          <a:effectLst/>
                          <a:latin typeface="Montserrat" pitchFamily="2" charset="77"/>
                        </a:rPr>
                        <a:t>Rutin atau Insidental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Lihat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SIMAK - 1b.1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830215597"/>
                  </a:ext>
                </a:extLst>
              </a:tr>
              <a:tr h="412680"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3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ngawas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terhadap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esesuai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bentu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dan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ualifikas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deng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egiat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Jas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onstruks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dan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egmentas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pasar Jas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onstruks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</a:p>
                    <a:p>
                      <a:pPr algn="just"/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200">
                          <a:effectLst/>
                          <a:latin typeface="Montserrat" pitchFamily="2" charset="77"/>
                        </a:rPr>
                        <a:t>Badan Usaha Jasa Konstruksi Nasional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gridSpan="2">
                  <a:txBody>
                    <a:bodyPr/>
                    <a:lstStyle/>
                    <a:p>
                      <a:pPr algn="just"/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egiat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Jas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onstruks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yang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telah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dilaksanak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BUJK</a:t>
                      </a: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 sesuai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bentu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dan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ualifikasi</a:t>
                      </a: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 usaha 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yang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terter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dalam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SBU.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200">
                          <a:effectLst/>
                          <a:latin typeface="Montserrat" pitchFamily="2" charset="77"/>
                        </a:rPr>
                        <a:t>Rutin atau Insidental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>
                          <a:effectLst/>
                          <a:latin typeface="Montserrat" pitchFamily="2" charset="77"/>
                        </a:rPr>
                        <a:t>Lihat SIMAK - 1b.2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3874754485"/>
                  </a:ext>
                </a:extLst>
              </a:tr>
              <a:tr h="165072">
                <a:tc rowSpan="3"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4</a:t>
                      </a: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rowSpan="3">
                  <a:txBody>
                    <a:bodyPr/>
                    <a:lstStyle/>
                    <a:p>
                      <a:pPr algn="just"/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ngawas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terhadap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menuh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rsyarat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Jasa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Konstruksi</a:t>
                      </a:r>
                      <a:endParaRPr lang="en-ID" sz="1200" dirty="0">
                        <a:effectLst/>
                        <a:latin typeface="Montserrat" pitchFamily="2" charset="77"/>
                      </a:endParaRP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endParaRPr lang="en-ID" sz="1200" dirty="0">
                        <a:effectLst/>
                        <a:latin typeface="Montserrat" pitchFamily="2" charset="77"/>
                        <a:cs typeface="Times New Roman" panose="02020603050405020304" pitchFamily="18" charset="0"/>
                      </a:endParaRPr>
                    </a:p>
                    <a:p>
                      <a:endParaRPr lang="en-ID" sz="1200" dirty="0">
                        <a:effectLst/>
                        <a:latin typeface="Montserrat" pitchFamily="2" charset="77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rowSpan="2">
                  <a:txBody>
                    <a:bodyPr/>
                    <a:lstStyle/>
                    <a:p>
                      <a:pPr algn="just"/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Badan Usaha Jasa Konstruksi Nasional</a:t>
                      </a:r>
                    </a:p>
                    <a:p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rowSpan="2" gridSpan="2">
                  <a:txBody>
                    <a:bodyPr/>
                    <a:lstStyle/>
                    <a:p>
                      <a:pPr marL="228646" lvl="0" indent="-228600" algn="just">
                        <a:buFont typeface="+mj-lt"/>
                        <a:buAutoNum type="alphaLcPeriod"/>
                      </a:pPr>
                      <a:r>
                        <a:rPr lang="en-US" sz="1200" dirty="0" err="1">
                          <a:effectLst/>
                          <a:latin typeface="Montserrat" pitchFamily="2" charset="77"/>
                        </a:rPr>
                        <a:t>kepemilikan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 dan </a:t>
                      </a:r>
                      <a:r>
                        <a:rPr lang="en-US" sz="1200" dirty="0" err="1">
                          <a:effectLst/>
                          <a:latin typeface="Montserrat" pitchFamily="2" charset="77"/>
                        </a:rPr>
                        <a:t>keabsahan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dokumen NIB</a:t>
                      </a:r>
                    </a:p>
                    <a:p>
                      <a:pPr marL="228646" lvl="0" indent="-228600" algn="just">
                        <a:buFont typeface="+mj-lt"/>
                        <a:buAutoNum type="alphaLcPeriod"/>
                      </a:pPr>
                      <a:r>
                        <a:rPr lang="en-US" sz="1200" dirty="0" err="1">
                          <a:effectLst/>
                          <a:latin typeface="Montserrat" pitchFamily="2" charset="77"/>
                        </a:rPr>
                        <a:t>kepemilikan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 dan </a:t>
                      </a:r>
                      <a:r>
                        <a:rPr lang="en-US" sz="1200" dirty="0" err="1">
                          <a:effectLst/>
                          <a:latin typeface="Montserrat" pitchFamily="2" charset="77"/>
                        </a:rPr>
                        <a:t>keabsahan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dokumen SBU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200">
                          <a:effectLst/>
                          <a:latin typeface="Montserrat" pitchFamily="2" charset="77"/>
                        </a:rPr>
                        <a:t>Rutin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>
                          <a:effectLst/>
                          <a:latin typeface="Montserrat" pitchFamily="2" charset="77"/>
                        </a:rPr>
                        <a:t>Lihat SIMAK - 1c 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4172808715"/>
                  </a:ext>
                </a:extLst>
              </a:tr>
              <a:tr h="12380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Insidental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r>
                        <a:rPr lang="id-ID" sz="1200">
                          <a:effectLst/>
                          <a:latin typeface="Montserrat" pitchFamily="2" charset="77"/>
                        </a:rPr>
                        <a:t>Lihat </a:t>
                      </a:r>
                      <a:r>
                        <a:rPr lang="en-ID" sz="1200">
                          <a:effectLst/>
                          <a:latin typeface="Montserrat" pitchFamily="2" charset="77"/>
                        </a:rPr>
                        <a:t>SIMAK - 1d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127863697"/>
                  </a:ext>
                </a:extLst>
              </a:tr>
              <a:tr h="206340">
                <a:tc vMerge="1"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vMerge="1"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Usaha orang perseorangan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gridSpan="2">
                  <a:txBody>
                    <a:bodyPr/>
                    <a:lstStyle/>
                    <a:p>
                      <a:pPr marL="228600" lvl="0" indent="-228600" algn="just">
                        <a:buFont typeface="+mj-lt"/>
                        <a:buAutoNum type="alphaLcPeriod"/>
                      </a:pPr>
                      <a:r>
                        <a:rPr lang="en-US" sz="1200" dirty="0" err="1">
                          <a:effectLst/>
                          <a:latin typeface="Montserrat" pitchFamily="2" charset="77"/>
                        </a:rPr>
                        <a:t>kepemilikan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 dan </a:t>
                      </a:r>
                      <a:r>
                        <a:rPr lang="en-US" sz="1200" dirty="0" err="1">
                          <a:effectLst/>
                          <a:latin typeface="Montserrat" pitchFamily="2" charset="77"/>
                        </a:rPr>
                        <a:t>keabsahan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Montserrat" pitchFamily="2" charset="77"/>
                        </a:rPr>
                        <a:t>dokumen</a:t>
                      </a: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 NIB</a:t>
                      </a:r>
                      <a:endParaRPr lang="en-ID" sz="1200" dirty="0">
                        <a:effectLst/>
                        <a:latin typeface="Montserrat" pitchFamily="2" charset="77"/>
                      </a:endParaRPr>
                    </a:p>
                    <a:p>
                      <a:pPr marL="228600" lvl="0" indent="-228600" algn="just">
                        <a:buFont typeface="+mj-lt"/>
                        <a:buAutoNum type="alphaLcPeriod"/>
                      </a:pPr>
                      <a:r>
                        <a:rPr lang="en-US" sz="1200" dirty="0" err="1">
                          <a:effectLst/>
                          <a:latin typeface="Montserrat" pitchFamily="2" charset="77"/>
                        </a:rPr>
                        <a:t>kepemilikan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 dan </a:t>
                      </a:r>
                      <a:r>
                        <a:rPr lang="en-US" sz="1200" dirty="0" err="1">
                          <a:effectLst/>
                          <a:latin typeface="Montserrat" pitchFamily="2" charset="77"/>
                        </a:rPr>
                        <a:t>keabsahan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dokumen </a:t>
                      </a:r>
                      <a:r>
                        <a:rPr lang="id-ID" sz="1200" dirty="0" err="1">
                          <a:effectLst/>
                          <a:latin typeface="Montserrat" pitchFamily="2" charset="77"/>
                        </a:rPr>
                        <a:t>S</a:t>
                      </a:r>
                      <a:r>
                        <a:rPr lang="en-US" sz="1200" dirty="0">
                          <a:effectLst/>
                          <a:latin typeface="Montserrat" pitchFamily="2" charset="77"/>
                        </a:rPr>
                        <a:t>KK </a:t>
                      </a:r>
                      <a:r>
                        <a:rPr lang="en-US" sz="1200" dirty="0" err="1">
                          <a:effectLst/>
                          <a:latin typeface="Montserrat" pitchFamily="2" charset="77"/>
                        </a:rPr>
                        <a:t>Konstruksi</a:t>
                      </a:r>
                      <a:endParaRPr lang="en-US" sz="1200" dirty="0">
                        <a:effectLst/>
                        <a:latin typeface="Montserrat" pitchFamily="2" charset="77"/>
                      </a:endParaRPr>
                    </a:p>
                  </a:txBody>
                  <a:tcPr marL="15475" marR="15475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Rutin atau Insidental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Lihat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SIMAK - 1e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1657673213"/>
                  </a:ext>
                </a:extLst>
              </a:tr>
              <a:tr h="165072">
                <a:tc rowSpan="6"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5</a:t>
                      </a: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rowSpan="6">
                  <a:txBody>
                    <a:bodyPr/>
                    <a:lstStyle/>
                    <a:p>
                      <a:pPr algn="just"/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ngawas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terhadap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laksana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ngembang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berkelanjutan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rowSpan="6">
                  <a:txBody>
                    <a:bodyPr/>
                    <a:lstStyle/>
                    <a:p>
                      <a:pPr algn="just"/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Badan Usaha Jasa Konstruksi Nasional</a:t>
                      </a:r>
                    </a:p>
                    <a:p>
                      <a:pPr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</a:p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gridSpan="2">
                  <a:txBody>
                    <a:bodyPr/>
                    <a:lstStyle/>
                    <a:p>
                      <a:pPr algn="just"/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BUJK melaksanakan kegiatan pengembangan usaha berkelanjutan yang mencakup: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pPr algn="just"/>
                      <a:r>
                        <a:rPr lang="id-ID" sz="1200" dirty="0">
                          <a:effectLst/>
                          <a:latin typeface="Montserrat" pitchFamily="2" charset="77"/>
                        </a:rPr>
                        <a:t>Rutin atau Insidental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rowSpan="6">
                  <a:txBody>
                    <a:bodyPr/>
                    <a:lstStyle/>
                    <a:p>
                      <a:pPr algn="just"/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Lihat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SIMAK - 1f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extLst>
                  <a:ext uri="{0D108BD9-81ED-4DB2-BD59-A6C34878D82A}">
                    <a16:rowId xmlns:a16="http://schemas.microsoft.com/office/drawing/2014/main" val="3757391144"/>
                  </a:ext>
                </a:extLst>
              </a:tr>
              <a:tr h="165072">
                <a:tc vMerge="1">
                  <a:txBody>
                    <a:bodyPr/>
                    <a:lstStyle/>
                    <a:p>
                      <a:endParaRPr lang="en-ID" sz="1200" dirty="0">
                        <a:effectLst/>
                        <a:latin typeface="Montserrat" pitchFamily="2" charset="77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a.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D" sz="1200">
                          <a:effectLst/>
                          <a:latin typeface="Montserrat" pitchFamily="2" charset="77"/>
                        </a:rPr>
                        <a:t>Peningkatan kapasitas sumber daya manusia badan usaha;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00197"/>
                  </a:ext>
                </a:extLst>
              </a:tr>
              <a:tr h="82536">
                <a:tc vMerge="1"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b. 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Peningkatan Peralatan;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2326231"/>
                  </a:ext>
                </a:extLst>
              </a:tr>
              <a:tr h="82536">
                <a:tc vMerge="1"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c.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Peningkatan teknologi;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514165"/>
                  </a:ext>
                </a:extLst>
              </a:tr>
              <a:tr h="133978">
                <a:tc vMerge="1"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d.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Peningkatan kualitas pengelolaan keuangan; dan/atau 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5008661"/>
                  </a:ext>
                </a:extLst>
              </a:tr>
              <a:tr h="119935">
                <a:tc vMerge="1"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e.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>
                  <a:txBody>
                    <a:bodyPr/>
                    <a:lstStyle/>
                    <a:p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Peningkata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manajemen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.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475" marR="15475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31766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16185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E40A4D-D452-0642-BF8D-0258DB460C93}"/>
              </a:ext>
            </a:extLst>
          </p:cNvPr>
          <p:cNvSpPr/>
          <p:nvPr/>
        </p:nvSpPr>
        <p:spPr>
          <a:xfrm>
            <a:off x="381520" y="318655"/>
            <a:ext cx="11428959" cy="277090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F47CB03-C7C3-2D47-B6B0-D6A6545F9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476" y="487798"/>
            <a:ext cx="11035216" cy="2601765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– 1a1 </a:t>
            </a:r>
            <a:r>
              <a:rPr lang="nb-NO" sz="1400" b="1" dirty="0" err="1">
                <a:latin typeface="Montserrat" pitchFamily="2" charset="77"/>
              </a:rPr>
              <a:t>Contoh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isi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awas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hadap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tib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hadap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menuh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rsyar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anta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aso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umber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Day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ecar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uti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Maupu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Insidental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ntu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roduse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anta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asok</a:t>
            </a:r>
            <a:r>
              <a:rPr lang="nb-NO" sz="1400" b="1" dirty="0">
                <a:latin typeface="Montserrat" pitchFamily="2" charset="77"/>
              </a:rPr>
              <a:t> Material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endParaRPr lang="nb-NO" sz="1400" b="1" dirty="0">
              <a:latin typeface="Montserrat" pitchFamily="2" charset="77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>
                <a:latin typeface="Montserrat" pitchFamily="2" charset="77"/>
              </a:rPr>
              <a:t>Nama Produsen Rantai Pasok	Material	                   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Tanggal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ngawasan</a:t>
            </a:r>
            <a:r>
              <a:rPr lang="nb-NO" sz="1400" dirty="0">
                <a:latin typeface="Montserrat" pitchFamily="2" charset="77"/>
              </a:rPr>
              <a:t>	                                       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>
                <a:latin typeface="Montserrat" pitchFamily="2" charset="77"/>
              </a:rPr>
              <a:t>Kepemilikan </a:t>
            </a:r>
            <a:r>
              <a:rPr lang="nb-NO" sz="1400" dirty="0" err="1">
                <a:latin typeface="Montserrat" pitchFamily="2" charset="77"/>
              </a:rPr>
              <a:t>Perizin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                                     :  </a:t>
            </a:r>
            <a:r>
              <a:rPr lang="nb-NO" sz="1400" dirty="0" err="1">
                <a:latin typeface="Montserrat" pitchFamily="2" charset="77"/>
              </a:rPr>
              <a:t>Memiliki</a:t>
            </a:r>
            <a:r>
              <a:rPr lang="nb-NO" sz="1400" dirty="0">
                <a:latin typeface="Montserrat" pitchFamily="2" charset="77"/>
              </a:rPr>
              <a:t>/Tidak Memiliki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>
                <a:latin typeface="Montserrat" pitchFamily="2" charset="77"/>
              </a:rPr>
              <a:t>Keabsahan </a:t>
            </a:r>
            <a:r>
              <a:rPr lang="nb-NO" sz="1400" dirty="0" err="1">
                <a:latin typeface="Montserrat" pitchFamily="2" charset="77"/>
              </a:rPr>
              <a:t>Perizin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                                        :  </a:t>
            </a:r>
            <a:r>
              <a:rPr lang="nb-NO" sz="1400" dirty="0" err="1">
                <a:latin typeface="Montserrat" pitchFamily="2" charset="77"/>
              </a:rPr>
              <a:t>Sah</a:t>
            </a:r>
            <a:r>
              <a:rPr lang="nb-NO" sz="1400" dirty="0">
                <a:latin typeface="Montserrat" pitchFamily="2" charset="77"/>
              </a:rPr>
              <a:t>/Tidak Sah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>
                <a:latin typeface="Montserrat" pitchFamily="2" charset="77"/>
              </a:rPr>
              <a:t>Kapasitas Terpasang		                     :  </a:t>
            </a:r>
            <a:r>
              <a:rPr lang="nb-NO" sz="1400" dirty="0" err="1">
                <a:latin typeface="Montserrat" pitchFamily="2" charset="77"/>
              </a:rPr>
              <a:t>Sesuai</a:t>
            </a:r>
            <a:r>
              <a:rPr lang="nb-NO" sz="1400" dirty="0">
                <a:latin typeface="Montserrat" pitchFamily="2" charset="77"/>
              </a:rPr>
              <a:t>/Tidak Sesuai dengan Perizinan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>
                <a:latin typeface="Montserrat" pitchFamily="2" charset="77"/>
              </a:rPr>
              <a:t>Kepemilikan Perizinan Penggunaan bahan </a:t>
            </a:r>
            <a:r>
              <a:rPr lang="nb-NO" sz="1400" dirty="0" err="1">
                <a:latin typeface="Montserrat" pitchFamily="2" charset="77"/>
              </a:rPr>
              <a:t>baku</a:t>
            </a:r>
            <a:r>
              <a:rPr lang="nb-NO" sz="1400" dirty="0">
                <a:latin typeface="Montserrat" pitchFamily="2" charset="77"/>
              </a:rPr>
              <a:t>      :  </a:t>
            </a:r>
            <a:r>
              <a:rPr lang="nb-NO" sz="1400" dirty="0" err="1">
                <a:latin typeface="Montserrat" pitchFamily="2" charset="77"/>
              </a:rPr>
              <a:t>Memiliki</a:t>
            </a:r>
            <a:r>
              <a:rPr lang="nb-NO" sz="1400" dirty="0">
                <a:latin typeface="Montserrat" pitchFamily="2" charset="77"/>
              </a:rPr>
              <a:t>/Tidak Memiliki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>
                <a:latin typeface="Montserrat" pitchFamily="2" charset="77"/>
              </a:rPr>
              <a:t>Keabsahan Perizinan Penggunaan bahan </a:t>
            </a:r>
            <a:r>
              <a:rPr lang="nb-NO" sz="1400" dirty="0" err="1">
                <a:latin typeface="Montserrat" pitchFamily="2" charset="77"/>
              </a:rPr>
              <a:t>baku</a:t>
            </a:r>
            <a:r>
              <a:rPr lang="nb-NO" sz="1400" dirty="0">
                <a:latin typeface="Montserrat" pitchFamily="2" charset="77"/>
              </a:rPr>
              <a:t>         :  </a:t>
            </a:r>
            <a:r>
              <a:rPr lang="nb-NO" sz="1400" dirty="0" err="1">
                <a:latin typeface="Montserrat" pitchFamily="2" charset="77"/>
              </a:rPr>
              <a:t>Sah</a:t>
            </a:r>
            <a:r>
              <a:rPr lang="nb-NO" sz="1400" dirty="0">
                <a:latin typeface="Montserrat" pitchFamily="2" charset="77"/>
              </a:rPr>
              <a:t>/Tidak Sah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nb-NO" sz="1400" b="1" dirty="0">
              <a:latin typeface="Montserrat" pitchFamily="2" charset="77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53E3A4B-3925-4D40-BCBF-83C4B83DCAAD}"/>
              </a:ext>
            </a:extLst>
          </p:cNvPr>
          <p:cNvGraphicFramePr>
            <a:graphicFrameLocks noGrp="1"/>
          </p:cNvGraphicFramePr>
          <p:nvPr/>
        </p:nvGraphicFramePr>
        <p:xfrm>
          <a:off x="381520" y="3219899"/>
          <a:ext cx="11428958" cy="17983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94377">
                  <a:extLst>
                    <a:ext uri="{9D8B030D-6E8A-4147-A177-3AD203B41FA5}">
                      <a16:colId xmlns:a16="http://schemas.microsoft.com/office/drawing/2014/main" val="921924335"/>
                    </a:ext>
                  </a:extLst>
                </a:gridCol>
                <a:gridCol w="1578237">
                  <a:extLst>
                    <a:ext uri="{9D8B030D-6E8A-4147-A177-3AD203B41FA5}">
                      <a16:colId xmlns:a16="http://schemas.microsoft.com/office/drawing/2014/main" val="1113348399"/>
                    </a:ext>
                  </a:extLst>
                </a:gridCol>
                <a:gridCol w="1544100">
                  <a:extLst>
                    <a:ext uri="{9D8B030D-6E8A-4147-A177-3AD203B41FA5}">
                      <a16:colId xmlns:a16="http://schemas.microsoft.com/office/drawing/2014/main" val="1661424762"/>
                    </a:ext>
                  </a:extLst>
                </a:gridCol>
                <a:gridCol w="1417726">
                  <a:extLst>
                    <a:ext uri="{9D8B030D-6E8A-4147-A177-3AD203B41FA5}">
                      <a16:colId xmlns:a16="http://schemas.microsoft.com/office/drawing/2014/main" val="3434599683"/>
                    </a:ext>
                  </a:extLst>
                </a:gridCol>
                <a:gridCol w="1852775">
                  <a:extLst>
                    <a:ext uri="{9D8B030D-6E8A-4147-A177-3AD203B41FA5}">
                      <a16:colId xmlns:a16="http://schemas.microsoft.com/office/drawing/2014/main" val="4108969775"/>
                    </a:ext>
                  </a:extLst>
                </a:gridCol>
                <a:gridCol w="2059043">
                  <a:extLst>
                    <a:ext uri="{9D8B030D-6E8A-4147-A177-3AD203B41FA5}">
                      <a16:colId xmlns:a16="http://schemas.microsoft.com/office/drawing/2014/main" val="2660296999"/>
                    </a:ext>
                  </a:extLst>
                </a:gridCol>
                <a:gridCol w="2582700">
                  <a:extLst>
                    <a:ext uri="{9D8B030D-6E8A-4147-A177-3AD203B41FA5}">
                      <a16:colId xmlns:a16="http://schemas.microsoft.com/office/drawing/2014/main" val="332489215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o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Nama Varian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Produk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(*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Nama Sub Varian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Produk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(*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Merk</a:t>
                      </a:r>
                    </a:p>
                    <a:p>
                      <a:pPr algn="ctr"/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Produk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Sertifikat TKDN (**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Sertifikat SNI/ Sertifikat Standar yang Berlaku (***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Pencatatan Dalam SIMPK (Sudah/Belum dicatatkan dalam SIMPK)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779176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1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Semen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PCC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Semen Gresik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Bersertifikat TKDN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Bersertifikat SNI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Sudah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985806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2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6235326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3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0528955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4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5990645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5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345014993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F7E27B1-D8FE-1B49-B8EF-F99E40F024AA}"/>
              </a:ext>
            </a:extLst>
          </p:cNvPr>
          <p:cNvSpPr/>
          <p:nvPr/>
        </p:nvSpPr>
        <p:spPr>
          <a:xfrm>
            <a:off x="381520" y="5207868"/>
            <a:ext cx="11428959" cy="116522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B43EEB9-7FE8-804A-AD4A-D60E47286E39}"/>
              </a:ext>
            </a:extLst>
          </p:cNvPr>
          <p:cNvSpPr txBox="1">
            <a:spLocks/>
          </p:cNvSpPr>
          <p:nvPr/>
        </p:nvSpPr>
        <p:spPr>
          <a:xfrm>
            <a:off x="519476" y="5377010"/>
            <a:ext cx="11035216" cy="2601765"/>
          </a:xfr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*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ngacu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ada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Permen PUPR No. 7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ahu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2021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ntang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catata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umber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ya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MPK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**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isi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sertifika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/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idak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sertifika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TKDN (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Informasi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lalui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website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kdn.kemenperin.go.id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)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***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isi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sertifika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/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idak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sertifika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SNI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tau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sertifika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tandar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yang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laku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60410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E40A4D-D452-0642-BF8D-0258DB460C93}"/>
              </a:ext>
            </a:extLst>
          </p:cNvPr>
          <p:cNvSpPr/>
          <p:nvPr/>
        </p:nvSpPr>
        <p:spPr>
          <a:xfrm>
            <a:off x="381520" y="318655"/>
            <a:ext cx="11428959" cy="211974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F47CB03-C7C3-2D47-B6B0-D6A6545F9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476" y="487798"/>
            <a:ext cx="11035216" cy="1728929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– 1a2 </a:t>
            </a:r>
            <a:r>
              <a:rPr lang="nb-NO" sz="1400" b="1" dirty="0" err="1">
                <a:latin typeface="Montserrat" pitchFamily="2" charset="77"/>
              </a:rPr>
              <a:t>Contoh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isi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awas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tib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hadap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menuh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rsyar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anta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aso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umber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Day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ecar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uti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Maupu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Insidental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ntu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Distributor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anta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asok</a:t>
            </a:r>
            <a:r>
              <a:rPr lang="nb-NO" sz="1400" b="1" dirty="0">
                <a:latin typeface="Montserrat" pitchFamily="2" charset="77"/>
              </a:rPr>
              <a:t> Material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endParaRPr lang="nb-NO" sz="1400" b="1" dirty="0">
              <a:latin typeface="Montserrat" pitchFamily="2" charset="77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Nama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Distributor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Rantai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asok</a:t>
            </a:r>
            <a:r>
              <a:rPr lang="nb-NO" sz="1400" dirty="0">
                <a:latin typeface="Montserrat" pitchFamily="2" charset="77"/>
              </a:rPr>
              <a:t> Material	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Tanggal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ngawasan</a:t>
            </a:r>
            <a:r>
              <a:rPr lang="nb-NO" sz="1400" dirty="0">
                <a:latin typeface="Montserrat" pitchFamily="2" charset="77"/>
              </a:rPr>
              <a:t>	                    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>
                <a:latin typeface="Montserrat" pitchFamily="2" charset="77"/>
              </a:rPr>
              <a:t>Kepemilikan </a:t>
            </a:r>
            <a:r>
              <a:rPr lang="nb-NO" sz="1400" dirty="0" err="1">
                <a:latin typeface="Montserrat" pitchFamily="2" charset="77"/>
              </a:rPr>
              <a:t>Perizin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                  : Memiliki/Tidak Memiliki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>
                <a:latin typeface="Montserrat" pitchFamily="2" charset="77"/>
              </a:rPr>
              <a:t>Keabsahan </a:t>
            </a:r>
            <a:r>
              <a:rPr lang="nb-NO" sz="1400" dirty="0" err="1">
                <a:latin typeface="Montserrat" pitchFamily="2" charset="77"/>
              </a:rPr>
              <a:t>Perizin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                     : Sah/Tidak Sah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nb-NO" sz="1400" b="1" dirty="0">
              <a:latin typeface="Montserra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7E27B1-D8FE-1B49-B8EF-F99E40F024AA}"/>
              </a:ext>
            </a:extLst>
          </p:cNvPr>
          <p:cNvSpPr/>
          <p:nvPr/>
        </p:nvSpPr>
        <p:spPr>
          <a:xfrm>
            <a:off x="381520" y="5207867"/>
            <a:ext cx="11428959" cy="133147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B43EEB9-7FE8-804A-AD4A-D60E47286E39}"/>
              </a:ext>
            </a:extLst>
          </p:cNvPr>
          <p:cNvSpPr txBox="1">
            <a:spLocks/>
          </p:cNvSpPr>
          <p:nvPr/>
        </p:nvSpPr>
        <p:spPr>
          <a:xfrm>
            <a:off x="519476" y="5377010"/>
            <a:ext cx="11035216" cy="2601765"/>
          </a:xfr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*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ngacu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ada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Permen PUPR No. 7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ahu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2021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ntang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catata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umber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ya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MPK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**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isi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sertifika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/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idak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sertifika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TKDN (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Informasi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lalui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website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kdn.kemenperin.go.id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)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***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isi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sertifika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/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idak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sertifika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SNI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tau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sertifika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tandar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yang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laku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****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pabila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lum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rcantum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gar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lakuka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omunikasi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e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dmi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SIMPK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885D2E2-8962-D84E-AAC5-DEC839A5623E}"/>
              </a:ext>
            </a:extLst>
          </p:cNvPr>
          <p:cNvGraphicFramePr>
            <a:graphicFrameLocks noGrp="1"/>
          </p:cNvGraphicFramePr>
          <p:nvPr/>
        </p:nvGraphicFramePr>
        <p:xfrm>
          <a:off x="381520" y="2511972"/>
          <a:ext cx="11428958" cy="25540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94377">
                  <a:extLst>
                    <a:ext uri="{9D8B030D-6E8A-4147-A177-3AD203B41FA5}">
                      <a16:colId xmlns:a16="http://schemas.microsoft.com/office/drawing/2014/main" val="3869391639"/>
                    </a:ext>
                  </a:extLst>
                </a:gridCol>
                <a:gridCol w="1578237">
                  <a:extLst>
                    <a:ext uri="{9D8B030D-6E8A-4147-A177-3AD203B41FA5}">
                      <a16:colId xmlns:a16="http://schemas.microsoft.com/office/drawing/2014/main" val="3039903473"/>
                    </a:ext>
                  </a:extLst>
                </a:gridCol>
                <a:gridCol w="1544100">
                  <a:extLst>
                    <a:ext uri="{9D8B030D-6E8A-4147-A177-3AD203B41FA5}">
                      <a16:colId xmlns:a16="http://schemas.microsoft.com/office/drawing/2014/main" val="1323547539"/>
                    </a:ext>
                  </a:extLst>
                </a:gridCol>
                <a:gridCol w="1417726">
                  <a:extLst>
                    <a:ext uri="{9D8B030D-6E8A-4147-A177-3AD203B41FA5}">
                      <a16:colId xmlns:a16="http://schemas.microsoft.com/office/drawing/2014/main" val="3411754120"/>
                    </a:ext>
                  </a:extLst>
                </a:gridCol>
                <a:gridCol w="1852775">
                  <a:extLst>
                    <a:ext uri="{9D8B030D-6E8A-4147-A177-3AD203B41FA5}">
                      <a16:colId xmlns:a16="http://schemas.microsoft.com/office/drawing/2014/main" val="15825899"/>
                    </a:ext>
                  </a:extLst>
                </a:gridCol>
                <a:gridCol w="2059043">
                  <a:extLst>
                    <a:ext uri="{9D8B030D-6E8A-4147-A177-3AD203B41FA5}">
                      <a16:colId xmlns:a16="http://schemas.microsoft.com/office/drawing/2014/main" val="4045910986"/>
                    </a:ext>
                  </a:extLst>
                </a:gridCol>
                <a:gridCol w="2582700">
                  <a:extLst>
                    <a:ext uri="{9D8B030D-6E8A-4147-A177-3AD203B41FA5}">
                      <a16:colId xmlns:a16="http://schemas.microsoft.com/office/drawing/2014/main" val="76355233"/>
                    </a:ext>
                  </a:extLst>
                </a:gridCol>
              </a:tblGrid>
              <a:tr h="1135118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o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ama Varian Produk (*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Nama Sub Varian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Produk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(*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Merk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Produk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Sertifikat TKDN (**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Sertifikat SNI/ Sertifikat Standar yang Berlaku (***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Tercantum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Dalam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SIMPK (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Sudah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/Belum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tercantum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dalam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SIMPK)(****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32509956"/>
                  </a:ext>
                </a:extLst>
              </a:tr>
              <a:tr h="283779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1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Semen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PCC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Semen Gresik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Bersertifikat TKDN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Bersertifikat SNI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Sudah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88011262"/>
                  </a:ext>
                </a:extLst>
              </a:tr>
              <a:tr h="283779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2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825163664"/>
                  </a:ext>
                </a:extLst>
              </a:tr>
              <a:tr h="283779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3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16290774"/>
                  </a:ext>
                </a:extLst>
              </a:tr>
              <a:tr h="283779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4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653025420"/>
                  </a:ext>
                </a:extLst>
              </a:tr>
              <a:tr h="283779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5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9304271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13413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B3F2D0BF-FE2C-A547-82D6-6877AAEEBE48}"/>
              </a:ext>
            </a:extLst>
          </p:cNvPr>
          <p:cNvSpPr/>
          <p:nvPr/>
        </p:nvSpPr>
        <p:spPr>
          <a:xfrm>
            <a:off x="6422174" y="2101590"/>
            <a:ext cx="2640288" cy="10934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7D8FDB3E-5D27-9945-B39A-58316D84B12A}"/>
              </a:ext>
            </a:extLst>
          </p:cNvPr>
          <p:cNvSpPr/>
          <p:nvPr/>
        </p:nvSpPr>
        <p:spPr>
          <a:xfrm>
            <a:off x="9171201" y="2101590"/>
            <a:ext cx="2648100" cy="109343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936E8A-650D-FF43-8B18-337053C00F58}"/>
              </a:ext>
            </a:extLst>
          </p:cNvPr>
          <p:cNvSpPr txBox="1"/>
          <p:nvPr/>
        </p:nvSpPr>
        <p:spPr>
          <a:xfrm>
            <a:off x="6466103" y="1339683"/>
            <a:ext cx="27431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e 2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B6833D4-B8DC-EE44-B6E7-4C9FCD809F5E}"/>
              </a:ext>
            </a:extLst>
          </p:cNvPr>
          <p:cNvSpPr txBox="1"/>
          <p:nvPr/>
        </p:nvSpPr>
        <p:spPr>
          <a:xfrm>
            <a:off x="9345962" y="2285661"/>
            <a:ext cx="229857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ep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DirJen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Bina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onstruksi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Nomor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 144/KPTS/DK/2022 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tandar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Skema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ertifikasi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Badan Usaha Jasa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onstruksi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endParaRPr kumimoji="0" lang="en-ID" sz="1000" b="1" i="0" u="none" strike="noStrike" kern="0" cap="none" spc="0" normalizeH="0" baseline="0" noProof="0" dirty="0">
              <a:ln>
                <a:noFill/>
              </a:ln>
              <a:solidFill>
                <a:srgbClr val="1E3267"/>
              </a:solidFill>
              <a:effectLst/>
              <a:uLnTx/>
              <a:uFillTx/>
              <a:latin typeface="Montserrat" pitchFamily="2" charset="77"/>
              <a:ea typeface="Tahoma"/>
              <a:cs typeface="Tahoma"/>
              <a:sym typeface="Tahoma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BB784A9-0640-2846-859C-F8A8969D4000}"/>
              </a:ext>
            </a:extLst>
          </p:cNvPr>
          <p:cNvSpPr txBox="1"/>
          <p:nvPr/>
        </p:nvSpPr>
        <p:spPr>
          <a:xfrm>
            <a:off x="6354279" y="2063533"/>
            <a:ext cx="274902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rmen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PUPR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Nomor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8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Tahun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2022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tentang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Tata Cara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laksanaan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menuhan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ertifikat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tandar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Jasa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onstruksi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Dalam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Rangka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Mendukung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emudahan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rizinan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Berusaha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Bagi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laku</a:t>
            </a: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Usaha Jasa </a:t>
            </a:r>
            <a:r>
              <a:rPr kumimoji="0" lang="en-ID" sz="10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onstruksi</a:t>
            </a:r>
            <a:endParaRPr kumimoji="0" lang="en-ID" sz="1000" b="1" i="0" u="none" strike="noStrike" kern="0" cap="none" spc="0" normalizeH="0" baseline="0" noProof="0" dirty="0">
              <a:ln>
                <a:noFill/>
              </a:ln>
              <a:solidFill>
                <a:srgbClr val="1E3267"/>
              </a:solidFill>
              <a:effectLst/>
              <a:uLnTx/>
              <a:uFillTx/>
              <a:latin typeface="Montserrat" pitchFamily="2" charset="77"/>
              <a:ea typeface="Tahoma"/>
              <a:cs typeface="Tahoma"/>
              <a:sym typeface="Tahoma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41D5777F-9CE1-F54C-9A4B-571EC3E2E40C}"/>
              </a:ext>
            </a:extLst>
          </p:cNvPr>
          <p:cNvSpPr/>
          <p:nvPr/>
        </p:nvSpPr>
        <p:spPr>
          <a:xfrm>
            <a:off x="3659932" y="1100887"/>
            <a:ext cx="2640288" cy="8757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9BA333C-1715-494B-9F3F-1DE14DBACBD6}"/>
              </a:ext>
            </a:extLst>
          </p:cNvPr>
          <p:cNvSpPr txBox="1"/>
          <p:nvPr/>
        </p:nvSpPr>
        <p:spPr>
          <a:xfrm>
            <a:off x="3646076" y="1112685"/>
            <a:ext cx="259261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rme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PUPR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Nomor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6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Tahu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2021 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Tentang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 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tandar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egiat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Usaha Dan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roduk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Pada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nyelenggara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rizin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Berusaha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Berbasis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Risiko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ektor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PUP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22036E-4504-C740-BBB3-8874B68742CB}"/>
              </a:ext>
            </a:extLst>
          </p:cNvPr>
          <p:cNvSpPr txBox="1"/>
          <p:nvPr/>
        </p:nvSpPr>
        <p:spPr>
          <a:xfrm>
            <a:off x="6428008" y="1103595"/>
            <a:ext cx="27431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e21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301C2FAD-1985-4D44-A575-D3AFABF782F9}"/>
              </a:ext>
            </a:extLst>
          </p:cNvPr>
          <p:cNvSpPr/>
          <p:nvPr/>
        </p:nvSpPr>
        <p:spPr>
          <a:xfrm>
            <a:off x="6427800" y="1114634"/>
            <a:ext cx="2640288" cy="8757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19B5306A-9CBE-F441-B967-CAE3D9E4C7E0}"/>
              </a:ext>
            </a:extLst>
          </p:cNvPr>
          <p:cNvSpPr/>
          <p:nvPr/>
        </p:nvSpPr>
        <p:spPr>
          <a:xfrm>
            <a:off x="9179013" y="1114634"/>
            <a:ext cx="2640288" cy="8757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D86B83F-D313-9846-8635-1193D5DFC232}"/>
              </a:ext>
            </a:extLst>
          </p:cNvPr>
          <p:cNvSpPr txBox="1"/>
          <p:nvPr/>
        </p:nvSpPr>
        <p:spPr>
          <a:xfrm>
            <a:off x="9277180" y="1184225"/>
            <a:ext cx="260871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ep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DirJe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Bina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onstruks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Nomor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 89/KPTS/DK/2021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Tentang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netapan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tandar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Skema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ertifikas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Badan Usaha Jasa </a:t>
            </a:r>
            <a:r>
              <a:rPr kumimoji="0" lang="en-ID" sz="10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onstruksi</a:t>
            </a:r>
            <a:r>
              <a:rPr kumimoji="0" lang="en-ID" sz="10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endParaRPr kumimoji="0" lang="en-ID" sz="1000" b="0" i="0" u="none" strike="noStrike" kern="0" cap="none" spc="0" normalizeH="0" baseline="0" noProof="0" dirty="0">
              <a:ln>
                <a:noFill/>
              </a:ln>
              <a:solidFill>
                <a:srgbClr val="1E3267"/>
              </a:solidFill>
              <a:effectLst/>
              <a:uLnTx/>
              <a:uFillTx/>
              <a:latin typeface="Montserrat" pitchFamily="2" charset="77"/>
              <a:ea typeface="Tahoma"/>
              <a:cs typeface="Tahoma"/>
              <a:sym typeface="Tahoma"/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D1C4060E-F601-E047-9994-25972BB5241D}"/>
              </a:ext>
            </a:extLst>
          </p:cNvPr>
          <p:cNvSpPr/>
          <p:nvPr/>
        </p:nvSpPr>
        <p:spPr>
          <a:xfrm>
            <a:off x="8951949" y="1389377"/>
            <a:ext cx="435337" cy="335578"/>
          </a:xfrm>
          <a:prstGeom prst="rightArrow">
            <a:avLst/>
          </a:prstGeom>
          <a:solidFill>
            <a:srgbClr val="931B18"/>
          </a:solidFill>
          <a:ln>
            <a:solidFill>
              <a:srgbClr val="931B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431F544-FC1C-154F-85DA-574946E3E533}"/>
              </a:ext>
            </a:extLst>
          </p:cNvPr>
          <p:cNvSpPr txBox="1"/>
          <p:nvPr/>
        </p:nvSpPr>
        <p:spPr>
          <a:xfrm>
            <a:off x="6466103" y="878526"/>
            <a:ext cx="263445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b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</a:br>
            <a:endParaRPr kumimoji="0" lang="en-ID" sz="800" b="0" i="0" u="none" strike="noStrike" kern="0" cap="none" spc="0" normalizeH="0" baseline="0" noProof="0" dirty="0">
              <a:ln>
                <a:noFill/>
              </a:ln>
              <a:solidFill>
                <a:srgbClr val="1E3267"/>
              </a:solidFill>
              <a:effectLst/>
              <a:uLnTx/>
              <a:uFillTx/>
              <a:latin typeface="Montserrat" pitchFamily="2" charset="77"/>
              <a:ea typeface="Tahoma"/>
              <a:cs typeface="Tahoma"/>
              <a:sym typeface="Tahoma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E Menteri PUPR No. 21/SE/M/2021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Tentang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 Tata Cara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menuhan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rsyaratan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rizinan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Berusaha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,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laksanaan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ertifikasi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ompetensi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erja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onstruksi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, dan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mberlakuan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ertifikat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Badan Usaha Serta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Sertifikat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ompetensi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erja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0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Konstruksi</a:t>
            </a:r>
            <a:r>
              <a:rPr kumimoji="0" lang="en-ID" sz="800" b="0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 </a:t>
            </a:r>
          </a:p>
        </p:txBody>
      </p:sp>
      <p:sp>
        <p:nvSpPr>
          <p:cNvPr id="36" name="Right Arrow 35">
            <a:extLst>
              <a:ext uri="{FF2B5EF4-FFF2-40B4-BE49-F238E27FC236}">
                <a16:creationId xmlns:a16="http://schemas.microsoft.com/office/drawing/2014/main" id="{1D6CD64B-52F6-884E-B875-A4BBBBC7B7E3}"/>
              </a:ext>
            </a:extLst>
          </p:cNvPr>
          <p:cNvSpPr/>
          <p:nvPr/>
        </p:nvSpPr>
        <p:spPr>
          <a:xfrm>
            <a:off x="8951949" y="2480519"/>
            <a:ext cx="445465" cy="335578"/>
          </a:xfrm>
          <a:prstGeom prst="rightArrow">
            <a:avLst/>
          </a:prstGeom>
          <a:solidFill>
            <a:srgbClr val="931B18"/>
          </a:solidFill>
          <a:ln>
            <a:solidFill>
              <a:srgbClr val="931B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7" name="Right Arrow 36">
            <a:extLst>
              <a:ext uri="{FF2B5EF4-FFF2-40B4-BE49-F238E27FC236}">
                <a16:creationId xmlns:a16="http://schemas.microsoft.com/office/drawing/2014/main" id="{235D1373-01E0-7949-A017-8BB520863F3D}"/>
              </a:ext>
            </a:extLst>
          </p:cNvPr>
          <p:cNvSpPr/>
          <p:nvPr/>
        </p:nvSpPr>
        <p:spPr>
          <a:xfrm>
            <a:off x="6115641" y="1383379"/>
            <a:ext cx="435337" cy="335578"/>
          </a:xfrm>
          <a:prstGeom prst="rightArrow">
            <a:avLst/>
          </a:prstGeom>
          <a:solidFill>
            <a:srgbClr val="931B18"/>
          </a:solidFill>
          <a:ln>
            <a:solidFill>
              <a:srgbClr val="931B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1730CC8F-9D9B-0C46-9C73-124147C68ECD}"/>
              </a:ext>
            </a:extLst>
          </p:cNvPr>
          <p:cNvSpPr/>
          <p:nvPr/>
        </p:nvSpPr>
        <p:spPr>
          <a:xfrm>
            <a:off x="3142585" y="2113924"/>
            <a:ext cx="1842448" cy="788158"/>
          </a:xfrm>
          <a:prstGeom prst="roundRect">
            <a:avLst>
              <a:gd name="adj" fmla="val 27057"/>
            </a:avLst>
          </a:prstGeom>
          <a:solidFill>
            <a:schemeClr val="bg1">
              <a:lumMod val="85000"/>
            </a:schemeClr>
          </a:solidFill>
          <a:ln w="38100">
            <a:solidFill>
              <a:srgbClr val="1E32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26178A4-6A5D-8E48-A4AC-6824AD642A14}"/>
              </a:ext>
            </a:extLst>
          </p:cNvPr>
          <p:cNvSpPr txBox="1"/>
          <p:nvPr/>
        </p:nvSpPr>
        <p:spPr>
          <a:xfrm>
            <a:off x="2314135" y="2131511"/>
            <a:ext cx="25926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ID" sz="14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JAMINAN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ID" sz="14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MUTU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ID" sz="14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LAYANAN</a:t>
            </a:r>
          </a:p>
        </p:txBody>
      </p:sp>
      <p:pic>
        <p:nvPicPr>
          <p:cNvPr id="43" name="Picture 42" descr="A picture containing text&#10;&#10;Description automatically generated">
            <a:extLst>
              <a:ext uri="{FF2B5EF4-FFF2-40B4-BE49-F238E27FC236}">
                <a16:creationId xmlns:a16="http://schemas.microsoft.com/office/drawing/2014/main" id="{33521DD1-26A7-4746-8CAB-6C9EF2E2089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1151" t="10209" r="14425" b="73230"/>
          <a:stretch/>
        </p:blipFill>
        <p:spPr>
          <a:xfrm>
            <a:off x="2352299" y="2316035"/>
            <a:ext cx="1653644" cy="1067917"/>
          </a:xfrm>
          <a:prstGeom prst="rect">
            <a:avLst/>
          </a:prstGeom>
        </p:spPr>
      </p:pic>
      <p:pic>
        <p:nvPicPr>
          <p:cNvPr id="44" name="Picture 43" descr="A picture containing text&#10;&#10;Description automatically generated">
            <a:extLst>
              <a:ext uri="{FF2B5EF4-FFF2-40B4-BE49-F238E27FC236}">
                <a16:creationId xmlns:a16="http://schemas.microsoft.com/office/drawing/2014/main" id="{AA8D07C6-D4CD-3441-88D0-00B62F06E7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1967" t="11818" r="33609" b="71621"/>
          <a:stretch/>
        </p:blipFill>
        <p:spPr>
          <a:xfrm>
            <a:off x="4890516" y="2393283"/>
            <a:ext cx="1758622" cy="1135711"/>
          </a:xfrm>
          <a:prstGeom prst="rect">
            <a:avLst/>
          </a:prstGeom>
        </p:spPr>
      </p:pic>
      <p:pic>
        <p:nvPicPr>
          <p:cNvPr id="45" name="Picture 44" descr="A picture containing text&#10;&#10;Description automatically generated">
            <a:extLst>
              <a:ext uri="{FF2B5EF4-FFF2-40B4-BE49-F238E27FC236}">
                <a16:creationId xmlns:a16="http://schemas.microsoft.com/office/drawing/2014/main" id="{DE280AE7-9AB2-A34C-8FA9-7FEDE89F7E1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3834" t="31576" r="95" b="43459"/>
          <a:stretch/>
        </p:blipFill>
        <p:spPr>
          <a:xfrm>
            <a:off x="2907745" y="4360034"/>
            <a:ext cx="2687359" cy="2348039"/>
          </a:xfrm>
          <a:prstGeom prst="rect">
            <a:avLst/>
          </a:prstGeom>
        </p:spPr>
      </p:pic>
      <p:pic>
        <p:nvPicPr>
          <p:cNvPr id="46" name="Picture 45" descr="A picture containing text&#10;&#10;Description automatically generated">
            <a:extLst>
              <a:ext uri="{FF2B5EF4-FFF2-40B4-BE49-F238E27FC236}">
                <a16:creationId xmlns:a16="http://schemas.microsoft.com/office/drawing/2014/main" id="{DE9DBFCD-0818-A74D-9466-4D8480F30E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0415" t="79558" r="-713" b="-4523"/>
          <a:stretch/>
        </p:blipFill>
        <p:spPr>
          <a:xfrm>
            <a:off x="9952011" y="5421060"/>
            <a:ext cx="2327077" cy="1609811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A9467063-6C9C-9543-9AB0-03678644C5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7099" y="3723852"/>
            <a:ext cx="4138863" cy="2902251"/>
          </a:xfrm>
          <a:prstGeom prst="rect">
            <a:avLst/>
          </a:prstGeom>
        </p:spPr>
      </p:pic>
      <p:graphicFrame>
        <p:nvGraphicFramePr>
          <p:cNvPr id="48" name="Table 9">
            <a:extLst>
              <a:ext uri="{FF2B5EF4-FFF2-40B4-BE49-F238E27FC236}">
                <a16:creationId xmlns:a16="http://schemas.microsoft.com/office/drawing/2014/main" id="{F96108B5-A030-2F47-96E9-C8E9D3343103}"/>
              </a:ext>
            </a:extLst>
          </p:cNvPr>
          <p:cNvGraphicFramePr>
            <a:graphicFrameLocks noGrp="1"/>
          </p:cNvGraphicFramePr>
          <p:nvPr/>
        </p:nvGraphicFramePr>
        <p:xfrm>
          <a:off x="9107350" y="3721632"/>
          <a:ext cx="2648100" cy="9896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48100">
                  <a:extLst>
                    <a:ext uri="{9D8B030D-6E8A-4147-A177-3AD203B41FA5}">
                      <a16:colId xmlns:a16="http://schemas.microsoft.com/office/drawing/2014/main" val="1099309215"/>
                    </a:ext>
                  </a:extLst>
                </a:gridCol>
              </a:tblGrid>
              <a:tr h="446163">
                <a:tc>
                  <a:txBody>
                    <a:bodyPr/>
                    <a:lstStyle/>
                    <a:p>
                      <a:pPr marL="0" indent="0" latinLnBrk="1">
                        <a:buFont typeface="Wingdings" pitchFamily="2" charset="2"/>
                        <a:buNone/>
                        <a:defRPr/>
                      </a:pPr>
                      <a:r>
                        <a:rPr lang="en-US" sz="800" b="1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Asosiasi</a:t>
                      </a:r>
                      <a:r>
                        <a:rPr lang="en-US" sz="800" b="1" dirty="0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 </a:t>
                      </a:r>
                      <a:r>
                        <a:rPr lang="en-US" sz="800" b="1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Terakreditasi</a:t>
                      </a:r>
                      <a:endParaRPr lang="en-US" sz="800" b="1" dirty="0">
                        <a:solidFill>
                          <a:schemeClr val="tx1"/>
                        </a:solidFill>
                        <a:latin typeface="Montserrat" pitchFamily="2" charset="77"/>
                        <a:cs typeface="Poppins" panose="00000500000000000000" pitchFamily="2" charset="0"/>
                      </a:endParaRPr>
                    </a:p>
                    <a:p>
                      <a:pPr marL="517525" indent="-285750" latinLnBrk="1"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en-US" sz="800" b="0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Pengembangan</a:t>
                      </a: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usaha</a:t>
                      </a: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berkelanjutan</a:t>
                      </a:r>
                      <a:endParaRPr lang="en-US" sz="800" b="0" dirty="0">
                        <a:solidFill>
                          <a:schemeClr val="tx1"/>
                        </a:solidFill>
                        <a:latin typeface="Montserrat" pitchFamily="2" charset="77"/>
                        <a:cs typeface="Poppins" panose="00000500000000000000" pitchFamily="2" charset="0"/>
                      </a:endParaRPr>
                    </a:p>
                    <a:p>
                      <a:pPr marL="517525" indent="-285750" latinLnBrk="1"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en-US" sz="800" b="0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Pengembangan</a:t>
                      </a: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keprofesian</a:t>
                      </a: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berkelanjutan</a:t>
                      </a:r>
                      <a:endParaRPr lang="en-US" sz="800" b="0" dirty="0">
                        <a:solidFill>
                          <a:schemeClr val="tx1"/>
                        </a:solidFill>
                        <a:latin typeface="Montserrat" pitchFamily="2" charset="77"/>
                        <a:cs typeface="Poppins" panose="00000500000000000000" pitchFamily="2" charset="0"/>
                      </a:endParaRPr>
                    </a:p>
                  </a:txBody>
                  <a:tcPr marL="55770" marR="55770" marT="27886" marB="27886"/>
                </a:tc>
                <a:extLst>
                  <a:ext uri="{0D108BD9-81ED-4DB2-BD59-A6C34878D82A}">
                    <a16:rowId xmlns:a16="http://schemas.microsoft.com/office/drawing/2014/main" val="1048168755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marL="0" indent="0" latinLnBrk="1">
                        <a:buFont typeface="Wingdings" pitchFamily="2" charset="2"/>
                        <a:buNone/>
                        <a:defRPr/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Wakil Masyarakat Jasa </a:t>
                      </a:r>
                      <a:r>
                        <a:rPr lang="en-US" sz="800" b="1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Konstruksi</a:t>
                      </a:r>
                      <a:r>
                        <a:rPr lang="en-US" sz="800" b="1" dirty="0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  </a:t>
                      </a:r>
                      <a:r>
                        <a:rPr lang="en-US" sz="800" b="1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dalam</a:t>
                      </a:r>
                      <a:r>
                        <a:rPr lang="en-US" sz="800" b="1" dirty="0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 LPJK</a:t>
                      </a:r>
                    </a:p>
                    <a:p>
                      <a:pPr marL="560387" indent="-285750" latinLnBrk="1"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en-US" sz="800" b="0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Unsur</a:t>
                      </a: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Pengurus</a:t>
                      </a:r>
                      <a:endParaRPr lang="en-US" sz="800" b="0" dirty="0">
                        <a:solidFill>
                          <a:schemeClr val="tx1"/>
                        </a:solidFill>
                        <a:latin typeface="Montserrat" pitchFamily="2" charset="77"/>
                        <a:cs typeface="Poppins" panose="00000500000000000000" pitchFamily="2" charset="0"/>
                      </a:endParaRPr>
                    </a:p>
                    <a:p>
                      <a:pPr marL="560387" indent="-285750" latinLnBrk="1"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en-US" sz="800" b="0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Pemilihan</a:t>
                      </a: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Pengurus</a:t>
                      </a: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bersama</a:t>
                      </a: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Montserrat" pitchFamily="2" charset="77"/>
                          <a:cs typeface="Poppins" panose="00000500000000000000" pitchFamily="2" charset="0"/>
                        </a:rPr>
                        <a:t> DPR</a:t>
                      </a:r>
                    </a:p>
                  </a:txBody>
                  <a:tcPr marL="55770" marR="55770" marT="27886" marB="27886"/>
                </a:tc>
                <a:extLst>
                  <a:ext uri="{0D108BD9-81ED-4DB2-BD59-A6C34878D82A}">
                    <a16:rowId xmlns:a16="http://schemas.microsoft.com/office/drawing/2014/main" val="4250516429"/>
                  </a:ext>
                </a:extLst>
              </a:tr>
            </a:tbl>
          </a:graphicData>
        </a:graphic>
      </p:graphicFrame>
      <p:pic>
        <p:nvPicPr>
          <p:cNvPr id="50" name="Picture 49" descr="Graphical user interface&#10;&#10;Description automatically generated">
            <a:extLst>
              <a:ext uri="{FF2B5EF4-FFF2-40B4-BE49-F238E27FC236}">
                <a16:creationId xmlns:a16="http://schemas.microsoft.com/office/drawing/2014/main" id="{E211C042-7AFE-DF42-B3A2-B405B9C7940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743" t="16045" r="40255" b="38716"/>
          <a:stretch/>
        </p:blipFill>
        <p:spPr>
          <a:xfrm>
            <a:off x="9359316" y="4753602"/>
            <a:ext cx="1264014" cy="1037511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2F356848-3DE4-2536-EA75-CA78E3BD3ABD}"/>
              </a:ext>
            </a:extLst>
          </p:cNvPr>
          <p:cNvSpPr/>
          <p:nvPr/>
        </p:nvSpPr>
        <p:spPr>
          <a:xfrm>
            <a:off x="6300220" y="823776"/>
            <a:ext cx="5724766" cy="1238170"/>
          </a:xfrm>
          <a:prstGeom prst="roundRect">
            <a:avLst/>
          </a:prstGeom>
          <a:noFill/>
          <a:ln w="38100">
            <a:solidFill>
              <a:srgbClr val="FF000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892AC6F-BF37-A6ED-CCAD-DF72EFA49C0D}"/>
              </a:ext>
            </a:extLst>
          </p:cNvPr>
          <p:cNvSpPr txBox="1"/>
          <p:nvPr/>
        </p:nvSpPr>
        <p:spPr>
          <a:xfrm>
            <a:off x="7205893" y="808493"/>
            <a:ext cx="371313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D" sz="8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Tidak</a:t>
            </a:r>
            <a:r>
              <a:rPr kumimoji="0" lang="en-ID" sz="8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berlaku</a:t>
            </a:r>
            <a:r>
              <a:rPr kumimoji="0" lang="en-ID" sz="8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dengan</a:t>
            </a:r>
            <a:r>
              <a:rPr kumimoji="0" lang="en-ID" sz="8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terbitnya</a:t>
            </a:r>
            <a:r>
              <a:rPr kumimoji="0" lang="en-ID" sz="8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</a:t>
            </a:r>
            <a:r>
              <a:rPr kumimoji="0" lang="en-ID" sz="8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PerMen</a:t>
            </a:r>
            <a:r>
              <a:rPr kumimoji="0" lang="en-ID" sz="8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PUPR No 8 </a:t>
            </a:r>
            <a:r>
              <a:rPr kumimoji="0" lang="en-ID" sz="800" b="1" i="0" u="none" strike="noStrike" kern="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Tahun</a:t>
            </a:r>
            <a:r>
              <a:rPr kumimoji="0" lang="en-ID" sz="8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Tahoma"/>
                <a:cs typeface="Tahoma"/>
                <a:sym typeface="Tahoma"/>
              </a:rPr>
              <a:t> 2022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6F7751D-5E9C-FEE2-4EF9-0006C7FB713D}"/>
              </a:ext>
            </a:extLst>
          </p:cNvPr>
          <p:cNvSpPr/>
          <p:nvPr/>
        </p:nvSpPr>
        <p:spPr>
          <a:xfrm>
            <a:off x="2464871" y="124139"/>
            <a:ext cx="8638801" cy="442942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4E40E5-3E76-DA1C-4AE4-6CACE71D676E}"/>
              </a:ext>
            </a:extLst>
          </p:cNvPr>
          <p:cNvSpPr txBox="1"/>
          <p:nvPr/>
        </p:nvSpPr>
        <p:spPr>
          <a:xfrm>
            <a:off x="2467626" y="119658"/>
            <a:ext cx="95573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rPr>
              <a:t>PEMBINAAN KEPADA ANGGOTA TERHADAP REGULASI TERUPDATE</a:t>
            </a:r>
          </a:p>
        </p:txBody>
      </p:sp>
    </p:spTree>
    <p:extLst>
      <p:ext uri="{BB962C8B-B14F-4D97-AF65-F5344CB8AC3E}">
        <p14:creationId xmlns:p14="http://schemas.microsoft.com/office/powerpoint/2010/main" val="14798665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E40A4D-D452-0642-BF8D-0258DB460C93}"/>
              </a:ext>
            </a:extLst>
          </p:cNvPr>
          <p:cNvSpPr/>
          <p:nvPr/>
        </p:nvSpPr>
        <p:spPr>
          <a:xfrm>
            <a:off x="381520" y="318655"/>
            <a:ext cx="11428959" cy="211974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F47CB03-C7C3-2D47-B6B0-D6A6545F9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476" y="487798"/>
            <a:ext cx="11035216" cy="1728929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– 1a3 </a:t>
            </a:r>
            <a:r>
              <a:rPr lang="nb-NO" sz="1400" b="1" dirty="0" err="1">
                <a:latin typeface="Montserrat" pitchFamily="2" charset="77"/>
              </a:rPr>
              <a:t>Contoh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isi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awas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tib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hadap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menuh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rsyar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anta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aso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umber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Day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ecar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uti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Maupu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Insidental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ntu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mili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anta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aso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ral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endParaRPr lang="nb-NO" sz="1400" b="1" dirty="0">
              <a:latin typeface="Montserrat" pitchFamily="2" charset="77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Nama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milik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ralatan</a:t>
            </a:r>
            <a:r>
              <a:rPr lang="nb-NO" sz="1400" dirty="0">
                <a:latin typeface="Montserrat" pitchFamily="2" charset="77"/>
              </a:rPr>
              <a:t> BUJK			        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Tanggal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ngawasan</a:t>
            </a:r>
            <a:r>
              <a:rPr lang="nb-NO" sz="1400" dirty="0">
                <a:latin typeface="Montserrat" pitchFamily="2" charset="77"/>
              </a:rPr>
              <a:t>		                            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Kepemilik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rizin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		         : </a:t>
            </a:r>
            <a:r>
              <a:rPr lang="nb-NO" sz="1400" dirty="0" err="1">
                <a:latin typeface="Montserrat" pitchFamily="2" charset="77"/>
              </a:rPr>
              <a:t>Memiliki</a:t>
            </a:r>
            <a:r>
              <a:rPr lang="nb-NO" sz="1400" dirty="0">
                <a:latin typeface="Montserrat" pitchFamily="2" charset="77"/>
              </a:rPr>
              <a:t>/</a:t>
            </a:r>
            <a:r>
              <a:rPr lang="nb-NO" sz="1400" dirty="0" err="1">
                <a:latin typeface="Montserrat" pitchFamily="2" charset="77"/>
              </a:rPr>
              <a:t>Tidak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Memiliki</a:t>
            </a: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Keabsah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rizin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	 	         : </a:t>
            </a:r>
            <a:r>
              <a:rPr lang="nb-NO" sz="1400" dirty="0" err="1">
                <a:latin typeface="Montserrat" pitchFamily="2" charset="77"/>
              </a:rPr>
              <a:t>Sah</a:t>
            </a:r>
            <a:r>
              <a:rPr lang="nb-NO" sz="1400" dirty="0">
                <a:latin typeface="Montserrat" pitchFamily="2" charset="77"/>
              </a:rPr>
              <a:t>/</a:t>
            </a:r>
            <a:r>
              <a:rPr lang="nb-NO" sz="1400" dirty="0" err="1">
                <a:latin typeface="Montserrat" pitchFamily="2" charset="77"/>
              </a:rPr>
              <a:t>Tidak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Sah</a:t>
            </a: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nb-NO" sz="1400" b="1" dirty="0">
              <a:latin typeface="Montserra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7E27B1-D8FE-1B49-B8EF-F99E40F024AA}"/>
              </a:ext>
            </a:extLst>
          </p:cNvPr>
          <p:cNvSpPr/>
          <p:nvPr/>
        </p:nvSpPr>
        <p:spPr>
          <a:xfrm>
            <a:off x="381520" y="5502154"/>
            <a:ext cx="11428959" cy="55180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B43EEB9-7FE8-804A-AD4A-D60E47286E39}"/>
              </a:ext>
            </a:extLst>
          </p:cNvPr>
          <p:cNvSpPr txBox="1">
            <a:spLocks/>
          </p:cNvSpPr>
          <p:nvPr/>
        </p:nvSpPr>
        <p:spPr>
          <a:xfrm>
            <a:off x="519476" y="5671296"/>
            <a:ext cx="11035216" cy="2601765"/>
          </a:xfr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*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ngacu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ada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Permen PUPR No. 7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ahu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2021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ntang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catata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umber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ya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MPK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6DB3FD1-163E-0C49-BBDB-7780850E5301}"/>
              </a:ext>
            </a:extLst>
          </p:cNvPr>
          <p:cNvGraphicFramePr>
            <a:graphicFrameLocks noGrp="1"/>
          </p:cNvGraphicFramePr>
          <p:nvPr/>
        </p:nvGraphicFramePr>
        <p:xfrm>
          <a:off x="381520" y="2607543"/>
          <a:ext cx="11428959" cy="28263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93075">
                  <a:extLst>
                    <a:ext uri="{9D8B030D-6E8A-4147-A177-3AD203B41FA5}">
                      <a16:colId xmlns:a16="http://schemas.microsoft.com/office/drawing/2014/main" val="2034336932"/>
                    </a:ext>
                  </a:extLst>
                </a:gridCol>
                <a:gridCol w="1589915">
                  <a:extLst>
                    <a:ext uri="{9D8B030D-6E8A-4147-A177-3AD203B41FA5}">
                      <a16:colId xmlns:a16="http://schemas.microsoft.com/office/drawing/2014/main" val="2747025681"/>
                    </a:ext>
                  </a:extLst>
                </a:gridCol>
                <a:gridCol w="1401688">
                  <a:extLst>
                    <a:ext uri="{9D8B030D-6E8A-4147-A177-3AD203B41FA5}">
                      <a16:colId xmlns:a16="http://schemas.microsoft.com/office/drawing/2014/main" val="4149689201"/>
                    </a:ext>
                  </a:extLst>
                </a:gridCol>
                <a:gridCol w="1118947">
                  <a:extLst>
                    <a:ext uri="{9D8B030D-6E8A-4147-A177-3AD203B41FA5}">
                      <a16:colId xmlns:a16="http://schemas.microsoft.com/office/drawing/2014/main" val="3254112816"/>
                    </a:ext>
                  </a:extLst>
                </a:gridCol>
                <a:gridCol w="923511">
                  <a:extLst>
                    <a:ext uri="{9D8B030D-6E8A-4147-A177-3AD203B41FA5}">
                      <a16:colId xmlns:a16="http://schemas.microsoft.com/office/drawing/2014/main" val="2132705233"/>
                    </a:ext>
                  </a:extLst>
                </a:gridCol>
                <a:gridCol w="1605132">
                  <a:extLst>
                    <a:ext uri="{9D8B030D-6E8A-4147-A177-3AD203B41FA5}">
                      <a16:colId xmlns:a16="http://schemas.microsoft.com/office/drawing/2014/main" val="3346515573"/>
                    </a:ext>
                  </a:extLst>
                </a:gridCol>
                <a:gridCol w="1438532">
                  <a:extLst>
                    <a:ext uri="{9D8B030D-6E8A-4147-A177-3AD203B41FA5}">
                      <a16:colId xmlns:a16="http://schemas.microsoft.com/office/drawing/2014/main" val="2247119445"/>
                    </a:ext>
                  </a:extLst>
                </a:gridCol>
                <a:gridCol w="2458159">
                  <a:extLst>
                    <a:ext uri="{9D8B030D-6E8A-4147-A177-3AD203B41FA5}">
                      <a16:colId xmlns:a16="http://schemas.microsoft.com/office/drawing/2014/main" val="357128188"/>
                    </a:ext>
                  </a:extLst>
                </a:gridCol>
              </a:tblGrid>
              <a:tr h="128468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o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ama 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Varian 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Peralatan (*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Nama Sub Varian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Peralatan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(*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Merk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Peralatan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Jumlah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Unit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Surat Keterangan Memenuhi 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Syarat K3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Bukti Kepemilikan(*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Pencatatan Dalam SIMPK (Sudah/Belum dicatatkan dalam SIMPK)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71594152"/>
                  </a:ext>
                </a:extLst>
              </a:tr>
              <a:tr h="513875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1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Alat Berat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Excavator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Komatsu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20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Ada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Faktur Penjualan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Sudah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35188670"/>
                  </a:ext>
                </a:extLst>
              </a:tr>
              <a:tr h="25693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2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41327858"/>
                  </a:ext>
                </a:extLst>
              </a:tr>
              <a:tr h="25693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3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964528816"/>
                  </a:ext>
                </a:extLst>
              </a:tr>
              <a:tr h="25693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4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326335558"/>
                  </a:ext>
                </a:extLst>
              </a:tr>
              <a:tr h="25693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5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0315164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05668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E40A4D-D452-0642-BF8D-0258DB460C93}"/>
              </a:ext>
            </a:extLst>
          </p:cNvPr>
          <p:cNvSpPr/>
          <p:nvPr/>
        </p:nvSpPr>
        <p:spPr>
          <a:xfrm>
            <a:off x="381520" y="318655"/>
            <a:ext cx="11428959" cy="211974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F47CB03-C7C3-2D47-B6B0-D6A6545F9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476" y="487798"/>
            <a:ext cx="11035216" cy="1728929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– 1a4 </a:t>
            </a:r>
            <a:r>
              <a:rPr lang="nb-NO" sz="1400" b="1" dirty="0" err="1">
                <a:latin typeface="Montserrat" pitchFamily="2" charset="77"/>
              </a:rPr>
              <a:t>Contoh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isi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awas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tib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hadap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menuh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rsyar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anta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aso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umber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Day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ecar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uti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Maupu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Insidental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ntu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yewa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anta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aso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ral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endParaRPr lang="nb-NO" sz="1400" b="1" dirty="0">
              <a:latin typeface="Montserrat" pitchFamily="2" charset="77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Nama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Usaha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nyewa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Rantai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asok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ralatan</a:t>
            </a:r>
            <a:r>
              <a:rPr lang="nb-NO" sz="1400" dirty="0">
                <a:latin typeface="Montserrat" pitchFamily="2" charset="77"/>
              </a:rPr>
              <a:t>             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Tanggal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ngawasan</a:t>
            </a:r>
            <a:r>
              <a:rPr lang="nb-NO" sz="1400" dirty="0">
                <a:latin typeface="Montserrat" pitchFamily="2" charset="77"/>
              </a:rPr>
              <a:t>		                            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Kepemilik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rizin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		         : </a:t>
            </a:r>
            <a:r>
              <a:rPr lang="nb-NO" sz="1400" dirty="0" err="1">
                <a:latin typeface="Montserrat" pitchFamily="2" charset="77"/>
              </a:rPr>
              <a:t>Memiliki</a:t>
            </a:r>
            <a:r>
              <a:rPr lang="nb-NO" sz="1400" dirty="0">
                <a:latin typeface="Montserrat" pitchFamily="2" charset="77"/>
              </a:rPr>
              <a:t>/</a:t>
            </a:r>
            <a:r>
              <a:rPr lang="nb-NO" sz="1400" dirty="0" err="1">
                <a:latin typeface="Montserrat" pitchFamily="2" charset="77"/>
              </a:rPr>
              <a:t>Tidak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Memiliki</a:t>
            </a: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Keabsah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rizin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	 	         : </a:t>
            </a:r>
            <a:r>
              <a:rPr lang="nb-NO" sz="1400" dirty="0" err="1">
                <a:latin typeface="Montserrat" pitchFamily="2" charset="77"/>
              </a:rPr>
              <a:t>Sah</a:t>
            </a:r>
            <a:r>
              <a:rPr lang="nb-NO" sz="1400" dirty="0">
                <a:latin typeface="Montserrat" pitchFamily="2" charset="77"/>
              </a:rPr>
              <a:t>/</a:t>
            </a:r>
            <a:r>
              <a:rPr lang="nb-NO" sz="1400" dirty="0" err="1">
                <a:latin typeface="Montserrat" pitchFamily="2" charset="77"/>
              </a:rPr>
              <a:t>Tidak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Sah</a:t>
            </a: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nb-NO" sz="1400" b="1" dirty="0">
              <a:latin typeface="Montserra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7E27B1-D8FE-1B49-B8EF-F99E40F024AA}"/>
              </a:ext>
            </a:extLst>
          </p:cNvPr>
          <p:cNvSpPr/>
          <p:nvPr/>
        </p:nvSpPr>
        <p:spPr>
          <a:xfrm>
            <a:off x="381520" y="5502154"/>
            <a:ext cx="11428959" cy="55180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B43EEB9-7FE8-804A-AD4A-D60E47286E39}"/>
              </a:ext>
            </a:extLst>
          </p:cNvPr>
          <p:cNvSpPr txBox="1">
            <a:spLocks/>
          </p:cNvSpPr>
          <p:nvPr/>
        </p:nvSpPr>
        <p:spPr>
          <a:xfrm>
            <a:off x="519476" y="5671296"/>
            <a:ext cx="11035216" cy="2601765"/>
          </a:xfr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*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ngacu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ada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Permen PUPR No. 7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ahu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2021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ntang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catata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umber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ya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MPK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6DB3FD1-163E-0C49-BBDB-7780850E5301}"/>
              </a:ext>
            </a:extLst>
          </p:cNvPr>
          <p:cNvGraphicFramePr>
            <a:graphicFrameLocks noGrp="1"/>
          </p:cNvGraphicFramePr>
          <p:nvPr/>
        </p:nvGraphicFramePr>
        <p:xfrm>
          <a:off x="381520" y="2607543"/>
          <a:ext cx="11428959" cy="28263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93075">
                  <a:extLst>
                    <a:ext uri="{9D8B030D-6E8A-4147-A177-3AD203B41FA5}">
                      <a16:colId xmlns:a16="http://schemas.microsoft.com/office/drawing/2014/main" val="2034336932"/>
                    </a:ext>
                  </a:extLst>
                </a:gridCol>
                <a:gridCol w="1589915">
                  <a:extLst>
                    <a:ext uri="{9D8B030D-6E8A-4147-A177-3AD203B41FA5}">
                      <a16:colId xmlns:a16="http://schemas.microsoft.com/office/drawing/2014/main" val="2747025681"/>
                    </a:ext>
                  </a:extLst>
                </a:gridCol>
                <a:gridCol w="1401688">
                  <a:extLst>
                    <a:ext uri="{9D8B030D-6E8A-4147-A177-3AD203B41FA5}">
                      <a16:colId xmlns:a16="http://schemas.microsoft.com/office/drawing/2014/main" val="4149689201"/>
                    </a:ext>
                  </a:extLst>
                </a:gridCol>
                <a:gridCol w="1118947">
                  <a:extLst>
                    <a:ext uri="{9D8B030D-6E8A-4147-A177-3AD203B41FA5}">
                      <a16:colId xmlns:a16="http://schemas.microsoft.com/office/drawing/2014/main" val="3254112816"/>
                    </a:ext>
                  </a:extLst>
                </a:gridCol>
                <a:gridCol w="923511">
                  <a:extLst>
                    <a:ext uri="{9D8B030D-6E8A-4147-A177-3AD203B41FA5}">
                      <a16:colId xmlns:a16="http://schemas.microsoft.com/office/drawing/2014/main" val="2132705233"/>
                    </a:ext>
                  </a:extLst>
                </a:gridCol>
                <a:gridCol w="1605132">
                  <a:extLst>
                    <a:ext uri="{9D8B030D-6E8A-4147-A177-3AD203B41FA5}">
                      <a16:colId xmlns:a16="http://schemas.microsoft.com/office/drawing/2014/main" val="3346515573"/>
                    </a:ext>
                  </a:extLst>
                </a:gridCol>
                <a:gridCol w="1438532">
                  <a:extLst>
                    <a:ext uri="{9D8B030D-6E8A-4147-A177-3AD203B41FA5}">
                      <a16:colId xmlns:a16="http://schemas.microsoft.com/office/drawing/2014/main" val="2247119445"/>
                    </a:ext>
                  </a:extLst>
                </a:gridCol>
                <a:gridCol w="2458159">
                  <a:extLst>
                    <a:ext uri="{9D8B030D-6E8A-4147-A177-3AD203B41FA5}">
                      <a16:colId xmlns:a16="http://schemas.microsoft.com/office/drawing/2014/main" val="357128188"/>
                    </a:ext>
                  </a:extLst>
                </a:gridCol>
              </a:tblGrid>
              <a:tr h="128468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o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ama 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Varian 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Peralatan (*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Nama Sub Varian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Peralatan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(*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Merk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Peralatan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Jumlah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Unit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Surat Keterangan Memenuhi 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Syarat K3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Bukti Kepemilikan(*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Pencatatan Dalam SIMPK (Sudah/Belum dicatatkan dalam SIMPK)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71594152"/>
                  </a:ext>
                </a:extLst>
              </a:tr>
              <a:tr h="513875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1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Alat Berat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Excavator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Komatsu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20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Ada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Faktur Penjualan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Sudah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35188670"/>
                  </a:ext>
                </a:extLst>
              </a:tr>
              <a:tr h="25693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2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41327858"/>
                  </a:ext>
                </a:extLst>
              </a:tr>
              <a:tr h="25693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3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964528816"/>
                  </a:ext>
                </a:extLst>
              </a:tr>
              <a:tr h="25693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4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326335558"/>
                  </a:ext>
                </a:extLst>
              </a:tr>
              <a:tr h="25693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5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0315164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32544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E40A4D-D452-0642-BF8D-0258DB460C93}"/>
              </a:ext>
            </a:extLst>
          </p:cNvPr>
          <p:cNvSpPr/>
          <p:nvPr/>
        </p:nvSpPr>
        <p:spPr>
          <a:xfrm>
            <a:off x="381520" y="318655"/>
            <a:ext cx="11428959" cy="211974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F47CB03-C7C3-2D47-B6B0-D6A6545F9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476" y="487798"/>
            <a:ext cx="11035216" cy="1728929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– 1a5 </a:t>
            </a:r>
            <a:r>
              <a:rPr lang="nb-NO" sz="1400" b="1" dirty="0" err="1">
                <a:latin typeface="Montserrat" pitchFamily="2" charset="77"/>
              </a:rPr>
              <a:t>Contoh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isi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awas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tib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hadap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menuh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rsyar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anta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aso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umber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Day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ecar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uti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Maupu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Insidental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ntu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Distributor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atau</a:t>
            </a:r>
            <a:r>
              <a:rPr lang="nb-NO" sz="1400" b="1" dirty="0">
                <a:latin typeface="Montserrat" pitchFamily="2" charset="77"/>
              </a:rPr>
              <a:t> agen </a:t>
            </a:r>
            <a:r>
              <a:rPr lang="nb-NO" sz="1400" b="1" dirty="0" err="1">
                <a:latin typeface="Montserrat" pitchFamily="2" charset="77"/>
              </a:rPr>
              <a:t>tunggal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anta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aso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ral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endParaRPr lang="nb-NO" sz="1400" b="1" dirty="0">
              <a:latin typeface="Montserrat" pitchFamily="2" charset="77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Nama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Distributor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atau</a:t>
            </a:r>
            <a:r>
              <a:rPr lang="nb-NO" sz="1400" dirty="0">
                <a:latin typeface="Montserrat" pitchFamily="2" charset="77"/>
              </a:rPr>
              <a:t> Agen </a:t>
            </a:r>
            <a:r>
              <a:rPr lang="nb-NO" sz="1400" dirty="0" err="1">
                <a:latin typeface="Montserrat" pitchFamily="2" charset="77"/>
              </a:rPr>
              <a:t>Tunggal</a:t>
            </a:r>
            <a:r>
              <a:rPr lang="nb-NO" sz="1400" dirty="0">
                <a:latin typeface="Montserrat" pitchFamily="2" charset="77"/>
              </a:rPr>
              <a:t>                                    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Tanggal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ngawasan</a:t>
            </a:r>
            <a:r>
              <a:rPr lang="nb-NO" sz="1400" dirty="0">
                <a:latin typeface="Montserrat" pitchFamily="2" charset="77"/>
              </a:rPr>
              <a:t>		                            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Kepemilik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rizin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		         : </a:t>
            </a:r>
            <a:r>
              <a:rPr lang="nb-NO" sz="1400" dirty="0" err="1">
                <a:latin typeface="Montserrat" pitchFamily="2" charset="77"/>
              </a:rPr>
              <a:t>Memiliki</a:t>
            </a:r>
            <a:r>
              <a:rPr lang="nb-NO" sz="1400" dirty="0">
                <a:latin typeface="Montserrat" pitchFamily="2" charset="77"/>
              </a:rPr>
              <a:t>/</a:t>
            </a:r>
            <a:r>
              <a:rPr lang="nb-NO" sz="1400" dirty="0" err="1">
                <a:latin typeface="Montserrat" pitchFamily="2" charset="77"/>
              </a:rPr>
              <a:t>Tidak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Memiliki</a:t>
            </a: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Keabsah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rizin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	 	         : </a:t>
            </a:r>
            <a:r>
              <a:rPr lang="nb-NO" sz="1400" dirty="0" err="1">
                <a:latin typeface="Montserrat" pitchFamily="2" charset="77"/>
              </a:rPr>
              <a:t>Sah</a:t>
            </a:r>
            <a:r>
              <a:rPr lang="nb-NO" sz="1400" dirty="0">
                <a:latin typeface="Montserrat" pitchFamily="2" charset="77"/>
              </a:rPr>
              <a:t>/</a:t>
            </a:r>
            <a:r>
              <a:rPr lang="nb-NO" sz="1400" dirty="0" err="1">
                <a:latin typeface="Montserrat" pitchFamily="2" charset="77"/>
              </a:rPr>
              <a:t>Tidak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Sah</a:t>
            </a: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nb-NO" sz="1400" b="1" dirty="0">
              <a:latin typeface="Montserra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7E27B1-D8FE-1B49-B8EF-F99E40F024AA}"/>
              </a:ext>
            </a:extLst>
          </p:cNvPr>
          <p:cNvSpPr/>
          <p:nvPr/>
        </p:nvSpPr>
        <p:spPr>
          <a:xfrm>
            <a:off x="381520" y="5502154"/>
            <a:ext cx="11428959" cy="8680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B43EEB9-7FE8-804A-AD4A-D60E47286E39}"/>
              </a:ext>
            </a:extLst>
          </p:cNvPr>
          <p:cNvSpPr txBox="1">
            <a:spLocks/>
          </p:cNvSpPr>
          <p:nvPr/>
        </p:nvSpPr>
        <p:spPr>
          <a:xfrm>
            <a:off x="519476" y="5671296"/>
            <a:ext cx="11035216" cy="2601765"/>
          </a:xfr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*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ngacu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ada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Permen PUPR No. 7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ahu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2021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ntang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catata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umber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ya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MPK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**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pabila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lum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rcantum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gar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lakuka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omunikasi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e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dmi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SIMPK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6DB3FD1-163E-0C49-BBDB-7780850E5301}"/>
              </a:ext>
            </a:extLst>
          </p:cNvPr>
          <p:cNvGraphicFramePr>
            <a:graphicFrameLocks noGrp="1"/>
          </p:cNvGraphicFramePr>
          <p:nvPr/>
        </p:nvGraphicFramePr>
        <p:xfrm>
          <a:off x="381520" y="2607543"/>
          <a:ext cx="11428959" cy="28263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93075">
                  <a:extLst>
                    <a:ext uri="{9D8B030D-6E8A-4147-A177-3AD203B41FA5}">
                      <a16:colId xmlns:a16="http://schemas.microsoft.com/office/drawing/2014/main" val="2034336932"/>
                    </a:ext>
                  </a:extLst>
                </a:gridCol>
                <a:gridCol w="1589915">
                  <a:extLst>
                    <a:ext uri="{9D8B030D-6E8A-4147-A177-3AD203B41FA5}">
                      <a16:colId xmlns:a16="http://schemas.microsoft.com/office/drawing/2014/main" val="2747025681"/>
                    </a:ext>
                  </a:extLst>
                </a:gridCol>
                <a:gridCol w="1401688">
                  <a:extLst>
                    <a:ext uri="{9D8B030D-6E8A-4147-A177-3AD203B41FA5}">
                      <a16:colId xmlns:a16="http://schemas.microsoft.com/office/drawing/2014/main" val="4149689201"/>
                    </a:ext>
                  </a:extLst>
                </a:gridCol>
                <a:gridCol w="1118947">
                  <a:extLst>
                    <a:ext uri="{9D8B030D-6E8A-4147-A177-3AD203B41FA5}">
                      <a16:colId xmlns:a16="http://schemas.microsoft.com/office/drawing/2014/main" val="3254112816"/>
                    </a:ext>
                  </a:extLst>
                </a:gridCol>
                <a:gridCol w="923511">
                  <a:extLst>
                    <a:ext uri="{9D8B030D-6E8A-4147-A177-3AD203B41FA5}">
                      <a16:colId xmlns:a16="http://schemas.microsoft.com/office/drawing/2014/main" val="2132705233"/>
                    </a:ext>
                  </a:extLst>
                </a:gridCol>
                <a:gridCol w="1605132">
                  <a:extLst>
                    <a:ext uri="{9D8B030D-6E8A-4147-A177-3AD203B41FA5}">
                      <a16:colId xmlns:a16="http://schemas.microsoft.com/office/drawing/2014/main" val="3346515573"/>
                    </a:ext>
                  </a:extLst>
                </a:gridCol>
                <a:gridCol w="1438532">
                  <a:extLst>
                    <a:ext uri="{9D8B030D-6E8A-4147-A177-3AD203B41FA5}">
                      <a16:colId xmlns:a16="http://schemas.microsoft.com/office/drawing/2014/main" val="2247119445"/>
                    </a:ext>
                  </a:extLst>
                </a:gridCol>
                <a:gridCol w="2458159">
                  <a:extLst>
                    <a:ext uri="{9D8B030D-6E8A-4147-A177-3AD203B41FA5}">
                      <a16:colId xmlns:a16="http://schemas.microsoft.com/office/drawing/2014/main" val="357128188"/>
                    </a:ext>
                  </a:extLst>
                </a:gridCol>
              </a:tblGrid>
              <a:tr h="128468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o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ama 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Varian 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Peralatan (*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Nama Sub Varian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Peralatan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(*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Merk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Peralatan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Jumlah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Unit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Surat Keterangan Memenuhi 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Syarat K3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Bukti Kepemilikan(*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800" b="1" kern="1200" dirty="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cantum</a:t>
                      </a:r>
                      <a:r>
                        <a:rPr lang="en-ID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ID" sz="1800" b="1" kern="1200" dirty="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lam</a:t>
                      </a:r>
                      <a:r>
                        <a:rPr lang="en-ID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IMPK (</a:t>
                      </a:r>
                      <a:r>
                        <a:rPr lang="en-ID" sz="1800" b="1" kern="1200" dirty="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dah</a:t>
                      </a:r>
                      <a:r>
                        <a:rPr lang="en-ID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Belum </a:t>
                      </a:r>
                      <a:r>
                        <a:rPr lang="en-ID" sz="1800" b="1" kern="1200" dirty="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cantum</a:t>
                      </a:r>
                      <a:r>
                        <a:rPr lang="en-ID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ID" sz="1800" b="1" kern="1200" dirty="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lam</a:t>
                      </a:r>
                      <a:r>
                        <a:rPr lang="en-ID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IMPK) (**</a:t>
                      </a:r>
                      <a:r>
                        <a:rPr lang="en-ID" sz="1400" dirty="0">
                          <a:effectLst/>
                        </a:rPr>
                        <a:t> 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71594152"/>
                  </a:ext>
                </a:extLst>
              </a:tr>
              <a:tr h="513875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1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Alat Berat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Excavator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Komatsu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20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Ada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Faktur Penjualan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Sudah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35188670"/>
                  </a:ext>
                </a:extLst>
              </a:tr>
              <a:tr h="25693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2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41327858"/>
                  </a:ext>
                </a:extLst>
              </a:tr>
              <a:tr h="25693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3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964528816"/>
                  </a:ext>
                </a:extLst>
              </a:tr>
              <a:tr h="25693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4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326335558"/>
                  </a:ext>
                </a:extLst>
              </a:tr>
              <a:tr h="256937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5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0315164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52873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E40A4D-D452-0642-BF8D-0258DB460C93}"/>
              </a:ext>
            </a:extLst>
          </p:cNvPr>
          <p:cNvSpPr/>
          <p:nvPr/>
        </p:nvSpPr>
        <p:spPr>
          <a:xfrm>
            <a:off x="381520" y="318655"/>
            <a:ext cx="11428959" cy="211974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F47CB03-C7C3-2D47-B6B0-D6A6545F9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476" y="487798"/>
            <a:ext cx="11035216" cy="1728929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– 1a6 </a:t>
            </a:r>
            <a:r>
              <a:rPr lang="nb-NO" sz="1400" b="1" dirty="0" err="1">
                <a:latin typeface="Montserrat" pitchFamily="2" charset="77"/>
              </a:rPr>
              <a:t>Contoh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isi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awas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tib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hadap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menuh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rsyar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anta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aso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umber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Day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ecar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uti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Maupu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Insidental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ntu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Bad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anta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asok</a:t>
            </a:r>
            <a:r>
              <a:rPr lang="nb-NO" sz="1400" b="1" dirty="0">
                <a:latin typeface="Montserrat" pitchFamily="2" charset="77"/>
              </a:rPr>
              <a:t> teknologi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endParaRPr lang="nb-NO" sz="1400" b="1" dirty="0">
              <a:latin typeface="Montserrat" pitchFamily="2" charset="77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Nama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ad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Usaha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Rantai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asok</a:t>
            </a:r>
            <a:r>
              <a:rPr lang="nb-NO" sz="1400" dirty="0">
                <a:latin typeface="Montserrat" pitchFamily="2" charset="77"/>
              </a:rPr>
              <a:t> teknologi	   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Tanggal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ngawasan</a:t>
            </a:r>
            <a:r>
              <a:rPr lang="nb-NO" sz="1400" dirty="0">
                <a:latin typeface="Montserrat" pitchFamily="2" charset="77"/>
              </a:rPr>
              <a:t>		                       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Kepemilik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rizin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		    : </a:t>
            </a:r>
            <a:r>
              <a:rPr lang="nb-NO" sz="1400" dirty="0" err="1">
                <a:latin typeface="Montserrat" pitchFamily="2" charset="77"/>
              </a:rPr>
              <a:t>Memiliki</a:t>
            </a:r>
            <a:r>
              <a:rPr lang="nb-NO" sz="1400" dirty="0">
                <a:latin typeface="Montserrat" pitchFamily="2" charset="77"/>
              </a:rPr>
              <a:t>/</a:t>
            </a:r>
            <a:r>
              <a:rPr lang="nb-NO" sz="1400" dirty="0" err="1">
                <a:latin typeface="Montserrat" pitchFamily="2" charset="77"/>
              </a:rPr>
              <a:t>Tidak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Memiliki</a:t>
            </a: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Keabsah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rizin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	 	    : </a:t>
            </a:r>
            <a:r>
              <a:rPr lang="nb-NO" sz="1400" dirty="0" err="1">
                <a:latin typeface="Montserrat" pitchFamily="2" charset="77"/>
              </a:rPr>
              <a:t>Sah</a:t>
            </a:r>
            <a:r>
              <a:rPr lang="nb-NO" sz="1400" dirty="0">
                <a:latin typeface="Montserrat" pitchFamily="2" charset="77"/>
              </a:rPr>
              <a:t>/</a:t>
            </a:r>
            <a:r>
              <a:rPr lang="nb-NO" sz="1400" dirty="0" err="1">
                <a:latin typeface="Montserrat" pitchFamily="2" charset="77"/>
              </a:rPr>
              <a:t>Tidak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Sah</a:t>
            </a:r>
            <a:endParaRPr lang="nb-NO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nb-NO" sz="1400" b="1" dirty="0">
              <a:latin typeface="Montserrat" pitchFamily="2" charset="77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0826011-3FB4-F141-A275-B969FF843364}"/>
              </a:ext>
            </a:extLst>
          </p:cNvPr>
          <p:cNvGraphicFramePr>
            <a:graphicFrameLocks noGrp="1"/>
          </p:cNvGraphicFramePr>
          <p:nvPr/>
        </p:nvGraphicFramePr>
        <p:xfrm>
          <a:off x="381519" y="2607541"/>
          <a:ext cx="11428959" cy="25320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20981">
                  <a:extLst>
                    <a:ext uri="{9D8B030D-6E8A-4147-A177-3AD203B41FA5}">
                      <a16:colId xmlns:a16="http://schemas.microsoft.com/office/drawing/2014/main" val="3253398582"/>
                    </a:ext>
                  </a:extLst>
                </a:gridCol>
                <a:gridCol w="2984119">
                  <a:extLst>
                    <a:ext uri="{9D8B030D-6E8A-4147-A177-3AD203B41FA5}">
                      <a16:colId xmlns:a16="http://schemas.microsoft.com/office/drawing/2014/main" val="763991125"/>
                    </a:ext>
                  </a:extLst>
                </a:gridCol>
                <a:gridCol w="2639965">
                  <a:extLst>
                    <a:ext uri="{9D8B030D-6E8A-4147-A177-3AD203B41FA5}">
                      <a16:colId xmlns:a16="http://schemas.microsoft.com/office/drawing/2014/main" val="56028527"/>
                    </a:ext>
                  </a:extLst>
                </a:gridCol>
                <a:gridCol w="3018970">
                  <a:extLst>
                    <a:ext uri="{9D8B030D-6E8A-4147-A177-3AD203B41FA5}">
                      <a16:colId xmlns:a16="http://schemas.microsoft.com/office/drawing/2014/main" val="2818708935"/>
                    </a:ext>
                  </a:extLst>
                </a:gridCol>
                <a:gridCol w="2064924">
                  <a:extLst>
                    <a:ext uri="{9D8B030D-6E8A-4147-A177-3AD203B41FA5}">
                      <a16:colId xmlns:a16="http://schemas.microsoft.com/office/drawing/2014/main" val="3961488252"/>
                    </a:ext>
                  </a:extLst>
                </a:gridCol>
              </a:tblGrid>
              <a:tr h="1029973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o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ama </a:t>
                      </a:r>
                    </a:p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Teknologi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Bidang Usaha Teknologi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Tercantum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Dalam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HAKI di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Kemen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KumHam</a:t>
                      </a:r>
                      <a:endParaRPr lang="en-ID" sz="1400" dirty="0">
                        <a:effectLst/>
                        <a:latin typeface="Montserrat" pitchFamily="2" charset="77"/>
                      </a:endParaRPr>
                    </a:p>
                    <a:p>
                      <a:pPr algn="ctr"/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(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Sudah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/Belum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tercantum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) 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omor HAKI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94381562"/>
                  </a:ext>
                </a:extLst>
              </a:tr>
              <a:tr h="300409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1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BIM Glodon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IT Konstruksi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00805997"/>
                  </a:ext>
                </a:extLst>
              </a:tr>
              <a:tr h="300409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2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0585037"/>
                  </a:ext>
                </a:extLst>
              </a:tr>
              <a:tr h="300409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3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61722590"/>
                  </a:ext>
                </a:extLst>
              </a:tr>
              <a:tr h="300409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4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11559681"/>
                  </a:ext>
                </a:extLst>
              </a:tr>
              <a:tr h="300409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5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348374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59132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E40A4D-D452-0642-BF8D-0258DB460C93}"/>
              </a:ext>
            </a:extLst>
          </p:cNvPr>
          <p:cNvSpPr/>
          <p:nvPr/>
        </p:nvSpPr>
        <p:spPr>
          <a:xfrm>
            <a:off x="381520" y="318655"/>
            <a:ext cx="11428959" cy="200890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F47CB03-C7C3-2D47-B6B0-D6A6545F9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475" y="487799"/>
            <a:ext cx="11147007" cy="1740394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– 1b </a:t>
            </a:r>
            <a:r>
              <a:rPr lang="nb-NO" sz="1400" b="1" dirty="0" err="1">
                <a:latin typeface="Montserrat" pitchFamily="2" charset="77"/>
              </a:rPr>
              <a:t>Contoh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isi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awas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tib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hadap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esesuai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Jenis</a:t>
            </a:r>
            <a:r>
              <a:rPr lang="nb-NO" sz="1400" b="1" dirty="0">
                <a:latin typeface="Montserrat" pitchFamily="2" charset="77"/>
              </a:rPr>
              <a:t>, </a:t>
            </a:r>
            <a:r>
              <a:rPr lang="nb-NO" sz="1400" b="1" dirty="0" err="1">
                <a:latin typeface="Montserrat" pitchFamily="2" charset="77"/>
              </a:rPr>
              <a:t>Sifat</a:t>
            </a:r>
            <a:r>
              <a:rPr lang="nb-NO" sz="1400" b="1" dirty="0">
                <a:latin typeface="Montserrat" pitchFamily="2" charset="77"/>
              </a:rPr>
              <a:t>, </a:t>
            </a:r>
            <a:r>
              <a:rPr lang="nb-NO" sz="1400" b="1" dirty="0" err="1">
                <a:latin typeface="Montserrat" pitchFamily="2" charset="77"/>
              </a:rPr>
              <a:t>Klasifikasi</a:t>
            </a:r>
            <a:r>
              <a:rPr lang="nb-NO" sz="1400" b="1" dirty="0">
                <a:latin typeface="Montserrat" pitchFamily="2" charset="77"/>
              </a:rPr>
              <a:t>, </a:t>
            </a:r>
            <a:r>
              <a:rPr lang="nb-NO" sz="1400" b="1" dirty="0" err="1">
                <a:latin typeface="Montserrat" pitchFamily="2" charset="77"/>
              </a:rPr>
              <a:t>d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Layan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deng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egi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Jas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ecar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uti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atau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Insidental</a:t>
            </a:r>
            <a:endParaRPr lang="nb-NO" sz="1400" b="1" dirty="0">
              <a:latin typeface="Montserrat" pitchFamily="2" charset="77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ID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Nama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ad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Usaha</a:t>
            </a:r>
            <a:r>
              <a:rPr lang="nb-NO" sz="1400" dirty="0">
                <a:latin typeface="Montserrat" pitchFamily="2" charset="77"/>
              </a:rPr>
              <a:t>		</a:t>
            </a:r>
            <a:r>
              <a:rPr lang="en-ID" sz="1400" dirty="0">
                <a:latin typeface="Montserrat" pitchFamily="2" charset="77"/>
              </a:rPr>
              <a:t>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400" dirty="0">
                <a:latin typeface="Montserrat" pitchFamily="2" charset="77"/>
              </a:rPr>
              <a:t>Status </a:t>
            </a:r>
            <a:r>
              <a:rPr lang="en-ID" sz="1400" dirty="0" err="1">
                <a:latin typeface="Montserrat" pitchFamily="2" charset="77"/>
              </a:rPr>
              <a:t>Perizinan</a:t>
            </a:r>
            <a:r>
              <a:rPr lang="en-ID" sz="1400" dirty="0">
                <a:latin typeface="Montserrat" pitchFamily="2" charset="77"/>
              </a:rPr>
              <a:t> </a:t>
            </a:r>
            <a:r>
              <a:rPr lang="en-ID" sz="1400" dirty="0" err="1">
                <a:latin typeface="Montserrat" pitchFamily="2" charset="77"/>
              </a:rPr>
              <a:t>Berusaha</a:t>
            </a:r>
            <a:r>
              <a:rPr lang="en-ID" sz="1400" dirty="0">
                <a:latin typeface="Montserrat" pitchFamily="2" charset="77"/>
              </a:rPr>
              <a:t>        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Nomor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Induk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 (NIB)	</a:t>
            </a:r>
            <a:r>
              <a:rPr lang="en-ID" sz="1400" dirty="0">
                <a:latin typeface="Montserrat" pitchFamily="2" charset="77"/>
              </a:rPr>
              <a:t>: </a:t>
            </a:r>
            <a:r>
              <a:rPr lang="en-ID" sz="1400" dirty="0" err="1">
                <a:latin typeface="Montserrat" pitchFamily="2" charset="77"/>
              </a:rPr>
              <a:t>Terverifikasi</a:t>
            </a:r>
            <a:r>
              <a:rPr lang="en-ID" sz="1400" dirty="0">
                <a:latin typeface="Montserrat" pitchFamily="2" charset="77"/>
              </a:rPr>
              <a:t>/Belum </a:t>
            </a:r>
            <a:r>
              <a:rPr lang="en-ID" sz="1400" dirty="0" err="1">
                <a:latin typeface="Montserrat" pitchFamily="2" charset="77"/>
              </a:rPr>
              <a:t>terverifikasi</a:t>
            </a:r>
            <a:r>
              <a:rPr lang="en-ID" sz="1400" dirty="0">
                <a:latin typeface="Montserrat" pitchFamily="2" charset="77"/>
              </a:rPr>
              <a:t> (</a:t>
            </a:r>
            <a:r>
              <a:rPr lang="en-ID" sz="1400" dirty="0" err="1">
                <a:latin typeface="Montserrat" pitchFamily="2" charset="77"/>
              </a:rPr>
              <a:t>sesuai</a:t>
            </a:r>
            <a:r>
              <a:rPr lang="en-ID" sz="1400" dirty="0">
                <a:latin typeface="Montserrat" pitchFamily="2" charset="77"/>
              </a:rPr>
              <a:t> </a:t>
            </a:r>
            <a:r>
              <a:rPr lang="en-ID" sz="1400" dirty="0" err="1">
                <a:latin typeface="Montserrat" pitchFamily="2" charset="77"/>
              </a:rPr>
              <a:t>dengan</a:t>
            </a:r>
            <a:r>
              <a:rPr lang="en-ID" sz="1400" dirty="0">
                <a:latin typeface="Montserrat" pitchFamily="2" charset="77"/>
              </a:rPr>
              <a:t> OSS)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Waktu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ngawasan</a:t>
            </a:r>
            <a:r>
              <a:rPr lang="nb-NO" sz="1400" dirty="0">
                <a:latin typeface="Montserrat" pitchFamily="2" charset="77"/>
              </a:rPr>
              <a:t>		</a:t>
            </a:r>
            <a:r>
              <a:rPr lang="en-ID" sz="1400" dirty="0">
                <a:latin typeface="Montserrat" pitchFamily="2" charset="77"/>
              </a:rPr>
              <a:t>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ID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400" dirty="0">
              <a:latin typeface="Montserrat" pitchFamily="2" charset="77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E55F13C-FE07-ED42-8645-314ACB80BC08}"/>
              </a:ext>
            </a:extLst>
          </p:cNvPr>
          <p:cNvGraphicFramePr>
            <a:graphicFrameLocks noGrp="1"/>
          </p:cNvGraphicFramePr>
          <p:nvPr/>
        </p:nvGraphicFramePr>
        <p:xfrm>
          <a:off x="381520" y="2375185"/>
          <a:ext cx="11428954" cy="38734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9260">
                  <a:extLst>
                    <a:ext uri="{9D8B030D-6E8A-4147-A177-3AD203B41FA5}">
                      <a16:colId xmlns:a16="http://schemas.microsoft.com/office/drawing/2014/main" val="3258687635"/>
                    </a:ext>
                  </a:extLst>
                </a:gridCol>
                <a:gridCol w="1331088">
                  <a:extLst>
                    <a:ext uri="{9D8B030D-6E8A-4147-A177-3AD203B41FA5}">
                      <a16:colId xmlns:a16="http://schemas.microsoft.com/office/drawing/2014/main" val="4218684452"/>
                    </a:ext>
                  </a:extLst>
                </a:gridCol>
                <a:gridCol w="1307940">
                  <a:extLst>
                    <a:ext uri="{9D8B030D-6E8A-4147-A177-3AD203B41FA5}">
                      <a16:colId xmlns:a16="http://schemas.microsoft.com/office/drawing/2014/main" val="1095835802"/>
                    </a:ext>
                  </a:extLst>
                </a:gridCol>
                <a:gridCol w="972273">
                  <a:extLst>
                    <a:ext uri="{9D8B030D-6E8A-4147-A177-3AD203B41FA5}">
                      <a16:colId xmlns:a16="http://schemas.microsoft.com/office/drawing/2014/main" val="3501221729"/>
                    </a:ext>
                  </a:extLst>
                </a:gridCol>
                <a:gridCol w="1354238">
                  <a:extLst>
                    <a:ext uri="{9D8B030D-6E8A-4147-A177-3AD203B41FA5}">
                      <a16:colId xmlns:a16="http://schemas.microsoft.com/office/drawing/2014/main" val="4046037407"/>
                    </a:ext>
                  </a:extLst>
                </a:gridCol>
                <a:gridCol w="1006997">
                  <a:extLst>
                    <a:ext uri="{9D8B030D-6E8A-4147-A177-3AD203B41FA5}">
                      <a16:colId xmlns:a16="http://schemas.microsoft.com/office/drawing/2014/main" val="830875572"/>
                    </a:ext>
                  </a:extLst>
                </a:gridCol>
                <a:gridCol w="1599050">
                  <a:extLst>
                    <a:ext uri="{9D8B030D-6E8A-4147-A177-3AD203B41FA5}">
                      <a16:colId xmlns:a16="http://schemas.microsoft.com/office/drawing/2014/main" val="2439858584"/>
                    </a:ext>
                  </a:extLst>
                </a:gridCol>
                <a:gridCol w="1265027">
                  <a:extLst>
                    <a:ext uri="{9D8B030D-6E8A-4147-A177-3AD203B41FA5}">
                      <a16:colId xmlns:a16="http://schemas.microsoft.com/office/drawing/2014/main" val="3535562130"/>
                    </a:ext>
                  </a:extLst>
                </a:gridCol>
                <a:gridCol w="1265027">
                  <a:extLst>
                    <a:ext uri="{9D8B030D-6E8A-4147-A177-3AD203B41FA5}">
                      <a16:colId xmlns:a16="http://schemas.microsoft.com/office/drawing/2014/main" val="1720917618"/>
                    </a:ext>
                  </a:extLst>
                </a:gridCol>
                <a:gridCol w="968054">
                  <a:extLst>
                    <a:ext uri="{9D8B030D-6E8A-4147-A177-3AD203B41FA5}">
                      <a16:colId xmlns:a16="http://schemas.microsoft.com/office/drawing/2014/main" val="528530791"/>
                    </a:ext>
                  </a:extLst>
                </a:gridCol>
              </a:tblGrid>
              <a:tr h="232193">
                <a:tc rowSpan="2">
                  <a:txBody>
                    <a:bodyPr/>
                    <a:lstStyle/>
                    <a:p>
                      <a:pPr algn="ctr"/>
                      <a:r>
                        <a:rPr lang="en-ID" sz="1140">
                          <a:effectLst/>
                          <a:latin typeface="Montserrat" pitchFamily="2" charset="77"/>
                        </a:rPr>
                        <a:t>No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140" dirty="0">
                          <a:effectLst/>
                          <a:latin typeface="Montserrat" pitchFamily="2" charset="77"/>
                        </a:rPr>
                        <a:t>Nama </a:t>
                      </a:r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Paket</a:t>
                      </a:r>
                      <a:r>
                        <a:rPr lang="en-ID" sz="114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Pekerjaan</a:t>
                      </a:r>
                      <a:r>
                        <a:rPr lang="en-ID" sz="1140" dirty="0">
                          <a:effectLst/>
                          <a:latin typeface="Montserrat" pitchFamily="2" charset="77"/>
                        </a:rPr>
                        <a:t> </a:t>
                      </a:r>
                      <a:endParaRPr lang="en-ID" sz="114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D" sz="1140">
                          <a:effectLst/>
                          <a:latin typeface="Montserrat" pitchFamily="2" charset="77"/>
                        </a:rPr>
                        <a:t>Jenis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D" sz="1140">
                          <a:effectLst/>
                          <a:latin typeface="Montserrat" pitchFamily="2" charset="77"/>
                        </a:rPr>
                        <a:t>Sifat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D" sz="1140">
                          <a:effectLst/>
                          <a:latin typeface="Montserrat" pitchFamily="2" charset="77"/>
                        </a:rPr>
                        <a:t>Subklasifikasi 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D" sz="1140">
                          <a:effectLst/>
                          <a:latin typeface="Montserrat" pitchFamily="2" charset="77"/>
                        </a:rPr>
                        <a:t>Layanan Usaha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2214763"/>
                  </a:ext>
                </a:extLst>
              </a:tr>
              <a:tr h="6717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40">
                          <a:effectLst/>
                          <a:latin typeface="Montserrat" pitchFamily="2" charset="77"/>
                        </a:rPr>
                        <a:t>Jenis Usaha yang Dipersyaratkan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40">
                          <a:effectLst/>
                          <a:latin typeface="Montserrat" pitchFamily="2" charset="77"/>
                        </a:rPr>
                        <a:t>Kesesuaian dengan SBU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40">
                          <a:effectLst/>
                          <a:latin typeface="Montserrat" pitchFamily="2" charset="77"/>
                        </a:rPr>
                        <a:t>Sifat Usaha yang Dipersyaratkan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40">
                          <a:effectLst/>
                          <a:latin typeface="Montserrat" pitchFamily="2" charset="77"/>
                        </a:rPr>
                        <a:t>Kesesuaian dengan SBU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40">
                          <a:effectLst/>
                          <a:latin typeface="Montserrat" pitchFamily="2" charset="77"/>
                        </a:rPr>
                        <a:t>Subklasifikasi yang Dipersyaratkan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Kesesuaian</a:t>
                      </a:r>
                      <a:r>
                        <a:rPr lang="en-ID" sz="114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dengan</a:t>
                      </a:r>
                      <a:r>
                        <a:rPr lang="en-ID" sz="1140" dirty="0">
                          <a:effectLst/>
                          <a:latin typeface="Montserrat" pitchFamily="2" charset="77"/>
                        </a:rPr>
                        <a:t> SBU</a:t>
                      </a:r>
                      <a:endParaRPr lang="en-ID" sz="114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40">
                          <a:effectLst/>
                          <a:latin typeface="Montserrat" pitchFamily="2" charset="77"/>
                        </a:rPr>
                        <a:t>Layanan Usaha yang Dipersyaratkan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40">
                          <a:effectLst/>
                          <a:latin typeface="Montserrat" pitchFamily="2" charset="77"/>
                        </a:rPr>
                        <a:t>Kesesuaian dengan SBU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ctr"/>
                </a:tc>
                <a:extLst>
                  <a:ext uri="{0D108BD9-81ED-4DB2-BD59-A6C34878D82A}">
                    <a16:rowId xmlns:a16="http://schemas.microsoft.com/office/drawing/2014/main" val="3822612926"/>
                  </a:ext>
                </a:extLst>
              </a:tr>
              <a:tr h="1679425"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1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Rekonstruksi</a:t>
                      </a:r>
                      <a:r>
                        <a:rPr lang="en-ID" sz="1140" dirty="0">
                          <a:effectLst/>
                          <a:latin typeface="Montserrat" pitchFamily="2" charset="77"/>
                        </a:rPr>
                        <a:t> Jalan BTS. Wates - </a:t>
                      </a:r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Milir</a:t>
                      </a:r>
                      <a:r>
                        <a:rPr lang="en-ID" sz="1140" dirty="0">
                          <a:effectLst/>
                          <a:latin typeface="Montserrat" pitchFamily="2" charset="77"/>
                        </a:rPr>
                        <a:t> - </a:t>
                      </a:r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Sentolo</a:t>
                      </a:r>
                      <a:endParaRPr lang="en-ID" sz="114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Pekerjaan</a:t>
                      </a:r>
                      <a:r>
                        <a:rPr lang="en-ID" sz="114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Konstruksi</a:t>
                      </a:r>
                      <a:endParaRPr lang="en-ID" sz="114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Sesuai</a:t>
                      </a:r>
                      <a:endParaRPr lang="en-ID" sz="114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Umum</a:t>
                      </a:r>
                      <a:endParaRPr lang="en-ID" sz="114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Sesuai</a:t>
                      </a:r>
                      <a:endParaRPr lang="en-ID" sz="114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Layanan SI003 Jasa Pelaksanaan untuk Konstruksi Jalan Raya kecuali Jalan Layang Jalan, Rel Kereta Api, dan Landas Pacu Bandara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Sesuai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Pekerjaan Konstruksi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Sesuai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extLst>
                  <a:ext uri="{0D108BD9-81ED-4DB2-BD59-A6C34878D82A}">
                    <a16:rowId xmlns:a16="http://schemas.microsoft.com/office/drawing/2014/main" val="596087711"/>
                  </a:ext>
                </a:extLst>
              </a:tr>
              <a:tr h="1068725"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2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Paket 10 Pengawasan Pembangunan Jalan Tepus - Jeruk Wudel II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Jasa Konsultansi Konstruksi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sesuai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umum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Sesuai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Subklasifikasi RE 202 Jasa Pengawas Pekerjaan Konstruksi Teknik Sipil Transportasi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Sesuai</a:t>
                      </a:r>
                      <a:endParaRPr lang="en-ID" sz="114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Pengawasan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Sesuai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extLst>
                  <a:ext uri="{0D108BD9-81ED-4DB2-BD59-A6C34878D82A}">
                    <a16:rowId xmlns:a16="http://schemas.microsoft.com/office/drawing/2014/main" val="1827352264"/>
                  </a:ext>
                </a:extLst>
              </a:tr>
              <a:tr h="221379"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3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b"/>
                </a:tc>
                <a:tc>
                  <a:txBody>
                    <a:bodyPr/>
                    <a:lstStyle/>
                    <a:p>
                      <a:r>
                        <a:rPr lang="en-ID" sz="1140" dirty="0">
                          <a:effectLst/>
                          <a:latin typeface="Montserrat" pitchFamily="2" charset="77"/>
                        </a:rPr>
                        <a:t> </a:t>
                      </a:r>
                      <a:r>
                        <a:rPr lang="en-ID" sz="1140" dirty="0" err="1">
                          <a:effectLst/>
                          <a:latin typeface="Montserrat" pitchFamily="2" charset="77"/>
                        </a:rPr>
                        <a:t>dst</a:t>
                      </a:r>
                      <a:endParaRPr lang="en-ID" sz="114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b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b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b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b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b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b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 anchor="b"/>
                </a:tc>
                <a:tc>
                  <a:txBody>
                    <a:bodyPr/>
                    <a:lstStyle/>
                    <a:p>
                      <a:r>
                        <a:rPr lang="en-ID" sz="114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4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tc>
                  <a:txBody>
                    <a:bodyPr/>
                    <a:lstStyle/>
                    <a:p>
                      <a:r>
                        <a:rPr lang="en-ID" sz="114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4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874" marR="63874" marT="0" marB="0"/>
                </a:tc>
                <a:extLst>
                  <a:ext uri="{0D108BD9-81ED-4DB2-BD59-A6C34878D82A}">
                    <a16:rowId xmlns:a16="http://schemas.microsoft.com/office/drawing/2014/main" val="26374283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60813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E40A4D-D452-0642-BF8D-0258DB460C93}"/>
              </a:ext>
            </a:extLst>
          </p:cNvPr>
          <p:cNvSpPr/>
          <p:nvPr/>
        </p:nvSpPr>
        <p:spPr>
          <a:xfrm>
            <a:off x="381520" y="318655"/>
            <a:ext cx="11428959" cy="200890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F47CB03-C7C3-2D47-B6B0-D6A6545F9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476" y="487799"/>
            <a:ext cx="11291004" cy="1275958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– 1b.2 </a:t>
            </a:r>
            <a:r>
              <a:rPr lang="nb-NO" sz="1400" b="1" dirty="0" err="1">
                <a:latin typeface="Montserrat" pitchFamily="2" charset="77"/>
              </a:rPr>
              <a:t>Contoh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isi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awas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tib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hadap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esesuai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Bentu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d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ualifika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deng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egi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Jas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d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egmenta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asar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Jas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endParaRPr lang="nb-NO" sz="1400" b="1" dirty="0">
              <a:latin typeface="Montserrat" pitchFamily="2" charset="77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ID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Nama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ad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Usaha</a:t>
            </a:r>
            <a:r>
              <a:rPr lang="nb-NO" sz="1400" dirty="0">
                <a:latin typeface="Montserrat" pitchFamily="2" charset="77"/>
              </a:rPr>
              <a:t>		</a:t>
            </a:r>
            <a:r>
              <a:rPr lang="en-ID" sz="1400" dirty="0">
                <a:latin typeface="Montserrat" pitchFamily="2" charset="77"/>
              </a:rPr>
              <a:t>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400" dirty="0">
                <a:latin typeface="Montserrat" pitchFamily="2" charset="77"/>
              </a:rPr>
              <a:t>Status </a:t>
            </a:r>
            <a:r>
              <a:rPr lang="en-ID" sz="1400" dirty="0" err="1">
                <a:latin typeface="Montserrat" pitchFamily="2" charset="77"/>
              </a:rPr>
              <a:t>Perizinan</a:t>
            </a:r>
            <a:r>
              <a:rPr lang="en-ID" sz="1400" dirty="0">
                <a:latin typeface="Montserrat" pitchFamily="2" charset="77"/>
              </a:rPr>
              <a:t> </a:t>
            </a:r>
            <a:r>
              <a:rPr lang="en-ID" sz="1400" dirty="0" err="1">
                <a:latin typeface="Montserrat" pitchFamily="2" charset="77"/>
              </a:rPr>
              <a:t>Berusaha</a:t>
            </a:r>
            <a:r>
              <a:rPr lang="en-ID" sz="1400" dirty="0">
                <a:latin typeface="Montserrat" pitchFamily="2" charset="77"/>
              </a:rPr>
              <a:t>         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Nomor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Induk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 (NIB)	</a:t>
            </a:r>
            <a:r>
              <a:rPr lang="en-ID" sz="1400" dirty="0">
                <a:latin typeface="Montserrat" pitchFamily="2" charset="77"/>
              </a:rPr>
              <a:t>: </a:t>
            </a:r>
            <a:r>
              <a:rPr lang="en-ID" sz="1400" dirty="0" err="1">
                <a:latin typeface="Montserrat" pitchFamily="2" charset="77"/>
              </a:rPr>
              <a:t>Terverifikasi</a:t>
            </a:r>
            <a:r>
              <a:rPr lang="en-ID" sz="1400" dirty="0">
                <a:latin typeface="Montserrat" pitchFamily="2" charset="77"/>
              </a:rPr>
              <a:t>/Belum </a:t>
            </a:r>
            <a:r>
              <a:rPr lang="en-ID" sz="1400" dirty="0" err="1">
                <a:latin typeface="Montserrat" pitchFamily="2" charset="77"/>
              </a:rPr>
              <a:t>terverifikasi</a:t>
            </a:r>
            <a:r>
              <a:rPr lang="en-ID" sz="1400" dirty="0">
                <a:latin typeface="Montserrat" pitchFamily="2" charset="77"/>
              </a:rPr>
              <a:t> (</a:t>
            </a:r>
            <a:r>
              <a:rPr lang="en-ID" sz="1400" dirty="0" err="1">
                <a:latin typeface="Montserrat" pitchFamily="2" charset="77"/>
              </a:rPr>
              <a:t>sesuai</a:t>
            </a:r>
            <a:r>
              <a:rPr lang="en-ID" sz="1400" dirty="0">
                <a:latin typeface="Montserrat" pitchFamily="2" charset="77"/>
              </a:rPr>
              <a:t> </a:t>
            </a:r>
            <a:r>
              <a:rPr lang="en-ID" sz="1400" dirty="0" err="1">
                <a:latin typeface="Montserrat" pitchFamily="2" charset="77"/>
              </a:rPr>
              <a:t>dengan</a:t>
            </a:r>
            <a:r>
              <a:rPr lang="en-ID" sz="1400" dirty="0">
                <a:latin typeface="Montserrat" pitchFamily="2" charset="77"/>
              </a:rPr>
              <a:t> OSS)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Waktu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ngawasan</a:t>
            </a:r>
            <a:r>
              <a:rPr lang="nb-NO" sz="1400" dirty="0">
                <a:latin typeface="Montserrat" pitchFamily="2" charset="77"/>
              </a:rPr>
              <a:t>		</a:t>
            </a:r>
            <a:r>
              <a:rPr lang="en-ID" sz="1400" dirty="0">
                <a:latin typeface="Montserrat" pitchFamily="2" charset="77"/>
              </a:rPr>
              <a:t>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ID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400" dirty="0">
              <a:latin typeface="Montserrat" pitchFamily="2" charset="77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14B4373-D36A-2349-A09E-1D10BD9EDC4B}"/>
              </a:ext>
            </a:extLst>
          </p:cNvPr>
          <p:cNvGraphicFramePr>
            <a:graphicFrameLocks noGrp="1"/>
          </p:cNvGraphicFramePr>
          <p:nvPr/>
        </p:nvGraphicFramePr>
        <p:xfrm>
          <a:off x="381519" y="2661782"/>
          <a:ext cx="11428962" cy="37084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37053">
                  <a:extLst>
                    <a:ext uri="{9D8B030D-6E8A-4147-A177-3AD203B41FA5}">
                      <a16:colId xmlns:a16="http://schemas.microsoft.com/office/drawing/2014/main" val="2750600742"/>
                    </a:ext>
                  </a:extLst>
                </a:gridCol>
                <a:gridCol w="3172601">
                  <a:extLst>
                    <a:ext uri="{9D8B030D-6E8A-4147-A177-3AD203B41FA5}">
                      <a16:colId xmlns:a16="http://schemas.microsoft.com/office/drawing/2014/main" val="1983891641"/>
                    </a:ext>
                  </a:extLst>
                </a:gridCol>
                <a:gridCol w="1904827">
                  <a:extLst>
                    <a:ext uri="{9D8B030D-6E8A-4147-A177-3AD203B41FA5}">
                      <a16:colId xmlns:a16="http://schemas.microsoft.com/office/drawing/2014/main" val="3221796992"/>
                    </a:ext>
                  </a:extLst>
                </a:gridCol>
                <a:gridCol w="1904827">
                  <a:extLst>
                    <a:ext uri="{9D8B030D-6E8A-4147-A177-3AD203B41FA5}">
                      <a16:colId xmlns:a16="http://schemas.microsoft.com/office/drawing/2014/main" val="2536901317"/>
                    </a:ext>
                  </a:extLst>
                </a:gridCol>
                <a:gridCol w="1904827">
                  <a:extLst>
                    <a:ext uri="{9D8B030D-6E8A-4147-A177-3AD203B41FA5}">
                      <a16:colId xmlns:a16="http://schemas.microsoft.com/office/drawing/2014/main" val="2088673079"/>
                    </a:ext>
                  </a:extLst>
                </a:gridCol>
                <a:gridCol w="1904827">
                  <a:extLst>
                    <a:ext uri="{9D8B030D-6E8A-4147-A177-3AD203B41FA5}">
                      <a16:colId xmlns:a16="http://schemas.microsoft.com/office/drawing/2014/main" val="752240967"/>
                    </a:ext>
                  </a:extLst>
                </a:gridCol>
              </a:tblGrid>
              <a:tr h="289438">
                <a:tc rowSpan="2">
                  <a:txBody>
                    <a:bodyPr/>
                    <a:lstStyle/>
                    <a:p>
                      <a:pPr algn="ctr"/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No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ama Paket Pekerjaan 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Bentuk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Kualifikasi 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7479035"/>
                  </a:ext>
                </a:extLst>
              </a:tr>
              <a:tr h="81404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Bentuk yang Dipersyaratkan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Kesesuaian dengan SBU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Kualifikasi yang Dipersyaratkan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Kesesuaian dengan SBU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52068262"/>
                  </a:ext>
                </a:extLst>
              </a:tr>
              <a:tr h="868313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1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Rekonstruksi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Jalan BTS. Wates -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Milir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-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Sentolo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Badan Usaha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sesuai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Non-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kecil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Sesuai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1254438"/>
                  </a:ext>
                </a:extLst>
              </a:tr>
              <a:tr h="1447188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2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Paket 10 Pengawasan Pembangunan Jalan Tepus - Jeruk Wudel II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Badan Usaha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Sesuai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Kualifikasi Usaha Besar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Sesuai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23886564"/>
                  </a:ext>
                </a:extLst>
              </a:tr>
              <a:tr h="289438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3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4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911862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4788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E40A4D-D452-0642-BF8D-0258DB460C93}"/>
              </a:ext>
            </a:extLst>
          </p:cNvPr>
          <p:cNvSpPr/>
          <p:nvPr/>
        </p:nvSpPr>
        <p:spPr>
          <a:xfrm>
            <a:off x="381520" y="318655"/>
            <a:ext cx="11428959" cy="200890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F47CB03-C7C3-2D47-B6B0-D6A6545F9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475" y="487799"/>
            <a:ext cx="11949615" cy="1275958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– 1c </a:t>
            </a:r>
            <a:r>
              <a:rPr lang="nb-NO" sz="1400" b="1" dirty="0" err="1">
                <a:latin typeface="Montserrat" pitchFamily="2" charset="77"/>
              </a:rPr>
              <a:t>Contoh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isi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awas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hadap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menuh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rsyar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Jas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ecar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utin</a:t>
            </a:r>
            <a:endParaRPr lang="nb-NO" sz="1400" b="1" dirty="0">
              <a:latin typeface="Montserrat" pitchFamily="2" charset="77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ID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Nama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ad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Usaha</a:t>
            </a:r>
            <a:r>
              <a:rPr lang="nb-NO" sz="1400" dirty="0">
                <a:latin typeface="Montserrat" pitchFamily="2" charset="77"/>
              </a:rPr>
              <a:t>		</a:t>
            </a:r>
            <a:r>
              <a:rPr lang="en-ID" sz="1400" dirty="0">
                <a:latin typeface="Montserrat" pitchFamily="2" charset="77"/>
              </a:rPr>
              <a:t>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Tanggal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ngawasan</a:t>
            </a:r>
            <a:r>
              <a:rPr lang="nb-NO" sz="1400" dirty="0">
                <a:latin typeface="Montserrat" pitchFamily="2" charset="77"/>
              </a:rPr>
              <a:t>		</a:t>
            </a:r>
            <a:r>
              <a:rPr lang="en-ID" sz="1400" dirty="0">
                <a:latin typeface="Montserrat" pitchFamily="2" charset="77"/>
              </a:rPr>
              <a:t>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ID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400" dirty="0">
              <a:latin typeface="Montserrat" pitchFamily="2" charset="77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10202EC-5DD1-854E-832C-2931EE150A85}"/>
              </a:ext>
            </a:extLst>
          </p:cNvPr>
          <p:cNvGraphicFramePr>
            <a:graphicFrameLocks noGrp="1"/>
          </p:cNvGraphicFramePr>
          <p:nvPr/>
        </p:nvGraphicFramePr>
        <p:xfrm>
          <a:off x="381520" y="2650603"/>
          <a:ext cx="11428956" cy="371960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18075">
                  <a:extLst>
                    <a:ext uri="{9D8B030D-6E8A-4147-A177-3AD203B41FA5}">
                      <a16:colId xmlns:a16="http://schemas.microsoft.com/office/drawing/2014/main" val="32833369"/>
                    </a:ext>
                  </a:extLst>
                </a:gridCol>
                <a:gridCol w="1215342">
                  <a:extLst>
                    <a:ext uri="{9D8B030D-6E8A-4147-A177-3AD203B41FA5}">
                      <a16:colId xmlns:a16="http://schemas.microsoft.com/office/drawing/2014/main" val="3253105305"/>
                    </a:ext>
                  </a:extLst>
                </a:gridCol>
                <a:gridCol w="1876235">
                  <a:extLst>
                    <a:ext uri="{9D8B030D-6E8A-4147-A177-3AD203B41FA5}">
                      <a16:colId xmlns:a16="http://schemas.microsoft.com/office/drawing/2014/main" val="3161332768"/>
                    </a:ext>
                  </a:extLst>
                </a:gridCol>
                <a:gridCol w="809091">
                  <a:extLst>
                    <a:ext uri="{9D8B030D-6E8A-4147-A177-3AD203B41FA5}">
                      <a16:colId xmlns:a16="http://schemas.microsoft.com/office/drawing/2014/main" val="1775356781"/>
                    </a:ext>
                  </a:extLst>
                </a:gridCol>
                <a:gridCol w="1122745">
                  <a:extLst>
                    <a:ext uri="{9D8B030D-6E8A-4147-A177-3AD203B41FA5}">
                      <a16:colId xmlns:a16="http://schemas.microsoft.com/office/drawing/2014/main" val="3955552144"/>
                    </a:ext>
                  </a:extLst>
                </a:gridCol>
                <a:gridCol w="1489372">
                  <a:extLst>
                    <a:ext uri="{9D8B030D-6E8A-4147-A177-3AD203B41FA5}">
                      <a16:colId xmlns:a16="http://schemas.microsoft.com/office/drawing/2014/main" val="2950504736"/>
                    </a:ext>
                  </a:extLst>
                </a:gridCol>
                <a:gridCol w="1022334">
                  <a:extLst>
                    <a:ext uri="{9D8B030D-6E8A-4147-A177-3AD203B41FA5}">
                      <a16:colId xmlns:a16="http://schemas.microsoft.com/office/drawing/2014/main" val="2092682183"/>
                    </a:ext>
                  </a:extLst>
                </a:gridCol>
                <a:gridCol w="1905878">
                  <a:extLst>
                    <a:ext uri="{9D8B030D-6E8A-4147-A177-3AD203B41FA5}">
                      <a16:colId xmlns:a16="http://schemas.microsoft.com/office/drawing/2014/main" val="4054305474"/>
                    </a:ext>
                  </a:extLst>
                </a:gridCol>
                <a:gridCol w="1269884">
                  <a:extLst>
                    <a:ext uri="{9D8B030D-6E8A-4147-A177-3AD203B41FA5}">
                      <a16:colId xmlns:a16="http://schemas.microsoft.com/office/drawing/2014/main" val="923795347"/>
                    </a:ext>
                  </a:extLst>
                </a:gridCol>
              </a:tblGrid>
              <a:tr h="1859799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o.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NAMA BUJK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OMOR INDUK BERUSAHA (NIB)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PJBU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JENIS USAHA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Klasifikasi/ Subklasifikasi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Nomor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Sertifikat</a:t>
                      </a:r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400" dirty="0" err="1">
                          <a:effectLst/>
                          <a:latin typeface="Montserrat" pitchFamily="2" charset="77"/>
                        </a:rPr>
                        <a:t>Standar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KESIMPULAN PEMERIKSAAN (TERTIB/TIDAK TERTIB)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CATATAN PEMERIKSAAN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91961791"/>
                  </a:ext>
                </a:extLst>
              </a:tr>
              <a:tr h="265686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642985889"/>
                  </a:ext>
                </a:extLst>
              </a:tr>
              <a:tr h="265686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73870937"/>
                  </a:ext>
                </a:extLst>
              </a:tr>
              <a:tr h="265686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794532934"/>
                  </a:ext>
                </a:extLst>
              </a:tr>
              <a:tr h="265686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829022631"/>
                  </a:ext>
                </a:extLst>
              </a:tr>
              <a:tr h="265686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408263734"/>
                  </a:ext>
                </a:extLst>
              </a:tr>
              <a:tr h="265686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410358315"/>
                  </a:ext>
                </a:extLst>
              </a:tr>
              <a:tr h="265686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7990097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3363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E40A4D-D452-0642-BF8D-0258DB460C93}"/>
              </a:ext>
            </a:extLst>
          </p:cNvPr>
          <p:cNvSpPr/>
          <p:nvPr/>
        </p:nvSpPr>
        <p:spPr>
          <a:xfrm>
            <a:off x="381520" y="121885"/>
            <a:ext cx="11428959" cy="142912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F47CB03-C7C3-2D47-B6B0-D6A6545F9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6595" y="188351"/>
            <a:ext cx="11058806" cy="1275958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– 1d </a:t>
            </a:r>
            <a:r>
              <a:rPr lang="nb-NO" sz="1400" b="1" dirty="0" err="1">
                <a:latin typeface="Montserrat" pitchFamily="2" charset="77"/>
              </a:rPr>
              <a:t>Contoh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isi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awas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hadap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menuh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rsyar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Jas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ntu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Bad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Jas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ecar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Insidental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Dalam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yedia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nag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erja</a:t>
            </a:r>
            <a:endParaRPr lang="nb-NO" sz="1400" b="1" dirty="0">
              <a:latin typeface="Montserrat" pitchFamily="2" charset="77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ID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Nama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adan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Usaha</a:t>
            </a:r>
            <a:r>
              <a:rPr lang="nb-NO" sz="1400" dirty="0">
                <a:latin typeface="Montserrat" pitchFamily="2" charset="77"/>
              </a:rPr>
              <a:t>		</a:t>
            </a:r>
            <a:r>
              <a:rPr lang="en-ID" sz="1400" dirty="0">
                <a:latin typeface="Montserrat" pitchFamily="2" charset="77"/>
              </a:rPr>
              <a:t>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Nomor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Induk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Berusaha</a:t>
            </a:r>
            <a:r>
              <a:rPr lang="nb-NO" sz="1400" dirty="0">
                <a:latin typeface="Montserrat" pitchFamily="2" charset="77"/>
              </a:rPr>
              <a:t> (NIB)	</a:t>
            </a:r>
            <a:r>
              <a:rPr lang="en-ID" sz="1400" dirty="0">
                <a:latin typeface="Montserrat" pitchFamily="2" charset="77"/>
              </a:rPr>
              <a:t>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Waktu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ngawasan</a:t>
            </a:r>
            <a:r>
              <a:rPr lang="nb-NO" sz="1400" dirty="0">
                <a:latin typeface="Montserrat" pitchFamily="2" charset="77"/>
              </a:rPr>
              <a:t>		</a:t>
            </a:r>
            <a:r>
              <a:rPr lang="en-ID" sz="1400" dirty="0">
                <a:latin typeface="Montserrat" pitchFamily="2" charset="77"/>
              </a:rPr>
              <a:t>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ID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400" dirty="0">
              <a:latin typeface="Montserrat" pitchFamily="2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37F646-35B2-0740-ADAF-8195703B5DC0}"/>
              </a:ext>
            </a:extLst>
          </p:cNvPr>
          <p:cNvSpPr/>
          <p:nvPr/>
        </p:nvSpPr>
        <p:spPr>
          <a:xfrm>
            <a:off x="381513" y="1632675"/>
            <a:ext cx="11428959" cy="3557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BBC95818-D912-9147-8AF9-423E9F785D93}"/>
              </a:ext>
            </a:extLst>
          </p:cNvPr>
          <p:cNvSpPr txBox="1">
            <a:spLocks/>
          </p:cNvSpPr>
          <p:nvPr/>
        </p:nvSpPr>
        <p:spPr>
          <a:xfrm>
            <a:off x="566595" y="1632675"/>
            <a:ext cx="11058806" cy="355740"/>
          </a:xfr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. PENANGGUNG JAWAB BADAN USAHA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3485CC1-7002-BF41-9147-C1799AA25649}"/>
              </a:ext>
            </a:extLst>
          </p:cNvPr>
          <p:cNvGraphicFramePr>
            <a:graphicFrameLocks noGrp="1"/>
          </p:cNvGraphicFramePr>
          <p:nvPr/>
        </p:nvGraphicFramePr>
        <p:xfrm>
          <a:off x="381516" y="2149965"/>
          <a:ext cx="11428956" cy="77192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29654">
                  <a:extLst>
                    <a:ext uri="{9D8B030D-6E8A-4147-A177-3AD203B41FA5}">
                      <a16:colId xmlns:a16="http://schemas.microsoft.com/office/drawing/2014/main" val="1367587562"/>
                    </a:ext>
                  </a:extLst>
                </a:gridCol>
                <a:gridCol w="3079998">
                  <a:extLst>
                    <a:ext uri="{9D8B030D-6E8A-4147-A177-3AD203B41FA5}">
                      <a16:colId xmlns:a16="http://schemas.microsoft.com/office/drawing/2014/main" val="854612625"/>
                    </a:ext>
                  </a:extLst>
                </a:gridCol>
                <a:gridCol w="1768198">
                  <a:extLst>
                    <a:ext uri="{9D8B030D-6E8A-4147-A177-3AD203B41FA5}">
                      <a16:colId xmlns:a16="http://schemas.microsoft.com/office/drawing/2014/main" val="3293394008"/>
                    </a:ext>
                  </a:extLst>
                </a:gridCol>
                <a:gridCol w="2041454">
                  <a:extLst>
                    <a:ext uri="{9D8B030D-6E8A-4147-A177-3AD203B41FA5}">
                      <a16:colId xmlns:a16="http://schemas.microsoft.com/office/drawing/2014/main" val="3532910542"/>
                    </a:ext>
                  </a:extLst>
                </a:gridCol>
                <a:gridCol w="1904826">
                  <a:extLst>
                    <a:ext uri="{9D8B030D-6E8A-4147-A177-3AD203B41FA5}">
                      <a16:colId xmlns:a16="http://schemas.microsoft.com/office/drawing/2014/main" val="3930818022"/>
                    </a:ext>
                  </a:extLst>
                </a:gridCol>
                <a:gridCol w="1904826">
                  <a:extLst>
                    <a:ext uri="{9D8B030D-6E8A-4147-A177-3AD203B41FA5}">
                      <a16:colId xmlns:a16="http://schemas.microsoft.com/office/drawing/2014/main" val="142405788"/>
                    </a:ext>
                  </a:extLst>
                </a:gridCol>
              </a:tblGrid>
              <a:tr h="474116">
                <a:tc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No.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NAMA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ALAMAT/KOTA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No. KTP/KITAS/PASSPORT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KESIMPULAN PEMERIKSAAN (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esua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/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Tidak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200" dirty="0" err="1">
                          <a:effectLst/>
                          <a:latin typeface="Montserrat" pitchFamily="2" charset="77"/>
                        </a:rPr>
                        <a:t>Sesuai</a:t>
                      </a:r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)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CATATAN PEMERIKSAAN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87239312"/>
                  </a:ext>
                </a:extLst>
              </a:tr>
              <a:tr h="223288">
                <a:tc>
                  <a:txBody>
                    <a:bodyPr/>
                    <a:lstStyle/>
                    <a:p>
                      <a:pPr algn="r"/>
                      <a:r>
                        <a:rPr lang="en-ID" sz="1200">
                          <a:effectLst/>
                          <a:latin typeface="Montserrat" pitchFamily="2" charset="77"/>
                        </a:rPr>
                        <a:t>1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463605612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A8466E9D-8A00-7341-A159-0E3CFBF344C3}"/>
              </a:ext>
            </a:extLst>
          </p:cNvPr>
          <p:cNvSpPr/>
          <p:nvPr/>
        </p:nvSpPr>
        <p:spPr>
          <a:xfrm>
            <a:off x="381513" y="3108569"/>
            <a:ext cx="11428959" cy="3557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F8C345D2-25F8-8041-A74A-11B3A668D6C4}"/>
              </a:ext>
            </a:extLst>
          </p:cNvPr>
          <p:cNvSpPr txBox="1">
            <a:spLocks/>
          </p:cNvSpPr>
          <p:nvPr/>
        </p:nvSpPr>
        <p:spPr>
          <a:xfrm>
            <a:off x="566595" y="3096993"/>
            <a:ext cx="11058806" cy="355740"/>
          </a:xfr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. PENANGGUNG JAWAB TEKNIK BADAN USAHA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EC4F4BAC-0044-214A-B1F3-1EE81FFE8E3A}"/>
              </a:ext>
            </a:extLst>
          </p:cNvPr>
          <p:cNvGraphicFramePr>
            <a:graphicFrameLocks noGrp="1"/>
          </p:cNvGraphicFramePr>
          <p:nvPr/>
        </p:nvGraphicFramePr>
        <p:xfrm>
          <a:off x="381512" y="3630727"/>
          <a:ext cx="11428955" cy="12749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08616">
                  <a:extLst>
                    <a:ext uri="{9D8B030D-6E8A-4147-A177-3AD203B41FA5}">
                      <a16:colId xmlns:a16="http://schemas.microsoft.com/office/drawing/2014/main" val="3173662575"/>
                    </a:ext>
                  </a:extLst>
                </a:gridCol>
                <a:gridCol w="711366">
                  <a:extLst>
                    <a:ext uri="{9D8B030D-6E8A-4147-A177-3AD203B41FA5}">
                      <a16:colId xmlns:a16="http://schemas.microsoft.com/office/drawing/2014/main" val="1070858416"/>
                    </a:ext>
                  </a:extLst>
                </a:gridCol>
                <a:gridCol w="886292">
                  <a:extLst>
                    <a:ext uri="{9D8B030D-6E8A-4147-A177-3AD203B41FA5}">
                      <a16:colId xmlns:a16="http://schemas.microsoft.com/office/drawing/2014/main" val="515398912"/>
                    </a:ext>
                  </a:extLst>
                </a:gridCol>
                <a:gridCol w="1189498">
                  <a:extLst>
                    <a:ext uri="{9D8B030D-6E8A-4147-A177-3AD203B41FA5}">
                      <a16:colId xmlns:a16="http://schemas.microsoft.com/office/drawing/2014/main" val="3039625869"/>
                    </a:ext>
                  </a:extLst>
                </a:gridCol>
                <a:gridCol w="699704">
                  <a:extLst>
                    <a:ext uri="{9D8B030D-6E8A-4147-A177-3AD203B41FA5}">
                      <a16:colId xmlns:a16="http://schemas.microsoft.com/office/drawing/2014/main" val="2287138627"/>
                    </a:ext>
                  </a:extLst>
                </a:gridCol>
                <a:gridCol w="1236144">
                  <a:extLst>
                    <a:ext uri="{9D8B030D-6E8A-4147-A177-3AD203B41FA5}">
                      <a16:colId xmlns:a16="http://schemas.microsoft.com/office/drawing/2014/main" val="525202627"/>
                    </a:ext>
                  </a:extLst>
                </a:gridCol>
                <a:gridCol w="1037895">
                  <a:extLst>
                    <a:ext uri="{9D8B030D-6E8A-4147-A177-3AD203B41FA5}">
                      <a16:colId xmlns:a16="http://schemas.microsoft.com/office/drawing/2014/main" val="2420833387"/>
                    </a:ext>
                  </a:extLst>
                </a:gridCol>
                <a:gridCol w="1154513">
                  <a:extLst>
                    <a:ext uri="{9D8B030D-6E8A-4147-A177-3AD203B41FA5}">
                      <a16:colId xmlns:a16="http://schemas.microsoft.com/office/drawing/2014/main" val="2540367390"/>
                    </a:ext>
                  </a:extLst>
                </a:gridCol>
                <a:gridCol w="1096203">
                  <a:extLst>
                    <a:ext uri="{9D8B030D-6E8A-4147-A177-3AD203B41FA5}">
                      <a16:colId xmlns:a16="http://schemas.microsoft.com/office/drawing/2014/main" val="2289321761"/>
                    </a:ext>
                  </a:extLst>
                </a:gridCol>
                <a:gridCol w="711366">
                  <a:extLst>
                    <a:ext uri="{9D8B030D-6E8A-4147-A177-3AD203B41FA5}">
                      <a16:colId xmlns:a16="http://schemas.microsoft.com/office/drawing/2014/main" val="153892185"/>
                    </a:ext>
                  </a:extLst>
                </a:gridCol>
                <a:gridCol w="1372435">
                  <a:extLst>
                    <a:ext uri="{9D8B030D-6E8A-4147-A177-3AD203B41FA5}">
                      <a16:colId xmlns:a16="http://schemas.microsoft.com/office/drawing/2014/main" val="3677893296"/>
                    </a:ext>
                  </a:extLst>
                </a:gridCol>
                <a:gridCol w="924923">
                  <a:extLst>
                    <a:ext uri="{9D8B030D-6E8A-4147-A177-3AD203B41FA5}">
                      <a16:colId xmlns:a16="http://schemas.microsoft.com/office/drawing/2014/main" val="2204113308"/>
                    </a:ext>
                  </a:extLst>
                </a:gridCol>
              </a:tblGrid>
              <a:tr h="547772"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No.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NAMA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ALAMAT/KOTA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KLASIFIKASI BADAN USAHA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KUALIFIKASI 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SERTIFIKAT KOMPETENSI KERJA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KESIMPULAN PEMERIKSAAN (Sesuai/Tidak Sesuai)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CATATAN PEMERIKSAAN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41550060"/>
                  </a:ext>
                </a:extLst>
              </a:tr>
              <a:tr h="4847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KOMPETENSI (KEAHLIAN)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JENJANG KEAHLIAN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KLASIFIKASI 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SUB KLASIFIKASI 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No.Reg.SKK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166982"/>
                  </a:ext>
                </a:extLst>
              </a:tr>
              <a:tr h="242377">
                <a:tc>
                  <a:txBody>
                    <a:bodyPr/>
                    <a:lstStyle/>
                    <a:p>
                      <a:pPr algn="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1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44857993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230FDEEC-186E-8444-B202-7C266062F64D}"/>
              </a:ext>
            </a:extLst>
          </p:cNvPr>
          <p:cNvSpPr/>
          <p:nvPr/>
        </p:nvSpPr>
        <p:spPr>
          <a:xfrm>
            <a:off x="381520" y="5063959"/>
            <a:ext cx="11428959" cy="3557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89F8E3BB-4D4E-A44E-B1E8-3D844BF83BB7}"/>
              </a:ext>
            </a:extLst>
          </p:cNvPr>
          <p:cNvSpPr txBox="1">
            <a:spLocks/>
          </p:cNvSpPr>
          <p:nvPr/>
        </p:nvSpPr>
        <p:spPr>
          <a:xfrm>
            <a:off x="566602" y="5063959"/>
            <a:ext cx="11058806" cy="355740"/>
          </a:xfr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c. PENANGGUNG JAWAB SUBKLASIFIKASI BADAN USAHA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CF42F45-6298-9D44-9E79-72F0690800E8}"/>
              </a:ext>
            </a:extLst>
          </p:cNvPr>
          <p:cNvGraphicFramePr>
            <a:graphicFrameLocks noGrp="1"/>
          </p:cNvGraphicFramePr>
          <p:nvPr/>
        </p:nvGraphicFramePr>
        <p:xfrm>
          <a:off x="424173" y="5476420"/>
          <a:ext cx="11343638" cy="12749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05566">
                  <a:extLst>
                    <a:ext uri="{9D8B030D-6E8A-4147-A177-3AD203B41FA5}">
                      <a16:colId xmlns:a16="http://schemas.microsoft.com/office/drawing/2014/main" val="3173662575"/>
                    </a:ext>
                  </a:extLst>
                </a:gridCol>
                <a:gridCol w="706056">
                  <a:extLst>
                    <a:ext uri="{9D8B030D-6E8A-4147-A177-3AD203B41FA5}">
                      <a16:colId xmlns:a16="http://schemas.microsoft.com/office/drawing/2014/main" val="1070858416"/>
                    </a:ext>
                  </a:extLst>
                </a:gridCol>
                <a:gridCol w="879676">
                  <a:extLst>
                    <a:ext uri="{9D8B030D-6E8A-4147-A177-3AD203B41FA5}">
                      <a16:colId xmlns:a16="http://schemas.microsoft.com/office/drawing/2014/main" val="515398912"/>
                    </a:ext>
                  </a:extLst>
                </a:gridCol>
                <a:gridCol w="1180618">
                  <a:extLst>
                    <a:ext uri="{9D8B030D-6E8A-4147-A177-3AD203B41FA5}">
                      <a16:colId xmlns:a16="http://schemas.microsoft.com/office/drawing/2014/main" val="3039625869"/>
                    </a:ext>
                  </a:extLst>
                </a:gridCol>
                <a:gridCol w="694481">
                  <a:extLst>
                    <a:ext uri="{9D8B030D-6E8A-4147-A177-3AD203B41FA5}">
                      <a16:colId xmlns:a16="http://schemas.microsoft.com/office/drawing/2014/main" val="2287138627"/>
                    </a:ext>
                  </a:extLst>
                </a:gridCol>
                <a:gridCol w="1226916">
                  <a:extLst>
                    <a:ext uri="{9D8B030D-6E8A-4147-A177-3AD203B41FA5}">
                      <a16:colId xmlns:a16="http://schemas.microsoft.com/office/drawing/2014/main" val="525202627"/>
                    </a:ext>
                  </a:extLst>
                </a:gridCol>
                <a:gridCol w="1030147">
                  <a:extLst>
                    <a:ext uri="{9D8B030D-6E8A-4147-A177-3AD203B41FA5}">
                      <a16:colId xmlns:a16="http://schemas.microsoft.com/office/drawing/2014/main" val="2420833387"/>
                    </a:ext>
                  </a:extLst>
                </a:gridCol>
                <a:gridCol w="1145894">
                  <a:extLst>
                    <a:ext uri="{9D8B030D-6E8A-4147-A177-3AD203B41FA5}">
                      <a16:colId xmlns:a16="http://schemas.microsoft.com/office/drawing/2014/main" val="2540367390"/>
                    </a:ext>
                  </a:extLst>
                </a:gridCol>
                <a:gridCol w="1088020">
                  <a:extLst>
                    <a:ext uri="{9D8B030D-6E8A-4147-A177-3AD203B41FA5}">
                      <a16:colId xmlns:a16="http://schemas.microsoft.com/office/drawing/2014/main" val="2289321761"/>
                    </a:ext>
                  </a:extLst>
                </a:gridCol>
                <a:gridCol w="706056">
                  <a:extLst>
                    <a:ext uri="{9D8B030D-6E8A-4147-A177-3AD203B41FA5}">
                      <a16:colId xmlns:a16="http://schemas.microsoft.com/office/drawing/2014/main" val="153892185"/>
                    </a:ext>
                  </a:extLst>
                </a:gridCol>
                <a:gridCol w="1362190">
                  <a:extLst>
                    <a:ext uri="{9D8B030D-6E8A-4147-A177-3AD203B41FA5}">
                      <a16:colId xmlns:a16="http://schemas.microsoft.com/office/drawing/2014/main" val="3677893296"/>
                    </a:ext>
                  </a:extLst>
                </a:gridCol>
                <a:gridCol w="918018">
                  <a:extLst>
                    <a:ext uri="{9D8B030D-6E8A-4147-A177-3AD203B41FA5}">
                      <a16:colId xmlns:a16="http://schemas.microsoft.com/office/drawing/2014/main" val="2204113308"/>
                    </a:ext>
                  </a:extLst>
                </a:gridCol>
              </a:tblGrid>
              <a:tr h="547772"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No.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NAMA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ALAMAT/KOTA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KLASIFIKASI BADAN USAHA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KUALIFIKASI 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SERTIFIKAT KOMPETENSI KERJA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KESIMPULAN PEMERIKSAAN (Sesuai/Tidak Sesuai)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ID" sz="1200">
                          <a:effectLst/>
                          <a:latin typeface="Montserrat" pitchFamily="2" charset="77"/>
                        </a:rPr>
                        <a:t>CATATAN PEMERIKSAAN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41550060"/>
                  </a:ext>
                </a:extLst>
              </a:tr>
              <a:tr h="4847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KOMPETENSI (KEAHLIAN)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JENJANG KEAHLIAN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KLASIFIKASI 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SUB KLASIFIKASI 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No.Reg.SKK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166982"/>
                  </a:ext>
                </a:extLst>
              </a:tr>
              <a:tr h="242377">
                <a:tc>
                  <a:txBody>
                    <a:bodyPr/>
                    <a:lstStyle/>
                    <a:p>
                      <a:pPr algn="r"/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1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2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2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448579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47922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E40A4D-D452-0642-BF8D-0258DB460C93}"/>
              </a:ext>
            </a:extLst>
          </p:cNvPr>
          <p:cNvSpPr/>
          <p:nvPr/>
        </p:nvSpPr>
        <p:spPr>
          <a:xfrm>
            <a:off x="381520" y="318656"/>
            <a:ext cx="11428959" cy="101243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F47CB03-C7C3-2D47-B6B0-D6A6545F9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1833" y="339482"/>
            <a:ext cx="10898168" cy="1275958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b="1" dirty="0" err="1">
                <a:latin typeface="Montserrat" pitchFamily="2" charset="77"/>
              </a:rPr>
              <a:t>Simak</a:t>
            </a:r>
            <a:r>
              <a:rPr lang="nb-NO" sz="1400" b="1" dirty="0">
                <a:latin typeface="Montserrat" pitchFamily="2" charset="77"/>
              </a:rPr>
              <a:t> – 1e </a:t>
            </a:r>
            <a:r>
              <a:rPr lang="nb-NO" sz="1400" b="1" dirty="0" err="1">
                <a:latin typeface="Montserrat" pitchFamily="2" charset="77"/>
              </a:rPr>
              <a:t>Contoh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isi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ngawas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Terhadap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menuh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rsyarat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Jas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Konstruksi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ntuk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Usah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Orang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Perseorangan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Secara</a:t>
            </a:r>
            <a:r>
              <a:rPr lang="nb-NO" sz="1400" b="1" dirty="0">
                <a:latin typeface="Montserrat" pitchFamily="2" charset="77"/>
              </a:rPr>
              <a:t> </a:t>
            </a:r>
            <a:r>
              <a:rPr lang="nb-NO" sz="1400" b="1" dirty="0" err="1">
                <a:latin typeface="Montserrat" pitchFamily="2" charset="77"/>
              </a:rPr>
              <a:t>Rutin</a:t>
            </a:r>
            <a:r>
              <a:rPr lang="nb-NO" sz="1400" b="1" dirty="0">
                <a:latin typeface="Montserrat" pitchFamily="2" charset="77"/>
              </a:rPr>
              <a:t>/</a:t>
            </a:r>
            <a:r>
              <a:rPr lang="nb-NO" sz="1400" b="1" dirty="0" err="1">
                <a:latin typeface="Montserrat" pitchFamily="2" charset="77"/>
              </a:rPr>
              <a:t>Insidental</a:t>
            </a:r>
            <a:endParaRPr lang="nb-NO" sz="1400" b="1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400" dirty="0" err="1">
                <a:latin typeface="Montserrat" pitchFamily="2" charset="77"/>
              </a:rPr>
              <a:t>Waktu</a:t>
            </a:r>
            <a:r>
              <a:rPr lang="nb-NO" sz="1400" dirty="0">
                <a:latin typeface="Montserrat" pitchFamily="2" charset="77"/>
              </a:rPr>
              <a:t> </a:t>
            </a:r>
            <a:r>
              <a:rPr lang="nb-NO" sz="1400" dirty="0" err="1">
                <a:latin typeface="Montserrat" pitchFamily="2" charset="77"/>
              </a:rPr>
              <a:t>Pengawasan</a:t>
            </a:r>
            <a:r>
              <a:rPr lang="nb-NO" sz="1400" dirty="0">
                <a:latin typeface="Montserrat" pitchFamily="2" charset="77"/>
              </a:rPr>
              <a:t>		</a:t>
            </a:r>
            <a:r>
              <a:rPr lang="en-ID" sz="1400" dirty="0">
                <a:latin typeface="Montserrat" pitchFamily="2" charset="77"/>
              </a:rPr>
              <a:t>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ID" sz="14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400" dirty="0">
              <a:latin typeface="Montserrat" pitchFamily="2" charset="77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8D493DE-EBB0-964E-B18E-AE8D6942D702}"/>
              </a:ext>
            </a:extLst>
          </p:cNvPr>
          <p:cNvGraphicFramePr>
            <a:graphicFrameLocks noGrp="1"/>
          </p:cNvGraphicFramePr>
          <p:nvPr/>
        </p:nvGraphicFramePr>
        <p:xfrm>
          <a:off x="381519" y="1615440"/>
          <a:ext cx="11428959" cy="3200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4301">
                  <a:extLst>
                    <a:ext uri="{9D8B030D-6E8A-4147-A177-3AD203B41FA5}">
                      <a16:colId xmlns:a16="http://schemas.microsoft.com/office/drawing/2014/main" val="1006143304"/>
                    </a:ext>
                  </a:extLst>
                </a:gridCol>
                <a:gridCol w="2189004">
                  <a:extLst>
                    <a:ext uri="{9D8B030D-6E8A-4147-A177-3AD203B41FA5}">
                      <a16:colId xmlns:a16="http://schemas.microsoft.com/office/drawing/2014/main" val="2693148877"/>
                    </a:ext>
                  </a:extLst>
                </a:gridCol>
                <a:gridCol w="1948656">
                  <a:extLst>
                    <a:ext uri="{9D8B030D-6E8A-4147-A177-3AD203B41FA5}">
                      <a16:colId xmlns:a16="http://schemas.microsoft.com/office/drawing/2014/main" val="796222773"/>
                    </a:ext>
                  </a:extLst>
                </a:gridCol>
                <a:gridCol w="1634490">
                  <a:extLst>
                    <a:ext uri="{9D8B030D-6E8A-4147-A177-3AD203B41FA5}">
                      <a16:colId xmlns:a16="http://schemas.microsoft.com/office/drawing/2014/main" val="2861788593"/>
                    </a:ext>
                  </a:extLst>
                </a:gridCol>
                <a:gridCol w="1885950">
                  <a:extLst>
                    <a:ext uri="{9D8B030D-6E8A-4147-A177-3AD203B41FA5}">
                      <a16:colId xmlns:a16="http://schemas.microsoft.com/office/drawing/2014/main" val="1482962562"/>
                    </a:ext>
                  </a:extLst>
                </a:gridCol>
                <a:gridCol w="1531620">
                  <a:extLst>
                    <a:ext uri="{9D8B030D-6E8A-4147-A177-3AD203B41FA5}">
                      <a16:colId xmlns:a16="http://schemas.microsoft.com/office/drawing/2014/main" val="1169877210"/>
                    </a:ext>
                  </a:extLst>
                </a:gridCol>
                <a:gridCol w="1774938">
                  <a:extLst>
                    <a:ext uri="{9D8B030D-6E8A-4147-A177-3AD203B41FA5}">
                      <a16:colId xmlns:a16="http://schemas.microsoft.com/office/drawing/2014/main" val="3659636354"/>
                    </a:ext>
                  </a:extLst>
                </a:gridCol>
              </a:tblGrid>
              <a:tr h="814722"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o.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omor Sertifikasi Standar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NIB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PEMEGANG SERTIFIKAT STANDAR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KLASIFIKASI / SUBKLASIFIKASI*)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KESIMPULAN PEMERIKSAAN (Tertib/Tidak Tertib)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>
                          <a:effectLst/>
                          <a:latin typeface="Montserrat" pitchFamily="2" charset="77"/>
                        </a:rPr>
                        <a:t>CATATAN PEMERIKSAAN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185342152"/>
                  </a:ext>
                </a:extLst>
              </a:tr>
              <a:tr h="135787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008540464"/>
                  </a:ext>
                </a:extLst>
              </a:tr>
              <a:tr h="135787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61336467"/>
                  </a:ext>
                </a:extLst>
              </a:tr>
              <a:tr h="135787"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842091370"/>
                  </a:ext>
                </a:extLst>
              </a:tr>
              <a:tr h="135787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1382139"/>
                  </a:ext>
                </a:extLst>
              </a:tr>
              <a:tr h="135787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06032958"/>
                  </a:ext>
                </a:extLst>
              </a:tr>
              <a:tr h="135787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845381029"/>
                  </a:ext>
                </a:extLst>
              </a:tr>
              <a:tr h="135787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717893323"/>
                  </a:ext>
                </a:extLst>
              </a:tr>
              <a:tr h="135787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147266902"/>
                  </a:ext>
                </a:extLst>
              </a:tr>
              <a:tr h="135787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70731390"/>
                  </a:ext>
                </a:extLst>
              </a:tr>
              <a:tr h="135787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099449728"/>
                  </a:ext>
                </a:extLst>
              </a:tr>
              <a:tr h="135787"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r>
                        <a:rPr lang="en-ID" sz="14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6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0084974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68586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E40A4D-D452-0642-BF8D-0258DB460C93}"/>
              </a:ext>
            </a:extLst>
          </p:cNvPr>
          <p:cNvSpPr/>
          <p:nvPr/>
        </p:nvSpPr>
        <p:spPr>
          <a:xfrm>
            <a:off x="381520" y="96233"/>
            <a:ext cx="11428959" cy="10158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tter"/>
              <a:ea typeface="+mn-ea"/>
              <a:cs typeface="+mn-c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F47CB03-C7C3-2D47-B6B0-D6A6545F9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475" y="96233"/>
            <a:ext cx="11035216" cy="871445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200" b="1" dirty="0" err="1">
                <a:latin typeface="Montserrat" pitchFamily="2" charset="77"/>
              </a:rPr>
              <a:t>Simak</a:t>
            </a:r>
            <a:r>
              <a:rPr lang="nb-NO" sz="1200" b="1" dirty="0">
                <a:latin typeface="Montserrat" pitchFamily="2" charset="77"/>
              </a:rPr>
              <a:t> – 1f </a:t>
            </a:r>
            <a:r>
              <a:rPr lang="nb-NO" sz="1200" b="1" dirty="0" err="1">
                <a:latin typeface="Montserrat" pitchFamily="2" charset="77"/>
              </a:rPr>
              <a:t>Contoh</a:t>
            </a:r>
            <a:r>
              <a:rPr lang="nb-NO" sz="1200" b="1" dirty="0">
                <a:latin typeface="Montserrat" pitchFamily="2" charset="77"/>
              </a:rPr>
              <a:t> </a:t>
            </a:r>
            <a:r>
              <a:rPr lang="nb-NO" sz="1200" b="1" dirty="0" err="1">
                <a:latin typeface="Montserrat" pitchFamily="2" charset="77"/>
              </a:rPr>
              <a:t>Pengisian</a:t>
            </a:r>
            <a:r>
              <a:rPr lang="nb-NO" sz="1200" b="1" dirty="0">
                <a:latin typeface="Montserrat" pitchFamily="2" charset="77"/>
              </a:rPr>
              <a:t> </a:t>
            </a:r>
            <a:r>
              <a:rPr lang="nb-NO" sz="1200" b="1" dirty="0" err="1">
                <a:latin typeface="Montserrat" pitchFamily="2" charset="77"/>
              </a:rPr>
              <a:t>Pengawasan</a:t>
            </a:r>
            <a:r>
              <a:rPr lang="nb-NO" sz="1200" b="1" dirty="0">
                <a:latin typeface="Montserrat" pitchFamily="2" charset="77"/>
              </a:rPr>
              <a:t> </a:t>
            </a:r>
            <a:r>
              <a:rPr lang="nb-NO" sz="1200" b="1" dirty="0" err="1">
                <a:latin typeface="Montserrat" pitchFamily="2" charset="77"/>
              </a:rPr>
              <a:t>Tertib</a:t>
            </a:r>
            <a:r>
              <a:rPr lang="nb-NO" sz="1200" b="1" dirty="0">
                <a:latin typeface="Montserrat" pitchFamily="2" charset="77"/>
              </a:rPr>
              <a:t> </a:t>
            </a:r>
            <a:r>
              <a:rPr lang="nb-NO" sz="1200" b="1" dirty="0" err="1">
                <a:latin typeface="Montserrat" pitchFamily="2" charset="77"/>
              </a:rPr>
              <a:t>Usaha</a:t>
            </a:r>
            <a:r>
              <a:rPr lang="nb-NO" sz="1200" b="1" dirty="0">
                <a:latin typeface="Montserrat" pitchFamily="2" charset="77"/>
              </a:rPr>
              <a:t> </a:t>
            </a:r>
            <a:r>
              <a:rPr lang="nb-NO" sz="1200" b="1" dirty="0" err="1">
                <a:latin typeface="Montserrat" pitchFamily="2" charset="77"/>
              </a:rPr>
              <a:t>terhadap</a:t>
            </a:r>
            <a:r>
              <a:rPr lang="nb-NO" sz="1200" b="1" dirty="0">
                <a:latin typeface="Montserrat" pitchFamily="2" charset="77"/>
              </a:rPr>
              <a:t> </a:t>
            </a:r>
            <a:r>
              <a:rPr lang="nb-NO" sz="1200" b="1" dirty="0" err="1">
                <a:latin typeface="Montserrat" pitchFamily="2" charset="77"/>
              </a:rPr>
              <a:t>Pelaksanaan</a:t>
            </a:r>
            <a:r>
              <a:rPr lang="nb-NO" sz="1200" b="1" dirty="0">
                <a:latin typeface="Montserrat" pitchFamily="2" charset="77"/>
              </a:rPr>
              <a:t> </a:t>
            </a:r>
            <a:r>
              <a:rPr lang="nb-NO" sz="1200" b="1" dirty="0" err="1">
                <a:latin typeface="Montserrat" pitchFamily="2" charset="77"/>
              </a:rPr>
              <a:t>Pengembangan</a:t>
            </a:r>
            <a:r>
              <a:rPr lang="nb-NO" sz="1200" b="1" dirty="0">
                <a:latin typeface="Montserrat" pitchFamily="2" charset="77"/>
              </a:rPr>
              <a:t> </a:t>
            </a:r>
            <a:r>
              <a:rPr lang="nb-NO" sz="1200" b="1" dirty="0" err="1">
                <a:latin typeface="Montserrat" pitchFamily="2" charset="77"/>
              </a:rPr>
              <a:t>Usaha</a:t>
            </a:r>
            <a:r>
              <a:rPr lang="nb-NO" sz="1200" b="1" dirty="0">
                <a:latin typeface="Montserrat" pitchFamily="2" charset="77"/>
              </a:rPr>
              <a:t> </a:t>
            </a:r>
            <a:r>
              <a:rPr lang="nb-NO" sz="1200" b="1" dirty="0" err="1">
                <a:latin typeface="Montserrat" pitchFamily="2" charset="77"/>
              </a:rPr>
              <a:t>Berkelanjutan</a:t>
            </a:r>
            <a:endParaRPr lang="nb-NO" sz="1200" b="1" dirty="0">
              <a:latin typeface="Montserrat" pitchFamily="2" charset="77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nb-NO" sz="1200" dirty="0">
              <a:latin typeface="Montserrat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200" dirty="0" err="1">
                <a:latin typeface="Montserrat" pitchFamily="2" charset="77"/>
              </a:rPr>
              <a:t>Nama</a:t>
            </a:r>
            <a:r>
              <a:rPr lang="nb-NO" sz="1200" dirty="0">
                <a:latin typeface="Montserrat" pitchFamily="2" charset="77"/>
              </a:rPr>
              <a:t> </a:t>
            </a:r>
            <a:r>
              <a:rPr lang="nb-NO" sz="1200" dirty="0" err="1">
                <a:latin typeface="Montserrat" pitchFamily="2" charset="77"/>
              </a:rPr>
              <a:t>Badan</a:t>
            </a:r>
            <a:r>
              <a:rPr lang="nb-NO" sz="1200" dirty="0">
                <a:latin typeface="Montserrat" pitchFamily="2" charset="77"/>
              </a:rPr>
              <a:t> </a:t>
            </a:r>
            <a:r>
              <a:rPr lang="nb-NO" sz="1200" dirty="0" err="1">
                <a:latin typeface="Montserrat" pitchFamily="2" charset="77"/>
              </a:rPr>
              <a:t>Usaha</a:t>
            </a:r>
            <a:r>
              <a:rPr lang="nb-NO" sz="1200" dirty="0">
                <a:latin typeface="Montserrat" pitchFamily="2" charset="77"/>
              </a:rPr>
              <a:t>			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200" dirty="0" err="1">
                <a:latin typeface="Montserrat" pitchFamily="2" charset="77"/>
              </a:rPr>
              <a:t>Nomor</a:t>
            </a:r>
            <a:r>
              <a:rPr lang="nb-NO" sz="1200" dirty="0">
                <a:latin typeface="Montserrat" pitchFamily="2" charset="77"/>
              </a:rPr>
              <a:t> </a:t>
            </a:r>
            <a:r>
              <a:rPr lang="nb-NO" sz="1200" dirty="0" err="1">
                <a:latin typeface="Montserrat" pitchFamily="2" charset="77"/>
              </a:rPr>
              <a:t>Induk</a:t>
            </a:r>
            <a:r>
              <a:rPr lang="nb-NO" sz="1200" dirty="0">
                <a:latin typeface="Montserrat" pitchFamily="2" charset="77"/>
              </a:rPr>
              <a:t> </a:t>
            </a:r>
            <a:r>
              <a:rPr lang="nb-NO" sz="1200" dirty="0" err="1">
                <a:latin typeface="Montserrat" pitchFamily="2" charset="77"/>
              </a:rPr>
              <a:t>Berusaha</a:t>
            </a:r>
            <a:r>
              <a:rPr lang="nb-NO" sz="1200" dirty="0">
                <a:latin typeface="Montserrat" pitchFamily="2" charset="77"/>
              </a:rPr>
              <a:t>		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nb-NO" sz="1200" dirty="0" err="1">
                <a:latin typeface="Montserrat" pitchFamily="2" charset="77"/>
              </a:rPr>
              <a:t>Tanggal</a:t>
            </a:r>
            <a:r>
              <a:rPr lang="nb-NO" sz="1200" dirty="0">
                <a:latin typeface="Montserrat" pitchFamily="2" charset="77"/>
              </a:rPr>
              <a:t> </a:t>
            </a:r>
            <a:r>
              <a:rPr lang="nb-NO" sz="1200" dirty="0" err="1">
                <a:latin typeface="Montserrat" pitchFamily="2" charset="77"/>
              </a:rPr>
              <a:t>Pengawasan</a:t>
            </a:r>
            <a:r>
              <a:rPr lang="nb-NO" sz="1200" dirty="0">
                <a:latin typeface="Montserrat" pitchFamily="2" charset="77"/>
              </a:rPr>
              <a:t>		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nb-NO" sz="1200" b="1" dirty="0">
              <a:latin typeface="Montserrat" pitchFamily="2" charset="77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31CC3FA-CE99-1C4F-BFA2-B987BAE55C26}"/>
              </a:ext>
            </a:extLst>
          </p:cNvPr>
          <p:cNvGraphicFramePr>
            <a:graphicFrameLocks noGrp="1"/>
          </p:cNvGraphicFramePr>
          <p:nvPr/>
        </p:nvGraphicFramePr>
        <p:xfrm>
          <a:off x="359674" y="1182646"/>
          <a:ext cx="11428959" cy="56506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6383">
                  <a:extLst>
                    <a:ext uri="{9D8B030D-6E8A-4147-A177-3AD203B41FA5}">
                      <a16:colId xmlns:a16="http://schemas.microsoft.com/office/drawing/2014/main" val="2897411130"/>
                    </a:ext>
                  </a:extLst>
                </a:gridCol>
                <a:gridCol w="1717589">
                  <a:extLst>
                    <a:ext uri="{9D8B030D-6E8A-4147-A177-3AD203B41FA5}">
                      <a16:colId xmlns:a16="http://schemas.microsoft.com/office/drawing/2014/main" val="3208193791"/>
                    </a:ext>
                  </a:extLst>
                </a:gridCol>
                <a:gridCol w="1788862">
                  <a:extLst>
                    <a:ext uri="{9D8B030D-6E8A-4147-A177-3AD203B41FA5}">
                      <a16:colId xmlns:a16="http://schemas.microsoft.com/office/drawing/2014/main" val="81863812"/>
                    </a:ext>
                  </a:extLst>
                </a:gridCol>
                <a:gridCol w="1668162">
                  <a:extLst>
                    <a:ext uri="{9D8B030D-6E8A-4147-A177-3AD203B41FA5}">
                      <a16:colId xmlns:a16="http://schemas.microsoft.com/office/drawing/2014/main" val="3347694431"/>
                    </a:ext>
                  </a:extLst>
                </a:gridCol>
                <a:gridCol w="3496962">
                  <a:extLst>
                    <a:ext uri="{9D8B030D-6E8A-4147-A177-3AD203B41FA5}">
                      <a16:colId xmlns:a16="http://schemas.microsoft.com/office/drawing/2014/main" val="1268786860"/>
                    </a:ext>
                  </a:extLst>
                </a:gridCol>
                <a:gridCol w="1171963">
                  <a:extLst>
                    <a:ext uri="{9D8B030D-6E8A-4147-A177-3AD203B41FA5}">
                      <a16:colId xmlns:a16="http://schemas.microsoft.com/office/drawing/2014/main" val="1865143429"/>
                    </a:ext>
                  </a:extLst>
                </a:gridCol>
                <a:gridCol w="1139038">
                  <a:extLst>
                    <a:ext uri="{9D8B030D-6E8A-4147-A177-3AD203B41FA5}">
                      <a16:colId xmlns:a16="http://schemas.microsoft.com/office/drawing/2014/main" val="1536534097"/>
                    </a:ext>
                  </a:extLst>
                </a:gridCol>
              </a:tblGrid>
              <a:tr h="362611">
                <a:tc>
                  <a:txBody>
                    <a:bodyPr/>
                    <a:lstStyle/>
                    <a:p>
                      <a:pPr algn="ctr"/>
                      <a:r>
                        <a:rPr lang="en-ID" sz="1150">
                          <a:effectLst/>
                          <a:latin typeface="Montserrat" pitchFamily="2" charset="77"/>
                        </a:rPr>
                        <a:t>No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50">
                          <a:effectLst/>
                          <a:latin typeface="Montserrat" pitchFamily="2" charset="77"/>
                        </a:rPr>
                        <a:t>PENGEMBANGAN USAHA BERKELANJUTAN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50">
                          <a:effectLst/>
                          <a:latin typeface="Montserrat" pitchFamily="2" charset="77"/>
                        </a:rPr>
                        <a:t>INDIKATOR/SUB INDIKATOR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DOKUMEN YANG DIPERIKSA</a:t>
                      </a:r>
                      <a:endParaRPr lang="en-ID" sz="115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50">
                          <a:effectLst/>
                          <a:latin typeface="Montserrat" pitchFamily="2" charset="77"/>
                        </a:rPr>
                        <a:t>CARA PEMERIKSANAAN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HASIL PEMERIKSAAN</a:t>
                      </a:r>
                      <a:endParaRPr lang="en-ID" sz="115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50">
                          <a:effectLst/>
                          <a:latin typeface="Montserrat" pitchFamily="2" charset="77"/>
                        </a:rPr>
                        <a:t>CATATAN PEMERIKSAAN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ctr"/>
                </a:tc>
                <a:extLst>
                  <a:ext uri="{0D108BD9-81ED-4DB2-BD59-A6C34878D82A}">
                    <a16:rowId xmlns:a16="http://schemas.microsoft.com/office/drawing/2014/main" val="3983070628"/>
                  </a:ext>
                </a:extLst>
              </a:tr>
              <a:tr h="815876">
                <a:tc>
                  <a:txBody>
                    <a:bodyPr/>
                    <a:lstStyle/>
                    <a:p>
                      <a:pPr algn="ctr"/>
                      <a:r>
                        <a:rPr lang="en-ID" sz="1150">
                          <a:effectLst/>
                          <a:latin typeface="Montserrat" pitchFamily="2" charset="77"/>
                        </a:rPr>
                        <a:t>1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Peningkatan kapasitas sumber daya manusia badan usaha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Badan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melakuk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kegiat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ningkat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kapasitas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SDM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melalui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kegiat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ndidik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latih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/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bimtek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/ seminar/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loka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karya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(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tahu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terakhir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)</a:t>
                      </a:r>
                      <a:endParaRPr lang="en-ID" sz="115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Lapor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tahun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kegiat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BUJK yang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berisi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laksana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ngembang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berkelanjutan</a:t>
                      </a:r>
                      <a:endParaRPr lang="en-ID" sz="115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Memeriksa apakah dalam laporan telah memuat kegiatan peningkatan kapasitas SDM melalui kegiatan pendidikan pelatihan/bimtek/seminar/loka karya (tahun terakhir) 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Sudah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/Belum </a:t>
                      </a:r>
                      <a:endParaRPr lang="en-ID" sz="115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b"/>
                </a:tc>
                <a:extLst>
                  <a:ext uri="{0D108BD9-81ED-4DB2-BD59-A6C34878D82A}">
                    <a16:rowId xmlns:a16="http://schemas.microsoft.com/office/drawing/2014/main" val="3574393990"/>
                  </a:ext>
                </a:extLst>
              </a:tr>
              <a:tr h="634570">
                <a:tc>
                  <a:txBody>
                    <a:bodyPr/>
                    <a:lstStyle/>
                    <a:p>
                      <a:pPr algn="ctr"/>
                      <a:r>
                        <a:rPr lang="en-ID" sz="1150">
                          <a:effectLst/>
                          <a:latin typeface="Montserrat" pitchFamily="2" charset="77"/>
                        </a:rPr>
                        <a:t>2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Peningkatan Peralatan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nambah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/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mbaru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ralat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endParaRPr lang="en-ID" sz="115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Laporan tahunan kegiatan BUJK yang berisi pelaksanaan pengembangan usaha berkelanjutan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Memeriksa apakah dalam laporan telah memuat kegiatan peningkatan peralatan melalui penambahan/pembaruan peralatan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Sudah/belum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b"/>
                </a:tc>
                <a:extLst>
                  <a:ext uri="{0D108BD9-81ED-4DB2-BD59-A6C34878D82A}">
                    <a16:rowId xmlns:a16="http://schemas.microsoft.com/office/drawing/2014/main" val="4189295447"/>
                  </a:ext>
                </a:extLst>
              </a:tr>
              <a:tr h="725223">
                <a:tc rowSpan="2">
                  <a:txBody>
                    <a:bodyPr/>
                    <a:lstStyle/>
                    <a:p>
                      <a:pPr algn="ctr"/>
                      <a:r>
                        <a:rPr lang="en-ID" sz="1150">
                          <a:effectLst/>
                          <a:latin typeface="Montserrat" pitchFamily="2" charset="77"/>
                        </a:rPr>
                        <a:t>3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 rowSpan="2"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Peningkatan teknologi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a.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nambah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/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mbaru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/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ningkat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kecepat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/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ningkat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konte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software </a:t>
                      </a:r>
                      <a:endParaRPr lang="en-ID" sz="115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 rowSpan="2">
                  <a:txBody>
                    <a:bodyPr/>
                    <a:lstStyle/>
                    <a:p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Lapor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tahun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kegiat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BUJK yang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berisi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laksana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pengembangan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50" dirty="0" err="1">
                          <a:effectLst/>
                          <a:latin typeface="Montserrat" pitchFamily="2" charset="77"/>
                        </a:rPr>
                        <a:t>berkelanjutan</a:t>
                      </a:r>
                      <a:endParaRPr lang="en-ID" sz="115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Memeriksa apakah dalam laporan telah memuat kegiatan Penambahan/Pembaruan/Peningkatan kecepatan /peningkatan konten software 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Sudah/Belum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b"/>
                </a:tc>
                <a:extLst>
                  <a:ext uri="{0D108BD9-81ED-4DB2-BD59-A6C34878D82A}">
                    <a16:rowId xmlns:a16="http://schemas.microsoft.com/office/drawing/2014/main" val="3064441013"/>
                  </a:ext>
                </a:extLst>
              </a:tr>
              <a:tr h="54391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b. Penambahan/ pembaruan/ peningkatan kapasitas hardware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Memeriksa apakah dalam laporan telah memuat kegiatan Penambahan/pembaruan/peningkatan kapasitas hardware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Sudah/Belum 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b"/>
                </a:tc>
                <a:extLst>
                  <a:ext uri="{0D108BD9-81ED-4DB2-BD59-A6C34878D82A}">
                    <a16:rowId xmlns:a16="http://schemas.microsoft.com/office/drawing/2014/main" val="94331436"/>
                  </a:ext>
                </a:extLst>
              </a:tr>
              <a:tr h="543917">
                <a:tc rowSpan="2">
                  <a:txBody>
                    <a:bodyPr/>
                    <a:lstStyle/>
                    <a:p>
                      <a:pPr algn="ctr"/>
                      <a:r>
                        <a:rPr lang="en-ID" sz="1150">
                          <a:effectLst/>
                          <a:latin typeface="Montserrat" pitchFamily="2" charset="77"/>
                        </a:rPr>
                        <a:t>4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 rowSpan="2"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Peningkatan kualitas pengelolaan keuangan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a. Opini akuntan publik untuk kualifikasi usaha besar dan menengah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Laporan keuangan BUJK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Memeriksa apakah ada peningkatan opini akuntan publik dari laporan opini akuntan publik tahun sebelumnya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Meningkat/Tetap/Menurun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b"/>
                </a:tc>
                <a:extLst>
                  <a:ext uri="{0D108BD9-81ED-4DB2-BD59-A6C34878D82A}">
                    <a16:rowId xmlns:a16="http://schemas.microsoft.com/office/drawing/2014/main" val="2425813715"/>
                  </a:ext>
                </a:extLst>
              </a:tr>
              <a:tr h="72522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b. Penggunaan Standar Akuntansi untuk kualifikasi usaha kecil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Laporan keuangan BUJK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Memeriksa apakah laporan keuanga telah memenuhi standar akuntansi (sekurang-kurangnya memuat pencatatan penerimaan dan pengeluaran, hutang dan piutang)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/>
                </a:tc>
                <a:tc>
                  <a:txBody>
                    <a:bodyPr/>
                    <a:lstStyle/>
                    <a:p>
                      <a:r>
                        <a:rPr lang="en-ID" sz="1150">
                          <a:effectLst/>
                          <a:latin typeface="Montserrat" pitchFamily="2" charset="77"/>
                        </a:rPr>
                        <a:t>Sudah /Belum </a:t>
                      </a:r>
                      <a:endParaRPr lang="en-ID" sz="115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15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5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085" marR="37085" marT="0" marB="0" anchor="b"/>
                </a:tc>
                <a:extLst>
                  <a:ext uri="{0D108BD9-81ED-4DB2-BD59-A6C34878D82A}">
                    <a16:rowId xmlns:a16="http://schemas.microsoft.com/office/drawing/2014/main" val="41349547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1483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pattFill prst="dotGrid">
          <a:fgClr>
            <a:srgbClr val="F6F5F8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B686E557-9357-F344-A89D-499CB8571778}"/>
              </a:ext>
            </a:extLst>
          </p:cNvPr>
          <p:cNvSpPr/>
          <p:nvPr/>
        </p:nvSpPr>
        <p:spPr>
          <a:xfrm>
            <a:off x="4337230" y="4183406"/>
            <a:ext cx="3863797" cy="2481915"/>
          </a:xfrm>
          <a:prstGeom prst="roundRect">
            <a:avLst>
              <a:gd name="adj" fmla="val 10049"/>
            </a:avLst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5B174345-1BBA-5049-BE50-F3E9C62FFB4A}"/>
              </a:ext>
            </a:extLst>
          </p:cNvPr>
          <p:cNvSpPr/>
          <p:nvPr/>
        </p:nvSpPr>
        <p:spPr>
          <a:xfrm>
            <a:off x="366661" y="1173250"/>
            <a:ext cx="3618790" cy="5479588"/>
          </a:xfrm>
          <a:prstGeom prst="roundRect">
            <a:avLst>
              <a:gd name="adj" fmla="val 10049"/>
            </a:avLst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pic>
        <p:nvPicPr>
          <p:cNvPr id="114" name="Picture Placeholder 113">
            <a:extLst>
              <a:ext uri="{FF2B5EF4-FFF2-40B4-BE49-F238E27FC236}">
                <a16:creationId xmlns:a16="http://schemas.microsoft.com/office/drawing/2014/main" id="{D3246BE7-2F99-31B8-CDE4-3B82149737D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hqprint">
            <a:alphaModFix amt="6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2855" r="22855"/>
          <a:stretch/>
        </p:blipFill>
        <p:spPr>
          <a:xfrm>
            <a:off x="5687986" y="28042"/>
            <a:ext cx="6490034" cy="6858000"/>
          </a:xfrm>
          <a:noFill/>
        </p:spPr>
      </p:pic>
      <p:sp>
        <p:nvSpPr>
          <p:cNvPr id="120" name="Rectangle 119">
            <a:extLst>
              <a:ext uri="{FF2B5EF4-FFF2-40B4-BE49-F238E27FC236}">
                <a16:creationId xmlns:a16="http://schemas.microsoft.com/office/drawing/2014/main" id="{9BE167DE-6861-2E4E-B9DA-34FBBA1E3E75}"/>
              </a:ext>
            </a:extLst>
          </p:cNvPr>
          <p:cNvSpPr/>
          <p:nvPr/>
        </p:nvSpPr>
        <p:spPr>
          <a:xfrm>
            <a:off x="1905904" y="106666"/>
            <a:ext cx="10272905" cy="599342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3CAE5164-B449-DE42-9970-3E22A3454CAD}"/>
              </a:ext>
            </a:extLst>
          </p:cNvPr>
          <p:cNvSpPr txBox="1"/>
          <p:nvPr/>
        </p:nvSpPr>
        <p:spPr>
          <a:xfrm>
            <a:off x="2219161" y="139412"/>
            <a:ext cx="86029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PENGAWASAN BERJENJANG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FF8749E-5DDB-654A-A839-7592DC62D347}"/>
              </a:ext>
            </a:extLst>
          </p:cNvPr>
          <p:cNvSpPr/>
          <p:nvPr/>
        </p:nvSpPr>
        <p:spPr>
          <a:xfrm>
            <a:off x="65507" y="852403"/>
            <a:ext cx="2153654" cy="568594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2C893175-342A-694C-9AE6-84853967DD95}"/>
              </a:ext>
            </a:extLst>
          </p:cNvPr>
          <p:cNvSpPr/>
          <p:nvPr/>
        </p:nvSpPr>
        <p:spPr>
          <a:xfrm>
            <a:off x="8415987" y="1145944"/>
            <a:ext cx="3618790" cy="5479588"/>
          </a:xfrm>
          <a:prstGeom prst="roundRect">
            <a:avLst>
              <a:gd name="adj" fmla="val 10049"/>
            </a:avLst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E95129B0-8EF4-3249-93D8-833442546E3C}"/>
              </a:ext>
            </a:extLst>
          </p:cNvPr>
          <p:cNvSpPr/>
          <p:nvPr/>
        </p:nvSpPr>
        <p:spPr>
          <a:xfrm>
            <a:off x="8114833" y="825097"/>
            <a:ext cx="2153654" cy="568594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2DB34463-C198-1D49-B7DB-CDDB24A6787A}"/>
              </a:ext>
            </a:extLst>
          </p:cNvPr>
          <p:cNvSpPr/>
          <p:nvPr/>
        </p:nvSpPr>
        <p:spPr>
          <a:xfrm>
            <a:off x="4400922" y="1159178"/>
            <a:ext cx="3618790" cy="2801321"/>
          </a:xfrm>
          <a:prstGeom prst="roundRect">
            <a:avLst>
              <a:gd name="adj" fmla="val 10049"/>
            </a:avLst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4440140B-034D-0F44-B995-ACEE1B39C60E}"/>
              </a:ext>
            </a:extLst>
          </p:cNvPr>
          <p:cNvSpPr/>
          <p:nvPr/>
        </p:nvSpPr>
        <p:spPr>
          <a:xfrm>
            <a:off x="4099768" y="838332"/>
            <a:ext cx="2153654" cy="568594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0" name="Google Shape;248;p23">
            <a:extLst>
              <a:ext uri="{FF2B5EF4-FFF2-40B4-BE49-F238E27FC236}">
                <a16:creationId xmlns:a16="http://schemas.microsoft.com/office/drawing/2014/main" id="{D6319593-5253-D640-AB50-FC10F0D8354E}"/>
              </a:ext>
            </a:extLst>
          </p:cNvPr>
          <p:cNvSpPr txBox="1">
            <a:spLocks/>
          </p:cNvSpPr>
          <p:nvPr/>
        </p:nvSpPr>
        <p:spPr>
          <a:xfrm>
            <a:off x="4685620" y="893249"/>
            <a:ext cx="985965" cy="576022"/>
          </a:xfrm>
          <a:prstGeom prst="rect">
            <a:avLst/>
          </a:prstGeom>
        </p:spPr>
        <p:txBody>
          <a:bodyPr spcFirstLastPara="1" wrap="square" lIns="121884" tIns="121884" rIns="121884" bIns="12188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LSBU</a:t>
            </a:r>
          </a:p>
        </p:txBody>
      </p:sp>
      <p:sp>
        <p:nvSpPr>
          <p:cNvPr id="14" name="Google Shape;248;p23">
            <a:extLst>
              <a:ext uri="{FF2B5EF4-FFF2-40B4-BE49-F238E27FC236}">
                <a16:creationId xmlns:a16="http://schemas.microsoft.com/office/drawing/2014/main" id="{41AEC3FD-D95F-E642-896E-C675013B5D63}"/>
              </a:ext>
            </a:extLst>
          </p:cNvPr>
          <p:cNvSpPr txBox="1">
            <a:spLocks/>
          </p:cNvSpPr>
          <p:nvPr/>
        </p:nvSpPr>
        <p:spPr>
          <a:xfrm>
            <a:off x="349328" y="858140"/>
            <a:ext cx="1610685" cy="576022"/>
          </a:xfrm>
          <a:prstGeom prst="rect">
            <a:avLst/>
          </a:prstGeom>
        </p:spPr>
        <p:txBody>
          <a:bodyPr spcFirstLastPara="1" wrap="square" lIns="121884" tIns="121884" rIns="121884" bIns="12188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ASOSIASI</a:t>
            </a:r>
          </a:p>
        </p:txBody>
      </p:sp>
      <p:sp>
        <p:nvSpPr>
          <p:cNvPr id="15" name="Google Shape;248;p23">
            <a:extLst>
              <a:ext uri="{FF2B5EF4-FFF2-40B4-BE49-F238E27FC236}">
                <a16:creationId xmlns:a16="http://schemas.microsoft.com/office/drawing/2014/main" id="{05470C5A-6DCD-2A44-A713-2D682926BE44}"/>
              </a:ext>
            </a:extLst>
          </p:cNvPr>
          <p:cNvSpPr txBox="1">
            <a:spLocks/>
          </p:cNvSpPr>
          <p:nvPr/>
        </p:nvSpPr>
        <p:spPr>
          <a:xfrm>
            <a:off x="8705903" y="854962"/>
            <a:ext cx="1610685" cy="576022"/>
          </a:xfrm>
          <a:prstGeom prst="rect">
            <a:avLst/>
          </a:prstGeom>
        </p:spPr>
        <p:txBody>
          <a:bodyPr spcFirstLastPara="1" wrap="square" lIns="121884" tIns="121884" rIns="121884" bIns="12188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LSP</a:t>
            </a:r>
          </a:p>
        </p:txBody>
      </p:sp>
      <p:sp>
        <p:nvSpPr>
          <p:cNvPr id="17" name="Google Shape;248;p23">
            <a:extLst>
              <a:ext uri="{FF2B5EF4-FFF2-40B4-BE49-F238E27FC236}">
                <a16:creationId xmlns:a16="http://schemas.microsoft.com/office/drawing/2014/main" id="{882CE9D9-3C27-8645-BE4E-E800393F9850}"/>
              </a:ext>
            </a:extLst>
          </p:cNvPr>
          <p:cNvSpPr txBox="1">
            <a:spLocks/>
          </p:cNvSpPr>
          <p:nvPr/>
        </p:nvSpPr>
        <p:spPr>
          <a:xfrm>
            <a:off x="8097659" y="1443657"/>
            <a:ext cx="4004924" cy="599343"/>
          </a:xfrm>
          <a:prstGeom prst="rect">
            <a:avLst/>
          </a:prstGeom>
        </p:spPr>
        <p:txBody>
          <a:bodyPr spcFirstLastPara="1" wrap="square" lIns="121884" tIns="121884" rIns="121884" bIns="12188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55600" marR="0" lvl="3" indent="-355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SK DIRJEN BK 120 TAHUN 2022</a:t>
            </a:r>
          </a:p>
        </p:txBody>
      </p:sp>
      <p:sp>
        <p:nvSpPr>
          <p:cNvPr id="18" name="Google Shape;248;p23">
            <a:extLst>
              <a:ext uri="{FF2B5EF4-FFF2-40B4-BE49-F238E27FC236}">
                <a16:creationId xmlns:a16="http://schemas.microsoft.com/office/drawing/2014/main" id="{DEAE0ED0-2168-C840-BF6F-FAD847F96B6A}"/>
              </a:ext>
            </a:extLst>
          </p:cNvPr>
          <p:cNvSpPr txBox="1">
            <a:spLocks/>
          </p:cNvSpPr>
          <p:nvPr/>
        </p:nvSpPr>
        <p:spPr>
          <a:xfrm>
            <a:off x="8106952" y="1980329"/>
            <a:ext cx="4004924" cy="599343"/>
          </a:xfrm>
          <a:prstGeom prst="rect">
            <a:avLst/>
          </a:prstGeom>
        </p:spPr>
        <p:txBody>
          <a:bodyPr spcFirstLastPara="1" wrap="square" lIns="121884" tIns="121884" rIns="121884" bIns="12188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55600" marR="0" lvl="3" indent="-355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PEDOMAN PEMANTAUAN DAN PELAPORAN LSP BIDANG JASA KONSTRUKS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8BD483F-D7F2-D248-8732-CDE8BA875226}"/>
              </a:ext>
            </a:extLst>
          </p:cNvPr>
          <p:cNvSpPr txBox="1"/>
          <p:nvPr/>
        </p:nvSpPr>
        <p:spPr>
          <a:xfrm>
            <a:off x="9348196" y="3078274"/>
            <a:ext cx="1681415" cy="369332"/>
          </a:xfrm>
          <a:prstGeom prst="rect">
            <a:avLst/>
          </a:prstGeom>
          <a:solidFill>
            <a:srgbClr val="FEB813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INDIKATOR: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Arial"/>
              <a:sym typeface="Arial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0E3A9FD-B25D-344E-9538-E6E0C6DCEA81}"/>
              </a:ext>
            </a:extLst>
          </p:cNvPr>
          <p:cNvSpPr/>
          <p:nvPr/>
        </p:nvSpPr>
        <p:spPr>
          <a:xfrm>
            <a:off x="8629407" y="3796546"/>
            <a:ext cx="316880" cy="316880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8C43EFC6-29B3-CA49-8790-78F21E4DC027}"/>
              </a:ext>
            </a:extLst>
          </p:cNvPr>
          <p:cNvSpPr/>
          <p:nvPr/>
        </p:nvSpPr>
        <p:spPr>
          <a:xfrm>
            <a:off x="8623667" y="4351290"/>
            <a:ext cx="316880" cy="316880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05FAF8A-2E95-AE41-B8EF-370B1127B7E7}"/>
              </a:ext>
            </a:extLst>
          </p:cNvPr>
          <p:cNvSpPr/>
          <p:nvPr/>
        </p:nvSpPr>
        <p:spPr>
          <a:xfrm>
            <a:off x="8629407" y="4821738"/>
            <a:ext cx="316880" cy="316880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12E54AF7-BB60-EC4E-A7AA-F17255C86460}"/>
              </a:ext>
            </a:extLst>
          </p:cNvPr>
          <p:cNvSpPr/>
          <p:nvPr/>
        </p:nvSpPr>
        <p:spPr>
          <a:xfrm>
            <a:off x="8630092" y="5288572"/>
            <a:ext cx="316880" cy="316880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B6C90B4-073B-8F4F-BAB4-D0C0A1988B63}"/>
              </a:ext>
            </a:extLst>
          </p:cNvPr>
          <p:cNvSpPr/>
          <p:nvPr/>
        </p:nvSpPr>
        <p:spPr>
          <a:xfrm>
            <a:off x="8630500" y="5806013"/>
            <a:ext cx="316880" cy="316880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CA73945D-1720-244D-98CB-060C1D89EF9A}"/>
              </a:ext>
            </a:extLst>
          </p:cNvPr>
          <p:cNvSpPr/>
          <p:nvPr/>
        </p:nvSpPr>
        <p:spPr>
          <a:xfrm>
            <a:off x="4072834" y="4071300"/>
            <a:ext cx="2153654" cy="474669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41" name="Google Shape;248;p23">
            <a:extLst>
              <a:ext uri="{FF2B5EF4-FFF2-40B4-BE49-F238E27FC236}">
                <a16:creationId xmlns:a16="http://schemas.microsoft.com/office/drawing/2014/main" id="{AA2BE5C1-F605-6944-807C-A1939CDA9505}"/>
              </a:ext>
            </a:extLst>
          </p:cNvPr>
          <p:cNvSpPr txBox="1">
            <a:spLocks/>
          </p:cNvSpPr>
          <p:nvPr/>
        </p:nvSpPr>
        <p:spPr>
          <a:xfrm>
            <a:off x="4501409" y="4045409"/>
            <a:ext cx="985965" cy="576022"/>
          </a:xfrm>
          <a:prstGeom prst="rect">
            <a:avLst/>
          </a:prstGeom>
        </p:spPr>
        <p:txBody>
          <a:bodyPr spcFirstLastPara="1" wrap="square" lIns="121884" tIns="121884" rIns="121884" bIns="12188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BUJK</a:t>
            </a:r>
          </a:p>
        </p:txBody>
      </p:sp>
      <p:sp>
        <p:nvSpPr>
          <p:cNvPr id="43" name="Google Shape;248;p23">
            <a:extLst>
              <a:ext uri="{FF2B5EF4-FFF2-40B4-BE49-F238E27FC236}">
                <a16:creationId xmlns:a16="http://schemas.microsoft.com/office/drawing/2014/main" id="{DF85CAE6-369A-FD4D-AA76-EBD21179B3D8}"/>
              </a:ext>
            </a:extLst>
          </p:cNvPr>
          <p:cNvSpPr txBox="1">
            <a:spLocks/>
          </p:cNvSpPr>
          <p:nvPr/>
        </p:nvSpPr>
        <p:spPr>
          <a:xfrm>
            <a:off x="4737796" y="4557380"/>
            <a:ext cx="3346415" cy="599343"/>
          </a:xfrm>
          <a:prstGeom prst="rect">
            <a:avLst/>
          </a:prstGeom>
        </p:spPr>
        <p:txBody>
          <a:bodyPr spcFirstLastPara="1" wrap="square" lIns="121884" tIns="121884" rIns="121884" bIns="12188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3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Permen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PUPR 6 2021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sedang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disiapka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via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Sistem,Informas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0" marR="0" lvl="3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Perme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PUPR No.1 2023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Tentang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Pedom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Pengawas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Penyelenggara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Jasa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Konstruksi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yang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Dilaksanak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Pemerintah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Daerah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Provin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Kabupate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, dan Kota (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Tertib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Usaha Jasa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Konstruk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)</a:t>
            </a:r>
          </a:p>
        </p:txBody>
      </p:sp>
      <p:sp>
        <p:nvSpPr>
          <p:cNvPr id="45" name="Google Shape;248;p23">
            <a:extLst>
              <a:ext uri="{FF2B5EF4-FFF2-40B4-BE49-F238E27FC236}">
                <a16:creationId xmlns:a16="http://schemas.microsoft.com/office/drawing/2014/main" id="{E84BB3A1-370A-0C48-837E-467C25E8E972}"/>
              </a:ext>
            </a:extLst>
          </p:cNvPr>
          <p:cNvSpPr txBox="1">
            <a:spLocks/>
          </p:cNvSpPr>
          <p:nvPr/>
        </p:nvSpPr>
        <p:spPr>
          <a:xfrm>
            <a:off x="17353" y="1443657"/>
            <a:ext cx="4004924" cy="599343"/>
          </a:xfrm>
          <a:prstGeom prst="rect">
            <a:avLst/>
          </a:prstGeom>
        </p:spPr>
        <p:txBody>
          <a:bodyPr spcFirstLastPara="1" wrap="square" lIns="121884" tIns="121884" rIns="121884" bIns="12188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55600" marR="0" lvl="3" indent="-355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SK DIRJEN BK 235 TAHUN 2020</a:t>
            </a:r>
          </a:p>
        </p:txBody>
      </p:sp>
      <p:sp>
        <p:nvSpPr>
          <p:cNvPr id="46" name="Google Shape;248;p23">
            <a:extLst>
              <a:ext uri="{FF2B5EF4-FFF2-40B4-BE49-F238E27FC236}">
                <a16:creationId xmlns:a16="http://schemas.microsoft.com/office/drawing/2014/main" id="{55A8CDE6-FFBB-634D-BB1C-75E53D324E51}"/>
              </a:ext>
            </a:extLst>
          </p:cNvPr>
          <p:cNvSpPr txBox="1">
            <a:spLocks/>
          </p:cNvSpPr>
          <p:nvPr/>
        </p:nvSpPr>
        <p:spPr>
          <a:xfrm>
            <a:off x="91632" y="1860290"/>
            <a:ext cx="3656129" cy="599343"/>
          </a:xfrm>
          <a:prstGeom prst="rect">
            <a:avLst/>
          </a:prstGeom>
        </p:spPr>
        <p:txBody>
          <a:bodyPr spcFirstLastPara="1" wrap="square" lIns="121884" tIns="121884" rIns="121884" bIns="12188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55600" marR="0" lvl="3" indent="-355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	TENTANG PEDOMAN PEMANTAUAN, EVALUASI, DAN PELAPORAN ASOSIASI BADAN USAHA JASA KONSTRUKSI, ASOSIASI PROFESI JASA KONSTRUKSI, DAN ASOSIASI TERKAIT RANTAI PASOK KONSTRUKSI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D162394-8B7D-254E-BCA9-1CF43668AFE6}"/>
              </a:ext>
            </a:extLst>
          </p:cNvPr>
          <p:cNvSpPr txBox="1"/>
          <p:nvPr/>
        </p:nvSpPr>
        <p:spPr>
          <a:xfrm>
            <a:off x="473975" y="3218068"/>
            <a:ext cx="3324931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Indikator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emenuha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ersyarata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kreditasi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,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Indikator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elaksanaa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Kewajiba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sosiasi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,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Indikator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Kinerja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sosiasi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terdiri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</a:p>
          <a:p>
            <a:pPr marL="623888" marR="0" lvl="0" indent="-3381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Kinerja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Manajeme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(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spek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keuanga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dan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spek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Kesehatan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organisasi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), </a:t>
            </a:r>
          </a:p>
          <a:p>
            <a:pPr marL="623888" marR="0" lvl="0" indent="-3381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elaksanaa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Program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sosiasi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(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Rencana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engembanga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;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kreditasi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;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elaksanaa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emberdayaa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; Kinerja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nggota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sosiasi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),</a:t>
            </a:r>
          </a:p>
          <a:p>
            <a:pPr marL="623888" marR="0" lvl="0" indent="-3381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ersepsi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nggota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sosiasi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.</a:t>
            </a:r>
          </a:p>
        </p:txBody>
      </p:sp>
      <p:sp>
        <p:nvSpPr>
          <p:cNvPr id="40" name="Google Shape;248;p23">
            <a:extLst>
              <a:ext uri="{FF2B5EF4-FFF2-40B4-BE49-F238E27FC236}">
                <a16:creationId xmlns:a16="http://schemas.microsoft.com/office/drawing/2014/main" id="{1CEE9750-6A3D-444E-8C78-5150F9A0482E}"/>
              </a:ext>
            </a:extLst>
          </p:cNvPr>
          <p:cNvSpPr txBox="1">
            <a:spLocks/>
          </p:cNvSpPr>
          <p:nvPr/>
        </p:nvSpPr>
        <p:spPr>
          <a:xfrm>
            <a:off x="4017592" y="1366940"/>
            <a:ext cx="4004924" cy="599343"/>
          </a:xfrm>
          <a:prstGeom prst="rect">
            <a:avLst/>
          </a:prstGeom>
        </p:spPr>
        <p:txBody>
          <a:bodyPr spcFirstLastPara="1" wrap="square" lIns="121884" tIns="121884" rIns="121884" bIns="12188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55600" marR="0" lvl="3" indent="-355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	SK DIRJEN BINA KONSTRUKSI  No. 126/SE/DK/2022 </a:t>
            </a:r>
          </a:p>
          <a:p>
            <a:pPr marL="355600" marR="0" lvl="0" indent="-355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52" name="Google Shape;248;p23">
            <a:extLst>
              <a:ext uri="{FF2B5EF4-FFF2-40B4-BE49-F238E27FC236}">
                <a16:creationId xmlns:a16="http://schemas.microsoft.com/office/drawing/2014/main" id="{78C980DE-6D0A-EA4D-BDC6-FD074453FE2F}"/>
              </a:ext>
            </a:extLst>
          </p:cNvPr>
          <p:cNvSpPr txBox="1">
            <a:spLocks/>
          </p:cNvSpPr>
          <p:nvPr/>
        </p:nvSpPr>
        <p:spPr>
          <a:xfrm>
            <a:off x="4196104" y="1791559"/>
            <a:ext cx="4004924" cy="599343"/>
          </a:xfrm>
          <a:prstGeom prst="rect">
            <a:avLst/>
          </a:prstGeom>
        </p:spPr>
        <p:txBody>
          <a:bodyPr spcFirstLastPara="1" wrap="square" lIns="121884" tIns="121884" rIns="121884" bIns="12188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55600" marR="0" lvl="3" indent="-355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PEDOMAN PEMANTAUAN DAN PELAPORAN LSBU BIDANG JASA KONSTRUKSI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08565E5-76E1-5C41-B220-938162B3629C}"/>
              </a:ext>
            </a:extLst>
          </p:cNvPr>
          <p:cNvSpPr/>
          <p:nvPr/>
        </p:nvSpPr>
        <p:spPr>
          <a:xfrm>
            <a:off x="4469281" y="2456410"/>
            <a:ext cx="221179" cy="220608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0ADBBBF-D360-D448-A51F-7BB03610A252}"/>
              </a:ext>
            </a:extLst>
          </p:cNvPr>
          <p:cNvSpPr/>
          <p:nvPr/>
        </p:nvSpPr>
        <p:spPr>
          <a:xfrm>
            <a:off x="4469281" y="2745625"/>
            <a:ext cx="221179" cy="220608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2717AD1-0664-674C-9978-7B08FEBF8BF4}"/>
              </a:ext>
            </a:extLst>
          </p:cNvPr>
          <p:cNvSpPr/>
          <p:nvPr/>
        </p:nvSpPr>
        <p:spPr>
          <a:xfrm>
            <a:off x="4469281" y="3034646"/>
            <a:ext cx="221179" cy="220608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C6BFE024-E18E-9446-9AD7-3FF985CF5A0F}"/>
              </a:ext>
            </a:extLst>
          </p:cNvPr>
          <p:cNvSpPr/>
          <p:nvPr/>
        </p:nvSpPr>
        <p:spPr>
          <a:xfrm>
            <a:off x="4463501" y="3316792"/>
            <a:ext cx="221179" cy="220608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88E4EDC4-7F95-BF4A-A856-FBBDCD8EE522}"/>
              </a:ext>
            </a:extLst>
          </p:cNvPr>
          <p:cNvSpPr/>
          <p:nvPr/>
        </p:nvSpPr>
        <p:spPr>
          <a:xfrm>
            <a:off x="4463501" y="3607155"/>
            <a:ext cx="221179" cy="220608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F69D9466-0AC5-7243-97C4-6853CCA4E65C}"/>
              </a:ext>
            </a:extLst>
          </p:cNvPr>
          <p:cNvSpPr/>
          <p:nvPr/>
        </p:nvSpPr>
        <p:spPr>
          <a:xfrm>
            <a:off x="4471193" y="4759888"/>
            <a:ext cx="221179" cy="220608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D682775-F759-0B46-B71F-64D8C9932556}"/>
              </a:ext>
            </a:extLst>
          </p:cNvPr>
          <p:cNvSpPr/>
          <p:nvPr/>
        </p:nvSpPr>
        <p:spPr>
          <a:xfrm>
            <a:off x="4472646" y="5309826"/>
            <a:ext cx="221179" cy="220608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pic>
        <p:nvPicPr>
          <p:cNvPr id="60" name="Picture 59" descr="A picture containing text&#10;&#10;Description automatically generated">
            <a:extLst>
              <a:ext uri="{FF2B5EF4-FFF2-40B4-BE49-F238E27FC236}">
                <a16:creationId xmlns:a16="http://schemas.microsoft.com/office/drawing/2014/main" id="{D7277E3F-73D9-4E40-9086-1C60395C841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0415" t="79558" r="-713" b="-4523"/>
          <a:stretch/>
        </p:blipFill>
        <p:spPr>
          <a:xfrm>
            <a:off x="9959937" y="-175826"/>
            <a:ext cx="2327077" cy="1609811"/>
          </a:xfrm>
          <a:prstGeom prst="rect">
            <a:avLst/>
          </a:prstGeom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9D510BD6-3256-8847-BB13-E0A4099C0907}"/>
              </a:ext>
            </a:extLst>
          </p:cNvPr>
          <p:cNvSpPr/>
          <p:nvPr/>
        </p:nvSpPr>
        <p:spPr>
          <a:xfrm>
            <a:off x="8996147" y="3789361"/>
            <a:ext cx="203346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Kelembagaaa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ADCE154-F6E3-8E4B-A770-0B34AF42B865}"/>
              </a:ext>
            </a:extLst>
          </p:cNvPr>
          <p:cNvSpPr/>
          <p:nvPr/>
        </p:nvSpPr>
        <p:spPr>
          <a:xfrm>
            <a:off x="9011622" y="4710267"/>
            <a:ext cx="27120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enjaminan Mutu SKK Konstruksi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41525AE-6CED-094F-BA7D-873D94865955}"/>
              </a:ext>
            </a:extLst>
          </p:cNvPr>
          <p:cNvSpPr/>
          <p:nvPr/>
        </p:nvSpPr>
        <p:spPr>
          <a:xfrm>
            <a:off x="8970756" y="4387206"/>
            <a:ext cx="31411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elaksanaan SKK Konstruksi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07AE283-D7C0-284D-9D49-807C9EA2CE13}"/>
              </a:ext>
            </a:extLst>
          </p:cNvPr>
          <p:cNvSpPr/>
          <p:nvPr/>
        </p:nvSpPr>
        <p:spPr>
          <a:xfrm>
            <a:off x="8966654" y="5790329"/>
            <a:ext cx="285912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emenuhan Kewajiban LSP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E6EB394-6932-1C46-9F4B-7FB52A19BBAC}"/>
              </a:ext>
            </a:extLst>
          </p:cNvPr>
          <p:cNvSpPr/>
          <p:nvPr/>
        </p:nvSpPr>
        <p:spPr>
          <a:xfrm>
            <a:off x="8996147" y="5202646"/>
            <a:ext cx="30522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Sistem Informasi terkait SKK Konstruksi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078F7B0-A94C-BA4A-A888-1E347D515838}"/>
              </a:ext>
            </a:extLst>
          </p:cNvPr>
          <p:cNvSpPr/>
          <p:nvPr/>
        </p:nvSpPr>
        <p:spPr>
          <a:xfrm>
            <a:off x="4694730" y="2411732"/>
            <a:ext cx="24775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emenuhan Kewajiban LSBU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1EA7A573-CE9F-E44A-A902-B5A97DC4B783}"/>
              </a:ext>
            </a:extLst>
          </p:cNvPr>
          <p:cNvSpPr/>
          <p:nvPr/>
        </p:nvSpPr>
        <p:spPr>
          <a:xfrm>
            <a:off x="4697207" y="3273850"/>
            <a:ext cx="247505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emeliharaan Produk LSBU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9A89962-9553-1F46-868A-804E61F3CC00}"/>
              </a:ext>
            </a:extLst>
          </p:cNvPr>
          <p:cNvSpPr/>
          <p:nvPr/>
        </p:nvSpPr>
        <p:spPr>
          <a:xfrm>
            <a:off x="4685620" y="2988155"/>
            <a:ext cx="216766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Kelembagaan LSBU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3DC0B95-26D3-FF43-AEBD-AFB61B247BE1}"/>
              </a:ext>
            </a:extLst>
          </p:cNvPr>
          <p:cNvSpPr/>
          <p:nvPr/>
        </p:nvSpPr>
        <p:spPr>
          <a:xfrm>
            <a:off x="4685620" y="3569895"/>
            <a:ext cx="327791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respektif</a:t>
            </a:r>
            <a:r>
              <a:rPr kumimoji="0" lang="id-ID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kumimoji="0" lang="id-ID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enguna</a:t>
            </a:r>
            <a:r>
              <a:rPr kumimoji="0" lang="id-ID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Layanan Sertifikasi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8C36EF3-1AD9-1744-B03C-CCF4C8A51479}"/>
              </a:ext>
            </a:extLst>
          </p:cNvPr>
          <p:cNvSpPr/>
          <p:nvPr/>
        </p:nvSpPr>
        <p:spPr>
          <a:xfrm>
            <a:off x="4678978" y="2710450"/>
            <a:ext cx="228009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roduk LSBU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pic>
        <p:nvPicPr>
          <p:cNvPr id="4" name="Picture 3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3F939DFA-8CBF-F59D-473F-AAF1C498C1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34245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38EFECD-7A8A-744C-AA6D-038FB49DFC5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58231" y="122146"/>
          <a:ext cx="11675537" cy="65491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1481">
                  <a:extLst>
                    <a:ext uri="{9D8B030D-6E8A-4147-A177-3AD203B41FA5}">
                      <a16:colId xmlns:a16="http://schemas.microsoft.com/office/drawing/2014/main" val="4294914961"/>
                    </a:ext>
                  </a:extLst>
                </a:gridCol>
                <a:gridCol w="1334361">
                  <a:extLst>
                    <a:ext uri="{9D8B030D-6E8A-4147-A177-3AD203B41FA5}">
                      <a16:colId xmlns:a16="http://schemas.microsoft.com/office/drawing/2014/main" val="3288488270"/>
                    </a:ext>
                  </a:extLst>
                </a:gridCol>
                <a:gridCol w="1231641">
                  <a:extLst>
                    <a:ext uri="{9D8B030D-6E8A-4147-A177-3AD203B41FA5}">
                      <a16:colId xmlns:a16="http://schemas.microsoft.com/office/drawing/2014/main" val="1594312312"/>
                    </a:ext>
                  </a:extLst>
                </a:gridCol>
                <a:gridCol w="1035614">
                  <a:extLst>
                    <a:ext uri="{9D8B030D-6E8A-4147-A177-3AD203B41FA5}">
                      <a16:colId xmlns:a16="http://schemas.microsoft.com/office/drawing/2014/main" val="2608007971"/>
                    </a:ext>
                  </a:extLst>
                </a:gridCol>
                <a:gridCol w="2295331">
                  <a:extLst>
                    <a:ext uri="{9D8B030D-6E8A-4147-A177-3AD203B41FA5}">
                      <a16:colId xmlns:a16="http://schemas.microsoft.com/office/drawing/2014/main" val="261638527"/>
                    </a:ext>
                  </a:extLst>
                </a:gridCol>
                <a:gridCol w="2957888">
                  <a:extLst>
                    <a:ext uri="{9D8B030D-6E8A-4147-A177-3AD203B41FA5}">
                      <a16:colId xmlns:a16="http://schemas.microsoft.com/office/drawing/2014/main" val="32069836"/>
                    </a:ext>
                  </a:extLst>
                </a:gridCol>
                <a:gridCol w="1128920">
                  <a:extLst>
                    <a:ext uri="{9D8B030D-6E8A-4147-A177-3AD203B41FA5}">
                      <a16:colId xmlns:a16="http://schemas.microsoft.com/office/drawing/2014/main" val="16475779"/>
                    </a:ext>
                  </a:extLst>
                </a:gridCol>
                <a:gridCol w="1250301">
                  <a:extLst>
                    <a:ext uri="{9D8B030D-6E8A-4147-A177-3AD203B41FA5}">
                      <a16:colId xmlns:a16="http://schemas.microsoft.com/office/drawing/2014/main" val="243377376"/>
                    </a:ext>
                  </a:extLst>
                </a:gridCol>
              </a:tblGrid>
              <a:tr h="627503">
                <a:tc>
                  <a:txBody>
                    <a:bodyPr/>
                    <a:lstStyle/>
                    <a:p>
                      <a:pPr algn="ctr"/>
                      <a:r>
                        <a:rPr lang="en-ID" sz="1100">
                          <a:effectLst/>
                          <a:latin typeface="Montserrat" pitchFamily="2" charset="77"/>
                        </a:rPr>
                        <a:t>NO.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00">
                          <a:effectLst/>
                          <a:latin typeface="Montserrat" pitchFamily="2" charset="77"/>
                        </a:rPr>
                        <a:t>PENGEMBANGAN USAHA BERKELANJUTAN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INDIKATOR/SUB INDIKATOR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DOKUMEN YANG DIPERIKSA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00">
                          <a:effectLst/>
                          <a:latin typeface="Montserrat" pitchFamily="2" charset="77"/>
                        </a:rPr>
                        <a:t>CARA PEMERIKSAAN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00">
                          <a:effectLst/>
                          <a:latin typeface="Montserrat" pitchFamily="2" charset="77"/>
                        </a:rPr>
                        <a:t>HASIL PEMERIKSAAN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CATATAN PEMERIKSAAN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ctr"/>
                </a:tc>
                <a:extLst>
                  <a:ext uri="{0D108BD9-81ED-4DB2-BD59-A6C34878D82A}">
                    <a16:rowId xmlns:a16="http://schemas.microsoft.com/office/drawing/2014/main" val="2675973369"/>
                  </a:ext>
                </a:extLst>
              </a:tr>
              <a:tr h="784379">
                <a:tc rowSpan="6">
                  <a:txBody>
                    <a:bodyPr/>
                    <a:lstStyle/>
                    <a:p>
                      <a:pPr algn="ctr"/>
                      <a:r>
                        <a:rPr lang="en-ID" sz="1100">
                          <a:effectLst/>
                          <a:latin typeface="Montserrat" pitchFamily="2" charset="77"/>
                        </a:rPr>
                        <a:t>5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 rowSpan="6"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Peningkatan manajemen usaha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 rowSpan="2">
                  <a:txBody>
                    <a:bodyPr/>
                    <a:lstStyle/>
                    <a:p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a.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ngembang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Organisasi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: 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nerap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Good Corporate Governance (GCG) 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Lapor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tahun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kegiat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BUJK yang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berisi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laksana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ngembang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berkelanjutan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Mengecek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apakah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BUJK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telah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menerapk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GCG (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sekurang-kurangnya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memiliki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dan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melaksanak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SOP,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memiliki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struktur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organisasi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)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Sudah /Belum 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b"/>
                </a:tc>
                <a:extLst>
                  <a:ext uri="{0D108BD9-81ED-4DB2-BD59-A6C34878D82A}">
                    <a16:rowId xmlns:a16="http://schemas.microsoft.com/office/drawing/2014/main" val="2041242986"/>
                  </a:ext>
                </a:extLst>
              </a:tr>
              <a:tr h="7480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nghargaan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Lapor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tahun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kegiat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BUJK yang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berisi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laksana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ngembang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berkelanjutan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Mengecek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apakah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BUJK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telah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memperoleh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ngharga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(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antara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lain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memenuhi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ISO, PU Award,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dll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)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Sudah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/Belum 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b"/>
                </a:tc>
                <a:extLst>
                  <a:ext uri="{0D108BD9-81ED-4DB2-BD59-A6C34878D82A}">
                    <a16:rowId xmlns:a16="http://schemas.microsoft.com/office/drawing/2014/main" val="3132670611"/>
                  </a:ext>
                </a:extLst>
              </a:tr>
              <a:tr h="10561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b.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Manajeme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Operasi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: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Penerapan sistem manajemen rantai pasok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Lapor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tahun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kegiat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BUJK yang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berisi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laksana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ngembang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usaha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berkelanjutan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Mengecek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apakah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BUJK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telah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menerapk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sistem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manajeme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rantai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asok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(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sekurang-kurangnya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memiliki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daftar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masok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bah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dan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ralat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,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catat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kebutuh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dan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ngguna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material dan </a:t>
                      </a:r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peralatan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)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 dirty="0" err="1">
                          <a:effectLst/>
                          <a:latin typeface="Montserrat" pitchFamily="2" charset="77"/>
                        </a:rPr>
                        <a:t>Sudah</a:t>
                      </a:r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 /Belum 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b"/>
                </a:tc>
                <a:extLst>
                  <a:ext uri="{0D108BD9-81ED-4DB2-BD59-A6C34878D82A}">
                    <a16:rowId xmlns:a16="http://schemas.microsoft.com/office/drawing/2014/main" val="3278244011"/>
                  </a:ext>
                </a:extLst>
              </a:tr>
              <a:tr h="9412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Penerapan standar mutu bahan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Laporan tahunan kegiatan BUJK yang berisi pelaksanaan pengembangan usaha berkelanjutan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Mengecek apakah BUJK telah menerapkan standar mutu bahan (antara lain memiliki SOP untuk pemilihan dan penggunaan bahan, memiliki laboratorium pengujian bahan)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Sudah /Belum 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b"/>
                </a:tc>
                <a:extLst>
                  <a:ext uri="{0D108BD9-81ED-4DB2-BD59-A6C34878D82A}">
                    <a16:rowId xmlns:a16="http://schemas.microsoft.com/office/drawing/2014/main" val="4154439300"/>
                  </a:ext>
                </a:extLst>
              </a:tr>
              <a:tr h="7921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Penerapan standar mutu peralatan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Laporan tahunan kegiatan BUJK yang berisi pelaksanaan pengembangan usaha berkelanjutan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Mengecek apakah BUJK telah menerapkan standar mutu peralatan (sekurang-kurangya mencatatkan peralatannya ke dalam SIMPK)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Sudah /Belum 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b"/>
                </a:tc>
                <a:extLst>
                  <a:ext uri="{0D108BD9-81ED-4DB2-BD59-A6C34878D82A}">
                    <a16:rowId xmlns:a16="http://schemas.microsoft.com/office/drawing/2014/main" val="1811571845"/>
                  </a:ext>
                </a:extLst>
              </a:tr>
              <a:tr h="15027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Penerapan sistem manejemen keselatan konstruksi (SMKK)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Laporan tahunan kegiatan BUJK yang berisi pelaksanaan pengembangan usaha berkelanjutan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Mengecek apakah BUJK telah menerapan standar keselamatan dan kesehatan kerja (sekurang-kurangnya memiliki SOP SMKK, penyediaan dan penggunaan APD dan APK, terdapat tenaga ahli/petugas K3 konstruksi/keselamatan kosntruksi)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effectLst/>
                          <a:latin typeface="Montserrat" pitchFamily="2" charset="77"/>
                        </a:rPr>
                        <a:t>Sudah /Belum </a:t>
                      </a:r>
                      <a:endParaRPr lang="en-ID" sz="110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ctr"/>
                </a:tc>
                <a:tc>
                  <a:txBody>
                    <a:bodyPr/>
                    <a:lstStyle/>
                    <a:p>
                      <a:r>
                        <a:rPr lang="en-ID" sz="1100" dirty="0">
                          <a:effectLst/>
                          <a:latin typeface="Montserrat" pitchFamily="2" charset="77"/>
                        </a:rPr>
                        <a:t> </a:t>
                      </a:r>
                      <a:endParaRPr lang="en-ID" sz="1100" dirty="0">
                        <a:effectLst/>
                        <a:latin typeface="Montserrat" pitchFamily="2" charset="77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033" marR="29033" marT="0" marB="0" anchor="b"/>
                </a:tc>
                <a:extLst>
                  <a:ext uri="{0D108BD9-81ED-4DB2-BD59-A6C34878D82A}">
                    <a16:rowId xmlns:a16="http://schemas.microsoft.com/office/drawing/2014/main" val="9681391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17541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EBA5832-B6E8-44FD-993F-B7BC60AEA5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223" y="586009"/>
            <a:ext cx="3905666" cy="5250992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D5DB1EDF-15E7-4595-B452-9F91462EA50E}"/>
              </a:ext>
            </a:extLst>
          </p:cNvPr>
          <p:cNvSpPr/>
          <p:nvPr/>
        </p:nvSpPr>
        <p:spPr>
          <a:xfrm>
            <a:off x="876300" y="346674"/>
            <a:ext cx="3470338" cy="5729662"/>
          </a:xfrm>
          <a:custGeom>
            <a:avLst/>
            <a:gdLst>
              <a:gd name="connsiteX0" fmla="*/ 9526 w 3470338"/>
              <a:gd name="connsiteY0" fmla="*/ 0 h 6346429"/>
              <a:gd name="connsiteX1" fmla="*/ 3470338 w 3470338"/>
              <a:gd name="connsiteY1" fmla="*/ 0 h 6346429"/>
              <a:gd name="connsiteX2" fmla="*/ 3470338 w 3470338"/>
              <a:gd name="connsiteY2" fmla="*/ 6346429 h 6346429"/>
              <a:gd name="connsiteX3" fmla="*/ 9526 w 3470338"/>
              <a:gd name="connsiteY3" fmla="*/ 6346429 h 6346429"/>
              <a:gd name="connsiteX4" fmla="*/ 7830 w 3470338"/>
              <a:gd name="connsiteY4" fmla="*/ 5754489 h 6346429"/>
              <a:gd name="connsiteX5" fmla="*/ 1066800 w 3470338"/>
              <a:gd name="connsiteY5" fmla="*/ 5754489 h 6346429"/>
              <a:gd name="connsiteX6" fmla="*/ 1066800 w 3470338"/>
              <a:gd name="connsiteY6" fmla="*/ 3173214 h 6346429"/>
              <a:gd name="connsiteX7" fmla="*/ 437 w 3470338"/>
              <a:gd name="connsiteY7" fmla="*/ 3173214 h 6346429"/>
              <a:gd name="connsiteX8" fmla="*/ 0 w 3470338"/>
              <a:gd name="connsiteY8" fmla="*/ 3020814 h 6346429"/>
              <a:gd name="connsiteX9" fmla="*/ 9526 w 3470338"/>
              <a:gd name="connsiteY9" fmla="*/ 0 h 6346429"/>
              <a:gd name="connsiteX0" fmla="*/ 9526 w 3470338"/>
              <a:gd name="connsiteY0" fmla="*/ 0 h 6346429"/>
              <a:gd name="connsiteX1" fmla="*/ 3470338 w 3470338"/>
              <a:gd name="connsiteY1" fmla="*/ 0 h 6346429"/>
              <a:gd name="connsiteX2" fmla="*/ 3470338 w 3470338"/>
              <a:gd name="connsiteY2" fmla="*/ 6346429 h 6346429"/>
              <a:gd name="connsiteX3" fmla="*/ 9526 w 3470338"/>
              <a:gd name="connsiteY3" fmla="*/ 6346429 h 6346429"/>
              <a:gd name="connsiteX4" fmla="*/ 7830 w 3470338"/>
              <a:gd name="connsiteY4" fmla="*/ 5754489 h 6346429"/>
              <a:gd name="connsiteX5" fmla="*/ 1066800 w 3470338"/>
              <a:gd name="connsiteY5" fmla="*/ 5754489 h 6346429"/>
              <a:gd name="connsiteX6" fmla="*/ 437 w 3470338"/>
              <a:gd name="connsiteY6" fmla="*/ 3173214 h 6346429"/>
              <a:gd name="connsiteX7" fmla="*/ 0 w 3470338"/>
              <a:gd name="connsiteY7" fmla="*/ 3020814 h 6346429"/>
              <a:gd name="connsiteX8" fmla="*/ 9526 w 3470338"/>
              <a:gd name="connsiteY8" fmla="*/ 0 h 6346429"/>
              <a:gd name="connsiteX0" fmla="*/ 1066800 w 3470338"/>
              <a:gd name="connsiteY0" fmla="*/ 5754489 h 6346429"/>
              <a:gd name="connsiteX1" fmla="*/ 437 w 3470338"/>
              <a:gd name="connsiteY1" fmla="*/ 3173214 h 6346429"/>
              <a:gd name="connsiteX2" fmla="*/ 0 w 3470338"/>
              <a:gd name="connsiteY2" fmla="*/ 3020814 h 6346429"/>
              <a:gd name="connsiteX3" fmla="*/ 9526 w 3470338"/>
              <a:gd name="connsiteY3" fmla="*/ 0 h 6346429"/>
              <a:gd name="connsiteX4" fmla="*/ 3470338 w 3470338"/>
              <a:gd name="connsiteY4" fmla="*/ 0 h 6346429"/>
              <a:gd name="connsiteX5" fmla="*/ 3470338 w 3470338"/>
              <a:gd name="connsiteY5" fmla="*/ 6346429 h 6346429"/>
              <a:gd name="connsiteX6" fmla="*/ 9526 w 3470338"/>
              <a:gd name="connsiteY6" fmla="*/ 6346429 h 6346429"/>
              <a:gd name="connsiteX7" fmla="*/ 7830 w 3470338"/>
              <a:gd name="connsiteY7" fmla="*/ 5754489 h 6346429"/>
              <a:gd name="connsiteX8" fmla="*/ 1158240 w 3470338"/>
              <a:gd name="connsiteY8" fmla="*/ 5845929 h 6346429"/>
              <a:gd name="connsiteX0" fmla="*/ 437 w 3470338"/>
              <a:gd name="connsiteY0" fmla="*/ 3173214 h 6346429"/>
              <a:gd name="connsiteX1" fmla="*/ 0 w 3470338"/>
              <a:gd name="connsiteY1" fmla="*/ 3020814 h 6346429"/>
              <a:gd name="connsiteX2" fmla="*/ 9526 w 3470338"/>
              <a:gd name="connsiteY2" fmla="*/ 0 h 6346429"/>
              <a:gd name="connsiteX3" fmla="*/ 3470338 w 3470338"/>
              <a:gd name="connsiteY3" fmla="*/ 0 h 6346429"/>
              <a:gd name="connsiteX4" fmla="*/ 3470338 w 3470338"/>
              <a:gd name="connsiteY4" fmla="*/ 6346429 h 6346429"/>
              <a:gd name="connsiteX5" fmla="*/ 9526 w 3470338"/>
              <a:gd name="connsiteY5" fmla="*/ 6346429 h 6346429"/>
              <a:gd name="connsiteX6" fmla="*/ 7830 w 3470338"/>
              <a:gd name="connsiteY6" fmla="*/ 5754489 h 6346429"/>
              <a:gd name="connsiteX7" fmla="*/ 1158240 w 3470338"/>
              <a:gd name="connsiteY7" fmla="*/ 5845929 h 6346429"/>
              <a:gd name="connsiteX0" fmla="*/ 437 w 3470338"/>
              <a:gd name="connsiteY0" fmla="*/ 3173214 h 6346429"/>
              <a:gd name="connsiteX1" fmla="*/ 0 w 3470338"/>
              <a:gd name="connsiteY1" fmla="*/ 3020814 h 6346429"/>
              <a:gd name="connsiteX2" fmla="*/ 9526 w 3470338"/>
              <a:gd name="connsiteY2" fmla="*/ 0 h 6346429"/>
              <a:gd name="connsiteX3" fmla="*/ 3470338 w 3470338"/>
              <a:gd name="connsiteY3" fmla="*/ 0 h 6346429"/>
              <a:gd name="connsiteX4" fmla="*/ 3470338 w 3470338"/>
              <a:gd name="connsiteY4" fmla="*/ 6346429 h 6346429"/>
              <a:gd name="connsiteX5" fmla="*/ 9526 w 3470338"/>
              <a:gd name="connsiteY5" fmla="*/ 6346429 h 6346429"/>
              <a:gd name="connsiteX6" fmla="*/ 7830 w 3470338"/>
              <a:gd name="connsiteY6" fmla="*/ 5754489 h 6346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70338" h="6346429">
                <a:moveTo>
                  <a:pt x="437" y="3173214"/>
                </a:moveTo>
                <a:cubicBezTo>
                  <a:pt x="291" y="3122414"/>
                  <a:pt x="146" y="3071614"/>
                  <a:pt x="0" y="3020814"/>
                </a:cubicBezTo>
                <a:cubicBezTo>
                  <a:pt x="3175" y="2013876"/>
                  <a:pt x="6351" y="1006938"/>
                  <a:pt x="9526" y="0"/>
                </a:cubicBezTo>
                <a:lnTo>
                  <a:pt x="3470338" y="0"/>
                </a:lnTo>
                <a:lnTo>
                  <a:pt x="3470338" y="6346429"/>
                </a:lnTo>
                <a:lnTo>
                  <a:pt x="9526" y="6346429"/>
                </a:lnTo>
                <a:cubicBezTo>
                  <a:pt x="8961" y="6149116"/>
                  <a:pt x="8395" y="5951802"/>
                  <a:pt x="7830" y="5754489"/>
                </a:cubicBezTo>
              </a:path>
            </a:pathLst>
          </a:custGeom>
          <a:noFill/>
          <a:ln w="28575">
            <a:solidFill>
              <a:srgbClr val="FEB8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8A46FDD-398E-43AA-B152-2BDF549290DA}"/>
              </a:ext>
            </a:extLst>
          </p:cNvPr>
          <p:cNvGrpSpPr/>
          <p:nvPr/>
        </p:nvGrpSpPr>
        <p:grpSpPr>
          <a:xfrm>
            <a:off x="12052300" y="346673"/>
            <a:ext cx="139700" cy="6375400"/>
            <a:chOff x="12052300" y="0"/>
            <a:chExt cx="139700" cy="6375400"/>
          </a:xfrm>
          <a:solidFill>
            <a:srgbClr val="FEB813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B1578A2-6138-4092-829F-3E8658F40460}"/>
                </a:ext>
              </a:extLst>
            </p:cNvPr>
            <p:cNvSpPr/>
            <p:nvPr/>
          </p:nvSpPr>
          <p:spPr>
            <a:xfrm>
              <a:off x="12052300" y="0"/>
              <a:ext cx="139700" cy="4152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0FB6E7D-C3ED-4DB9-8B2C-93F4C984BE5D}"/>
                </a:ext>
              </a:extLst>
            </p:cNvPr>
            <p:cNvSpPr/>
            <p:nvPr/>
          </p:nvSpPr>
          <p:spPr>
            <a:xfrm>
              <a:off x="12052300" y="4419600"/>
              <a:ext cx="139700" cy="1955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84E30B14-43CA-4E7D-936F-23507881ADF8}"/>
              </a:ext>
            </a:extLst>
          </p:cNvPr>
          <p:cNvSpPr txBox="1"/>
          <p:nvPr/>
        </p:nvSpPr>
        <p:spPr>
          <a:xfrm>
            <a:off x="5866232" y="26001"/>
            <a:ext cx="682942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LAPORAN PENGAWASAN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3367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386E3368-94A7-E346-9BBE-5CEC8C5EFF1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2371146" y="1318432"/>
            <a:ext cx="764171" cy="1332314"/>
          </a:xfrm>
          <a:prstGeom prst="straightConnector1">
            <a:avLst/>
          </a:prstGeom>
          <a:ln w="28575">
            <a:solidFill>
              <a:srgbClr val="1D31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73C8F6B5-0558-8144-AFA1-B08F7F918858}"/>
              </a:ext>
            </a:extLst>
          </p:cNvPr>
          <p:cNvSpPr/>
          <p:nvPr/>
        </p:nvSpPr>
        <p:spPr>
          <a:xfrm>
            <a:off x="3135317" y="501849"/>
            <a:ext cx="1646649" cy="1633165"/>
          </a:xfrm>
          <a:prstGeom prst="rect">
            <a:avLst/>
          </a:prstGeom>
          <a:solidFill>
            <a:srgbClr val="1D3166"/>
          </a:solidFill>
          <a:ln>
            <a:solidFill>
              <a:srgbClr val="1D31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3007CC1-6D6D-284B-8AC0-DE7814E030DC}"/>
              </a:ext>
            </a:extLst>
          </p:cNvPr>
          <p:cNvSpPr/>
          <p:nvPr/>
        </p:nvSpPr>
        <p:spPr>
          <a:xfrm>
            <a:off x="3124524" y="4423789"/>
            <a:ext cx="1668234" cy="2257110"/>
          </a:xfrm>
          <a:prstGeom prst="rect">
            <a:avLst/>
          </a:prstGeom>
          <a:solidFill>
            <a:srgbClr val="1D3166"/>
          </a:solidFill>
          <a:ln>
            <a:solidFill>
              <a:srgbClr val="1D31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8452A01-FD2E-2A44-A6B6-2B4918B5D6C3}"/>
              </a:ext>
            </a:extLst>
          </p:cNvPr>
          <p:cNvSpPr/>
          <p:nvPr/>
        </p:nvSpPr>
        <p:spPr>
          <a:xfrm>
            <a:off x="149293" y="1964487"/>
            <a:ext cx="2195500" cy="1490267"/>
          </a:xfrm>
          <a:prstGeom prst="rect">
            <a:avLst/>
          </a:prstGeom>
          <a:solidFill>
            <a:srgbClr val="1D3166"/>
          </a:solidFill>
          <a:ln>
            <a:solidFill>
              <a:srgbClr val="1D31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E92AB077-D5B9-8D47-80C9-4ABA7EE20B00}"/>
              </a:ext>
            </a:extLst>
          </p:cNvPr>
          <p:cNvCxnSpPr>
            <a:cxnSpLocks/>
          </p:cNvCxnSpPr>
          <p:nvPr/>
        </p:nvCxnSpPr>
        <p:spPr>
          <a:xfrm>
            <a:off x="2347548" y="2694179"/>
            <a:ext cx="802892" cy="22731"/>
          </a:xfrm>
          <a:prstGeom prst="straightConnector1">
            <a:avLst/>
          </a:prstGeom>
          <a:ln w="28575">
            <a:solidFill>
              <a:srgbClr val="1D31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7580C330-8049-B34E-9F11-D1EA39977E3D}"/>
              </a:ext>
            </a:extLst>
          </p:cNvPr>
          <p:cNvSpPr txBox="1"/>
          <p:nvPr/>
        </p:nvSpPr>
        <p:spPr>
          <a:xfrm>
            <a:off x="134551" y="2221497"/>
            <a:ext cx="20704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JENI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LAPORAN PENGAWASA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9E69714-626F-9948-955F-C8D5D318ADF6}"/>
              </a:ext>
            </a:extLst>
          </p:cNvPr>
          <p:cNvSpPr txBox="1"/>
          <p:nvPr/>
        </p:nvSpPr>
        <p:spPr>
          <a:xfrm>
            <a:off x="3178520" y="897911"/>
            <a:ext cx="15660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lapor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gawas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ruti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B193A7-06F5-5D4F-B2BE-E17142F4318C}"/>
              </a:ext>
            </a:extLst>
          </p:cNvPr>
          <p:cNvSpPr txBox="1"/>
          <p:nvPr/>
        </p:nvSpPr>
        <p:spPr>
          <a:xfrm>
            <a:off x="3022266" y="5092724"/>
            <a:ext cx="19804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Lapor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gawas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ahun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753CE8A-2137-1742-BB1E-C3AD4538D5DE}"/>
              </a:ext>
            </a:extLst>
          </p:cNvPr>
          <p:cNvSpPr/>
          <p:nvPr/>
        </p:nvSpPr>
        <p:spPr>
          <a:xfrm>
            <a:off x="4937514" y="501850"/>
            <a:ext cx="6927253" cy="1638415"/>
          </a:xfrm>
          <a:prstGeom prst="rect">
            <a:avLst/>
          </a:prstGeom>
          <a:solidFill>
            <a:srgbClr val="1D3166"/>
          </a:solidFill>
          <a:ln>
            <a:solidFill>
              <a:srgbClr val="1D31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C86F08F-1D70-0442-BF30-F29DE3A8C538}"/>
              </a:ext>
            </a:extLst>
          </p:cNvPr>
          <p:cNvSpPr txBox="1"/>
          <p:nvPr/>
        </p:nvSpPr>
        <p:spPr>
          <a:xfrm>
            <a:off x="5010533" y="715235"/>
            <a:ext cx="67353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sampaik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ecar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rtulis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tau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elektronik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epad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impin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organisas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rangkat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erah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yang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mbidang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Jasa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onstruks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D" sz="1600" dirty="0">
                <a:solidFill>
                  <a:prstClr val="white"/>
                </a:solidFill>
                <a:latin typeface="Montserrat" pitchFamily="2" charset="77"/>
              </a:rPr>
              <a:t>Format </a:t>
            </a:r>
            <a:r>
              <a:rPr lang="en-ID" sz="1600" dirty="0" err="1">
                <a:solidFill>
                  <a:prstClr val="white"/>
                </a:solidFill>
                <a:latin typeface="Montserrat" pitchFamily="2" charset="77"/>
              </a:rPr>
              <a:t>pelaporan</a:t>
            </a:r>
            <a:r>
              <a:rPr lang="en-ID" sz="1600" dirty="0">
                <a:solidFill>
                  <a:prstClr val="white"/>
                </a:solidFill>
                <a:latin typeface="Montserrat" pitchFamily="2" charset="77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Montserrat" pitchFamily="2" charset="77"/>
              </a:rPr>
              <a:t>terdapat</a:t>
            </a:r>
            <a:r>
              <a:rPr lang="en-ID" sz="1600" dirty="0">
                <a:solidFill>
                  <a:prstClr val="white"/>
                </a:solidFill>
                <a:latin typeface="Montserrat" pitchFamily="2" charset="77"/>
              </a:rPr>
              <a:t> pada </a:t>
            </a:r>
            <a:r>
              <a:rPr lang="en-ID" sz="1600" dirty="0" err="1">
                <a:solidFill>
                  <a:prstClr val="white"/>
                </a:solidFill>
                <a:latin typeface="Montserrat" pitchFamily="2" charset="77"/>
              </a:rPr>
              <a:t>lampiran</a:t>
            </a:r>
            <a:r>
              <a:rPr lang="en-ID" sz="1600" dirty="0">
                <a:solidFill>
                  <a:prstClr val="white"/>
                </a:solidFill>
                <a:latin typeface="Montserrat" pitchFamily="2" charset="77"/>
              </a:rPr>
              <a:t> IV</a:t>
            </a:r>
            <a:endParaRPr kumimoji="0" lang="en-ID" sz="16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713D5D5-5E38-3642-8D9E-9E42B728F936}"/>
              </a:ext>
            </a:extLst>
          </p:cNvPr>
          <p:cNvSpPr/>
          <p:nvPr/>
        </p:nvSpPr>
        <p:spPr>
          <a:xfrm>
            <a:off x="4942213" y="4436890"/>
            <a:ext cx="6900103" cy="2244009"/>
          </a:xfrm>
          <a:prstGeom prst="rect">
            <a:avLst/>
          </a:prstGeom>
          <a:solidFill>
            <a:srgbClr val="1D3166"/>
          </a:solidFill>
          <a:ln>
            <a:solidFill>
              <a:srgbClr val="1D31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8B0E04F-EB0F-CC4C-B2A5-454C5D885020}"/>
              </a:ext>
            </a:extLst>
          </p:cNvPr>
          <p:cNvSpPr txBox="1"/>
          <p:nvPr/>
        </p:nvSpPr>
        <p:spPr>
          <a:xfrm>
            <a:off x="4993267" y="4543231"/>
            <a:ext cx="66990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rekapitulasi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ri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lapora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gawasa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ruti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dan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gawasa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insidental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elama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1 (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atu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)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ahu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sampaika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ecara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jenjang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: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erintah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Daerah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abupate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/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ot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lapork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epad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erintah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Daerah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rovin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.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erintah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Daerah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rovin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lapork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epad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Menteri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mbus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epad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Menteri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lam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Negeri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sampaika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paling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lambat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1 (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atu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)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ula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etelah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ahu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nggara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akhir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ecara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elektronik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lalui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SIJK yang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rintegrasi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.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BC589BF-6D27-3143-A54D-DEFEA3F65D25}"/>
              </a:ext>
            </a:extLst>
          </p:cNvPr>
          <p:cNvSpPr/>
          <p:nvPr/>
        </p:nvSpPr>
        <p:spPr>
          <a:xfrm>
            <a:off x="3145955" y="2265340"/>
            <a:ext cx="1631176" cy="2066810"/>
          </a:xfrm>
          <a:prstGeom prst="rect">
            <a:avLst/>
          </a:prstGeom>
          <a:solidFill>
            <a:srgbClr val="1D3166"/>
          </a:solidFill>
          <a:ln>
            <a:solidFill>
              <a:srgbClr val="1D31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D74184F-FABB-F64E-A13E-EE460813CB91}"/>
              </a:ext>
            </a:extLst>
          </p:cNvPr>
          <p:cNvSpPr/>
          <p:nvPr/>
        </p:nvSpPr>
        <p:spPr>
          <a:xfrm>
            <a:off x="4940731" y="2300825"/>
            <a:ext cx="6924036" cy="2031325"/>
          </a:xfrm>
          <a:prstGeom prst="rect">
            <a:avLst/>
          </a:prstGeom>
          <a:solidFill>
            <a:srgbClr val="1D3166"/>
          </a:solidFill>
          <a:ln>
            <a:solidFill>
              <a:srgbClr val="1D31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9C32C0-E9CB-B443-B3F6-B3EF93F637B4}"/>
              </a:ext>
            </a:extLst>
          </p:cNvPr>
          <p:cNvSpPr txBox="1"/>
          <p:nvPr/>
        </p:nvSpPr>
        <p:spPr>
          <a:xfrm>
            <a:off x="4993267" y="2606218"/>
            <a:ext cx="669903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sampaik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ecar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rtulis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tau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elektronik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epad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impin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organisas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rangkat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erah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yang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mbidang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Jasa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onstruks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aling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lambat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7 (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ujuh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)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hari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erja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etelah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gawas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insidental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elesai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laksanak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0EFE72A-FB6F-E949-8370-1D8F3CED479C}"/>
              </a:ext>
            </a:extLst>
          </p:cNvPr>
          <p:cNvSpPr txBox="1"/>
          <p:nvPr/>
        </p:nvSpPr>
        <p:spPr>
          <a:xfrm>
            <a:off x="2936527" y="2873079"/>
            <a:ext cx="20009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Lapor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gawas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insidental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9D6CAF4-8383-1344-90E2-207A97F86E83}"/>
              </a:ext>
            </a:extLst>
          </p:cNvPr>
          <p:cNvCxnSpPr>
            <a:cxnSpLocks/>
            <a:stCxn id="22" idx="3"/>
          </p:cNvCxnSpPr>
          <p:nvPr/>
        </p:nvCxnSpPr>
        <p:spPr>
          <a:xfrm>
            <a:off x="2344793" y="2709621"/>
            <a:ext cx="758830" cy="2087455"/>
          </a:xfrm>
          <a:prstGeom prst="straightConnector1">
            <a:avLst/>
          </a:prstGeom>
          <a:ln w="28575">
            <a:solidFill>
              <a:srgbClr val="1D31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FDF7922B-13AD-824D-953A-6CE0F0A1BBAD}"/>
              </a:ext>
            </a:extLst>
          </p:cNvPr>
          <p:cNvSpPr txBox="1"/>
          <p:nvPr/>
        </p:nvSpPr>
        <p:spPr>
          <a:xfrm>
            <a:off x="325629" y="6347996"/>
            <a:ext cx="310313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ASAL 62 - PASAL 65 </a:t>
            </a:r>
          </a:p>
        </p:txBody>
      </p:sp>
      <p:pic>
        <p:nvPicPr>
          <p:cNvPr id="2" name="Picture 1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A36CE8A5-CB16-2A10-A424-B6DE98C4D5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774" y="440694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6014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pattFill prst="openDmnd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3FEE89F-72AD-4824-970D-511CA0EA0A5D}"/>
              </a:ext>
            </a:extLst>
          </p:cNvPr>
          <p:cNvSpPr txBox="1"/>
          <p:nvPr/>
        </p:nvSpPr>
        <p:spPr>
          <a:xfrm>
            <a:off x="266700" y="41245"/>
            <a:ext cx="11658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ISTEMATIKA LAPORAN PENGAWASAN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7D9191E-50D4-46D7-897D-D8049AF7E94A}"/>
              </a:ext>
            </a:extLst>
          </p:cNvPr>
          <p:cNvSpPr/>
          <p:nvPr/>
        </p:nvSpPr>
        <p:spPr>
          <a:xfrm>
            <a:off x="6202680" y="525765"/>
            <a:ext cx="5722620" cy="6290990"/>
          </a:xfrm>
          <a:prstGeom prst="rect">
            <a:avLst/>
          </a:prstGeom>
          <a:solidFill>
            <a:srgbClr val="1E33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857EF2E8-9D34-4371-AE13-2A949817BE98}"/>
              </a:ext>
            </a:extLst>
          </p:cNvPr>
          <p:cNvSpPr/>
          <p:nvPr/>
        </p:nvSpPr>
        <p:spPr>
          <a:xfrm>
            <a:off x="266700" y="525765"/>
            <a:ext cx="5585460" cy="6090935"/>
          </a:xfrm>
          <a:prstGeom prst="rect">
            <a:avLst/>
          </a:prstGeom>
          <a:noFill/>
          <a:ln>
            <a:solidFill>
              <a:srgbClr val="1E33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0F3A08-2D48-9444-BE7E-99BBC26B804B}"/>
              </a:ext>
            </a:extLst>
          </p:cNvPr>
          <p:cNvSpPr txBox="1"/>
          <p:nvPr/>
        </p:nvSpPr>
        <p:spPr>
          <a:xfrm>
            <a:off x="318434" y="611603"/>
            <a:ext cx="5585460" cy="6351345"/>
          </a:xfrm>
          <a:prstGeom prst="rect">
            <a:avLst/>
          </a:prstGeom>
          <a:noFill/>
        </p:spPr>
        <p:txBody>
          <a:bodyPr wrap="square" lIns="72000" tIns="36000" rIns="72000" bIns="36000" rtlCol="0" anchor="t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SISTEMATIKA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LAPORAN PENGAWASAN PENYELENGGARAAN JASA KONSTRUKSI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(LAPORAN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PENGAWASAN TAHUN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)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 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KATA PENGANTAR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029200" algn="l"/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DAFTAR ISI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4972050" algn="l"/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DAFTAR TABEL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BAB I PENDAHULUAN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1.1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Latar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Belakang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1.2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Maksud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dan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Tujua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1.3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Sasara</a:t>
            </a: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1.4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Lingkup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ngawasa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1.5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laksana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ngawasa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 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BAB II PELAKSANAAN PENGAWASA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2.1  Waktu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laksana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2.2 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Jenis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laksana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ngawasa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 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BAB III REKAPITULASI HASIL PENGAWASAN RUTI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3.1 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Tertib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Usaha Jasa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Konstruksi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3.2 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Tertib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nyelengara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Jasa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Konstruksi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3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3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Tertib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manfaat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roduk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Jasa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Konstruks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 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BAB IV REKAPITULASI HASIL PENGAWASAN INSIDENTAL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4.1 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Tertib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Usaha Jasa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Konstruksi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4.2 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Tertib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nyelengara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Jasa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Konstruksi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4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3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Tertib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manfaat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roduk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Jasa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Konstruks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 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BAB V KESIMPULAN 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5.1  Kesimpulan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5.2 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Tidak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Lanjut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5.2 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Rekomendas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16D048-5F7D-B540-B2A9-10BC30702FAF}"/>
              </a:ext>
            </a:extLst>
          </p:cNvPr>
          <p:cNvSpPr txBox="1"/>
          <p:nvPr/>
        </p:nvSpPr>
        <p:spPr>
          <a:xfrm>
            <a:off x="6202680" y="473103"/>
            <a:ext cx="5722620" cy="6420595"/>
          </a:xfrm>
          <a:prstGeom prst="rect">
            <a:avLst/>
          </a:prstGeom>
          <a:noFill/>
        </p:spPr>
        <p:txBody>
          <a:bodyPr wrap="square" lIns="72000" tIns="36000" rIns="72000" bIns="36000" rtlCol="0" anchor="t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SISTEMATIK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LAPORAN PENGAWASAN PENYELENGGARAAN JASA KONSTRUKS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(LAPORAN PENGAWASAN INSIDENTAL)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 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KATA PENGANTAR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029200" algn="l"/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DAFTAR ISI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4972050" algn="l"/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DAFTAR TABEL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BAB I PENDAHULUA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1.1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Latar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Belakang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1.2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Maksud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dan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Tujua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1.3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Sasara</a:t>
            </a: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1.4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Lingkup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ngawasa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86300" algn="l"/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1.5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laksana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ngawasa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 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BAB II PELAKSANAAN PENGAWASA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2.1  Waktu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laksana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2.2  Tim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ngawas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Insidental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 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BAB III HASIL PENGAWASAN 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3.1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Sumber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ngawas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Insidental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*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3.2 Hasil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ngawas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Insidental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     3.2.1 Data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Lapangan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     3.2.2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Analisis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Data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 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BAB IV KESIMPULAN 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4.1  Kesimpulan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4.2 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Tidak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Lanjut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3600" algn="l"/>
              </a:tabLst>
              <a:defRPr/>
            </a:pP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4.2 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Rekomendas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 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Catat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  <a:endParaRPr kumimoji="0" lang="en-ID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imes New Roman" panose="02020603050405020304" pitchFamily="18" charset="0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*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Sesua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kondi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sebagaiman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dimaksud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dalam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Pasal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 16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yaitu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Arial" panose="020B0604020202020204" pitchFamily="34" charset="0"/>
              </a:rPr>
              <a:t>: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kecelakaan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konstruksi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;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kegagalan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bangunan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;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masalah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sosial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dan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/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atau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lingkungan</a:t>
            </a:r>
            <a:r>
              <a:rPr kumimoji="0" lang="id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hidup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di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lokasi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kegiatan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konstruksi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dan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lokasi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bangunan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;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ngaduan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masyarakat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; dan/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atau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rekomendasi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dari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hasil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pengawasan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ID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rutin</a:t>
            </a:r>
            <a:r>
              <a:rPr kumimoji="0" lang="en-ID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imes New Roman" panose="02020603050405020304" pitchFamily="18" charset="0"/>
                <a:cs typeface="+mn-cs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901884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zigZag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3FEE89F-72AD-4824-970D-511CA0EA0A5D}"/>
              </a:ext>
            </a:extLst>
          </p:cNvPr>
          <p:cNvSpPr txBox="1"/>
          <p:nvPr/>
        </p:nvSpPr>
        <p:spPr>
          <a:xfrm>
            <a:off x="266700" y="241300"/>
            <a:ext cx="11658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BINAAN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999E8A7-7610-4294-8A9B-058939C5BE0C}"/>
              </a:ext>
            </a:extLst>
          </p:cNvPr>
          <p:cNvSpPr/>
          <p:nvPr/>
        </p:nvSpPr>
        <p:spPr>
          <a:xfrm>
            <a:off x="476136" y="3746061"/>
            <a:ext cx="7426529" cy="2583543"/>
          </a:xfrm>
          <a:prstGeom prst="rect">
            <a:avLst/>
          </a:prstGeom>
          <a:solidFill>
            <a:srgbClr val="FDB8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erintah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Pusat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pa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laksanak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bina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rhadap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yelenggara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gawas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yang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lakuk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oleh     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erintah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rovinsi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dan/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tau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abupate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/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ot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lam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ntuk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:</a:t>
            </a: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fasilitasi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; </a:t>
            </a: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onsultasi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; dan</a:t>
            </a: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didik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dan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latih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b="1" dirty="0">
                <a:solidFill>
                  <a:srgbClr val="1E3367"/>
                </a:solidFill>
                <a:latin typeface="Montserrat" pitchFamily="2" charset="77"/>
              </a:rPr>
              <a:t>d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ilakukan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esuai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engan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etentuan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raturan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rundang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-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undangan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.</a:t>
            </a:r>
          </a:p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1E3367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7D9191E-50D4-46D7-897D-D8049AF7E94A}"/>
              </a:ext>
            </a:extLst>
          </p:cNvPr>
          <p:cNvSpPr/>
          <p:nvPr/>
        </p:nvSpPr>
        <p:spPr>
          <a:xfrm>
            <a:off x="4257107" y="1031192"/>
            <a:ext cx="7426529" cy="2583543"/>
          </a:xfrm>
          <a:prstGeom prst="rect">
            <a:avLst/>
          </a:prstGeom>
          <a:solidFill>
            <a:srgbClr val="1E33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bina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yelenggara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gawas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oleh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erinta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Pusa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epad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erinta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era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lakuk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lam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rangk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ningkatk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inerj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gawas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.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bina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lakuk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eng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nyediak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NSPK</a:t>
            </a:r>
          </a:p>
        </p:txBody>
      </p:sp>
      <p:pic>
        <p:nvPicPr>
          <p:cNvPr id="17" name="Picture Placeholder 16">
            <a:extLst>
              <a:ext uri="{FF2B5EF4-FFF2-40B4-BE49-F238E27FC236}">
                <a16:creationId xmlns:a16="http://schemas.microsoft.com/office/drawing/2014/main" id="{B58CCAC2-61BD-4C3E-9832-A0FD2DDF0C5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1896" y="1038193"/>
            <a:ext cx="3671888" cy="2584450"/>
          </a:xfrm>
        </p:spPr>
      </p:pic>
      <p:pic>
        <p:nvPicPr>
          <p:cNvPr id="36" name="Picture Placeholder 35">
            <a:extLst>
              <a:ext uri="{FF2B5EF4-FFF2-40B4-BE49-F238E27FC236}">
                <a16:creationId xmlns:a16="http://schemas.microsoft.com/office/drawing/2014/main" id="{7299F927-EEB6-420D-BB03-59050739DD7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11748" y="3745154"/>
            <a:ext cx="3671888" cy="2584450"/>
          </a:xfrm>
        </p:spPr>
      </p:pic>
      <p:sp>
        <p:nvSpPr>
          <p:cNvPr id="97" name="Rectangle 96">
            <a:extLst>
              <a:ext uri="{FF2B5EF4-FFF2-40B4-BE49-F238E27FC236}">
                <a16:creationId xmlns:a16="http://schemas.microsoft.com/office/drawing/2014/main" id="{857EF2E8-9D34-4371-AE13-2A949817BE98}"/>
              </a:ext>
            </a:extLst>
          </p:cNvPr>
          <p:cNvSpPr/>
          <p:nvPr/>
        </p:nvSpPr>
        <p:spPr>
          <a:xfrm>
            <a:off x="585219" y="1198531"/>
            <a:ext cx="3485243" cy="2263776"/>
          </a:xfrm>
          <a:prstGeom prst="rect">
            <a:avLst/>
          </a:prstGeom>
          <a:noFill/>
          <a:ln>
            <a:solidFill>
              <a:srgbClr val="1E33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1974F520-F011-43B5-8797-47A00C4F09AB}"/>
              </a:ext>
            </a:extLst>
          </p:cNvPr>
          <p:cNvSpPr/>
          <p:nvPr/>
        </p:nvSpPr>
        <p:spPr>
          <a:xfrm>
            <a:off x="8105071" y="3905491"/>
            <a:ext cx="3485243" cy="2263776"/>
          </a:xfrm>
          <a:prstGeom prst="rect">
            <a:avLst/>
          </a:prstGeom>
          <a:noFill/>
          <a:ln>
            <a:solidFill>
              <a:srgbClr val="1E33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E3367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CAA401A-2F39-D04E-9EA4-D68EF17EA372}"/>
              </a:ext>
            </a:extLst>
          </p:cNvPr>
          <p:cNvSpPr txBox="1"/>
          <p:nvPr/>
        </p:nvSpPr>
        <p:spPr>
          <a:xfrm>
            <a:off x="-1119804" y="318612"/>
            <a:ext cx="3792901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2200" b="1" dirty="0">
                <a:solidFill>
                  <a:schemeClr val="bg1"/>
                </a:solidFill>
                <a:latin typeface="Montserrat" pitchFamily="2" charset="77"/>
              </a:rPr>
              <a:t>PASAL 6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23AC9C2-9651-8246-8907-35C41121DEA2}"/>
              </a:ext>
            </a:extLst>
          </p:cNvPr>
          <p:cNvSpPr txBox="1"/>
          <p:nvPr/>
        </p:nvSpPr>
        <p:spPr>
          <a:xfrm>
            <a:off x="313362" y="1993680"/>
            <a:ext cx="40289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ASAL 68</a:t>
            </a:r>
          </a:p>
        </p:txBody>
      </p:sp>
      <p:pic>
        <p:nvPicPr>
          <p:cNvPr id="2" name="Picture 1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46E77245-A949-E294-27D5-D4C7E6AD2F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84273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alphaModFix amt="4185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3FEE89F-72AD-4824-970D-511CA0EA0A5D}"/>
              </a:ext>
            </a:extLst>
          </p:cNvPr>
          <p:cNvSpPr txBox="1"/>
          <p:nvPr/>
        </p:nvSpPr>
        <p:spPr>
          <a:xfrm>
            <a:off x="266700" y="241300"/>
            <a:ext cx="11658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1E33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LANGGARAN DAN SANKSI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7D9191E-50D4-46D7-897D-D8049AF7E94A}"/>
              </a:ext>
            </a:extLst>
          </p:cNvPr>
          <p:cNvSpPr/>
          <p:nvPr/>
        </p:nvSpPr>
        <p:spPr>
          <a:xfrm>
            <a:off x="6202680" y="1031192"/>
            <a:ext cx="5722620" cy="5445808"/>
          </a:xfrm>
          <a:prstGeom prst="rect">
            <a:avLst/>
          </a:prstGeom>
          <a:solidFill>
            <a:srgbClr val="1E33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857EF2E8-9D34-4371-AE13-2A949817BE98}"/>
              </a:ext>
            </a:extLst>
          </p:cNvPr>
          <p:cNvSpPr/>
          <p:nvPr/>
        </p:nvSpPr>
        <p:spPr>
          <a:xfrm>
            <a:off x="266700" y="1046432"/>
            <a:ext cx="5585460" cy="5445808"/>
          </a:xfrm>
          <a:prstGeom prst="rect">
            <a:avLst/>
          </a:prstGeom>
          <a:noFill/>
          <a:ln>
            <a:solidFill>
              <a:srgbClr val="1E33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0F3A08-2D48-9444-BE7E-99BBC26B804B}"/>
              </a:ext>
            </a:extLst>
          </p:cNvPr>
          <p:cNvSpPr txBox="1"/>
          <p:nvPr/>
        </p:nvSpPr>
        <p:spPr>
          <a:xfrm>
            <a:off x="-909590" y="1132421"/>
            <a:ext cx="6624590" cy="996033"/>
          </a:xfrm>
          <a:prstGeom prst="rect">
            <a:avLst/>
          </a:prstGeom>
          <a:noFill/>
        </p:spPr>
        <p:txBody>
          <a:bodyPr wrap="square" lIns="72000" tIns="36000" rIns="72000" bIns="36000" rtlCol="0" anchor="t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13716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JENIS 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ANKSI ADMINISTRATIF YANG DAPAT DIKENAKAN </a:t>
            </a:r>
            <a:r>
              <a:rPr kumimoji="0" lang="en-ID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OLEH GUBERNUR DAN BUPATI/WALIKOTA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BC33E5-43F4-954D-8AC3-25C69CE3201B}"/>
              </a:ext>
            </a:extLst>
          </p:cNvPr>
          <p:cNvSpPr txBox="1"/>
          <p:nvPr/>
        </p:nvSpPr>
        <p:spPr>
          <a:xfrm>
            <a:off x="487680" y="2497639"/>
            <a:ext cx="4297680" cy="2790627"/>
          </a:xfrm>
          <a:prstGeom prst="rect">
            <a:avLst/>
          </a:prstGeom>
          <a:noFill/>
        </p:spPr>
        <p:txBody>
          <a:bodyPr wrap="square" lIns="72000" tIns="36000" rIns="72000" bIns="36000" rtlCol="0" anchor="t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ringat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rtulis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;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enda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dministratif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; 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gehenti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ementara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layan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egiat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; dan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berhenti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ri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empat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erja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C19B5D1-5523-0D40-A6D6-421E2C9AB9D7}"/>
              </a:ext>
            </a:extLst>
          </p:cNvPr>
          <p:cNvSpPr txBox="1"/>
          <p:nvPr/>
        </p:nvSpPr>
        <p:spPr>
          <a:xfrm>
            <a:off x="5135880" y="1132421"/>
            <a:ext cx="6721704" cy="996033"/>
          </a:xfrm>
          <a:prstGeom prst="rect">
            <a:avLst/>
          </a:prstGeom>
          <a:noFill/>
        </p:spPr>
        <p:txBody>
          <a:bodyPr wrap="square" lIns="72000" tIns="36000" rIns="72000" bIns="36000" rtlCol="0" anchor="t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13716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GUBERNUR DAN BUPATI/WALIKOTA DAPAT 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MBERIKAN REKOMENDASI </a:t>
            </a:r>
            <a:r>
              <a:rPr kumimoji="0" lang="en-ID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GENAAN SANKSI MELIPUTI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BA1A00-FAFA-4D45-9409-57E3453CC591}"/>
              </a:ext>
            </a:extLst>
          </p:cNvPr>
          <p:cNvSpPr txBox="1"/>
          <p:nvPr/>
        </p:nvSpPr>
        <p:spPr>
          <a:xfrm>
            <a:off x="6629190" y="2419716"/>
            <a:ext cx="4815557" cy="3766022"/>
          </a:xfrm>
          <a:prstGeom prst="rect">
            <a:avLst/>
          </a:prstGeom>
          <a:noFill/>
        </p:spPr>
        <p:txBody>
          <a:bodyPr wrap="square" lIns="72000" tIns="36000" rIns="72000" bIns="36000" rtlCol="0" anchor="t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cantum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alam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daftar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hitam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;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beku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rizin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usaha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;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cabut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rizin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rusaha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;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cabut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SBU;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beku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SKK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onstruksi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; 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cabut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SKK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onstruksi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; dan/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tau</a:t>
            </a:r>
            <a:endParaRPr kumimoji="0" lang="en-ID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mberhenti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ementara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layanan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usaha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jasa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konstruksi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A38018-84EE-FD44-BCE0-1DA4934DBBF3}"/>
              </a:ext>
            </a:extLst>
          </p:cNvPr>
          <p:cNvSpPr txBox="1"/>
          <p:nvPr/>
        </p:nvSpPr>
        <p:spPr>
          <a:xfrm>
            <a:off x="1086205" y="5725579"/>
            <a:ext cx="3699155" cy="430887"/>
          </a:xfrm>
          <a:prstGeom prst="rect">
            <a:avLst/>
          </a:prstGeom>
          <a:solidFill>
            <a:srgbClr val="FEB813"/>
          </a:solidFill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ASAL 72</a:t>
            </a:r>
          </a:p>
        </p:txBody>
      </p:sp>
      <p:pic>
        <p:nvPicPr>
          <p:cNvPr id="2" name="Picture 1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6263B7DC-4CFD-05F6-7A49-32DF84C6E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3373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hqprint">
            <a:alphaModFix amt="4967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A262FCBF-2167-4441-82E3-E464B68E44FD}"/>
              </a:ext>
            </a:extLst>
          </p:cNvPr>
          <p:cNvSpPr/>
          <p:nvPr/>
        </p:nvSpPr>
        <p:spPr>
          <a:xfrm>
            <a:off x="1" y="-2"/>
            <a:ext cx="5010150" cy="6858002"/>
          </a:xfrm>
          <a:custGeom>
            <a:avLst/>
            <a:gdLst>
              <a:gd name="connsiteX0" fmla="*/ 0 w 5010150"/>
              <a:gd name="connsiteY0" fmla="*/ 0 h 6858002"/>
              <a:gd name="connsiteX1" fmla="*/ 3312527 w 5010150"/>
              <a:gd name="connsiteY1" fmla="*/ 0 h 6858002"/>
              <a:gd name="connsiteX2" fmla="*/ 3355634 w 5010150"/>
              <a:gd name="connsiteY2" fmla="*/ 6975 h 6858002"/>
              <a:gd name="connsiteX3" fmla="*/ 3528229 w 5010150"/>
              <a:gd name="connsiteY3" fmla="*/ 52351 h 6858002"/>
              <a:gd name="connsiteX4" fmla="*/ 3536476 w 5010150"/>
              <a:gd name="connsiteY4" fmla="*/ 55380 h 6858002"/>
              <a:gd name="connsiteX5" fmla="*/ 3537897 w 5010150"/>
              <a:gd name="connsiteY5" fmla="*/ 55759 h 6858002"/>
              <a:gd name="connsiteX6" fmla="*/ 3552043 w 5010150"/>
              <a:gd name="connsiteY6" fmla="*/ 61101 h 6858002"/>
              <a:gd name="connsiteX7" fmla="*/ 3694790 w 5010150"/>
              <a:gd name="connsiteY7" fmla="*/ 113544 h 6858002"/>
              <a:gd name="connsiteX8" fmla="*/ 3709441 w 5010150"/>
              <a:gd name="connsiteY8" fmla="*/ 120533 h 6858002"/>
              <a:gd name="connsiteX9" fmla="*/ 3715011 w 5010150"/>
              <a:gd name="connsiteY9" fmla="*/ 122636 h 6858002"/>
              <a:gd name="connsiteX10" fmla="*/ 3745113 w 5010150"/>
              <a:gd name="connsiteY10" fmla="*/ 137553 h 6858002"/>
              <a:gd name="connsiteX11" fmla="*/ 3854624 w 5010150"/>
              <a:gd name="connsiteY11" fmla="*/ 189789 h 6858002"/>
              <a:gd name="connsiteX12" fmla="*/ 3875064 w 5010150"/>
              <a:gd name="connsiteY12" fmla="*/ 201928 h 6858002"/>
              <a:gd name="connsiteX13" fmla="*/ 3884366 w 5010150"/>
              <a:gd name="connsiteY13" fmla="*/ 206535 h 6858002"/>
              <a:gd name="connsiteX14" fmla="*/ 3917028 w 5010150"/>
              <a:gd name="connsiteY14" fmla="*/ 226854 h 6858002"/>
              <a:gd name="connsiteX15" fmla="*/ 4007041 w 5010150"/>
              <a:gd name="connsiteY15" fmla="*/ 280317 h 6858002"/>
              <a:gd name="connsiteX16" fmla="*/ 4032549 w 5010150"/>
              <a:gd name="connsiteY16" fmla="*/ 298710 h 6858002"/>
              <a:gd name="connsiteX17" fmla="*/ 4045118 w 5010150"/>
              <a:gd name="connsiteY17" fmla="*/ 306526 h 6858002"/>
              <a:gd name="connsiteX18" fmla="*/ 4076221 w 5010150"/>
              <a:gd name="connsiteY18" fmla="*/ 330197 h 6858002"/>
              <a:gd name="connsiteX19" fmla="*/ 4151341 w 5010150"/>
              <a:gd name="connsiteY19" fmla="*/ 384361 h 6858002"/>
              <a:gd name="connsiteX20" fmla="*/ 4181105 w 5010150"/>
              <a:gd name="connsiteY20" fmla="*/ 410020 h 6858002"/>
              <a:gd name="connsiteX21" fmla="*/ 4196426 w 5010150"/>
              <a:gd name="connsiteY21" fmla="*/ 421676 h 6858002"/>
              <a:gd name="connsiteX22" fmla="*/ 4224320 w 5010150"/>
              <a:gd name="connsiteY22" fmla="*/ 447269 h 6858002"/>
              <a:gd name="connsiteX23" fmla="*/ 4286834 w 5010150"/>
              <a:gd name="connsiteY23" fmla="*/ 501154 h 6858002"/>
              <a:gd name="connsiteX24" fmla="*/ 4319947 w 5010150"/>
              <a:gd name="connsiteY24" fmla="*/ 535000 h 6858002"/>
              <a:gd name="connsiteX25" fmla="*/ 4337443 w 5010150"/>
              <a:gd name="connsiteY25" fmla="*/ 551051 h 6858002"/>
              <a:gd name="connsiteX26" fmla="*/ 4361443 w 5010150"/>
              <a:gd name="connsiteY26" fmla="*/ 577414 h 6858002"/>
              <a:gd name="connsiteX27" fmla="*/ 4412822 w 5010150"/>
              <a:gd name="connsiteY27" fmla="*/ 629928 h 6858002"/>
              <a:gd name="connsiteX28" fmla="*/ 4448286 w 5010150"/>
              <a:gd name="connsiteY28" fmla="*/ 672805 h 6858002"/>
              <a:gd name="connsiteX29" fmla="*/ 4467330 w 5010150"/>
              <a:gd name="connsiteY29" fmla="*/ 693723 h 6858002"/>
              <a:gd name="connsiteX30" fmla="*/ 4487219 w 5010150"/>
              <a:gd name="connsiteY30" fmla="*/ 719875 h 6858002"/>
              <a:gd name="connsiteX31" fmla="*/ 4528611 w 5010150"/>
              <a:gd name="connsiteY31" fmla="*/ 769918 h 6858002"/>
              <a:gd name="connsiteX32" fmla="*/ 4565346 w 5010150"/>
              <a:gd name="connsiteY32" fmla="*/ 822600 h 6858002"/>
              <a:gd name="connsiteX33" fmla="*/ 4585241 w 5010150"/>
              <a:gd name="connsiteY33" fmla="*/ 848756 h 6858002"/>
              <a:gd name="connsiteX34" fmla="*/ 4601071 w 5010150"/>
              <a:gd name="connsiteY34" fmla="*/ 873835 h 6858002"/>
              <a:gd name="connsiteX35" fmla="*/ 4633509 w 5010150"/>
              <a:gd name="connsiteY35" fmla="*/ 920354 h 6858002"/>
              <a:gd name="connsiteX36" fmla="*/ 4670359 w 5010150"/>
              <a:gd name="connsiteY36" fmla="*/ 983584 h 6858002"/>
              <a:gd name="connsiteX37" fmla="*/ 4690330 w 5010150"/>
              <a:gd name="connsiteY37" fmla="*/ 1015223 h 6858002"/>
              <a:gd name="connsiteX38" fmla="*/ 4702334 w 5010150"/>
              <a:gd name="connsiteY38" fmla="*/ 1038452 h 6858002"/>
              <a:gd name="connsiteX39" fmla="*/ 4726819 w 5010150"/>
              <a:gd name="connsiteY39" fmla="*/ 1080469 h 6858002"/>
              <a:gd name="connsiteX40" fmla="*/ 4762551 w 5010150"/>
              <a:gd name="connsiteY40" fmla="*/ 1155009 h 6858002"/>
              <a:gd name="connsiteX41" fmla="*/ 4781762 w 5010150"/>
              <a:gd name="connsiteY41" fmla="*/ 1192189 h 6858002"/>
              <a:gd name="connsiteX42" fmla="*/ 4790289 w 5010150"/>
              <a:gd name="connsiteY42" fmla="*/ 1212872 h 6858002"/>
              <a:gd name="connsiteX43" fmla="*/ 4807850 w 5010150"/>
              <a:gd name="connsiteY43" fmla="*/ 1249496 h 6858002"/>
              <a:gd name="connsiteX44" fmla="*/ 4841174 w 5010150"/>
              <a:gd name="connsiteY44" fmla="*/ 1336258 h 6858002"/>
              <a:gd name="connsiteX45" fmla="*/ 4858687 w 5010150"/>
              <a:gd name="connsiteY45" fmla="*/ 1378722 h 6858002"/>
              <a:gd name="connsiteX46" fmla="*/ 4864210 w 5010150"/>
              <a:gd name="connsiteY46" fmla="*/ 1396226 h 6858002"/>
              <a:gd name="connsiteX47" fmla="*/ 4875903 w 5010150"/>
              <a:gd name="connsiteY47" fmla="*/ 1426669 h 6858002"/>
              <a:gd name="connsiteX48" fmla="*/ 4905467 w 5010150"/>
              <a:gd name="connsiteY48" fmla="*/ 1526995 h 6858002"/>
              <a:gd name="connsiteX49" fmla="*/ 4920262 w 5010150"/>
              <a:gd name="connsiteY49" fmla="*/ 1573890 h 6858002"/>
              <a:gd name="connsiteX50" fmla="*/ 4923339 w 5010150"/>
              <a:gd name="connsiteY50" fmla="*/ 1587646 h 6858002"/>
              <a:gd name="connsiteX51" fmla="*/ 4930287 w 5010150"/>
              <a:gd name="connsiteY51" fmla="*/ 1611218 h 6858002"/>
              <a:gd name="connsiteX52" fmla="*/ 4954679 w 5010150"/>
              <a:gd name="connsiteY52" fmla="*/ 1727744 h 6858002"/>
              <a:gd name="connsiteX53" fmla="*/ 4955160 w 5010150"/>
              <a:gd name="connsiteY53" fmla="*/ 1729889 h 6858002"/>
              <a:gd name="connsiteX54" fmla="*/ 4958372 w 5010150"/>
              <a:gd name="connsiteY54" fmla="*/ 1729889 h 6858002"/>
              <a:gd name="connsiteX55" fmla="*/ 4968858 w 5010150"/>
              <a:gd name="connsiteY55" fmla="*/ 1787317 h 6858002"/>
              <a:gd name="connsiteX56" fmla="*/ 4970141 w 5010150"/>
              <a:gd name="connsiteY56" fmla="*/ 1798949 h 6858002"/>
              <a:gd name="connsiteX57" fmla="*/ 4973515 w 5010150"/>
              <a:gd name="connsiteY57" fmla="*/ 1818701 h 6858002"/>
              <a:gd name="connsiteX58" fmla="*/ 4991278 w 5010150"/>
              <a:gd name="connsiteY58" fmla="*/ 1990440 h 6858002"/>
              <a:gd name="connsiteX59" fmla="*/ 4997206 w 5010150"/>
              <a:gd name="connsiteY59" fmla="*/ 2044160 h 6858002"/>
              <a:gd name="connsiteX60" fmla="*/ 4997415 w 5010150"/>
              <a:gd name="connsiteY60" fmla="*/ 2049815 h 6858002"/>
              <a:gd name="connsiteX61" fmla="*/ 4998476 w 5010150"/>
              <a:gd name="connsiteY61" fmla="*/ 2060059 h 6858002"/>
              <a:gd name="connsiteX62" fmla="*/ 5002642 w 5010150"/>
              <a:gd name="connsiteY62" fmla="*/ 2179173 h 6858002"/>
              <a:gd name="connsiteX63" fmla="*/ 5007720 w 5010150"/>
              <a:gd name="connsiteY63" fmla="*/ 2179173 h 6858002"/>
              <a:gd name="connsiteX64" fmla="*/ 5007720 w 5010150"/>
              <a:gd name="connsiteY64" fmla="*/ 2288988 h 6858002"/>
              <a:gd name="connsiteX65" fmla="*/ 5007720 w 5010150"/>
              <a:gd name="connsiteY65" fmla="*/ 2324338 h 6858002"/>
              <a:gd name="connsiteX66" fmla="*/ 5007720 w 5010150"/>
              <a:gd name="connsiteY66" fmla="*/ 2325162 h 6858002"/>
              <a:gd name="connsiteX67" fmla="*/ 5007720 w 5010150"/>
              <a:gd name="connsiteY67" fmla="*/ 2325165 h 6858002"/>
              <a:gd name="connsiteX68" fmla="*/ 5010150 w 5010150"/>
              <a:gd name="connsiteY68" fmla="*/ 2325165 h 6858002"/>
              <a:gd name="connsiteX69" fmla="*/ 5010150 w 5010150"/>
              <a:gd name="connsiteY69" fmla="*/ 2852790 h 6858002"/>
              <a:gd name="connsiteX70" fmla="*/ 5010150 w 5010150"/>
              <a:gd name="connsiteY70" fmla="*/ 3151572 h 6858002"/>
              <a:gd name="connsiteX71" fmla="*/ 5010150 w 5010150"/>
              <a:gd name="connsiteY71" fmla="*/ 3679197 h 6858002"/>
              <a:gd name="connsiteX72" fmla="*/ 5010150 w 5010150"/>
              <a:gd name="connsiteY72" fmla="*/ 3957489 h 6858002"/>
              <a:gd name="connsiteX73" fmla="*/ 5010150 w 5010150"/>
              <a:gd name="connsiteY73" fmla="*/ 4007085 h 6858002"/>
              <a:gd name="connsiteX74" fmla="*/ 5010150 w 5010150"/>
              <a:gd name="connsiteY74" fmla="*/ 4371125 h 6858002"/>
              <a:gd name="connsiteX75" fmla="*/ 5010150 w 5010150"/>
              <a:gd name="connsiteY75" fmla="*/ 4482304 h 6858002"/>
              <a:gd name="connsiteX76" fmla="*/ 5010150 w 5010150"/>
              <a:gd name="connsiteY76" fmla="*/ 4783896 h 6858002"/>
              <a:gd name="connsiteX77" fmla="*/ 5010150 w 5010150"/>
              <a:gd name="connsiteY77" fmla="*/ 4833492 h 6858002"/>
              <a:gd name="connsiteX78" fmla="*/ 5010150 w 5010150"/>
              <a:gd name="connsiteY78" fmla="*/ 5197532 h 6858002"/>
              <a:gd name="connsiteX79" fmla="*/ 5010150 w 5010150"/>
              <a:gd name="connsiteY79" fmla="*/ 5308711 h 6858002"/>
              <a:gd name="connsiteX80" fmla="*/ 5007743 w 5010150"/>
              <a:gd name="connsiteY80" fmla="*/ 5308711 h 6858002"/>
              <a:gd name="connsiteX81" fmla="*/ 5007743 w 5010150"/>
              <a:gd name="connsiteY81" fmla="*/ 6031595 h 6858002"/>
              <a:gd name="connsiteX82" fmla="*/ 5007743 w 5010150"/>
              <a:gd name="connsiteY82" fmla="*/ 6858002 h 6858002"/>
              <a:gd name="connsiteX83" fmla="*/ 0 w 5010150"/>
              <a:gd name="connsiteY83" fmla="*/ 6858002 h 6858002"/>
              <a:gd name="connsiteX84" fmla="*/ 0 w 5010150"/>
              <a:gd name="connsiteY84" fmla="*/ 6031595 h 6858002"/>
              <a:gd name="connsiteX85" fmla="*/ 0 w 5010150"/>
              <a:gd name="connsiteY85" fmla="*/ 826407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5010150" h="6858002">
                <a:moveTo>
                  <a:pt x="0" y="0"/>
                </a:moveTo>
                <a:lnTo>
                  <a:pt x="3312527" y="0"/>
                </a:lnTo>
                <a:lnTo>
                  <a:pt x="3355634" y="6975"/>
                </a:lnTo>
                <a:cubicBezTo>
                  <a:pt x="3414094" y="19379"/>
                  <a:pt x="3471665" y="34547"/>
                  <a:pt x="3528229" y="52351"/>
                </a:cubicBezTo>
                <a:lnTo>
                  <a:pt x="3536476" y="55380"/>
                </a:lnTo>
                <a:lnTo>
                  <a:pt x="3537897" y="55759"/>
                </a:lnTo>
                <a:lnTo>
                  <a:pt x="3552043" y="61101"/>
                </a:lnTo>
                <a:lnTo>
                  <a:pt x="3694790" y="113544"/>
                </a:lnTo>
                <a:lnTo>
                  <a:pt x="3709441" y="120533"/>
                </a:lnTo>
                <a:lnTo>
                  <a:pt x="3715011" y="122636"/>
                </a:lnTo>
                <a:lnTo>
                  <a:pt x="3745113" y="137553"/>
                </a:lnTo>
                <a:lnTo>
                  <a:pt x="3854624" y="189789"/>
                </a:lnTo>
                <a:lnTo>
                  <a:pt x="3875064" y="201928"/>
                </a:lnTo>
                <a:lnTo>
                  <a:pt x="3884366" y="206535"/>
                </a:lnTo>
                <a:lnTo>
                  <a:pt x="3917028" y="226854"/>
                </a:lnTo>
                <a:lnTo>
                  <a:pt x="4007041" y="280317"/>
                </a:lnTo>
                <a:lnTo>
                  <a:pt x="4032549" y="298710"/>
                </a:lnTo>
                <a:lnTo>
                  <a:pt x="4045118" y="306526"/>
                </a:lnTo>
                <a:lnTo>
                  <a:pt x="4076221" y="330197"/>
                </a:lnTo>
                <a:lnTo>
                  <a:pt x="4151341" y="384361"/>
                </a:lnTo>
                <a:lnTo>
                  <a:pt x="4181105" y="410020"/>
                </a:lnTo>
                <a:lnTo>
                  <a:pt x="4196426" y="421676"/>
                </a:lnTo>
                <a:lnTo>
                  <a:pt x="4224320" y="447269"/>
                </a:lnTo>
                <a:lnTo>
                  <a:pt x="4286834" y="501154"/>
                </a:lnTo>
                <a:lnTo>
                  <a:pt x="4319947" y="535000"/>
                </a:lnTo>
                <a:lnTo>
                  <a:pt x="4337443" y="551051"/>
                </a:lnTo>
                <a:lnTo>
                  <a:pt x="4361443" y="577414"/>
                </a:lnTo>
                <a:lnTo>
                  <a:pt x="4412822" y="629928"/>
                </a:lnTo>
                <a:lnTo>
                  <a:pt x="4448286" y="672805"/>
                </a:lnTo>
                <a:lnTo>
                  <a:pt x="4467330" y="693723"/>
                </a:lnTo>
                <a:lnTo>
                  <a:pt x="4487219" y="719875"/>
                </a:lnTo>
                <a:lnTo>
                  <a:pt x="4528611" y="769918"/>
                </a:lnTo>
                <a:lnTo>
                  <a:pt x="4565346" y="822600"/>
                </a:lnTo>
                <a:lnTo>
                  <a:pt x="4585241" y="848756"/>
                </a:lnTo>
                <a:lnTo>
                  <a:pt x="4601071" y="873835"/>
                </a:lnTo>
                <a:lnTo>
                  <a:pt x="4633509" y="920354"/>
                </a:lnTo>
                <a:lnTo>
                  <a:pt x="4670359" y="983584"/>
                </a:lnTo>
                <a:lnTo>
                  <a:pt x="4690330" y="1015223"/>
                </a:lnTo>
                <a:lnTo>
                  <a:pt x="4702334" y="1038452"/>
                </a:lnTo>
                <a:lnTo>
                  <a:pt x="4726819" y="1080469"/>
                </a:lnTo>
                <a:lnTo>
                  <a:pt x="4762551" y="1155009"/>
                </a:lnTo>
                <a:lnTo>
                  <a:pt x="4781762" y="1192189"/>
                </a:lnTo>
                <a:lnTo>
                  <a:pt x="4790289" y="1212872"/>
                </a:lnTo>
                <a:lnTo>
                  <a:pt x="4807850" y="1249496"/>
                </a:lnTo>
                <a:lnTo>
                  <a:pt x="4841174" y="1336258"/>
                </a:lnTo>
                <a:lnTo>
                  <a:pt x="4858687" y="1378722"/>
                </a:lnTo>
                <a:lnTo>
                  <a:pt x="4864210" y="1396226"/>
                </a:lnTo>
                <a:lnTo>
                  <a:pt x="4875903" y="1426669"/>
                </a:lnTo>
                <a:lnTo>
                  <a:pt x="4905467" y="1526995"/>
                </a:lnTo>
                <a:lnTo>
                  <a:pt x="4920262" y="1573890"/>
                </a:lnTo>
                <a:lnTo>
                  <a:pt x="4923339" y="1587646"/>
                </a:lnTo>
                <a:lnTo>
                  <a:pt x="4930287" y="1611218"/>
                </a:lnTo>
                <a:lnTo>
                  <a:pt x="4954679" y="1727744"/>
                </a:lnTo>
                <a:lnTo>
                  <a:pt x="4955160" y="1729889"/>
                </a:lnTo>
                <a:lnTo>
                  <a:pt x="4958372" y="1729889"/>
                </a:lnTo>
                <a:lnTo>
                  <a:pt x="4968858" y="1787317"/>
                </a:lnTo>
                <a:lnTo>
                  <a:pt x="4970141" y="1798949"/>
                </a:lnTo>
                <a:lnTo>
                  <a:pt x="4973515" y="1818701"/>
                </a:lnTo>
                <a:lnTo>
                  <a:pt x="4991278" y="1990440"/>
                </a:lnTo>
                <a:lnTo>
                  <a:pt x="4997206" y="2044160"/>
                </a:lnTo>
                <a:lnTo>
                  <a:pt x="4997415" y="2049815"/>
                </a:lnTo>
                <a:lnTo>
                  <a:pt x="4998476" y="2060059"/>
                </a:lnTo>
                <a:lnTo>
                  <a:pt x="5002642" y="2179173"/>
                </a:lnTo>
                <a:lnTo>
                  <a:pt x="5007720" y="2179173"/>
                </a:lnTo>
                <a:lnTo>
                  <a:pt x="5007720" y="2288988"/>
                </a:lnTo>
                <a:lnTo>
                  <a:pt x="5007720" y="2324338"/>
                </a:lnTo>
                <a:lnTo>
                  <a:pt x="5007720" y="2325162"/>
                </a:lnTo>
                <a:lnTo>
                  <a:pt x="5007720" y="2325165"/>
                </a:lnTo>
                <a:lnTo>
                  <a:pt x="5010150" y="2325165"/>
                </a:lnTo>
                <a:lnTo>
                  <a:pt x="5010150" y="2852790"/>
                </a:lnTo>
                <a:lnTo>
                  <a:pt x="5010150" y="3151572"/>
                </a:lnTo>
                <a:lnTo>
                  <a:pt x="5010150" y="3679197"/>
                </a:lnTo>
                <a:lnTo>
                  <a:pt x="5010150" y="3957489"/>
                </a:lnTo>
                <a:lnTo>
                  <a:pt x="5010150" y="4007085"/>
                </a:lnTo>
                <a:lnTo>
                  <a:pt x="5010150" y="4371125"/>
                </a:lnTo>
                <a:lnTo>
                  <a:pt x="5010150" y="4482304"/>
                </a:lnTo>
                <a:lnTo>
                  <a:pt x="5010150" y="4783896"/>
                </a:lnTo>
                <a:lnTo>
                  <a:pt x="5010150" y="4833492"/>
                </a:lnTo>
                <a:lnTo>
                  <a:pt x="5010150" y="5197532"/>
                </a:lnTo>
                <a:lnTo>
                  <a:pt x="5010150" y="5308711"/>
                </a:lnTo>
                <a:lnTo>
                  <a:pt x="5007743" y="5308711"/>
                </a:lnTo>
                <a:lnTo>
                  <a:pt x="5007743" y="6031595"/>
                </a:lnTo>
                <a:lnTo>
                  <a:pt x="5007743" y="6858002"/>
                </a:lnTo>
                <a:lnTo>
                  <a:pt x="0" y="6858002"/>
                </a:lnTo>
                <a:lnTo>
                  <a:pt x="0" y="6031595"/>
                </a:lnTo>
                <a:lnTo>
                  <a:pt x="0" y="826407"/>
                </a:lnTo>
                <a:close/>
              </a:path>
            </a:pathLst>
          </a:custGeom>
          <a:solidFill>
            <a:srgbClr val="1D316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1CEDF057-98F5-4161-9606-814F39F746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 flipH="1">
            <a:off x="314970" y="292163"/>
            <a:ext cx="1029177" cy="1029177"/>
          </a:xfrm>
          <a:prstGeom prst="rect">
            <a:avLst/>
          </a:prstGeom>
        </p:spPr>
      </p:pic>
      <p:pic>
        <p:nvPicPr>
          <p:cNvPr id="4" name="Picture Placeholder 3" descr="A picture containing sky, outdoor, city&#10;&#10;Description automatically generated">
            <a:extLst>
              <a:ext uri="{FF2B5EF4-FFF2-40B4-BE49-F238E27FC236}">
                <a16:creationId xmlns:a16="http://schemas.microsoft.com/office/drawing/2014/main" id="{878B553D-4DD0-C743-8C2F-FFD551AC854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9DB1B1B-F024-4F41-BEE0-90A446742960}"/>
              </a:ext>
            </a:extLst>
          </p:cNvPr>
          <p:cNvSpPr txBox="1">
            <a:spLocks/>
          </p:cNvSpPr>
          <p:nvPr/>
        </p:nvSpPr>
        <p:spPr>
          <a:xfrm>
            <a:off x="5378223" y="1193807"/>
            <a:ext cx="6498808" cy="560666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Penyedi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Jasa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dapa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dikenak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sanks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administratif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dalam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ha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: 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tidak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emilik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perizin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berusah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yang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eliput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Nomo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Induk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Berusah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dan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sertifikat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standa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;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tidak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emenuh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Standa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K4;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tidak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emenuh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ketentu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pengesah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atau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persetuju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K4;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tidak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emilik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SBU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tidak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emenuh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ketentu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pemberi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pekerja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utam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kepad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subpenyedi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jas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spesiali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; 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tidak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emenuh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kewajib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untuk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enggant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atau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emperbaik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kegagal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bangun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; dan/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atau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empekerjak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TKK yang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tidak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emilik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 SKK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Konstruks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0D8B2CF-F56D-B24C-9D2E-BC18C3923399}"/>
              </a:ext>
            </a:extLst>
          </p:cNvPr>
          <p:cNvSpPr txBox="1"/>
          <p:nvPr/>
        </p:nvSpPr>
        <p:spPr>
          <a:xfrm>
            <a:off x="3496056" y="275859"/>
            <a:ext cx="6268796" cy="492443"/>
          </a:xfrm>
          <a:prstGeom prst="rect">
            <a:avLst/>
          </a:prstGeom>
          <a:solidFill>
            <a:srgbClr val="FEB813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ENYEDIA JAS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CBCDF7-1E29-E34A-9E03-03EFBDF7B3A7}"/>
              </a:ext>
            </a:extLst>
          </p:cNvPr>
          <p:cNvSpPr txBox="1"/>
          <p:nvPr/>
        </p:nvSpPr>
        <p:spPr>
          <a:xfrm>
            <a:off x="314969" y="5720128"/>
            <a:ext cx="3699155" cy="430887"/>
          </a:xfrm>
          <a:prstGeom prst="rect">
            <a:avLst/>
          </a:prstGeom>
          <a:solidFill>
            <a:srgbClr val="FEB813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ASAL 71 AYAT 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0E7ECC7-6230-7B1D-3DD7-370D9A76C8C4}"/>
              </a:ext>
            </a:extLst>
          </p:cNvPr>
          <p:cNvSpPr/>
          <p:nvPr/>
        </p:nvSpPr>
        <p:spPr>
          <a:xfrm>
            <a:off x="164090" y="1655315"/>
            <a:ext cx="4038600" cy="1264706"/>
          </a:xfrm>
          <a:prstGeom prst="rect">
            <a:avLst/>
          </a:prstGeom>
          <a:solidFill>
            <a:srgbClr val="1D3166"/>
          </a:solidFill>
          <a:ln>
            <a:solidFill>
              <a:srgbClr val="1D31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36F4CE-5D13-7F1B-B0D4-1028B742AE9A}"/>
              </a:ext>
            </a:extLst>
          </p:cNvPr>
          <p:cNvSpPr txBox="1"/>
          <p:nvPr/>
        </p:nvSpPr>
        <p:spPr>
          <a:xfrm>
            <a:off x="188086" y="1613505"/>
            <a:ext cx="40298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Gubernur atau bupati/walikota dapat memberikan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sanksi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dministrati</a:t>
            </a:r>
            <a:r>
              <a:rPr kumimoji="0" lang="id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f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kepada</a:t>
            </a: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: </a:t>
            </a:r>
          </a:p>
        </p:txBody>
      </p:sp>
      <p:pic>
        <p:nvPicPr>
          <p:cNvPr id="5" name="Picture 4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CB06485D-6F5A-E62C-5AE2-5159783606B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20164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hqprint">
            <a:alphaModFix amt="18997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Freeform: Shape 66">
            <a:extLst>
              <a:ext uri="{FF2B5EF4-FFF2-40B4-BE49-F238E27FC236}">
                <a16:creationId xmlns:a16="http://schemas.microsoft.com/office/drawing/2014/main" id="{EB94FE84-CDFB-1841-B5CF-FF9769731C7D}"/>
              </a:ext>
            </a:extLst>
          </p:cNvPr>
          <p:cNvSpPr/>
          <p:nvPr/>
        </p:nvSpPr>
        <p:spPr>
          <a:xfrm>
            <a:off x="6395824" y="276726"/>
            <a:ext cx="5647788" cy="6340642"/>
          </a:xfrm>
          <a:custGeom>
            <a:avLst/>
            <a:gdLst>
              <a:gd name="connsiteX0" fmla="*/ 2080073 w 5796177"/>
              <a:gd name="connsiteY0" fmla="*/ 0 h 6857999"/>
              <a:gd name="connsiteX1" fmla="*/ 2080093 w 5796177"/>
              <a:gd name="connsiteY1" fmla="*/ 1 h 6857999"/>
              <a:gd name="connsiteX2" fmla="*/ 2177793 w 5796177"/>
              <a:gd name="connsiteY2" fmla="*/ 1 h 6857999"/>
              <a:gd name="connsiteX3" fmla="*/ 2239748 w 5796177"/>
              <a:gd name="connsiteY3" fmla="*/ 1 h 6857999"/>
              <a:gd name="connsiteX4" fmla="*/ 2240974 w 5796177"/>
              <a:gd name="connsiteY4" fmla="*/ 1 h 6857999"/>
              <a:gd name="connsiteX5" fmla="*/ 2240995 w 5796177"/>
              <a:gd name="connsiteY5" fmla="*/ 0 h 6857999"/>
              <a:gd name="connsiteX6" fmla="*/ 2241014 w 5796177"/>
              <a:gd name="connsiteY6" fmla="*/ 1 h 6857999"/>
              <a:gd name="connsiteX7" fmla="*/ 2338714 w 5796177"/>
              <a:gd name="connsiteY7" fmla="*/ 1 h 6857999"/>
              <a:gd name="connsiteX8" fmla="*/ 3548169 w 5796177"/>
              <a:gd name="connsiteY8" fmla="*/ 1 h 6857999"/>
              <a:gd name="connsiteX9" fmla="*/ 3549395 w 5796177"/>
              <a:gd name="connsiteY9" fmla="*/ 1 h 6857999"/>
              <a:gd name="connsiteX10" fmla="*/ 3549415 w 5796177"/>
              <a:gd name="connsiteY10" fmla="*/ 0 h 6857999"/>
              <a:gd name="connsiteX11" fmla="*/ 3549435 w 5796177"/>
              <a:gd name="connsiteY11" fmla="*/ 1 h 6857999"/>
              <a:gd name="connsiteX12" fmla="*/ 3647135 w 5796177"/>
              <a:gd name="connsiteY12" fmla="*/ 1 h 6857999"/>
              <a:gd name="connsiteX13" fmla="*/ 3709090 w 5796177"/>
              <a:gd name="connsiteY13" fmla="*/ 1 h 6857999"/>
              <a:gd name="connsiteX14" fmla="*/ 3710316 w 5796177"/>
              <a:gd name="connsiteY14" fmla="*/ 1 h 6857999"/>
              <a:gd name="connsiteX15" fmla="*/ 3710336 w 5796177"/>
              <a:gd name="connsiteY15" fmla="*/ 0 h 6857999"/>
              <a:gd name="connsiteX16" fmla="*/ 3710355 w 5796177"/>
              <a:gd name="connsiteY16" fmla="*/ 1 h 6857999"/>
              <a:gd name="connsiteX17" fmla="*/ 3808056 w 5796177"/>
              <a:gd name="connsiteY17" fmla="*/ 1 h 6857999"/>
              <a:gd name="connsiteX18" fmla="*/ 3808056 w 5796177"/>
              <a:gd name="connsiteY18" fmla="*/ 5124 h 6857999"/>
              <a:gd name="connsiteX19" fmla="*/ 3908760 w 5796177"/>
              <a:gd name="connsiteY19" fmla="*/ 10340 h 6857999"/>
              <a:gd name="connsiteX20" fmla="*/ 3914869 w 5796177"/>
              <a:gd name="connsiteY20" fmla="*/ 11296 h 6857999"/>
              <a:gd name="connsiteX21" fmla="*/ 3923011 w 5796177"/>
              <a:gd name="connsiteY21" fmla="*/ 11744 h 6857999"/>
              <a:gd name="connsiteX22" fmla="*/ 4281324 w 5796177"/>
              <a:gd name="connsiteY22" fmla="*/ 86772 h 6857999"/>
              <a:gd name="connsiteX23" fmla="*/ 4289754 w 5796177"/>
              <a:gd name="connsiteY23" fmla="*/ 89835 h 6857999"/>
              <a:gd name="connsiteX24" fmla="*/ 4291207 w 5796177"/>
              <a:gd name="connsiteY24" fmla="*/ 90218 h 6857999"/>
              <a:gd name="connsiteX25" fmla="*/ 4305668 w 5796177"/>
              <a:gd name="connsiteY25" fmla="*/ 95624 h 6857999"/>
              <a:gd name="connsiteX26" fmla="*/ 4451587 w 5796177"/>
              <a:gd name="connsiteY26" fmla="*/ 148675 h 6857999"/>
              <a:gd name="connsiteX27" fmla="*/ 4466565 w 5796177"/>
              <a:gd name="connsiteY27" fmla="*/ 155745 h 6857999"/>
              <a:gd name="connsiteX28" fmla="*/ 4472257 w 5796177"/>
              <a:gd name="connsiteY28" fmla="*/ 157873 h 6857999"/>
              <a:gd name="connsiteX29" fmla="*/ 4503028 w 5796177"/>
              <a:gd name="connsiteY29" fmla="*/ 172962 h 6857999"/>
              <a:gd name="connsiteX30" fmla="*/ 4614973 w 5796177"/>
              <a:gd name="connsiteY30" fmla="*/ 225806 h 6857999"/>
              <a:gd name="connsiteX31" fmla="*/ 4635867 w 5796177"/>
              <a:gd name="connsiteY31" fmla="*/ 238086 h 6857999"/>
              <a:gd name="connsiteX32" fmla="*/ 4645375 w 5796177"/>
              <a:gd name="connsiteY32" fmla="*/ 242747 h 6857999"/>
              <a:gd name="connsiteX33" fmla="*/ 4678765 w 5796177"/>
              <a:gd name="connsiteY33" fmla="*/ 263301 h 6857999"/>
              <a:gd name="connsiteX34" fmla="*/ 4770777 w 5796177"/>
              <a:gd name="connsiteY34" fmla="*/ 317386 h 6857999"/>
              <a:gd name="connsiteX35" fmla="*/ 4796851 w 5796177"/>
              <a:gd name="connsiteY35" fmla="*/ 335993 h 6857999"/>
              <a:gd name="connsiteX36" fmla="*/ 4809700 w 5796177"/>
              <a:gd name="connsiteY36" fmla="*/ 343899 h 6857999"/>
              <a:gd name="connsiteX37" fmla="*/ 4841495 w 5796177"/>
              <a:gd name="connsiteY37" fmla="*/ 367846 h 6857999"/>
              <a:gd name="connsiteX38" fmla="*/ 4918283 w 5796177"/>
              <a:gd name="connsiteY38" fmla="*/ 422639 h 6857999"/>
              <a:gd name="connsiteX39" fmla="*/ 4948709 w 5796177"/>
              <a:gd name="connsiteY39" fmla="*/ 448596 h 6857999"/>
              <a:gd name="connsiteX40" fmla="*/ 4964370 w 5796177"/>
              <a:gd name="connsiteY40" fmla="*/ 460387 h 6857999"/>
              <a:gd name="connsiteX41" fmla="*/ 4992883 w 5796177"/>
              <a:gd name="connsiteY41" fmla="*/ 486277 h 6857999"/>
              <a:gd name="connsiteX42" fmla="*/ 5056787 w 5796177"/>
              <a:gd name="connsiteY42" fmla="*/ 540788 h 6857999"/>
              <a:gd name="connsiteX43" fmla="*/ 5090635 w 5796177"/>
              <a:gd name="connsiteY43" fmla="*/ 575028 h 6857999"/>
              <a:gd name="connsiteX44" fmla="*/ 5108521 w 5796177"/>
              <a:gd name="connsiteY44" fmla="*/ 591265 h 6857999"/>
              <a:gd name="connsiteX45" fmla="*/ 5133053 w 5796177"/>
              <a:gd name="connsiteY45" fmla="*/ 617935 h 6857999"/>
              <a:gd name="connsiteX46" fmla="*/ 5185575 w 5796177"/>
              <a:gd name="connsiteY46" fmla="*/ 671059 h 6857999"/>
              <a:gd name="connsiteX47" fmla="*/ 5221827 w 5796177"/>
              <a:gd name="connsiteY47" fmla="*/ 714434 h 6857999"/>
              <a:gd name="connsiteX48" fmla="*/ 5241294 w 5796177"/>
              <a:gd name="connsiteY48" fmla="*/ 735595 h 6857999"/>
              <a:gd name="connsiteX49" fmla="*/ 5261625 w 5796177"/>
              <a:gd name="connsiteY49" fmla="*/ 762051 h 6857999"/>
              <a:gd name="connsiteX50" fmla="*/ 5303937 w 5796177"/>
              <a:gd name="connsiteY50" fmla="*/ 812675 h 6857999"/>
              <a:gd name="connsiteX51" fmla="*/ 5341488 w 5796177"/>
              <a:gd name="connsiteY51" fmla="*/ 865969 h 6857999"/>
              <a:gd name="connsiteX52" fmla="*/ 5361825 w 5796177"/>
              <a:gd name="connsiteY52" fmla="*/ 892430 h 6857999"/>
              <a:gd name="connsiteX53" fmla="*/ 5378007 w 5796177"/>
              <a:gd name="connsiteY53" fmla="*/ 917799 h 6857999"/>
              <a:gd name="connsiteX54" fmla="*/ 5411167 w 5796177"/>
              <a:gd name="connsiteY54" fmla="*/ 964858 h 6857999"/>
              <a:gd name="connsiteX55" fmla="*/ 5448833 w 5796177"/>
              <a:gd name="connsiteY55" fmla="*/ 1028823 h 6857999"/>
              <a:gd name="connsiteX56" fmla="*/ 5469251 w 5796177"/>
              <a:gd name="connsiteY56" fmla="*/ 1060829 h 6857999"/>
              <a:gd name="connsiteX57" fmla="*/ 5481521 w 5796177"/>
              <a:gd name="connsiteY57" fmla="*/ 1084329 h 6857999"/>
              <a:gd name="connsiteX58" fmla="*/ 5506551 w 5796177"/>
              <a:gd name="connsiteY58" fmla="*/ 1126834 h 6857999"/>
              <a:gd name="connsiteX59" fmla="*/ 5543075 w 5796177"/>
              <a:gd name="connsiteY59" fmla="*/ 1202240 h 6857999"/>
              <a:gd name="connsiteX60" fmla="*/ 5562713 w 5796177"/>
              <a:gd name="connsiteY60" fmla="*/ 1239851 h 6857999"/>
              <a:gd name="connsiteX61" fmla="*/ 5571431 w 5796177"/>
              <a:gd name="connsiteY61" fmla="*/ 1260776 h 6857999"/>
              <a:gd name="connsiteX62" fmla="*/ 5589381 w 5796177"/>
              <a:gd name="connsiteY62" fmla="*/ 1297825 h 6857999"/>
              <a:gd name="connsiteX63" fmla="*/ 5623445 w 5796177"/>
              <a:gd name="connsiteY63" fmla="*/ 1385594 h 6857999"/>
              <a:gd name="connsiteX64" fmla="*/ 5641349 w 5796177"/>
              <a:gd name="connsiteY64" fmla="*/ 1428552 h 6857999"/>
              <a:gd name="connsiteX65" fmla="*/ 5646993 w 5796177"/>
              <a:gd name="connsiteY65" fmla="*/ 1446259 h 6857999"/>
              <a:gd name="connsiteX66" fmla="*/ 5658947 w 5796177"/>
              <a:gd name="connsiteY66" fmla="*/ 1477056 h 6857999"/>
              <a:gd name="connsiteX67" fmla="*/ 5689167 w 5796177"/>
              <a:gd name="connsiteY67" fmla="*/ 1578547 h 6857999"/>
              <a:gd name="connsiteX68" fmla="*/ 5704291 w 5796177"/>
              <a:gd name="connsiteY68" fmla="*/ 1625988 h 6857999"/>
              <a:gd name="connsiteX69" fmla="*/ 5707437 w 5796177"/>
              <a:gd name="connsiteY69" fmla="*/ 1639903 h 6857999"/>
              <a:gd name="connsiteX70" fmla="*/ 5714539 w 5796177"/>
              <a:gd name="connsiteY70" fmla="*/ 1663750 h 6857999"/>
              <a:gd name="connsiteX71" fmla="*/ 5739474 w 5796177"/>
              <a:gd name="connsiteY71" fmla="*/ 1781628 h 6857999"/>
              <a:gd name="connsiteX72" fmla="*/ 5739965 w 5796177"/>
              <a:gd name="connsiteY72" fmla="*/ 1783799 h 6857999"/>
              <a:gd name="connsiteX73" fmla="*/ 5743249 w 5796177"/>
              <a:gd name="connsiteY73" fmla="*/ 1783799 h 6857999"/>
              <a:gd name="connsiteX74" fmla="*/ 5753967 w 5796177"/>
              <a:gd name="connsiteY74" fmla="*/ 1841893 h 6857999"/>
              <a:gd name="connsiteX75" fmla="*/ 5755279 w 5796177"/>
              <a:gd name="connsiteY75" fmla="*/ 1853662 h 6857999"/>
              <a:gd name="connsiteX76" fmla="*/ 5758729 w 5796177"/>
              <a:gd name="connsiteY76" fmla="*/ 1873642 h 6857999"/>
              <a:gd name="connsiteX77" fmla="*/ 5776884 w 5796177"/>
              <a:gd name="connsiteY77" fmla="*/ 2047377 h 6857999"/>
              <a:gd name="connsiteX78" fmla="*/ 5782945 w 5796177"/>
              <a:gd name="connsiteY78" fmla="*/ 2101723 h 6857999"/>
              <a:gd name="connsiteX79" fmla="*/ 5783159 w 5796177"/>
              <a:gd name="connsiteY79" fmla="*/ 2107442 h 6857999"/>
              <a:gd name="connsiteX80" fmla="*/ 5784244 w 5796177"/>
              <a:gd name="connsiteY80" fmla="*/ 2117804 h 6857999"/>
              <a:gd name="connsiteX81" fmla="*/ 5788502 w 5796177"/>
              <a:gd name="connsiteY81" fmla="*/ 2238302 h 6857999"/>
              <a:gd name="connsiteX82" fmla="*/ 5793692 w 5796177"/>
              <a:gd name="connsiteY82" fmla="*/ 2238302 h 6857999"/>
              <a:gd name="connsiteX83" fmla="*/ 5793692 w 5796177"/>
              <a:gd name="connsiteY83" fmla="*/ 2349393 h 6857999"/>
              <a:gd name="connsiteX84" fmla="*/ 5793692 w 5796177"/>
              <a:gd name="connsiteY84" fmla="*/ 2385154 h 6857999"/>
              <a:gd name="connsiteX85" fmla="*/ 5793692 w 5796177"/>
              <a:gd name="connsiteY85" fmla="*/ 2385988 h 6857999"/>
              <a:gd name="connsiteX86" fmla="*/ 5793692 w 5796177"/>
              <a:gd name="connsiteY86" fmla="*/ 2385990 h 6857999"/>
              <a:gd name="connsiteX87" fmla="*/ 5796177 w 5796177"/>
              <a:gd name="connsiteY87" fmla="*/ 2385990 h 6857999"/>
              <a:gd name="connsiteX88" fmla="*/ 5796177 w 5796177"/>
              <a:gd name="connsiteY88" fmla="*/ 2593053 h 6857999"/>
              <a:gd name="connsiteX89" fmla="*/ 5796177 w 5796177"/>
              <a:gd name="connsiteY89" fmla="*/ 2919746 h 6857999"/>
              <a:gd name="connsiteX90" fmla="*/ 5796177 w 5796177"/>
              <a:gd name="connsiteY90" fmla="*/ 3136018 h 6857999"/>
              <a:gd name="connsiteX91" fmla="*/ 5796177 w 5796177"/>
              <a:gd name="connsiteY91" fmla="*/ 4037278 h 6857999"/>
              <a:gd name="connsiteX92" fmla="*/ 5796177 w 5796177"/>
              <a:gd name="connsiteY92" fmla="*/ 4087449 h 6857999"/>
              <a:gd name="connsiteX93" fmla="*/ 5796177 w 5796177"/>
              <a:gd name="connsiteY93" fmla="*/ 4272831 h 6857999"/>
              <a:gd name="connsiteX94" fmla="*/ 5796177 w 5796177"/>
              <a:gd name="connsiteY94" fmla="*/ 4323868 h 6857999"/>
              <a:gd name="connsiteX95" fmla="*/ 5796177 w 5796177"/>
              <a:gd name="connsiteY95" fmla="*/ 4455720 h 6857999"/>
              <a:gd name="connsiteX96" fmla="*/ 5796177 w 5796177"/>
              <a:gd name="connsiteY96" fmla="*/ 4568191 h 6857999"/>
              <a:gd name="connsiteX97" fmla="*/ 5796177 w 5796177"/>
              <a:gd name="connsiteY97" fmla="*/ 4698493 h 6857999"/>
              <a:gd name="connsiteX98" fmla="*/ 5796177 w 5796177"/>
              <a:gd name="connsiteY98" fmla="*/ 4812903 h 6857999"/>
              <a:gd name="connsiteX99" fmla="*/ 5793717 w 5796177"/>
              <a:gd name="connsiteY99" fmla="*/ 4812903 h 6857999"/>
              <a:gd name="connsiteX100" fmla="*/ 5793717 w 5796177"/>
              <a:gd name="connsiteY100" fmla="*/ 6578599 h 6857999"/>
              <a:gd name="connsiteX101" fmla="*/ 5793717 w 5796177"/>
              <a:gd name="connsiteY101" fmla="*/ 6857998 h 6857999"/>
              <a:gd name="connsiteX102" fmla="*/ 5654017 w 5796177"/>
              <a:gd name="connsiteY102" fmla="*/ 6857998 h 6857999"/>
              <a:gd name="connsiteX103" fmla="*/ 4324375 w 5796177"/>
              <a:gd name="connsiteY103" fmla="*/ 6857998 h 6857999"/>
              <a:gd name="connsiteX104" fmla="*/ 4184676 w 5796177"/>
              <a:gd name="connsiteY104" fmla="*/ 6857998 h 6857999"/>
              <a:gd name="connsiteX105" fmla="*/ 3714890 w 5796177"/>
              <a:gd name="connsiteY105" fmla="*/ 6857998 h 6857999"/>
              <a:gd name="connsiteX106" fmla="*/ 3713663 w 5796177"/>
              <a:gd name="connsiteY106" fmla="*/ 6857998 h 6857999"/>
              <a:gd name="connsiteX107" fmla="*/ 3713644 w 5796177"/>
              <a:gd name="connsiteY107" fmla="*/ 6857999 h 6857999"/>
              <a:gd name="connsiteX108" fmla="*/ 3713623 w 5796177"/>
              <a:gd name="connsiteY108" fmla="*/ 6857998 h 6857999"/>
              <a:gd name="connsiteX109" fmla="*/ 3615923 w 5796177"/>
              <a:gd name="connsiteY109" fmla="*/ 6857998 h 6857999"/>
              <a:gd name="connsiteX110" fmla="*/ 3575191 w 5796177"/>
              <a:gd name="connsiteY110" fmla="*/ 6857998 h 6857999"/>
              <a:gd name="connsiteX111" fmla="*/ 3573964 w 5796177"/>
              <a:gd name="connsiteY111" fmla="*/ 6857998 h 6857999"/>
              <a:gd name="connsiteX112" fmla="*/ 3573945 w 5796177"/>
              <a:gd name="connsiteY112" fmla="*/ 6857999 h 6857999"/>
              <a:gd name="connsiteX113" fmla="*/ 3573924 w 5796177"/>
              <a:gd name="connsiteY113" fmla="*/ 6857998 h 6857999"/>
              <a:gd name="connsiteX114" fmla="*/ 3476224 w 5796177"/>
              <a:gd name="connsiteY114" fmla="*/ 6857998 h 6857999"/>
              <a:gd name="connsiteX115" fmla="*/ 2245549 w 5796177"/>
              <a:gd name="connsiteY115" fmla="*/ 6857998 h 6857999"/>
              <a:gd name="connsiteX116" fmla="*/ 2244321 w 5796177"/>
              <a:gd name="connsiteY116" fmla="*/ 6857998 h 6857999"/>
              <a:gd name="connsiteX117" fmla="*/ 2244302 w 5796177"/>
              <a:gd name="connsiteY117" fmla="*/ 6857999 h 6857999"/>
              <a:gd name="connsiteX118" fmla="*/ 2244282 w 5796177"/>
              <a:gd name="connsiteY118" fmla="*/ 6857998 h 6857999"/>
              <a:gd name="connsiteX119" fmla="*/ 2146582 w 5796177"/>
              <a:gd name="connsiteY119" fmla="*/ 6857998 h 6857999"/>
              <a:gd name="connsiteX120" fmla="*/ 2105849 w 5796177"/>
              <a:gd name="connsiteY120" fmla="*/ 6857998 h 6857999"/>
              <a:gd name="connsiteX121" fmla="*/ 2104623 w 5796177"/>
              <a:gd name="connsiteY121" fmla="*/ 6857998 h 6857999"/>
              <a:gd name="connsiteX122" fmla="*/ 2104603 w 5796177"/>
              <a:gd name="connsiteY122" fmla="*/ 6857999 h 6857999"/>
              <a:gd name="connsiteX123" fmla="*/ 2104583 w 5796177"/>
              <a:gd name="connsiteY123" fmla="*/ 6857998 h 6857999"/>
              <a:gd name="connsiteX124" fmla="*/ 2006883 w 5796177"/>
              <a:gd name="connsiteY124" fmla="*/ 6857998 h 6857999"/>
              <a:gd name="connsiteX125" fmla="*/ 2006883 w 5796177"/>
              <a:gd name="connsiteY125" fmla="*/ 6853136 h 6857999"/>
              <a:gd name="connsiteX126" fmla="*/ 1906178 w 5796177"/>
              <a:gd name="connsiteY126" fmla="*/ 6848186 h 6857999"/>
              <a:gd name="connsiteX127" fmla="*/ 1900067 w 5796177"/>
              <a:gd name="connsiteY127" fmla="*/ 6847279 h 6857999"/>
              <a:gd name="connsiteX128" fmla="*/ 1891929 w 5796177"/>
              <a:gd name="connsiteY128" fmla="*/ 6846854 h 6857999"/>
              <a:gd name="connsiteX129" fmla="*/ 1533615 w 5796177"/>
              <a:gd name="connsiteY129" fmla="*/ 6775647 h 6857999"/>
              <a:gd name="connsiteX130" fmla="*/ 1525186 w 5796177"/>
              <a:gd name="connsiteY130" fmla="*/ 6772737 h 6857999"/>
              <a:gd name="connsiteX131" fmla="*/ 1523733 w 5796177"/>
              <a:gd name="connsiteY131" fmla="*/ 6772374 h 6857999"/>
              <a:gd name="connsiteX132" fmla="*/ 1509271 w 5796177"/>
              <a:gd name="connsiteY132" fmla="*/ 6767244 h 6857999"/>
              <a:gd name="connsiteX133" fmla="*/ 1363351 w 5796177"/>
              <a:gd name="connsiteY133" fmla="*/ 6716894 h 6857999"/>
              <a:gd name="connsiteX134" fmla="*/ 1348375 w 5796177"/>
              <a:gd name="connsiteY134" fmla="*/ 6710182 h 6857999"/>
              <a:gd name="connsiteX135" fmla="*/ 1342682 w 5796177"/>
              <a:gd name="connsiteY135" fmla="*/ 6708164 h 6857999"/>
              <a:gd name="connsiteX136" fmla="*/ 1311909 w 5796177"/>
              <a:gd name="connsiteY136" fmla="*/ 6693845 h 6857999"/>
              <a:gd name="connsiteX137" fmla="*/ 1199964 w 5796177"/>
              <a:gd name="connsiteY137" fmla="*/ 6643690 h 6857999"/>
              <a:gd name="connsiteX138" fmla="*/ 1179072 w 5796177"/>
              <a:gd name="connsiteY138" fmla="*/ 6632034 h 6857999"/>
              <a:gd name="connsiteX139" fmla="*/ 1169562 w 5796177"/>
              <a:gd name="connsiteY139" fmla="*/ 6627609 h 6857999"/>
              <a:gd name="connsiteX140" fmla="*/ 1136174 w 5796177"/>
              <a:gd name="connsiteY140" fmla="*/ 6608101 h 6857999"/>
              <a:gd name="connsiteX141" fmla="*/ 1044163 w 5796177"/>
              <a:gd name="connsiteY141" fmla="*/ 6556770 h 6857999"/>
              <a:gd name="connsiteX142" fmla="*/ 1018086 w 5796177"/>
              <a:gd name="connsiteY142" fmla="*/ 6539110 h 6857999"/>
              <a:gd name="connsiteX143" fmla="*/ 1005238 w 5796177"/>
              <a:gd name="connsiteY143" fmla="*/ 6531606 h 6857999"/>
              <a:gd name="connsiteX144" fmla="*/ 973444 w 5796177"/>
              <a:gd name="connsiteY144" fmla="*/ 6508878 h 6857999"/>
              <a:gd name="connsiteX145" fmla="*/ 896655 w 5796177"/>
              <a:gd name="connsiteY145" fmla="*/ 6456874 h 6857999"/>
              <a:gd name="connsiteX146" fmla="*/ 866229 w 5796177"/>
              <a:gd name="connsiteY146" fmla="*/ 6432241 h 6857999"/>
              <a:gd name="connsiteX147" fmla="*/ 850569 w 5796177"/>
              <a:gd name="connsiteY147" fmla="*/ 6421048 h 6857999"/>
              <a:gd name="connsiteX148" fmla="*/ 822056 w 5796177"/>
              <a:gd name="connsiteY148" fmla="*/ 6396477 h 6857999"/>
              <a:gd name="connsiteX149" fmla="*/ 758152 w 5796177"/>
              <a:gd name="connsiteY149" fmla="*/ 6344738 h 6857999"/>
              <a:gd name="connsiteX150" fmla="*/ 724303 w 5796177"/>
              <a:gd name="connsiteY150" fmla="*/ 6312242 h 6857999"/>
              <a:gd name="connsiteX151" fmla="*/ 706417 w 5796177"/>
              <a:gd name="connsiteY151" fmla="*/ 6296830 h 6857999"/>
              <a:gd name="connsiteX152" fmla="*/ 681884 w 5796177"/>
              <a:gd name="connsiteY152" fmla="*/ 6271519 h 6857999"/>
              <a:gd name="connsiteX153" fmla="*/ 629363 w 5796177"/>
              <a:gd name="connsiteY153" fmla="*/ 6221099 h 6857999"/>
              <a:gd name="connsiteX154" fmla="*/ 593111 w 5796177"/>
              <a:gd name="connsiteY154" fmla="*/ 6179932 h 6857999"/>
              <a:gd name="connsiteX155" fmla="*/ 573644 w 5796177"/>
              <a:gd name="connsiteY155" fmla="*/ 6159848 h 6857999"/>
              <a:gd name="connsiteX156" fmla="*/ 553314 w 5796177"/>
              <a:gd name="connsiteY156" fmla="*/ 6134738 h 6857999"/>
              <a:gd name="connsiteX157" fmla="*/ 511002 w 5796177"/>
              <a:gd name="connsiteY157" fmla="*/ 6086690 h 6857999"/>
              <a:gd name="connsiteX158" fmla="*/ 473450 w 5796177"/>
              <a:gd name="connsiteY158" fmla="*/ 6036108 h 6857999"/>
              <a:gd name="connsiteX159" fmla="*/ 453114 w 5796177"/>
              <a:gd name="connsiteY159" fmla="*/ 6010996 h 6857999"/>
              <a:gd name="connsiteX160" fmla="*/ 436931 w 5796177"/>
              <a:gd name="connsiteY160" fmla="*/ 5986917 h 6857999"/>
              <a:gd name="connsiteX161" fmla="*/ 403773 w 5796177"/>
              <a:gd name="connsiteY161" fmla="*/ 5942254 h 6857999"/>
              <a:gd name="connsiteX162" fmla="*/ 366106 w 5796177"/>
              <a:gd name="connsiteY162" fmla="*/ 5881545 h 6857999"/>
              <a:gd name="connsiteX163" fmla="*/ 345687 w 5796177"/>
              <a:gd name="connsiteY163" fmla="*/ 5851167 h 6857999"/>
              <a:gd name="connsiteX164" fmla="*/ 333419 w 5796177"/>
              <a:gd name="connsiteY164" fmla="*/ 5828864 h 6857999"/>
              <a:gd name="connsiteX165" fmla="*/ 308389 w 5796177"/>
              <a:gd name="connsiteY165" fmla="*/ 5788522 h 6857999"/>
              <a:gd name="connsiteX166" fmla="*/ 271864 w 5796177"/>
              <a:gd name="connsiteY166" fmla="*/ 5716955 h 6857999"/>
              <a:gd name="connsiteX167" fmla="*/ 252227 w 5796177"/>
              <a:gd name="connsiteY167" fmla="*/ 5681258 h 6857999"/>
              <a:gd name="connsiteX168" fmla="*/ 243508 w 5796177"/>
              <a:gd name="connsiteY168" fmla="*/ 5661399 h 6857999"/>
              <a:gd name="connsiteX169" fmla="*/ 225559 w 5796177"/>
              <a:gd name="connsiteY169" fmla="*/ 5626234 h 6857999"/>
              <a:gd name="connsiteX170" fmla="*/ 191493 w 5796177"/>
              <a:gd name="connsiteY170" fmla="*/ 5542933 h 6857999"/>
              <a:gd name="connsiteX171" fmla="*/ 173591 w 5796177"/>
              <a:gd name="connsiteY171" fmla="*/ 5502163 h 6857999"/>
              <a:gd name="connsiteX172" fmla="*/ 167947 w 5796177"/>
              <a:gd name="connsiteY172" fmla="*/ 5485357 h 6857999"/>
              <a:gd name="connsiteX173" fmla="*/ 155993 w 5796177"/>
              <a:gd name="connsiteY173" fmla="*/ 5456126 h 6857999"/>
              <a:gd name="connsiteX174" fmla="*/ 125772 w 5796177"/>
              <a:gd name="connsiteY174" fmla="*/ 5359803 h 6857999"/>
              <a:gd name="connsiteX175" fmla="*/ 110648 w 5796177"/>
              <a:gd name="connsiteY175" fmla="*/ 5314777 h 6857999"/>
              <a:gd name="connsiteX176" fmla="*/ 107502 w 5796177"/>
              <a:gd name="connsiteY176" fmla="*/ 5301567 h 6857999"/>
              <a:gd name="connsiteX177" fmla="*/ 100402 w 5796177"/>
              <a:gd name="connsiteY177" fmla="*/ 5278935 h 6857999"/>
              <a:gd name="connsiteX178" fmla="*/ 75465 w 5796177"/>
              <a:gd name="connsiteY178" fmla="*/ 5167059 h 6857999"/>
              <a:gd name="connsiteX179" fmla="*/ 64256 w 5796177"/>
              <a:gd name="connsiteY179" fmla="*/ 5119993 h 6857999"/>
              <a:gd name="connsiteX180" fmla="*/ 62943 w 5796177"/>
              <a:gd name="connsiteY180" fmla="*/ 5110876 h 6857999"/>
              <a:gd name="connsiteX181" fmla="*/ 59494 w 5796177"/>
              <a:gd name="connsiteY181" fmla="*/ 5095397 h 6857999"/>
              <a:gd name="connsiteX182" fmla="*/ 41339 w 5796177"/>
              <a:gd name="connsiteY182" fmla="*/ 4960809 h 6857999"/>
              <a:gd name="connsiteX183" fmla="*/ 35278 w 5796177"/>
              <a:gd name="connsiteY183" fmla="*/ 4918708 h 6857999"/>
              <a:gd name="connsiteX184" fmla="*/ 35061 w 5796177"/>
              <a:gd name="connsiteY184" fmla="*/ 4914275 h 6857999"/>
              <a:gd name="connsiteX185" fmla="*/ 33978 w 5796177"/>
              <a:gd name="connsiteY185" fmla="*/ 4906249 h 6857999"/>
              <a:gd name="connsiteX186" fmla="*/ 29721 w 5796177"/>
              <a:gd name="connsiteY186" fmla="*/ 4812903 h 6857999"/>
              <a:gd name="connsiteX187" fmla="*/ 24529 w 5796177"/>
              <a:gd name="connsiteY187" fmla="*/ 4812903 h 6857999"/>
              <a:gd name="connsiteX188" fmla="*/ 24529 w 5796177"/>
              <a:gd name="connsiteY188" fmla="*/ 4745743 h 6857999"/>
              <a:gd name="connsiteX189" fmla="*/ 20116 w 5796177"/>
              <a:gd name="connsiteY189" fmla="*/ 4713588 h 6857999"/>
              <a:gd name="connsiteX190" fmla="*/ 14055 w 5796177"/>
              <a:gd name="connsiteY190" fmla="*/ 4672200 h 6857999"/>
              <a:gd name="connsiteX191" fmla="*/ 13839 w 5796177"/>
              <a:gd name="connsiteY191" fmla="*/ 4667843 h 6857999"/>
              <a:gd name="connsiteX192" fmla="*/ 12755 w 5796177"/>
              <a:gd name="connsiteY192" fmla="*/ 4659953 h 6857999"/>
              <a:gd name="connsiteX193" fmla="*/ 8498 w 5796177"/>
              <a:gd name="connsiteY193" fmla="*/ 4568191 h 6857999"/>
              <a:gd name="connsiteX194" fmla="*/ 3306 w 5796177"/>
              <a:gd name="connsiteY194" fmla="*/ 4568191 h 6857999"/>
              <a:gd name="connsiteX195" fmla="*/ 3306 w 5796177"/>
              <a:gd name="connsiteY195" fmla="*/ 4483588 h 6857999"/>
              <a:gd name="connsiteX196" fmla="*/ 3306 w 5796177"/>
              <a:gd name="connsiteY196" fmla="*/ 4456355 h 6857999"/>
              <a:gd name="connsiteX197" fmla="*/ 3306 w 5796177"/>
              <a:gd name="connsiteY197" fmla="*/ 4455720 h 6857999"/>
              <a:gd name="connsiteX198" fmla="*/ 821 w 5796177"/>
              <a:gd name="connsiteY198" fmla="*/ 4455720 h 6857999"/>
              <a:gd name="connsiteX199" fmla="*/ 821 w 5796177"/>
              <a:gd name="connsiteY199" fmla="*/ 4087449 h 6857999"/>
              <a:gd name="connsiteX200" fmla="*/ 821 w 5796177"/>
              <a:gd name="connsiteY200" fmla="*/ 4037278 h 6857999"/>
              <a:gd name="connsiteX201" fmla="*/ 821 w 5796177"/>
              <a:gd name="connsiteY201" fmla="*/ 2919746 h 6857999"/>
              <a:gd name="connsiteX202" fmla="*/ 821 w 5796177"/>
              <a:gd name="connsiteY202" fmla="*/ 2385988 h 6857999"/>
              <a:gd name="connsiteX203" fmla="*/ 821 w 5796177"/>
              <a:gd name="connsiteY203" fmla="*/ 2238302 h 6857999"/>
              <a:gd name="connsiteX204" fmla="*/ 3283 w 5796177"/>
              <a:gd name="connsiteY204" fmla="*/ 2238302 h 6857999"/>
              <a:gd name="connsiteX205" fmla="*/ 3283 w 5796177"/>
              <a:gd name="connsiteY205" fmla="*/ 1783799 h 6857999"/>
              <a:gd name="connsiteX206" fmla="*/ 0 w 5796177"/>
              <a:gd name="connsiteY206" fmla="*/ 1783799 h 6857999"/>
              <a:gd name="connsiteX207" fmla="*/ 0 w 5796177"/>
              <a:gd name="connsiteY207" fmla="*/ 1 h 6857999"/>
              <a:gd name="connsiteX208" fmla="*/ 160921 w 5796177"/>
              <a:gd name="connsiteY208" fmla="*/ 1 h 6857999"/>
              <a:gd name="connsiteX209" fmla="*/ 1469342 w 5796177"/>
              <a:gd name="connsiteY209" fmla="*/ 1 h 6857999"/>
              <a:gd name="connsiteX210" fmla="*/ 1630263 w 5796177"/>
              <a:gd name="connsiteY210" fmla="*/ 1 h 6857999"/>
              <a:gd name="connsiteX211" fmla="*/ 2078827 w 5796177"/>
              <a:gd name="connsiteY211" fmla="*/ 1 h 6857999"/>
              <a:gd name="connsiteX212" fmla="*/ 2080053 w 5796177"/>
              <a:gd name="connsiteY212" fmla="*/ 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796177" h="6857999">
                <a:moveTo>
                  <a:pt x="2080073" y="0"/>
                </a:moveTo>
                <a:lnTo>
                  <a:pt x="2080093" y="1"/>
                </a:lnTo>
                <a:lnTo>
                  <a:pt x="2177793" y="1"/>
                </a:lnTo>
                <a:lnTo>
                  <a:pt x="2239748" y="1"/>
                </a:lnTo>
                <a:lnTo>
                  <a:pt x="2240974" y="1"/>
                </a:lnTo>
                <a:lnTo>
                  <a:pt x="2240995" y="0"/>
                </a:lnTo>
                <a:lnTo>
                  <a:pt x="2241014" y="1"/>
                </a:lnTo>
                <a:lnTo>
                  <a:pt x="2338714" y="1"/>
                </a:lnTo>
                <a:lnTo>
                  <a:pt x="3548169" y="1"/>
                </a:lnTo>
                <a:lnTo>
                  <a:pt x="3549395" y="1"/>
                </a:lnTo>
                <a:lnTo>
                  <a:pt x="3549415" y="0"/>
                </a:lnTo>
                <a:lnTo>
                  <a:pt x="3549435" y="1"/>
                </a:lnTo>
                <a:lnTo>
                  <a:pt x="3647135" y="1"/>
                </a:lnTo>
                <a:lnTo>
                  <a:pt x="3709090" y="1"/>
                </a:lnTo>
                <a:lnTo>
                  <a:pt x="3710316" y="1"/>
                </a:lnTo>
                <a:lnTo>
                  <a:pt x="3710336" y="0"/>
                </a:lnTo>
                <a:lnTo>
                  <a:pt x="3710355" y="1"/>
                </a:lnTo>
                <a:lnTo>
                  <a:pt x="3808056" y="1"/>
                </a:lnTo>
                <a:lnTo>
                  <a:pt x="3808056" y="5124"/>
                </a:lnTo>
                <a:lnTo>
                  <a:pt x="3908760" y="10340"/>
                </a:lnTo>
                <a:lnTo>
                  <a:pt x="3914869" y="11296"/>
                </a:lnTo>
                <a:lnTo>
                  <a:pt x="3923011" y="11744"/>
                </a:lnTo>
                <a:cubicBezTo>
                  <a:pt x="4045928" y="25396"/>
                  <a:pt x="4165680" y="50749"/>
                  <a:pt x="4281324" y="86772"/>
                </a:cubicBezTo>
                <a:lnTo>
                  <a:pt x="4289754" y="89835"/>
                </a:lnTo>
                <a:lnTo>
                  <a:pt x="4291207" y="90218"/>
                </a:lnTo>
                <a:lnTo>
                  <a:pt x="4305668" y="95624"/>
                </a:lnTo>
                <a:lnTo>
                  <a:pt x="4451587" y="148675"/>
                </a:lnTo>
                <a:lnTo>
                  <a:pt x="4466565" y="155745"/>
                </a:lnTo>
                <a:lnTo>
                  <a:pt x="4472257" y="157873"/>
                </a:lnTo>
                <a:lnTo>
                  <a:pt x="4503028" y="172962"/>
                </a:lnTo>
                <a:lnTo>
                  <a:pt x="4614973" y="225806"/>
                </a:lnTo>
                <a:lnTo>
                  <a:pt x="4635867" y="238086"/>
                </a:lnTo>
                <a:lnTo>
                  <a:pt x="4645375" y="242747"/>
                </a:lnTo>
                <a:lnTo>
                  <a:pt x="4678765" y="263301"/>
                </a:lnTo>
                <a:lnTo>
                  <a:pt x="4770777" y="317386"/>
                </a:lnTo>
                <a:lnTo>
                  <a:pt x="4796851" y="335993"/>
                </a:lnTo>
                <a:lnTo>
                  <a:pt x="4809700" y="343899"/>
                </a:lnTo>
                <a:lnTo>
                  <a:pt x="4841495" y="367846"/>
                </a:lnTo>
                <a:lnTo>
                  <a:pt x="4918283" y="422639"/>
                </a:lnTo>
                <a:lnTo>
                  <a:pt x="4948709" y="448596"/>
                </a:lnTo>
                <a:lnTo>
                  <a:pt x="4964370" y="460387"/>
                </a:lnTo>
                <a:lnTo>
                  <a:pt x="4992883" y="486277"/>
                </a:lnTo>
                <a:lnTo>
                  <a:pt x="5056787" y="540788"/>
                </a:lnTo>
                <a:lnTo>
                  <a:pt x="5090635" y="575028"/>
                </a:lnTo>
                <a:lnTo>
                  <a:pt x="5108521" y="591265"/>
                </a:lnTo>
                <a:lnTo>
                  <a:pt x="5133053" y="617935"/>
                </a:lnTo>
                <a:lnTo>
                  <a:pt x="5185575" y="671059"/>
                </a:lnTo>
                <a:lnTo>
                  <a:pt x="5221827" y="714434"/>
                </a:lnTo>
                <a:lnTo>
                  <a:pt x="5241294" y="735595"/>
                </a:lnTo>
                <a:lnTo>
                  <a:pt x="5261625" y="762051"/>
                </a:lnTo>
                <a:lnTo>
                  <a:pt x="5303937" y="812675"/>
                </a:lnTo>
                <a:lnTo>
                  <a:pt x="5341488" y="865969"/>
                </a:lnTo>
                <a:lnTo>
                  <a:pt x="5361825" y="892430"/>
                </a:lnTo>
                <a:lnTo>
                  <a:pt x="5378007" y="917799"/>
                </a:lnTo>
                <a:lnTo>
                  <a:pt x="5411167" y="964858"/>
                </a:lnTo>
                <a:lnTo>
                  <a:pt x="5448833" y="1028823"/>
                </a:lnTo>
                <a:lnTo>
                  <a:pt x="5469251" y="1060829"/>
                </a:lnTo>
                <a:lnTo>
                  <a:pt x="5481521" y="1084329"/>
                </a:lnTo>
                <a:lnTo>
                  <a:pt x="5506551" y="1126834"/>
                </a:lnTo>
                <a:lnTo>
                  <a:pt x="5543075" y="1202240"/>
                </a:lnTo>
                <a:lnTo>
                  <a:pt x="5562713" y="1239851"/>
                </a:lnTo>
                <a:lnTo>
                  <a:pt x="5571431" y="1260776"/>
                </a:lnTo>
                <a:lnTo>
                  <a:pt x="5589381" y="1297825"/>
                </a:lnTo>
                <a:lnTo>
                  <a:pt x="5623445" y="1385594"/>
                </a:lnTo>
                <a:lnTo>
                  <a:pt x="5641349" y="1428552"/>
                </a:lnTo>
                <a:lnTo>
                  <a:pt x="5646993" y="1446259"/>
                </a:lnTo>
                <a:lnTo>
                  <a:pt x="5658947" y="1477056"/>
                </a:lnTo>
                <a:lnTo>
                  <a:pt x="5689167" y="1578547"/>
                </a:lnTo>
                <a:lnTo>
                  <a:pt x="5704291" y="1625988"/>
                </a:lnTo>
                <a:lnTo>
                  <a:pt x="5707437" y="1639903"/>
                </a:lnTo>
                <a:lnTo>
                  <a:pt x="5714539" y="1663750"/>
                </a:lnTo>
                <a:lnTo>
                  <a:pt x="5739474" y="1781628"/>
                </a:lnTo>
                <a:lnTo>
                  <a:pt x="5739965" y="1783799"/>
                </a:lnTo>
                <a:lnTo>
                  <a:pt x="5743249" y="1783799"/>
                </a:lnTo>
                <a:lnTo>
                  <a:pt x="5753967" y="1841893"/>
                </a:lnTo>
                <a:lnTo>
                  <a:pt x="5755279" y="1853662"/>
                </a:lnTo>
                <a:lnTo>
                  <a:pt x="5758729" y="1873642"/>
                </a:lnTo>
                <a:lnTo>
                  <a:pt x="5776884" y="2047377"/>
                </a:lnTo>
                <a:lnTo>
                  <a:pt x="5782945" y="2101723"/>
                </a:lnTo>
                <a:lnTo>
                  <a:pt x="5783159" y="2107442"/>
                </a:lnTo>
                <a:lnTo>
                  <a:pt x="5784244" y="2117804"/>
                </a:lnTo>
                <a:lnTo>
                  <a:pt x="5788502" y="2238302"/>
                </a:lnTo>
                <a:lnTo>
                  <a:pt x="5793692" y="2238302"/>
                </a:lnTo>
                <a:lnTo>
                  <a:pt x="5793692" y="2349393"/>
                </a:lnTo>
                <a:lnTo>
                  <a:pt x="5793692" y="2385154"/>
                </a:lnTo>
                <a:lnTo>
                  <a:pt x="5793692" y="2385988"/>
                </a:lnTo>
                <a:lnTo>
                  <a:pt x="5793692" y="2385990"/>
                </a:lnTo>
                <a:lnTo>
                  <a:pt x="5796177" y="2385990"/>
                </a:lnTo>
                <a:lnTo>
                  <a:pt x="5796177" y="2593053"/>
                </a:lnTo>
                <a:lnTo>
                  <a:pt x="5796177" y="2919746"/>
                </a:lnTo>
                <a:lnTo>
                  <a:pt x="5796177" y="3136018"/>
                </a:lnTo>
                <a:lnTo>
                  <a:pt x="5796177" y="4037278"/>
                </a:lnTo>
                <a:lnTo>
                  <a:pt x="5796177" y="4087449"/>
                </a:lnTo>
                <a:lnTo>
                  <a:pt x="5796177" y="4272831"/>
                </a:lnTo>
                <a:lnTo>
                  <a:pt x="5796177" y="4323868"/>
                </a:lnTo>
                <a:lnTo>
                  <a:pt x="5796177" y="4455720"/>
                </a:lnTo>
                <a:lnTo>
                  <a:pt x="5796177" y="4568191"/>
                </a:lnTo>
                <a:lnTo>
                  <a:pt x="5796177" y="4698493"/>
                </a:lnTo>
                <a:lnTo>
                  <a:pt x="5796177" y="4812903"/>
                </a:lnTo>
                <a:lnTo>
                  <a:pt x="5793717" y="4812903"/>
                </a:lnTo>
                <a:lnTo>
                  <a:pt x="5793717" y="6578599"/>
                </a:lnTo>
                <a:lnTo>
                  <a:pt x="5793717" y="6857998"/>
                </a:lnTo>
                <a:lnTo>
                  <a:pt x="5654017" y="6857998"/>
                </a:lnTo>
                <a:lnTo>
                  <a:pt x="4324375" y="6857998"/>
                </a:lnTo>
                <a:lnTo>
                  <a:pt x="4184676" y="6857998"/>
                </a:lnTo>
                <a:lnTo>
                  <a:pt x="3714890" y="6857998"/>
                </a:lnTo>
                <a:lnTo>
                  <a:pt x="3713663" y="6857998"/>
                </a:lnTo>
                <a:lnTo>
                  <a:pt x="3713644" y="6857999"/>
                </a:lnTo>
                <a:lnTo>
                  <a:pt x="3713623" y="6857998"/>
                </a:lnTo>
                <a:lnTo>
                  <a:pt x="3615923" y="6857998"/>
                </a:lnTo>
                <a:lnTo>
                  <a:pt x="3575191" y="6857998"/>
                </a:lnTo>
                <a:lnTo>
                  <a:pt x="3573964" y="6857998"/>
                </a:lnTo>
                <a:lnTo>
                  <a:pt x="3573945" y="6857999"/>
                </a:lnTo>
                <a:lnTo>
                  <a:pt x="3573924" y="6857998"/>
                </a:lnTo>
                <a:lnTo>
                  <a:pt x="3476224" y="6857998"/>
                </a:lnTo>
                <a:lnTo>
                  <a:pt x="2245549" y="6857998"/>
                </a:lnTo>
                <a:lnTo>
                  <a:pt x="2244321" y="6857998"/>
                </a:lnTo>
                <a:lnTo>
                  <a:pt x="2244302" y="6857999"/>
                </a:lnTo>
                <a:lnTo>
                  <a:pt x="2244282" y="6857998"/>
                </a:lnTo>
                <a:lnTo>
                  <a:pt x="2146582" y="6857998"/>
                </a:lnTo>
                <a:lnTo>
                  <a:pt x="2105849" y="6857998"/>
                </a:lnTo>
                <a:lnTo>
                  <a:pt x="2104623" y="6857998"/>
                </a:lnTo>
                <a:lnTo>
                  <a:pt x="2104603" y="6857999"/>
                </a:lnTo>
                <a:lnTo>
                  <a:pt x="2104583" y="6857998"/>
                </a:lnTo>
                <a:lnTo>
                  <a:pt x="2006883" y="6857998"/>
                </a:lnTo>
                <a:lnTo>
                  <a:pt x="2006883" y="6853136"/>
                </a:lnTo>
                <a:lnTo>
                  <a:pt x="1906178" y="6848186"/>
                </a:lnTo>
                <a:lnTo>
                  <a:pt x="1900067" y="6847279"/>
                </a:lnTo>
                <a:lnTo>
                  <a:pt x="1891929" y="6846854"/>
                </a:lnTo>
                <a:cubicBezTo>
                  <a:pt x="1769011" y="6833897"/>
                  <a:pt x="1649259" y="6809834"/>
                  <a:pt x="1533615" y="6775647"/>
                </a:cubicBezTo>
                <a:lnTo>
                  <a:pt x="1525186" y="6772737"/>
                </a:lnTo>
                <a:lnTo>
                  <a:pt x="1523733" y="6772374"/>
                </a:lnTo>
                <a:lnTo>
                  <a:pt x="1509271" y="6767244"/>
                </a:lnTo>
                <a:lnTo>
                  <a:pt x="1363351" y="6716894"/>
                </a:lnTo>
                <a:lnTo>
                  <a:pt x="1348375" y="6710182"/>
                </a:lnTo>
                <a:lnTo>
                  <a:pt x="1342682" y="6708164"/>
                </a:lnTo>
                <a:lnTo>
                  <a:pt x="1311909" y="6693845"/>
                </a:lnTo>
                <a:lnTo>
                  <a:pt x="1199964" y="6643690"/>
                </a:lnTo>
                <a:lnTo>
                  <a:pt x="1179072" y="6632034"/>
                </a:lnTo>
                <a:lnTo>
                  <a:pt x="1169562" y="6627609"/>
                </a:lnTo>
                <a:lnTo>
                  <a:pt x="1136174" y="6608101"/>
                </a:lnTo>
                <a:lnTo>
                  <a:pt x="1044163" y="6556770"/>
                </a:lnTo>
                <a:lnTo>
                  <a:pt x="1018086" y="6539110"/>
                </a:lnTo>
                <a:lnTo>
                  <a:pt x="1005238" y="6531606"/>
                </a:lnTo>
                <a:lnTo>
                  <a:pt x="973444" y="6508878"/>
                </a:lnTo>
                <a:lnTo>
                  <a:pt x="896655" y="6456874"/>
                </a:lnTo>
                <a:lnTo>
                  <a:pt x="866229" y="6432241"/>
                </a:lnTo>
                <a:lnTo>
                  <a:pt x="850569" y="6421048"/>
                </a:lnTo>
                <a:lnTo>
                  <a:pt x="822056" y="6396477"/>
                </a:lnTo>
                <a:lnTo>
                  <a:pt x="758152" y="6344738"/>
                </a:lnTo>
                <a:lnTo>
                  <a:pt x="724303" y="6312242"/>
                </a:lnTo>
                <a:lnTo>
                  <a:pt x="706417" y="6296830"/>
                </a:lnTo>
                <a:lnTo>
                  <a:pt x="681884" y="6271519"/>
                </a:lnTo>
                <a:lnTo>
                  <a:pt x="629363" y="6221099"/>
                </a:lnTo>
                <a:lnTo>
                  <a:pt x="593111" y="6179932"/>
                </a:lnTo>
                <a:lnTo>
                  <a:pt x="573644" y="6159848"/>
                </a:lnTo>
                <a:lnTo>
                  <a:pt x="553314" y="6134738"/>
                </a:lnTo>
                <a:lnTo>
                  <a:pt x="511002" y="6086690"/>
                </a:lnTo>
                <a:lnTo>
                  <a:pt x="473450" y="6036108"/>
                </a:lnTo>
                <a:lnTo>
                  <a:pt x="453114" y="6010996"/>
                </a:lnTo>
                <a:lnTo>
                  <a:pt x="436931" y="5986917"/>
                </a:lnTo>
                <a:lnTo>
                  <a:pt x="403773" y="5942254"/>
                </a:lnTo>
                <a:lnTo>
                  <a:pt x="366106" y="5881545"/>
                </a:lnTo>
                <a:lnTo>
                  <a:pt x="345687" y="5851167"/>
                </a:lnTo>
                <a:lnTo>
                  <a:pt x="333419" y="5828864"/>
                </a:lnTo>
                <a:lnTo>
                  <a:pt x="308389" y="5788522"/>
                </a:lnTo>
                <a:lnTo>
                  <a:pt x="271864" y="5716955"/>
                </a:lnTo>
                <a:lnTo>
                  <a:pt x="252227" y="5681258"/>
                </a:lnTo>
                <a:lnTo>
                  <a:pt x="243508" y="5661399"/>
                </a:lnTo>
                <a:lnTo>
                  <a:pt x="225559" y="5626234"/>
                </a:lnTo>
                <a:lnTo>
                  <a:pt x="191493" y="5542933"/>
                </a:lnTo>
                <a:lnTo>
                  <a:pt x="173591" y="5502163"/>
                </a:lnTo>
                <a:lnTo>
                  <a:pt x="167947" y="5485357"/>
                </a:lnTo>
                <a:lnTo>
                  <a:pt x="155993" y="5456126"/>
                </a:lnTo>
                <a:lnTo>
                  <a:pt x="125772" y="5359803"/>
                </a:lnTo>
                <a:lnTo>
                  <a:pt x="110648" y="5314777"/>
                </a:lnTo>
                <a:lnTo>
                  <a:pt x="107502" y="5301567"/>
                </a:lnTo>
                <a:lnTo>
                  <a:pt x="100402" y="5278935"/>
                </a:lnTo>
                <a:lnTo>
                  <a:pt x="75465" y="5167059"/>
                </a:lnTo>
                <a:lnTo>
                  <a:pt x="64256" y="5119993"/>
                </a:lnTo>
                <a:lnTo>
                  <a:pt x="62943" y="5110876"/>
                </a:lnTo>
                <a:lnTo>
                  <a:pt x="59494" y="5095397"/>
                </a:lnTo>
                <a:lnTo>
                  <a:pt x="41339" y="4960809"/>
                </a:lnTo>
                <a:lnTo>
                  <a:pt x="35278" y="4918708"/>
                </a:lnTo>
                <a:lnTo>
                  <a:pt x="35061" y="4914275"/>
                </a:lnTo>
                <a:lnTo>
                  <a:pt x="33978" y="4906249"/>
                </a:lnTo>
                <a:lnTo>
                  <a:pt x="29721" y="4812903"/>
                </a:lnTo>
                <a:lnTo>
                  <a:pt x="24529" y="4812903"/>
                </a:lnTo>
                <a:lnTo>
                  <a:pt x="24529" y="4745743"/>
                </a:lnTo>
                <a:lnTo>
                  <a:pt x="20116" y="4713588"/>
                </a:lnTo>
                <a:lnTo>
                  <a:pt x="14055" y="4672200"/>
                </a:lnTo>
                <a:lnTo>
                  <a:pt x="13839" y="4667843"/>
                </a:lnTo>
                <a:lnTo>
                  <a:pt x="12755" y="4659953"/>
                </a:lnTo>
                <a:lnTo>
                  <a:pt x="8498" y="4568191"/>
                </a:lnTo>
                <a:lnTo>
                  <a:pt x="3306" y="4568191"/>
                </a:lnTo>
                <a:lnTo>
                  <a:pt x="3306" y="4483588"/>
                </a:lnTo>
                <a:lnTo>
                  <a:pt x="3306" y="4456355"/>
                </a:lnTo>
                <a:lnTo>
                  <a:pt x="3306" y="4455720"/>
                </a:lnTo>
                <a:lnTo>
                  <a:pt x="821" y="4455720"/>
                </a:lnTo>
                <a:lnTo>
                  <a:pt x="821" y="4087449"/>
                </a:lnTo>
                <a:lnTo>
                  <a:pt x="821" y="4037278"/>
                </a:lnTo>
                <a:lnTo>
                  <a:pt x="821" y="2919746"/>
                </a:lnTo>
                <a:lnTo>
                  <a:pt x="821" y="2385988"/>
                </a:lnTo>
                <a:lnTo>
                  <a:pt x="821" y="2238302"/>
                </a:lnTo>
                <a:lnTo>
                  <a:pt x="3283" y="2238302"/>
                </a:lnTo>
                <a:lnTo>
                  <a:pt x="3283" y="1783799"/>
                </a:lnTo>
                <a:lnTo>
                  <a:pt x="0" y="1783799"/>
                </a:lnTo>
                <a:lnTo>
                  <a:pt x="0" y="1"/>
                </a:lnTo>
                <a:lnTo>
                  <a:pt x="160921" y="1"/>
                </a:lnTo>
                <a:lnTo>
                  <a:pt x="1469342" y="1"/>
                </a:lnTo>
                <a:lnTo>
                  <a:pt x="1630263" y="1"/>
                </a:lnTo>
                <a:lnTo>
                  <a:pt x="2078827" y="1"/>
                </a:lnTo>
                <a:lnTo>
                  <a:pt x="2080053" y="1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1" name="Picture Placeholder 9">
            <a:extLst>
              <a:ext uri="{FF2B5EF4-FFF2-40B4-BE49-F238E27FC236}">
                <a16:creationId xmlns:a16="http://schemas.microsoft.com/office/drawing/2014/main" id="{91C8586B-9A6E-2D43-8EEB-154CB6679B71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alphaModFix amt="6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41384" y="490538"/>
            <a:ext cx="4486041" cy="5751512"/>
          </a:xfrm>
          <a:custGeom>
            <a:avLst/>
            <a:gdLst>
              <a:gd name="connsiteX0" fmla="*/ 0 w 4891380"/>
              <a:gd name="connsiteY0" fmla="*/ 0 h 5751788"/>
              <a:gd name="connsiteX1" fmla="*/ 1471669 w 4891380"/>
              <a:gd name="connsiteY1" fmla="*/ 0 h 5751788"/>
              <a:gd name="connsiteX2" fmla="*/ 1960808 w 4891380"/>
              <a:gd name="connsiteY2" fmla="*/ 0 h 5751788"/>
              <a:gd name="connsiteX3" fmla="*/ 2930558 w 4891380"/>
              <a:gd name="connsiteY3" fmla="*/ 0 h 5751788"/>
              <a:gd name="connsiteX4" fmla="*/ 3419696 w 4891380"/>
              <a:gd name="connsiteY4" fmla="*/ 0 h 5751788"/>
              <a:gd name="connsiteX5" fmla="*/ 3458648 w 4891380"/>
              <a:gd name="connsiteY5" fmla="*/ 0 h 5751788"/>
              <a:gd name="connsiteX6" fmla="*/ 3458648 w 4891380"/>
              <a:gd name="connsiteY6" fmla="*/ 1 h 5751788"/>
              <a:gd name="connsiteX7" fmla="*/ 3488752 w 4891380"/>
              <a:gd name="connsiteY7" fmla="*/ 1 h 5751788"/>
              <a:gd name="connsiteX8" fmla="*/ 3488752 w 4891380"/>
              <a:gd name="connsiteY8" fmla="*/ 3335 h 5751788"/>
              <a:gd name="connsiteX9" fmla="*/ 3559916 w 4891380"/>
              <a:gd name="connsiteY9" fmla="*/ 6728 h 5751788"/>
              <a:gd name="connsiteX10" fmla="*/ 3564234 w 4891380"/>
              <a:gd name="connsiteY10" fmla="*/ 7350 h 5751788"/>
              <a:gd name="connsiteX11" fmla="*/ 3569987 w 4891380"/>
              <a:gd name="connsiteY11" fmla="*/ 7641 h 5751788"/>
              <a:gd name="connsiteX12" fmla="*/ 3823196 w 4891380"/>
              <a:gd name="connsiteY12" fmla="*/ 56454 h 5751788"/>
              <a:gd name="connsiteX13" fmla="*/ 3829154 w 4891380"/>
              <a:gd name="connsiteY13" fmla="*/ 58447 h 5751788"/>
              <a:gd name="connsiteX14" fmla="*/ 3830180 w 4891380"/>
              <a:gd name="connsiteY14" fmla="*/ 58696 h 5751788"/>
              <a:gd name="connsiteX15" fmla="*/ 3840400 w 4891380"/>
              <a:gd name="connsiteY15" fmla="*/ 62213 h 5751788"/>
              <a:gd name="connsiteX16" fmla="*/ 3943517 w 4891380"/>
              <a:gd name="connsiteY16" fmla="*/ 96729 h 5751788"/>
              <a:gd name="connsiteX17" fmla="*/ 3954101 w 4891380"/>
              <a:gd name="connsiteY17" fmla="*/ 101328 h 5751788"/>
              <a:gd name="connsiteX18" fmla="*/ 3958123 w 4891380"/>
              <a:gd name="connsiteY18" fmla="*/ 102713 h 5751788"/>
              <a:gd name="connsiteX19" fmla="*/ 3979869 w 4891380"/>
              <a:gd name="connsiteY19" fmla="*/ 112529 h 5751788"/>
              <a:gd name="connsiteX20" fmla="*/ 4058977 w 4891380"/>
              <a:gd name="connsiteY20" fmla="*/ 146909 h 5751788"/>
              <a:gd name="connsiteX21" fmla="*/ 4073742 w 4891380"/>
              <a:gd name="connsiteY21" fmla="*/ 154899 h 5751788"/>
              <a:gd name="connsiteX22" fmla="*/ 4080462 w 4891380"/>
              <a:gd name="connsiteY22" fmla="*/ 157932 h 5751788"/>
              <a:gd name="connsiteX23" fmla="*/ 4104058 w 4891380"/>
              <a:gd name="connsiteY23" fmla="*/ 171305 h 5751788"/>
              <a:gd name="connsiteX24" fmla="*/ 4169078 w 4891380"/>
              <a:gd name="connsiteY24" fmla="*/ 206492 h 5751788"/>
              <a:gd name="connsiteX25" fmla="*/ 4187505 w 4891380"/>
              <a:gd name="connsiteY25" fmla="*/ 218597 h 5751788"/>
              <a:gd name="connsiteX26" fmla="*/ 4196586 w 4891380"/>
              <a:gd name="connsiteY26" fmla="*/ 223742 h 5751788"/>
              <a:gd name="connsiteX27" fmla="*/ 4219053 w 4891380"/>
              <a:gd name="connsiteY27" fmla="*/ 239321 h 5751788"/>
              <a:gd name="connsiteX28" fmla="*/ 4273318 w 4891380"/>
              <a:gd name="connsiteY28" fmla="*/ 274969 h 5751788"/>
              <a:gd name="connsiteX29" fmla="*/ 4294820 w 4891380"/>
              <a:gd name="connsiteY29" fmla="*/ 291856 h 5751788"/>
              <a:gd name="connsiteX30" fmla="*/ 4305886 w 4891380"/>
              <a:gd name="connsiteY30" fmla="*/ 299528 h 5751788"/>
              <a:gd name="connsiteX31" fmla="*/ 4326035 w 4891380"/>
              <a:gd name="connsiteY31" fmla="*/ 316371 h 5751788"/>
              <a:gd name="connsiteX32" fmla="*/ 4371194 w 4891380"/>
              <a:gd name="connsiteY32" fmla="*/ 351838 h 5751788"/>
              <a:gd name="connsiteX33" fmla="*/ 4395115 w 4891380"/>
              <a:gd name="connsiteY33" fmla="*/ 374115 h 5751788"/>
              <a:gd name="connsiteX34" fmla="*/ 4407752 w 4891380"/>
              <a:gd name="connsiteY34" fmla="*/ 384678 h 5751788"/>
              <a:gd name="connsiteX35" fmla="*/ 4425090 w 4891380"/>
              <a:gd name="connsiteY35" fmla="*/ 402029 h 5751788"/>
              <a:gd name="connsiteX36" fmla="*/ 4462206 w 4891380"/>
              <a:gd name="connsiteY36" fmla="*/ 436592 h 5751788"/>
              <a:gd name="connsiteX37" fmla="*/ 4487824 w 4891380"/>
              <a:gd name="connsiteY37" fmla="*/ 464813 h 5751788"/>
              <a:gd name="connsiteX38" fmla="*/ 4501580 w 4891380"/>
              <a:gd name="connsiteY38" fmla="*/ 478579 h 5751788"/>
              <a:gd name="connsiteX39" fmla="*/ 4515948 w 4891380"/>
              <a:gd name="connsiteY39" fmla="*/ 495792 h 5751788"/>
              <a:gd name="connsiteX40" fmla="*/ 4545848 w 4891380"/>
              <a:gd name="connsiteY40" fmla="*/ 528727 h 5751788"/>
              <a:gd name="connsiteX41" fmla="*/ 4572386 w 4891380"/>
              <a:gd name="connsiteY41" fmla="*/ 563402 h 5751788"/>
              <a:gd name="connsiteX42" fmla="*/ 4586756 w 4891380"/>
              <a:gd name="connsiteY42" fmla="*/ 580617 h 5751788"/>
              <a:gd name="connsiteX43" fmla="*/ 4598192 w 4891380"/>
              <a:gd name="connsiteY43" fmla="*/ 597122 h 5751788"/>
              <a:gd name="connsiteX44" fmla="*/ 4621624 w 4891380"/>
              <a:gd name="connsiteY44" fmla="*/ 627739 h 5751788"/>
              <a:gd name="connsiteX45" fmla="*/ 4648242 w 4891380"/>
              <a:gd name="connsiteY45" fmla="*/ 669353 h 5751788"/>
              <a:gd name="connsiteX46" fmla="*/ 4662670 w 4891380"/>
              <a:gd name="connsiteY46" fmla="*/ 690177 h 5751788"/>
              <a:gd name="connsiteX47" fmla="*/ 4671340 w 4891380"/>
              <a:gd name="connsiteY47" fmla="*/ 705466 h 5751788"/>
              <a:gd name="connsiteX48" fmla="*/ 4689030 w 4891380"/>
              <a:gd name="connsiteY48" fmla="*/ 733120 h 5751788"/>
              <a:gd name="connsiteX49" fmla="*/ 4714840 w 4891380"/>
              <a:gd name="connsiteY49" fmla="*/ 782179 h 5751788"/>
              <a:gd name="connsiteX50" fmla="*/ 4728718 w 4891380"/>
              <a:gd name="connsiteY50" fmla="*/ 806649 h 5751788"/>
              <a:gd name="connsiteX51" fmla="*/ 4734878 w 4891380"/>
              <a:gd name="connsiteY51" fmla="*/ 820262 h 5751788"/>
              <a:gd name="connsiteX52" fmla="*/ 4747562 w 4891380"/>
              <a:gd name="connsiteY52" fmla="*/ 844366 h 5751788"/>
              <a:gd name="connsiteX53" fmla="*/ 4771636 w 4891380"/>
              <a:gd name="connsiteY53" fmla="*/ 901470 h 5751788"/>
              <a:gd name="connsiteX54" fmla="*/ 4784286 w 4891380"/>
              <a:gd name="connsiteY54" fmla="*/ 929419 h 5751788"/>
              <a:gd name="connsiteX55" fmla="*/ 4788276 w 4891380"/>
              <a:gd name="connsiteY55" fmla="*/ 940938 h 5751788"/>
              <a:gd name="connsiteX56" fmla="*/ 4796723 w 4891380"/>
              <a:gd name="connsiteY56" fmla="*/ 960976 h 5751788"/>
              <a:gd name="connsiteX57" fmla="*/ 4818080 w 4891380"/>
              <a:gd name="connsiteY57" fmla="*/ 1027005 h 5751788"/>
              <a:gd name="connsiteX58" fmla="*/ 4828768 w 4891380"/>
              <a:gd name="connsiteY58" fmla="*/ 1057869 h 5751788"/>
              <a:gd name="connsiteX59" fmla="*/ 4830991 w 4891380"/>
              <a:gd name="connsiteY59" fmla="*/ 1066923 h 5751788"/>
              <a:gd name="connsiteX60" fmla="*/ 4836008 w 4891380"/>
              <a:gd name="connsiteY60" fmla="*/ 1082438 h 5751788"/>
              <a:gd name="connsiteX61" fmla="*/ 4853630 w 4891380"/>
              <a:gd name="connsiteY61" fmla="*/ 1159131 h 5751788"/>
              <a:gd name="connsiteX62" fmla="*/ 4861552 w 4891380"/>
              <a:gd name="connsiteY62" fmla="*/ 1191393 h 5751788"/>
              <a:gd name="connsiteX63" fmla="*/ 4862478 w 4891380"/>
              <a:gd name="connsiteY63" fmla="*/ 1197643 h 5751788"/>
              <a:gd name="connsiteX64" fmla="*/ 4864917 w 4891380"/>
              <a:gd name="connsiteY64" fmla="*/ 1208252 h 5751788"/>
              <a:gd name="connsiteX65" fmla="*/ 4877746 w 4891380"/>
              <a:gd name="connsiteY65" fmla="*/ 1300513 h 5751788"/>
              <a:gd name="connsiteX66" fmla="*/ 4882030 w 4891380"/>
              <a:gd name="connsiteY66" fmla="*/ 1329371 h 5751788"/>
              <a:gd name="connsiteX67" fmla="*/ 4882182 w 4891380"/>
              <a:gd name="connsiteY67" fmla="*/ 1332410 h 5751788"/>
              <a:gd name="connsiteX68" fmla="*/ 4882946 w 4891380"/>
              <a:gd name="connsiteY68" fmla="*/ 1337912 h 5751788"/>
              <a:gd name="connsiteX69" fmla="*/ 4885957 w 4891380"/>
              <a:gd name="connsiteY69" fmla="*/ 1401901 h 5751788"/>
              <a:gd name="connsiteX70" fmla="*/ 4889624 w 4891380"/>
              <a:gd name="connsiteY70" fmla="*/ 1401901 h 5751788"/>
              <a:gd name="connsiteX71" fmla="*/ 4889624 w 4891380"/>
              <a:gd name="connsiteY71" fmla="*/ 1460895 h 5751788"/>
              <a:gd name="connsiteX72" fmla="*/ 4889624 w 4891380"/>
              <a:gd name="connsiteY72" fmla="*/ 1479885 h 5751788"/>
              <a:gd name="connsiteX73" fmla="*/ 4889624 w 4891380"/>
              <a:gd name="connsiteY73" fmla="*/ 1480329 h 5751788"/>
              <a:gd name="connsiteX74" fmla="*/ 4891380 w 4891380"/>
              <a:gd name="connsiteY74" fmla="*/ 1480329 h 5751788"/>
              <a:gd name="connsiteX75" fmla="*/ 4891380 w 4891380"/>
              <a:gd name="connsiteY75" fmla="*/ 1630791 h 5751788"/>
              <a:gd name="connsiteX76" fmla="*/ 3458648 w 4891380"/>
              <a:gd name="connsiteY76" fmla="*/ 1630791 h 5751788"/>
              <a:gd name="connsiteX77" fmla="*/ 3458648 w 4891380"/>
              <a:gd name="connsiteY77" fmla="*/ 1630792 h 5751788"/>
              <a:gd name="connsiteX78" fmla="*/ 3488751 w 4891380"/>
              <a:gd name="connsiteY78" fmla="*/ 1630792 h 5751788"/>
              <a:gd name="connsiteX79" fmla="*/ 3488751 w 4891380"/>
              <a:gd name="connsiteY79" fmla="*/ 1634126 h 5751788"/>
              <a:gd name="connsiteX80" fmla="*/ 3559916 w 4891380"/>
              <a:gd name="connsiteY80" fmla="*/ 1637518 h 5751788"/>
              <a:gd name="connsiteX81" fmla="*/ 3564234 w 4891380"/>
              <a:gd name="connsiteY81" fmla="*/ 1638140 h 5751788"/>
              <a:gd name="connsiteX82" fmla="*/ 3569986 w 4891380"/>
              <a:gd name="connsiteY82" fmla="*/ 1638433 h 5751788"/>
              <a:gd name="connsiteX83" fmla="*/ 3823196 w 4891380"/>
              <a:gd name="connsiteY83" fmla="*/ 1687245 h 5751788"/>
              <a:gd name="connsiteX84" fmla="*/ 3829153 w 4891380"/>
              <a:gd name="connsiteY84" fmla="*/ 1689237 h 5751788"/>
              <a:gd name="connsiteX85" fmla="*/ 3830180 w 4891380"/>
              <a:gd name="connsiteY85" fmla="*/ 1689487 h 5751788"/>
              <a:gd name="connsiteX86" fmla="*/ 3840400 w 4891380"/>
              <a:gd name="connsiteY86" fmla="*/ 1693004 h 5751788"/>
              <a:gd name="connsiteX87" fmla="*/ 3943516 w 4891380"/>
              <a:gd name="connsiteY87" fmla="*/ 1727519 h 5751788"/>
              <a:gd name="connsiteX88" fmla="*/ 3954100 w 4891380"/>
              <a:gd name="connsiteY88" fmla="*/ 1732119 h 5751788"/>
              <a:gd name="connsiteX89" fmla="*/ 3958122 w 4891380"/>
              <a:gd name="connsiteY89" fmla="*/ 1733503 h 5751788"/>
              <a:gd name="connsiteX90" fmla="*/ 3979868 w 4891380"/>
              <a:gd name="connsiteY90" fmla="*/ 1743320 h 5751788"/>
              <a:gd name="connsiteX91" fmla="*/ 4058976 w 4891380"/>
              <a:gd name="connsiteY91" fmla="*/ 1777700 h 5751788"/>
              <a:gd name="connsiteX92" fmla="*/ 4073741 w 4891380"/>
              <a:gd name="connsiteY92" fmla="*/ 1785690 h 5751788"/>
              <a:gd name="connsiteX93" fmla="*/ 4080461 w 4891380"/>
              <a:gd name="connsiteY93" fmla="*/ 1788723 h 5751788"/>
              <a:gd name="connsiteX94" fmla="*/ 4104057 w 4891380"/>
              <a:gd name="connsiteY94" fmla="*/ 1802096 h 5751788"/>
              <a:gd name="connsiteX95" fmla="*/ 4169078 w 4891380"/>
              <a:gd name="connsiteY95" fmla="*/ 1837283 h 5751788"/>
              <a:gd name="connsiteX96" fmla="*/ 4187505 w 4891380"/>
              <a:gd name="connsiteY96" fmla="*/ 1849388 h 5751788"/>
              <a:gd name="connsiteX97" fmla="*/ 4196584 w 4891380"/>
              <a:gd name="connsiteY97" fmla="*/ 1854532 h 5751788"/>
              <a:gd name="connsiteX98" fmla="*/ 4219053 w 4891380"/>
              <a:gd name="connsiteY98" fmla="*/ 1870112 h 5751788"/>
              <a:gd name="connsiteX99" fmla="*/ 4273316 w 4891380"/>
              <a:gd name="connsiteY99" fmla="*/ 1905760 h 5751788"/>
              <a:gd name="connsiteX100" fmla="*/ 4294820 w 4891380"/>
              <a:gd name="connsiteY100" fmla="*/ 1922647 h 5751788"/>
              <a:gd name="connsiteX101" fmla="*/ 4305884 w 4891380"/>
              <a:gd name="connsiteY101" fmla="*/ 1930319 h 5751788"/>
              <a:gd name="connsiteX102" fmla="*/ 4326034 w 4891380"/>
              <a:gd name="connsiteY102" fmla="*/ 1947163 h 5751788"/>
              <a:gd name="connsiteX103" fmla="*/ 4371194 w 4891380"/>
              <a:gd name="connsiteY103" fmla="*/ 1982629 h 5751788"/>
              <a:gd name="connsiteX104" fmla="*/ 4395114 w 4891380"/>
              <a:gd name="connsiteY104" fmla="*/ 2004906 h 5751788"/>
              <a:gd name="connsiteX105" fmla="*/ 4407752 w 4891380"/>
              <a:gd name="connsiteY105" fmla="*/ 2015469 h 5751788"/>
              <a:gd name="connsiteX106" fmla="*/ 4425088 w 4891380"/>
              <a:gd name="connsiteY106" fmla="*/ 2032820 h 5751788"/>
              <a:gd name="connsiteX107" fmla="*/ 4462204 w 4891380"/>
              <a:gd name="connsiteY107" fmla="*/ 2067383 h 5751788"/>
              <a:gd name="connsiteX108" fmla="*/ 4487823 w 4891380"/>
              <a:gd name="connsiteY108" fmla="*/ 2095602 h 5751788"/>
              <a:gd name="connsiteX109" fmla="*/ 4501580 w 4891380"/>
              <a:gd name="connsiteY109" fmla="*/ 2109370 h 5751788"/>
              <a:gd name="connsiteX110" fmla="*/ 4515948 w 4891380"/>
              <a:gd name="connsiteY110" fmla="*/ 2126583 h 5751788"/>
              <a:gd name="connsiteX111" fmla="*/ 4545846 w 4891380"/>
              <a:gd name="connsiteY111" fmla="*/ 2159517 h 5751788"/>
              <a:gd name="connsiteX112" fmla="*/ 4572383 w 4891380"/>
              <a:gd name="connsiteY112" fmla="*/ 2194191 h 5751788"/>
              <a:gd name="connsiteX113" fmla="*/ 4586756 w 4891380"/>
              <a:gd name="connsiteY113" fmla="*/ 2211408 h 5751788"/>
              <a:gd name="connsiteX114" fmla="*/ 4598190 w 4891380"/>
              <a:gd name="connsiteY114" fmla="*/ 2227912 h 5751788"/>
              <a:gd name="connsiteX115" fmla="*/ 4621623 w 4891380"/>
              <a:gd name="connsiteY115" fmla="*/ 2258530 h 5751788"/>
              <a:gd name="connsiteX116" fmla="*/ 4648242 w 4891380"/>
              <a:gd name="connsiteY116" fmla="*/ 2300144 h 5751788"/>
              <a:gd name="connsiteX117" fmla="*/ 4662670 w 4891380"/>
              <a:gd name="connsiteY117" fmla="*/ 2320968 h 5751788"/>
              <a:gd name="connsiteX118" fmla="*/ 4671340 w 4891380"/>
              <a:gd name="connsiteY118" fmla="*/ 2336257 h 5751788"/>
              <a:gd name="connsiteX119" fmla="*/ 4689028 w 4891380"/>
              <a:gd name="connsiteY119" fmla="*/ 2363911 h 5751788"/>
              <a:gd name="connsiteX120" fmla="*/ 4714840 w 4891380"/>
              <a:gd name="connsiteY120" fmla="*/ 2412970 h 5751788"/>
              <a:gd name="connsiteX121" fmla="*/ 4728716 w 4891380"/>
              <a:gd name="connsiteY121" fmla="*/ 2437439 h 5751788"/>
              <a:gd name="connsiteX122" fmla="*/ 4734877 w 4891380"/>
              <a:gd name="connsiteY122" fmla="*/ 2451053 h 5751788"/>
              <a:gd name="connsiteX123" fmla="*/ 4747562 w 4891380"/>
              <a:gd name="connsiteY123" fmla="*/ 2475157 h 5751788"/>
              <a:gd name="connsiteX124" fmla="*/ 4771636 w 4891380"/>
              <a:gd name="connsiteY124" fmla="*/ 2532261 h 5751788"/>
              <a:gd name="connsiteX125" fmla="*/ 4784286 w 4891380"/>
              <a:gd name="connsiteY125" fmla="*/ 2560208 h 5751788"/>
              <a:gd name="connsiteX126" fmla="*/ 4788274 w 4891380"/>
              <a:gd name="connsiteY126" fmla="*/ 2571729 h 5751788"/>
              <a:gd name="connsiteX127" fmla="*/ 4796723 w 4891380"/>
              <a:gd name="connsiteY127" fmla="*/ 2591766 h 5751788"/>
              <a:gd name="connsiteX128" fmla="*/ 4818078 w 4891380"/>
              <a:gd name="connsiteY128" fmla="*/ 2657796 h 5751788"/>
              <a:gd name="connsiteX129" fmla="*/ 4828766 w 4891380"/>
              <a:gd name="connsiteY129" fmla="*/ 2688660 h 5751788"/>
              <a:gd name="connsiteX130" fmla="*/ 4830988 w 4891380"/>
              <a:gd name="connsiteY130" fmla="*/ 2697714 h 5751788"/>
              <a:gd name="connsiteX131" fmla="*/ 4836008 w 4891380"/>
              <a:gd name="connsiteY131" fmla="*/ 2713229 h 5751788"/>
              <a:gd name="connsiteX132" fmla="*/ 4853629 w 4891380"/>
              <a:gd name="connsiteY132" fmla="*/ 2789921 h 5751788"/>
              <a:gd name="connsiteX133" fmla="*/ 4861550 w 4891380"/>
              <a:gd name="connsiteY133" fmla="*/ 2822183 h 5751788"/>
              <a:gd name="connsiteX134" fmla="*/ 4862477 w 4891380"/>
              <a:gd name="connsiteY134" fmla="*/ 2828433 h 5751788"/>
              <a:gd name="connsiteX135" fmla="*/ 4864917 w 4891380"/>
              <a:gd name="connsiteY135" fmla="*/ 2839043 h 5751788"/>
              <a:gd name="connsiteX136" fmla="*/ 4877746 w 4891380"/>
              <a:gd name="connsiteY136" fmla="*/ 2931303 h 5751788"/>
              <a:gd name="connsiteX137" fmla="*/ 4882029 w 4891380"/>
              <a:gd name="connsiteY137" fmla="*/ 2960161 h 5751788"/>
              <a:gd name="connsiteX138" fmla="*/ 4882180 w 4891380"/>
              <a:gd name="connsiteY138" fmla="*/ 2963200 h 5751788"/>
              <a:gd name="connsiteX139" fmla="*/ 4882946 w 4891380"/>
              <a:gd name="connsiteY139" fmla="*/ 2968703 h 5751788"/>
              <a:gd name="connsiteX140" fmla="*/ 4885956 w 4891380"/>
              <a:gd name="connsiteY140" fmla="*/ 3032692 h 5751788"/>
              <a:gd name="connsiteX141" fmla="*/ 4889624 w 4891380"/>
              <a:gd name="connsiteY141" fmla="*/ 3032692 h 5751788"/>
              <a:gd name="connsiteX142" fmla="*/ 4889624 w 4891380"/>
              <a:gd name="connsiteY142" fmla="*/ 3091686 h 5751788"/>
              <a:gd name="connsiteX143" fmla="*/ 4889624 w 4891380"/>
              <a:gd name="connsiteY143" fmla="*/ 3110675 h 5751788"/>
              <a:gd name="connsiteX144" fmla="*/ 4889624 w 4891380"/>
              <a:gd name="connsiteY144" fmla="*/ 3111118 h 5751788"/>
              <a:gd name="connsiteX145" fmla="*/ 4891379 w 4891380"/>
              <a:gd name="connsiteY145" fmla="*/ 3111118 h 5751788"/>
              <a:gd name="connsiteX146" fmla="*/ 4891379 w 4891380"/>
              <a:gd name="connsiteY146" fmla="*/ 3394564 h 5751788"/>
              <a:gd name="connsiteX147" fmla="*/ 4891379 w 4891380"/>
              <a:gd name="connsiteY147" fmla="*/ 3988016 h 5751788"/>
              <a:gd name="connsiteX148" fmla="*/ 4891379 w 4891380"/>
              <a:gd name="connsiteY148" fmla="*/ 4271461 h 5751788"/>
              <a:gd name="connsiteX149" fmla="*/ 4891379 w 4891380"/>
              <a:gd name="connsiteY149" fmla="*/ 4349890 h 5751788"/>
              <a:gd name="connsiteX150" fmla="*/ 4889640 w 4891380"/>
              <a:gd name="connsiteY150" fmla="*/ 4349890 h 5751788"/>
              <a:gd name="connsiteX151" fmla="*/ 4889640 w 4891380"/>
              <a:gd name="connsiteY151" fmla="*/ 5751787 h 5751788"/>
              <a:gd name="connsiteX152" fmla="*/ 4400501 w 4891380"/>
              <a:gd name="connsiteY152" fmla="*/ 5751787 h 5751788"/>
              <a:gd name="connsiteX153" fmla="*/ 3430753 w 4891380"/>
              <a:gd name="connsiteY153" fmla="*/ 5751787 h 5751788"/>
              <a:gd name="connsiteX154" fmla="*/ 3420593 w 4891380"/>
              <a:gd name="connsiteY154" fmla="*/ 5751787 h 5751788"/>
              <a:gd name="connsiteX155" fmla="*/ 3419727 w 4891380"/>
              <a:gd name="connsiteY155" fmla="*/ 5751787 h 5751788"/>
              <a:gd name="connsiteX156" fmla="*/ 3419712 w 4891380"/>
              <a:gd name="connsiteY156" fmla="*/ 5751788 h 5751788"/>
              <a:gd name="connsiteX157" fmla="*/ 3419699 w 4891380"/>
              <a:gd name="connsiteY157" fmla="*/ 5751787 h 5751788"/>
              <a:gd name="connsiteX158" fmla="*/ 3350656 w 4891380"/>
              <a:gd name="connsiteY158" fmla="*/ 5751787 h 5751788"/>
              <a:gd name="connsiteX159" fmla="*/ 2941613 w 4891380"/>
              <a:gd name="connsiteY159" fmla="*/ 5751787 h 5751788"/>
              <a:gd name="connsiteX160" fmla="*/ 2931453 w 4891380"/>
              <a:gd name="connsiteY160" fmla="*/ 5751787 h 5751788"/>
              <a:gd name="connsiteX161" fmla="*/ 2930587 w 4891380"/>
              <a:gd name="connsiteY161" fmla="*/ 5751787 h 5751788"/>
              <a:gd name="connsiteX162" fmla="*/ 2930574 w 4891380"/>
              <a:gd name="connsiteY162" fmla="*/ 5751788 h 5751788"/>
              <a:gd name="connsiteX163" fmla="*/ 2930558 w 4891380"/>
              <a:gd name="connsiteY163" fmla="*/ 5751787 h 5751788"/>
              <a:gd name="connsiteX164" fmla="*/ 2861517 w 4891380"/>
              <a:gd name="connsiteY164" fmla="*/ 5751787 h 5751788"/>
              <a:gd name="connsiteX165" fmla="*/ 1961706 w 4891380"/>
              <a:gd name="connsiteY165" fmla="*/ 5751787 h 5751788"/>
              <a:gd name="connsiteX166" fmla="*/ 1960839 w 4891380"/>
              <a:gd name="connsiteY166" fmla="*/ 5751787 h 5751788"/>
              <a:gd name="connsiteX167" fmla="*/ 1960824 w 4891380"/>
              <a:gd name="connsiteY167" fmla="*/ 5751788 h 5751788"/>
              <a:gd name="connsiteX168" fmla="*/ 1960810 w 4891380"/>
              <a:gd name="connsiteY168" fmla="*/ 5751787 h 5751788"/>
              <a:gd name="connsiteX169" fmla="*/ 1891768 w 4891380"/>
              <a:gd name="connsiteY169" fmla="*/ 5751787 h 5751788"/>
              <a:gd name="connsiteX170" fmla="*/ 1472566 w 4891380"/>
              <a:gd name="connsiteY170" fmla="*/ 5751787 h 5751788"/>
              <a:gd name="connsiteX171" fmla="*/ 1471699 w 4891380"/>
              <a:gd name="connsiteY171" fmla="*/ 5751787 h 5751788"/>
              <a:gd name="connsiteX172" fmla="*/ 1471686 w 4891380"/>
              <a:gd name="connsiteY172" fmla="*/ 5751788 h 5751788"/>
              <a:gd name="connsiteX173" fmla="*/ 1471671 w 4891380"/>
              <a:gd name="connsiteY173" fmla="*/ 5751787 h 5751788"/>
              <a:gd name="connsiteX174" fmla="*/ 1402630 w 4891380"/>
              <a:gd name="connsiteY174" fmla="*/ 5751787 h 5751788"/>
              <a:gd name="connsiteX175" fmla="*/ 1402630 w 4891380"/>
              <a:gd name="connsiteY175" fmla="*/ 5748454 h 5751788"/>
              <a:gd name="connsiteX176" fmla="*/ 1331464 w 4891380"/>
              <a:gd name="connsiteY176" fmla="*/ 5745061 h 5751788"/>
              <a:gd name="connsiteX177" fmla="*/ 1327146 w 4891380"/>
              <a:gd name="connsiteY177" fmla="*/ 5744440 h 5751788"/>
              <a:gd name="connsiteX178" fmla="*/ 1321394 w 4891380"/>
              <a:gd name="connsiteY178" fmla="*/ 5744149 h 5751788"/>
              <a:gd name="connsiteX179" fmla="*/ 1068185 w 4891380"/>
              <a:gd name="connsiteY179" fmla="*/ 5695337 h 5751788"/>
              <a:gd name="connsiteX180" fmla="*/ 1062227 w 4891380"/>
              <a:gd name="connsiteY180" fmla="*/ 5693342 h 5751788"/>
              <a:gd name="connsiteX181" fmla="*/ 1061200 w 4891380"/>
              <a:gd name="connsiteY181" fmla="*/ 5693093 h 5751788"/>
              <a:gd name="connsiteX182" fmla="*/ 1050981 w 4891380"/>
              <a:gd name="connsiteY182" fmla="*/ 5689577 h 5751788"/>
              <a:gd name="connsiteX183" fmla="*/ 947864 w 4891380"/>
              <a:gd name="connsiteY183" fmla="*/ 5655061 h 5751788"/>
              <a:gd name="connsiteX184" fmla="*/ 937281 w 4891380"/>
              <a:gd name="connsiteY184" fmla="*/ 5650461 h 5751788"/>
              <a:gd name="connsiteX185" fmla="*/ 933258 w 4891380"/>
              <a:gd name="connsiteY185" fmla="*/ 5649077 h 5751788"/>
              <a:gd name="connsiteX186" fmla="*/ 911512 w 4891380"/>
              <a:gd name="connsiteY186" fmla="*/ 5639261 h 5751788"/>
              <a:gd name="connsiteX187" fmla="*/ 832403 w 4891380"/>
              <a:gd name="connsiteY187" fmla="*/ 5604881 h 5751788"/>
              <a:gd name="connsiteX188" fmla="*/ 817638 w 4891380"/>
              <a:gd name="connsiteY188" fmla="*/ 5596891 h 5751788"/>
              <a:gd name="connsiteX189" fmla="*/ 810920 w 4891380"/>
              <a:gd name="connsiteY189" fmla="*/ 5593857 h 5751788"/>
              <a:gd name="connsiteX190" fmla="*/ 787324 w 4891380"/>
              <a:gd name="connsiteY190" fmla="*/ 5580484 h 5751788"/>
              <a:gd name="connsiteX191" fmla="*/ 722302 w 4891380"/>
              <a:gd name="connsiteY191" fmla="*/ 5545298 h 5751788"/>
              <a:gd name="connsiteX192" fmla="*/ 703875 w 4891380"/>
              <a:gd name="connsiteY192" fmla="*/ 5533192 h 5751788"/>
              <a:gd name="connsiteX193" fmla="*/ 694796 w 4891380"/>
              <a:gd name="connsiteY193" fmla="*/ 5528048 h 5751788"/>
              <a:gd name="connsiteX194" fmla="*/ 672327 w 4891380"/>
              <a:gd name="connsiteY194" fmla="*/ 5512468 h 5751788"/>
              <a:gd name="connsiteX195" fmla="*/ 618064 w 4891380"/>
              <a:gd name="connsiteY195" fmla="*/ 5476820 h 5751788"/>
              <a:gd name="connsiteX196" fmla="*/ 596562 w 4891380"/>
              <a:gd name="connsiteY196" fmla="*/ 5459933 h 5751788"/>
              <a:gd name="connsiteX197" fmla="*/ 585496 w 4891380"/>
              <a:gd name="connsiteY197" fmla="*/ 5452261 h 5751788"/>
              <a:gd name="connsiteX198" fmla="*/ 565345 w 4891380"/>
              <a:gd name="connsiteY198" fmla="*/ 5435418 h 5751788"/>
              <a:gd name="connsiteX199" fmla="*/ 520187 w 4891380"/>
              <a:gd name="connsiteY199" fmla="*/ 5399950 h 5751788"/>
              <a:gd name="connsiteX200" fmla="*/ 496267 w 4891380"/>
              <a:gd name="connsiteY200" fmla="*/ 5377676 h 5751788"/>
              <a:gd name="connsiteX201" fmla="*/ 483628 w 4891380"/>
              <a:gd name="connsiteY201" fmla="*/ 5367110 h 5751788"/>
              <a:gd name="connsiteX202" fmla="*/ 466291 w 4891380"/>
              <a:gd name="connsiteY202" fmla="*/ 5349761 h 5751788"/>
              <a:gd name="connsiteX203" fmla="*/ 429176 w 4891380"/>
              <a:gd name="connsiteY203" fmla="*/ 5315197 h 5751788"/>
              <a:gd name="connsiteX204" fmla="*/ 403557 w 4891380"/>
              <a:gd name="connsiteY204" fmla="*/ 5286978 h 5751788"/>
              <a:gd name="connsiteX205" fmla="*/ 389801 w 4891380"/>
              <a:gd name="connsiteY205" fmla="*/ 5273210 h 5751788"/>
              <a:gd name="connsiteX206" fmla="*/ 375432 w 4891380"/>
              <a:gd name="connsiteY206" fmla="*/ 5255998 h 5751788"/>
              <a:gd name="connsiteX207" fmla="*/ 345533 w 4891380"/>
              <a:gd name="connsiteY207" fmla="*/ 5223062 h 5751788"/>
              <a:gd name="connsiteX208" fmla="*/ 318997 w 4891380"/>
              <a:gd name="connsiteY208" fmla="*/ 5188388 h 5751788"/>
              <a:gd name="connsiteX209" fmla="*/ 304626 w 4891380"/>
              <a:gd name="connsiteY209" fmla="*/ 5171174 h 5751788"/>
              <a:gd name="connsiteX210" fmla="*/ 293189 w 4891380"/>
              <a:gd name="connsiteY210" fmla="*/ 5154668 h 5751788"/>
              <a:gd name="connsiteX211" fmla="*/ 269757 w 4891380"/>
              <a:gd name="connsiteY211" fmla="*/ 5124051 h 5751788"/>
              <a:gd name="connsiteX212" fmla="*/ 243139 w 4891380"/>
              <a:gd name="connsiteY212" fmla="*/ 5082435 h 5751788"/>
              <a:gd name="connsiteX213" fmla="*/ 228710 w 4891380"/>
              <a:gd name="connsiteY213" fmla="*/ 5061612 h 5751788"/>
              <a:gd name="connsiteX214" fmla="*/ 220040 w 4891380"/>
              <a:gd name="connsiteY214" fmla="*/ 5046323 h 5751788"/>
              <a:gd name="connsiteX215" fmla="*/ 202353 w 4891380"/>
              <a:gd name="connsiteY215" fmla="*/ 5018669 h 5751788"/>
              <a:gd name="connsiteX216" fmla="*/ 176540 w 4891380"/>
              <a:gd name="connsiteY216" fmla="*/ 4969611 h 5751788"/>
              <a:gd name="connsiteX217" fmla="*/ 162664 w 4891380"/>
              <a:gd name="connsiteY217" fmla="*/ 4945140 h 5751788"/>
              <a:gd name="connsiteX218" fmla="*/ 156502 w 4891380"/>
              <a:gd name="connsiteY218" fmla="*/ 4931527 h 5751788"/>
              <a:gd name="connsiteX219" fmla="*/ 143819 w 4891380"/>
              <a:gd name="connsiteY219" fmla="*/ 4907422 h 5751788"/>
              <a:gd name="connsiteX220" fmla="*/ 119746 w 4891380"/>
              <a:gd name="connsiteY220" fmla="*/ 4850319 h 5751788"/>
              <a:gd name="connsiteX221" fmla="*/ 107095 w 4891380"/>
              <a:gd name="connsiteY221" fmla="*/ 4822372 h 5751788"/>
              <a:gd name="connsiteX222" fmla="*/ 103107 w 4891380"/>
              <a:gd name="connsiteY222" fmla="*/ 4810852 h 5751788"/>
              <a:gd name="connsiteX223" fmla="*/ 94658 w 4891380"/>
              <a:gd name="connsiteY223" fmla="*/ 4790814 h 5751788"/>
              <a:gd name="connsiteX224" fmla="*/ 73303 w 4891380"/>
              <a:gd name="connsiteY224" fmla="*/ 4724785 h 5751788"/>
              <a:gd name="connsiteX225" fmla="*/ 62615 w 4891380"/>
              <a:gd name="connsiteY225" fmla="*/ 4693921 h 5751788"/>
              <a:gd name="connsiteX226" fmla="*/ 60392 w 4891380"/>
              <a:gd name="connsiteY226" fmla="*/ 4684865 h 5751788"/>
              <a:gd name="connsiteX227" fmla="*/ 55373 w 4891380"/>
              <a:gd name="connsiteY227" fmla="*/ 4669350 h 5751788"/>
              <a:gd name="connsiteX228" fmla="*/ 37752 w 4891380"/>
              <a:gd name="connsiteY228" fmla="*/ 4592660 h 5751788"/>
              <a:gd name="connsiteX229" fmla="*/ 29830 w 4891380"/>
              <a:gd name="connsiteY229" fmla="*/ 4560396 h 5751788"/>
              <a:gd name="connsiteX230" fmla="*/ 28902 w 4891380"/>
              <a:gd name="connsiteY230" fmla="*/ 4554148 h 5751788"/>
              <a:gd name="connsiteX231" fmla="*/ 26465 w 4891380"/>
              <a:gd name="connsiteY231" fmla="*/ 4543536 h 5751788"/>
              <a:gd name="connsiteX232" fmla="*/ 13636 w 4891380"/>
              <a:gd name="connsiteY232" fmla="*/ 4451278 h 5751788"/>
              <a:gd name="connsiteX233" fmla="*/ 9352 w 4891380"/>
              <a:gd name="connsiteY233" fmla="*/ 4422418 h 5751788"/>
              <a:gd name="connsiteX234" fmla="*/ 9200 w 4891380"/>
              <a:gd name="connsiteY234" fmla="*/ 4419380 h 5751788"/>
              <a:gd name="connsiteX235" fmla="*/ 8434 w 4891380"/>
              <a:gd name="connsiteY235" fmla="*/ 4413877 h 5751788"/>
              <a:gd name="connsiteX236" fmla="*/ 5426 w 4891380"/>
              <a:gd name="connsiteY236" fmla="*/ 4349890 h 5751788"/>
              <a:gd name="connsiteX237" fmla="*/ 1757 w 4891380"/>
              <a:gd name="connsiteY237" fmla="*/ 4349890 h 5751788"/>
              <a:gd name="connsiteX238" fmla="*/ 1757 w 4891380"/>
              <a:gd name="connsiteY238" fmla="*/ 4290894 h 5751788"/>
              <a:gd name="connsiteX239" fmla="*/ 1757 w 4891380"/>
              <a:gd name="connsiteY239" fmla="*/ 4271904 h 5751788"/>
              <a:gd name="connsiteX240" fmla="*/ 1757 w 4891380"/>
              <a:gd name="connsiteY240" fmla="*/ 4271461 h 5751788"/>
              <a:gd name="connsiteX241" fmla="*/ 0 w 4891380"/>
              <a:gd name="connsiteY241" fmla="*/ 4271461 h 5751788"/>
              <a:gd name="connsiteX242" fmla="*/ 0 w 4891380"/>
              <a:gd name="connsiteY242" fmla="*/ 3988016 h 5751788"/>
              <a:gd name="connsiteX243" fmla="*/ 0 w 4891380"/>
              <a:gd name="connsiteY243" fmla="*/ 3394564 h 5751788"/>
              <a:gd name="connsiteX244" fmla="*/ 0 w 4891380"/>
              <a:gd name="connsiteY244" fmla="*/ 3111118 h 5751788"/>
              <a:gd name="connsiteX245" fmla="*/ 0 w 4891380"/>
              <a:gd name="connsiteY245" fmla="*/ 3032692 h 5751788"/>
              <a:gd name="connsiteX246" fmla="*/ 1740 w 4891380"/>
              <a:gd name="connsiteY246" fmla="*/ 3032692 h 5751788"/>
              <a:gd name="connsiteX247" fmla="*/ 1740 w 4891380"/>
              <a:gd name="connsiteY247" fmla="*/ 3022121 h 5751788"/>
              <a:gd name="connsiteX248" fmla="*/ 0 w 4891380"/>
              <a:gd name="connsiteY248" fmla="*/ 3022121 h 575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4891380" h="5751788">
                <a:moveTo>
                  <a:pt x="0" y="0"/>
                </a:moveTo>
                <a:lnTo>
                  <a:pt x="1471669" y="0"/>
                </a:lnTo>
                <a:lnTo>
                  <a:pt x="1960808" y="0"/>
                </a:lnTo>
                <a:lnTo>
                  <a:pt x="2930558" y="0"/>
                </a:lnTo>
                <a:lnTo>
                  <a:pt x="3419696" y="0"/>
                </a:lnTo>
                <a:lnTo>
                  <a:pt x="3458648" y="0"/>
                </a:lnTo>
                <a:lnTo>
                  <a:pt x="3458648" y="1"/>
                </a:lnTo>
                <a:lnTo>
                  <a:pt x="3488752" y="1"/>
                </a:lnTo>
                <a:lnTo>
                  <a:pt x="3488752" y="3335"/>
                </a:lnTo>
                <a:lnTo>
                  <a:pt x="3559916" y="6728"/>
                </a:lnTo>
                <a:lnTo>
                  <a:pt x="3564234" y="7350"/>
                </a:lnTo>
                <a:lnTo>
                  <a:pt x="3569987" y="7641"/>
                </a:lnTo>
                <a:cubicBezTo>
                  <a:pt x="3656849" y="16522"/>
                  <a:pt x="3741475" y="33018"/>
                  <a:pt x="3823196" y="56454"/>
                </a:cubicBezTo>
                <a:lnTo>
                  <a:pt x="3829154" y="58447"/>
                </a:lnTo>
                <a:lnTo>
                  <a:pt x="3830180" y="58696"/>
                </a:lnTo>
                <a:lnTo>
                  <a:pt x="3840400" y="62213"/>
                </a:lnTo>
                <a:lnTo>
                  <a:pt x="3943517" y="96729"/>
                </a:lnTo>
                <a:lnTo>
                  <a:pt x="3954101" y="101328"/>
                </a:lnTo>
                <a:lnTo>
                  <a:pt x="3958123" y="102713"/>
                </a:lnTo>
                <a:lnTo>
                  <a:pt x="3979869" y="112529"/>
                </a:lnTo>
                <a:lnTo>
                  <a:pt x="4058977" y="146909"/>
                </a:lnTo>
                <a:lnTo>
                  <a:pt x="4073742" y="154899"/>
                </a:lnTo>
                <a:lnTo>
                  <a:pt x="4080462" y="157932"/>
                </a:lnTo>
                <a:lnTo>
                  <a:pt x="4104058" y="171305"/>
                </a:lnTo>
                <a:lnTo>
                  <a:pt x="4169078" y="206492"/>
                </a:lnTo>
                <a:lnTo>
                  <a:pt x="4187505" y="218597"/>
                </a:lnTo>
                <a:lnTo>
                  <a:pt x="4196586" y="223742"/>
                </a:lnTo>
                <a:lnTo>
                  <a:pt x="4219053" y="239321"/>
                </a:lnTo>
                <a:lnTo>
                  <a:pt x="4273318" y="274969"/>
                </a:lnTo>
                <a:lnTo>
                  <a:pt x="4294820" y="291856"/>
                </a:lnTo>
                <a:lnTo>
                  <a:pt x="4305886" y="299528"/>
                </a:lnTo>
                <a:lnTo>
                  <a:pt x="4326035" y="316371"/>
                </a:lnTo>
                <a:lnTo>
                  <a:pt x="4371194" y="351838"/>
                </a:lnTo>
                <a:lnTo>
                  <a:pt x="4395115" y="374115"/>
                </a:lnTo>
                <a:lnTo>
                  <a:pt x="4407752" y="384678"/>
                </a:lnTo>
                <a:lnTo>
                  <a:pt x="4425090" y="402029"/>
                </a:lnTo>
                <a:lnTo>
                  <a:pt x="4462206" y="436592"/>
                </a:lnTo>
                <a:lnTo>
                  <a:pt x="4487824" y="464813"/>
                </a:lnTo>
                <a:lnTo>
                  <a:pt x="4501580" y="478579"/>
                </a:lnTo>
                <a:lnTo>
                  <a:pt x="4515948" y="495792"/>
                </a:lnTo>
                <a:lnTo>
                  <a:pt x="4545848" y="528727"/>
                </a:lnTo>
                <a:lnTo>
                  <a:pt x="4572386" y="563402"/>
                </a:lnTo>
                <a:lnTo>
                  <a:pt x="4586756" y="580617"/>
                </a:lnTo>
                <a:lnTo>
                  <a:pt x="4598192" y="597122"/>
                </a:lnTo>
                <a:lnTo>
                  <a:pt x="4621624" y="627739"/>
                </a:lnTo>
                <a:lnTo>
                  <a:pt x="4648242" y="669353"/>
                </a:lnTo>
                <a:lnTo>
                  <a:pt x="4662670" y="690177"/>
                </a:lnTo>
                <a:lnTo>
                  <a:pt x="4671340" y="705466"/>
                </a:lnTo>
                <a:lnTo>
                  <a:pt x="4689030" y="733120"/>
                </a:lnTo>
                <a:lnTo>
                  <a:pt x="4714840" y="782179"/>
                </a:lnTo>
                <a:lnTo>
                  <a:pt x="4728718" y="806649"/>
                </a:lnTo>
                <a:lnTo>
                  <a:pt x="4734878" y="820262"/>
                </a:lnTo>
                <a:lnTo>
                  <a:pt x="4747562" y="844366"/>
                </a:lnTo>
                <a:lnTo>
                  <a:pt x="4771636" y="901470"/>
                </a:lnTo>
                <a:lnTo>
                  <a:pt x="4784286" y="929419"/>
                </a:lnTo>
                <a:lnTo>
                  <a:pt x="4788276" y="940938"/>
                </a:lnTo>
                <a:lnTo>
                  <a:pt x="4796723" y="960976"/>
                </a:lnTo>
                <a:lnTo>
                  <a:pt x="4818080" y="1027005"/>
                </a:lnTo>
                <a:lnTo>
                  <a:pt x="4828768" y="1057869"/>
                </a:lnTo>
                <a:lnTo>
                  <a:pt x="4830991" y="1066923"/>
                </a:lnTo>
                <a:lnTo>
                  <a:pt x="4836008" y="1082438"/>
                </a:lnTo>
                <a:lnTo>
                  <a:pt x="4853630" y="1159131"/>
                </a:lnTo>
                <a:lnTo>
                  <a:pt x="4861552" y="1191393"/>
                </a:lnTo>
                <a:lnTo>
                  <a:pt x="4862478" y="1197643"/>
                </a:lnTo>
                <a:lnTo>
                  <a:pt x="4864917" y="1208252"/>
                </a:lnTo>
                <a:lnTo>
                  <a:pt x="4877746" y="1300513"/>
                </a:lnTo>
                <a:lnTo>
                  <a:pt x="4882030" y="1329371"/>
                </a:lnTo>
                <a:lnTo>
                  <a:pt x="4882182" y="1332410"/>
                </a:lnTo>
                <a:lnTo>
                  <a:pt x="4882946" y="1337912"/>
                </a:lnTo>
                <a:lnTo>
                  <a:pt x="4885957" y="1401901"/>
                </a:lnTo>
                <a:lnTo>
                  <a:pt x="4889624" y="1401901"/>
                </a:lnTo>
                <a:lnTo>
                  <a:pt x="4889624" y="1460895"/>
                </a:lnTo>
                <a:lnTo>
                  <a:pt x="4889624" y="1479885"/>
                </a:lnTo>
                <a:lnTo>
                  <a:pt x="4889624" y="1480329"/>
                </a:lnTo>
                <a:lnTo>
                  <a:pt x="4891380" y="1480329"/>
                </a:lnTo>
                <a:lnTo>
                  <a:pt x="4891380" y="1630791"/>
                </a:lnTo>
                <a:lnTo>
                  <a:pt x="3458648" y="1630791"/>
                </a:lnTo>
                <a:lnTo>
                  <a:pt x="3458648" y="1630792"/>
                </a:lnTo>
                <a:lnTo>
                  <a:pt x="3488751" y="1630792"/>
                </a:lnTo>
                <a:lnTo>
                  <a:pt x="3488751" y="1634126"/>
                </a:lnTo>
                <a:lnTo>
                  <a:pt x="3559916" y="1637518"/>
                </a:lnTo>
                <a:lnTo>
                  <a:pt x="3564234" y="1638140"/>
                </a:lnTo>
                <a:lnTo>
                  <a:pt x="3569986" y="1638433"/>
                </a:lnTo>
                <a:cubicBezTo>
                  <a:pt x="3656848" y="1647313"/>
                  <a:pt x="3741475" y="1663807"/>
                  <a:pt x="3823196" y="1687245"/>
                </a:cubicBezTo>
                <a:lnTo>
                  <a:pt x="3829153" y="1689237"/>
                </a:lnTo>
                <a:lnTo>
                  <a:pt x="3830180" y="1689487"/>
                </a:lnTo>
                <a:lnTo>
                  <a:pt x="3840400" y="1693004"/>
                </a:lnTo>
                <a:lnTo>
                  <a:pt x="3943516" y="1727519"/>
                </a:lnTo>
                <a:lnTo>
                  <a:pt x="3954100" y="1732119"/>
                </a:lnTo>
                <a:lnTo>
                  <a:pt x="3958122" y="1733503"/>
                </a:lnTo>
                <a:lnTo>
                  <a:pt x="3979868" y="1743320"/>
                </a:lnTo>
                <a:lnTo>
                  <a:pt x="4058976" y="1777700"/>
                </a:lnTo>
                <a:lnTo>
                  <a:pt x="4073741" y="1785690"/>
                </a:lnTo>
                <a:lnTo>
                  <a:pt x="4080461" y="1788723"/>
                </a:lnTo>
                <a:lnTo>
                  <a:pt x="4104057" y="1802096"/>
                </a:lnTo>
                <a:lnTo>
                  <a:pt x="4169078" y="1837283"/>
                </a:lnTo>
                <a:lnTo>
                  <a:pt x="4187505" y="1849388"/>
                </a:lnTo>
                <a:lnTo>
                  <a:pt x="4196584" y="1854532"/>
                </a:lnTo>
                <a:lnTo>
                  <a:pt x="4219053" y="1870112"/>
                </a:lnTo>
                <a:lnTo>
                  <a:pt x="4273316" y="1905760"/>
                </a:lnTo>
                <a:lnTo>
                  <a:pt x="4294820" y="1922647"/>
                </a:lnTo>
                <a:lnTo>
                  <a:pt x="4305884" y="1930319"/>
                </a:lnTo>
                <a:lnTo>
                  <a:pt x="4326034" y="1947163"/>
                </a:lnTo>
                <a:lnTo>
                  <a:pt x="4371194" y="1982629"/>
                </a:lnTo>
                <a:lnTo>
                  <a:pt x="4395114" y="2004906"/>
                </a:lnTo>
                <a:lnTo>
                  <a:pt x="4407752" y="2015469"/>
                </a:lnTo>
                <a:lnTo>
                  <a:pt x="4425088" y="2032820"/>
                </a:lnTo>
                <a:lnTo>
                  <a:pt x="4462204" y="2067383"/>
                </a:lnTo>
                <a:lnTo>
                  <a:pt x="4487823" y="2095602"/>
                </a:lnTo>
                <a:lnTo>
                  <a:pt x="4501580" y="2109370"/>
                </a:lnTo>
                <a:lnTo>
                  <a:pt x="4515948" y="2126583"/>
                </a:lnTo>
                <a:lnTo>
                  <a:pt x="4545846" y="2159517"/>
                </a:lnTo>
                <a:lnTo>
                  <a:pt x="4572383" y="2194191"/>
                </a:lnTo>
                <a:lnTo>
                  <a:pt x="4586756" y="2211408"/>
                </a:lnTo>
                <a:lnTo>
                  <a:pt x="4598190" y="2227912"/>
                </a:lnTo>
                <a:lnTo>
                  <a:pt x="4621623" y="2258530"/>
                </a:lnTo>
                <a:lnTo>
                  <a:pt x="4648242" y="2300144"/>
                </a:lnTo>
                <a:lnTo>
                  <a:pt x="4662670" y="2320968"/>
                </a:lnTo>
                <a:lnTo>
                  <a:pt x="4671340" y="2336257"/>
                </a:lnTo>
                <a:lnTo>
                  <a:pt x="4689028" y="2363911"/>
                </a:lnTo>
                <a:lnTo>
                  <a:pt x="4714840" y="2412970"/>
                </a:lnTo>
                <a:lnTo>
                  <a:pt x="4728716" y="2437439"/>
                </a:lnTo>
                <a:lnTo>
                  <a:pt x="4734877" y="2451053"/>
                </a:lnTo>
                <a:lnTo>
                  <a:pt x="4747562" y="2475157"/>
                </a:lnTo>
                <a:lnTo>
                  <a:pt x="4771636" y="2532261"/>
                </a:lnTo>
                <a:lnTo>
                  <a:pt x="4784286" y="2560208"/>
                </a:lnTo>
                <a:lnTo>
                  <a:pt x="4788274" y="2571729"/>
                </a:lnTo>
                <a:lnTo>
                  <a:pt x="4796723" y="2591766"/>
                </a:lnTo>
                <a:lnTo>
                  <a:pt x="4818078" y="2657796"/>
                </a:lnTo>
                <a:lnTo>
                  <a:pt x="4828766" y="2688660"/>
                </a:lnTo>
                <a:lnTo>
                  <a:pt x="4830988" y="2697714"/>
                </a:lnTo>
                <a:lnTo>
                  <a:pt x="4836008" y="2713229"/>
                </a:lnTo>
                <a:lnTo>
                  <a:pt x="4853629" y="2789921"/>
                </a:lnTo>
                <a:lnTo>
                  <a:pt x="4861550" y="2822183"/>
                </a:lnTo>
                <a:lnTo>
                  <a:pt x="4862477" y="2828433"/>
                </a:lnTo>
                <a:lnTo>
                  <a:pt x="4864917" y="2839043"/>
                </a:lnTo>
                <a:lnTo>
                  <a:pt x="4877746" y="2931303"/>
                </a:lnTo>
                <a:lnTo>
                  <a:pt x="4882029" y="2960161"/>
                </a:lnTo>
                <a:lnTo>
                  <a:pt x="4882180" y="2963200"/>
                </a:lnTo>
                <a:lnTo>
                  <a:pt x="4882946" y="2968703"/>
                </a:lnTo>
                <a:lnTo>
                  <a:pt x="4885956" y="3032692"/>
                </a:lnTo>
                <a:lnTo>
                  <a:pt x="4889624" y="3032692"/>
                </a:lnTo>
                <a:lnTo>
                  <a:pt x="4889624" y="3091686"/>
                </a:lnTo>
                <a:lnTo>
                  <a:pt x="4889624" y="3110675"/>
                </a:lnTo>
                <a:lnTo>
                  <a:pt x="4889624" y="3111118"/>
                </a:lnTo>
                <a:lnTo>
                  <a:pt x="4891379" y="3111118"/>
                </a:lnTo>
                <a:lnTo>
                  <a:pt x="4891379" y="3394564"/>
                </a:lnTo>
                <a:lnTo>
                  <a:pt x="4891379" y="3988016"/>
                </a:lnTo>
                <a:lnTo>
                  <a:pt x="4891379" y="4271461"/>
                </a:lnTo>
                <a:lnTo>
                  <a:pt x="4891379" y="4349890"/>
                </a:lnTo>
                <a:lnTo>
                  <a:pt x="4889640" y="4349890"/>
                </a:lnTo>
                <a:lnTo>
                  <a:pt x="4889640" y="5751787"/>
                </a:lnTo>
                <a:lnTo>
                  <a:pt x="4400501" y="5751787"/>
                </a:lnTo>
                <a:lnTo>
                  <a:pt x="3430753" y="5751787"/>
                </a:lnTo>
                <a:lnTo>
                  <a:pt x="3420593" y="5751787"/>
                </a:lnTo>
                <a:lnTo>
                  <a:pt x="3419727" y="5751787"/>
                </a:lnTo>
                <a:lnTo>
                  <a:pt x="3419712" y="5751788"/>
                </a:lnTo>
                <a:lnTo>
                  <a:pt x="3419699" y="5751787"/>
                </a:lnTo>
                <a:lnTo>
                  <a:pt x="3350656" y="5751787"/>
                </a:lnTo>
                <a:lnTo>
                  <a:pt x="2941613" y="5751787"/>
                </a:lnTo>
                <a:lnTo>
                  <a:pt x="2931453" y="5751787"/>
                </a:lnTo>
                <a:lnTo>
                  <a:pt x="2930587" y="5751787"/>
                </a:lnTo>
                <a:lnTo>
                  <a:pt x="2930574" y="5751788"/>
                </a:lnTo>
                <a:lnTo>
                  <a:pt x="2930558" y="5751787"/>
                </a:lnTo>
                <a:lnTo>
                  <a:pt x="2861517" y="5751787"/>
                </a:lnTo>
                <a:lnTo>
                  <a:pt x="1961706" y="5751787"/>
                </a:lnTo>
                <a:lnTo>
                  <a:pt x="1960839" y="5751787"/>
                </a:lnTo>
                <a:lnTo>
                  <a:pt x="1960824" y="5751788"/>
                </a:lnTo>
                <a:lnTo>
                  <a:pt x="1960810" y="5751787"/>
                </a:lnTo>
                <a:lnTo>
                  <a:pt x="1891768" y="5751787"/>
                </a:lnTo>
                <a:lnTo>
                  <a:pt x="1472566" y="5751787"/>
                </a:lnTo>
                <a:lnTo>
                  <a:pt x="1471699" y="5751787"/>
                </a:lnTo>
                <a:lnTo>
                  <a:pt x="1471686" y="5751788"/>
                </a:lnTo>
                <a:lnTo>
                  <a:pt x="1471671" y="5751787"/>
                </a:lnTo>
                <a:lnTo>
                  <a:pt x="1402630" y="5751787"/>
                </a:lnTo>
                <a:lnTo>
                  <a:pt x="1402630" y="5748454"/>
                </a:lnTo>
                <a:lnTo>
                  <a:pt x="1331464" y="5745061"/>
                </a:lnTo>
                <a:lnTo>
                  <a:pt x="1327146" y="5744440"/>
                </a:lnTo>
                <a:lnTo>
                  <a:pt x="1321394" y="5744149"/>
                </a:lnTo>
                <a:cubicBezTo>
                  <a:pt x="1234532" y="5735266"/>
                  <a:pt x="1149908" y="5718772"/>
                  <a:pt x="1068185" y="5695337"/>
                </a:cubicBezTo>
                <a:lnTo>
                  <a:pt x="1062227" y="5693342"/>
                </a:lnTo>
                <a:lnTo>
                  <a:pt x="1061200" y="5693093"/>
                </a:lnTo>
                <a:lnTo>
                  <a:pt x="1050981" y="5689577"/>
                </a:lnTo>
                <a:lnTo>
                  <a:pt x="947864" y="5655061"/>
                </a:lnTo>
                <a:lnTo>
                  <a:pt x="937281" y="5650461"/>
                </a:lnTo>
                <a:lnTo>
                  <a:pt x="933258" y="5649077"/>
                </a:lnTo>
                <a:lnTo>
                  <a:pt x="911512" y="5639261"/>
                </a:lnTo>
                <a:lnTo>
                  <a:pt x="832403" y="5604881"/>
                </a:lnTo>
                <a:lnTo>
                  <a:pt x="817638" y="5596891"/>
                </a:lnTo>
                <a:lnTo>
                  <a:pt x="810920" y="5593857"/>
                </a:lnTo>
                <a:lnTo>
                  <a:pt x="787324" y="5580484"/>
                </a:lnTo>
                <a:lnTo>
                  <a:pt x="722302" y="5545298"/>
                </a:lnTo>
                <a:lnTo>
                  <a:pt x="703875" y="5533192"/>
                </a:lnTo>
                <a:lnTo>
                  <a:pt x="694796" y="5528048"/>
                </a:lnTo>
                <a:lnTo>
                  <a:pt x="672327" y="5512468"/>
                </a:lnTo>
                <a:lnTo>
                  <a:pt x="618064" y="5476820"/>
                </a:lnTo>
                <a:lnTo>
                  <a:pt x="596562" y="5459933"/>
                </a:lnTo>
                <a:lnTo>
                  <a:pt x="585496" y="5452261"/>
                </a:lnTo>
                <a:lnTo>
                  <a:pt x="565345" y="5435418"/>
                </a:lnTo>
                <a:lnTo>
                  <a:pt x="520187" y="5399950"/>
                </a:lnTo>
                <a:lnTo>
                  <a:pt x="496267" y="5377676"/>
                </a:lnTo>
                <a:lnTo>
                  <a:pt x="483628" y="5367110"/>
                </a:lnTo>
                <a:lnTo>
                  <a:pt x="466291" y="5349761"/>
                </a:lnTo>
                <a:lnTo>
                  <a:pt x="429176" y="5315197"/>
                </a:lnTo>
                <a:lnTo>
                  <a:pt x="403557" y="5286978"/>
                </a:lnTo>
                <a:lnTo>
                  <a:pt x="389801" y="5273210"/>
                </a:lnTo>
                <a:lnTo>
                  <a:pt x="375432" y="5255998"/>
                </a:lnTo>
                <a:lnTo>
                  <a:pt x="345533" y="5223062"/>
                </a:lnTo>
                <a:lnTo>
                  <a:pt x="318997" y="5188388"/>
                </a:lnTo>
                <a:lnTo>
                  <a:pt x="304626" y="5171174"/>
                </a:lnTo>
                <a:lnTo>
                  <a:pt x="293189" y="5154668"/>
                </a:lnTo>
                <a:lnTo>
                  <a:pt x="269757" y="5124051"/>
                </a:lnTo>
                <a:lnTo>
                  <a:pt x="243139" y="5082435"/>
                </a:lnTo>
                <a:lnTo>
                  <a:pt x="228710" y="5061612"/>
                </a:lnTo>
                <a:lnTo>
                  <a:pt x="220040" y="5046323"/>
                </a:lnTo>
                <a:lnTo>
                  <a:pt x="202353" y="5018669"/>
                </a:lnTo>
                <a:lnTo>
                  <a:pt x="176540" y="4969611"/>
                </a:lnTo>
                <a:lnTo>
                  <a:pt x="162664" y="4945140"/>
                </a:lnTo>
                <a:lnTo>
                  <a:pt x="156502" y="4931527"/>
                </a:lnTo>
                <a:lnTo>
                  <a:pt x="143819" y="4907422"/>
                </a:lnTo>
                <a:lnTo>
                  <a:pt x="119746" y="4850319"/>
                </a:lnTo>
                <a:lnTo>
                  <a:pt x="107095" y="4822372"/>
                </a:lnTo>
                <a:lnTo>
                  <a:pt x="103107" y="4810852"/>
                </a:lnTo>
                <a:lnTo>
                  <a:pt x="94658" y="4790814"/>
                </a:lnTo>
                <a:lnTo>
                  <a:pt x="73303" y="4724785"/>
                </a:lnTo>
                <a:lnTo>
                  <a:pt x="62615" y="4693921"/>
                </a:lnTo>
                <a:lnTo>
                  <a:pt x="60392" y="4684865"/>
                </a:lnTo>
                <a:lnTo>
                  <a:pt x="55373" y="4669350"/>
                </a:lnTo>
                <a:lnTo>
                  <a:pt x="37752" y="4592660"/>
                </a:lnTo>
                <a:lnTo>
                  <a:pt x="29830" y="4560396"/>
                </a:lnTo>
                <a:lnTo>
                  <a:pt x="28902" y="4554148"/>
                </a:lnTo>
                <a:lnTo>
                  <a:pt x="26465" y="4543536"/>
                </a:lnTo>
                <a:lnTo>
                  <a:pt x="13636" y="4451278"/>
                </a:lnTo>
                <a:lnTo>
                  <a:pt x="9352" y="4422418"/>
                </a:lnTo>
                <a:lnTo>
                  <a:pt x="9200" y="4419380"/>
                </a:lnTo>
                <a:lnTo>
                  <a:pt x="8434" y="4413877"/>
                </a:lnTo>
                <a:lnTo>
                  <a:pt x="5426" y="4349890"/>
                </a:lnTo>
                <a:lnTo>
                  <a:pt x="1757" y="4349890"/>
                </a:lnTo>
                <a:lnTo>
                  <a:pt x="1757" y="4290894"/>
                </a:lnTo>
                <a:lnTo>
                  <a:pt x="1757" y="4271904"/>
                </a:lnTo>
                <a:lnTo>
                  <a:pt x="1757" y="4271461"/>
                </a:lnTo>
                <a:lnTo>
                  <a:pt x="0" y="4271461"/>
                </a:lnTo>
                <a:lnTo>
                  <a:pt x="0" y="3988016"/>
                </a:lnTo>
                <a:lnTo>
                  <a:pt x="0" y="3394564"/>
                </a:lnTo>
                <a:lnTo>
                  <a:pt x="0" y="3111118"/>
                </a:lnTo>
                <a:lnTo>
                  <a:pt x="0" y="3032692"/>
                </a:lnTo>
                <a:lnTo>
                  <a:pt x="1740" y="3032692"/>
                </a:lnTo>
                <a:lnTo>
                  <a:pt x="1740" y="3022121"/>
                </a:lnTo>
                <a:lnTo>
                  <a:pt x="0" y="3022121"/>
                </a:lnTo>
                <a:close/>
              </a:path>
            </a:pathLst>
          </a:custGeom>
        </p:spPr>
      </p:pic>
      <p:sp>
        <p:nvSpPr>
          <p:cNvPr id="202" name="Freeform: Shape 55">
            <a:extLst>
              <a:ext uri="{FF2B5EF4-FFF2-40B4-BE49-F238E27FC236}">
                <a16:creationId xmlns:a16="http://schemas.microsoft.com/office/drawing/2014/main" id="{9AAB7EBC-DC18-4A46-BC92-2CADE06CA2C2}"/>
              </a:ext>
            </a:extLst>
          </p:cNvPr>
          <p:cNvSpPr/>
          <p:nvPr/>
        </p:nvSpPr>
        <p:spPr>
          <a:xfrm>
            <a:off x="276726" y="276726"/>
            <a:ext cx="6029984" cy="6232358"/>
          </a:xfrm>
          <a:custGeom>
            <a:avLst/>
            <a:gdLst>
              <a:gd name="connsiteX0" fmla="*/ 1830971 w 5902658"/>
              <a:gd name="connsiteY0" fmla="*/ 0 h 5865494"/>
              <a:gd name="connsiteX1" fmla="*/ 1830989 w 5902658"/>
              <a:gd name="connsiteY1" fmla="*/ 1 h 5865494"/>
              <a:gd name="connsiteX2" fmla="*/ 1916935 w 5902658"/>
              <a:gd name="connsiteY2" fmla="*/ 1 h 5865494"/>
              <a:gd name="connsiteX3" fmla="*/ 2237900 w 5902658"/>
              <a:gd name="connsiteY3" fmla="*/ 1 h 5865494"/>
              <a:gd name="connsiteX4" fmla="*/ 2774065 w 5902658"/>
              <a:gd name="connsiteY4" fmla="*/ 1 h 5865494"/>
              <a:gd name="connsiteX5" fmla="*/ 2775144 w 5902658"/>
              <a:gd name="connsiteY5" fmla="*/ 1 h 5865494"/>
              <a:gd name="connsiteX6" fmla="*/ 2775161 w 5902658"/>
              <a:gd name="connsiteY6" fmla="*/ 0 h 5865494"/>
              <a:gd name="connsiteX7" fmla="*/ 2775179 w 5902658"/>
              <a:gd name="connsiteY7" fmla="*/ 1 h 5865494"/>
              <a:gd name="connsiteX8" fmla="*/ 2861125 w 5902658"/>
              <a:gd name="connsiteY8" fmla="*/ 1 h 5865494"/>
              <a:gd name="connsiteX9" fmla="*/ 3122456 w 5902658"/>
              <a:gd name="connsiteY9" fmla="*/ 1 h 5865494"/>
              <a:gd name="connsiteX10" fmla="*/ 3123534 w 5902658"/>
              <a:gd name="connsiteY10" fmla="*/ 1 h 5865494"/>
              <a:gd name="connsiteX11" fmla="*/ 3123552 w 5902658"/>
              <a:gd name="connsiteY11" fmla="*/ 0 h 5865494"/>
              <a:gd name="connsiteX12" fmla="*/ 3123569 w 5902658"/>
              <a:gd name="connsiteY12" fmla="*/ 1 h 5865494"/>
              <a:gd name="connsiteX13" fmla="*/ 3209516 w 5902658"/>
              <a:gd name="connsiteY13" fmla="*/ 1 h 5865494"/>
              <a:gd name="connsiteX14" fmla="*/ 4066646 w 5902658"/>
              <a:gd name="connsiteY14" fmla="*/ 1 h 5865494"/>
              <a:gd name="connsiteX15" fmla="*/ 4067724 w 5902658"/>
              <a:gd name="connsiteY15" fmla="*/ 1 h 5865494"/>
              <a:gd name="connsiteX16" fmla="*/ 4067742 w 5902658"/>
              <a:gd name="connsiteY16" fmla="*/ 0 h 5865494"/>
              <a:gd name="connsiteX17" fmla="*/ 4067759 w 5902658"/>
              <a:gd name="connsiteY17" fmla="*/ 1 h 5865494"/>
              <a:gd name="connsiteX18" fmla="*/ 4153706 w 5902658"/>
              <a:gd name="connsiteY18" fmla="*/ 1 h 5865494"/>
              <a:gd name="connsiteX19" fmla="*/ 4153706 w 5902658"/>
              <a:gd name="connsiteY19" fmla="*/ 4569 h 5865494"/>
              <a:gd name="connsiteX20" fmla="*/ 4242296 w 5902658"/>
              <a:gd name="connsiteY20" fmla="*/ 9219 h 5865494"/>
              <a:gd name="connsiteX21" fmla="*/ 4247670 w 5902658"/>
              <a:gd name="connsiteY21" fmla="*/ 10072 h 5865494"/>
              <a:gd name="connsiteX22" fmla="*/ 4254833 w 5902658"/>
              <a:gd name="connsiteY22" fmla="*/ 10471 h 5865494"/>
              <a:gd name="connsiteX23" fmla="*/ 4570041 w 5902658"/>
              <a:gd name="connsiteY23" fmla="*/ 77366 h 5865494"/>
              <a:gd name="connsiteX24" fmla="*/ 4577457 w 5902658"/>
              <a:gd name="connsiteY24" fmla="*/ 80097 h 5865494"/>
              <a:gd name="connsiteX25" fmla="*/ 4578735 w 5902658"/>
              <a:gd name="connsiteY25" fmla="*/ 80439 h 5865494"/>
              <a:gd name="connsiteX26" fmla="*/ 4591456 w 5902658"/>
              <a:gd name="connsiteY26" fmla="*/ 85258 h 5865494"/>
              <a:gd name="connsiteX27" fmla="*/ 4719821 w 5902658"/>
              <a:gd name="connsiteY27" fmla="*/ 132559 h 5865494"/>
              <a:gd name="connsiteX28" fmla="*/ 4732997 w 5902658"/>
              <a:gd name="connsiteY28" fmla="*/ 138863 h 5865494"/>
              <a:gd name="connsiteX29" fmla="*/ 4738004 w 5902658"/>
              <a:gd name="connsiteY29" fmla="*/ 140760 h 5865494"/>
              <a:gd name="connsiteX30" fmla="*/ 4765074 w 5902658"/>
              <a:gd name="connsiteY30" fmla="*/ 154214 h 5865494"/>
              <a:gd name="connsiteX31" fmla="*/ 4863552 w 5902658"/>
              <a:gd name="connsiteY31" fmla="*/ 201329 h 5865494"/>
              <a:gd name="connsiteX32" fmla="*/ 4881932 w 5902658"/>
              <a:gd name="connsiteY32" fmla="*/ 212278 h 5865494"/>
              <a:gd name="connsiteX33" fmla="*/ 4890297 w 5902658"/>
              <a:gd name="connsiteY33" fmla="*/ 216434 h 5865494"/>
              <a:gd name="connsiteX34" fmla="*/ 4919669 w 5902658"/>
              <a:gd name="connsiteY34" fmla="*/ 234760 h 5865494"/>
              <a:gd name="connsiteX35" fmla="*/ 5000612 w 5902658"/>
              <a:gd name="connsiteY35" fmla="*/ 282982 h 5865494"/>
              <a:gd name="connsiteX36" fmla="*/ 5023551 w 5902658"/>
              <a:gd name="connsiteY36" fmla="*/ 299572 h 5865494"/>
              <a:gd name="connsiteX37" fmla="*/ 5034853 w 5902658"/>
              <a:gd name="connsiteY37" fmla="*/ 306621 h 5865494"/>
              <a:gd name="connsiteX38" fmla="*/ 5062823 w 5902658"/>
              <a:gd name="connsiteY38" fmla="*/ 327972 h 5865494"/>
              <a:gd name="connsiteX39" fmla="*/ 5130374 w 5902658"/>
              <a:gd name="connsiteY39" fmla="*/ 376826 h 5865494"/>
              <a:gd name="connsiteX40" fmla="*/ 5157140 w 5902658"/>
              <a:gd name="connsiteY40" fmla="*/ 399969 h 5865494"/>
              <a:gd name="connsiteX41" fmla="*/ 5170917 w 5902658"/>
              <a:gd name="connsiteY41" fmla="*/ 410482 h 5865494"/>
              <a:gd name="connsiteX42" fmla="*/ 5196000 w 5902658"/>
              <a:gd name="connsiteY42" fmla="*/ 433566 h 5865494"/>
              <a:gd name="connsiteX43" fmla="*/ 5252216 w 5902658"/>
              <a:gd name="connsiteY43" fmla="*/ 482168 h 5865494"/>
              <a:gd name="connsiteX44" fmla="*/ 5281993 w 5902658"/>
              <a:gd name="connsiteY44" fmla="*/ 512696 h 5865494"/>
              <a:gd name="connsiteX45" fmla="*/ 5297726 w 5902658"/>
              <a:gd name="connsiteY45" fmla="*/ 527173 h 5865494"/>
              <a:gd name="connsiteX46" fmla="*/ 5319308 w 5902658"/>
              <a:gd name="connsiteY46" fmla="*/ 550952 h 5865494"/>
              <a:gd name="connsiteX47" fmla="*/ 5365510 w 5902658"/>
              <a:gd name="connsiteY47" fmla="*/ 598318 h 5865494"/>
              <a:gd name="connsiteX48" fmla="*/ 5397402 w 5902658"/>
              <a:gd name="connsiteY48" fmla="*/ 636991 h 5865494"/>
              <a:gd name="connsiteX49" fmla="*/ 5414527 w 5902658"/>
              <a:gd name="connsiteY49" fmla="*/ 655858 h 5865494"/>
              <a:gd name="connsiteX50" fmla="*/ 5432412 w 5902658"/>
              <a:gd name="connsiteY50" fmla="*/ 679446 h 5865494"/>
              <a:gd name="connsiteX51" fmla="*/ 5469634 w 5902658"/>
              <a:gd name="connsiteY51" fmla="*/ 724583 h 5865494"/>
              <a:gd name="connsiteX52" fmla="*/ 5502668 w 5902658"/>
              <a:gd name="connsiteY52" fmla="*/ 772100 h 5865494"/>
              <a:gd name="connsiteX53" fmla="*/ 5520558 w 5902658"/>
              <a:gd name="connsiteY53" fmla="*/ 795692 h 5865494"/>
              <a:gd name="connsiteX54" fmla="*/ 5534793 w 5902658"/>
              <a:gd name="connsiteY54" fmla="*/ 818312 h 5865494"/>
              <a:gd name="connsiteX55" fmla="*/ 5563964 w 5902658"/>
              <a:gd name="connsiteY55" fmla="*/ 860270 h 5865494"/>
              <a:gd name="connsiteX56" fmla="*/ 5597100 w 5902658"/>
              <a:gd name="connsiteY56" fmla="*/ 917301 h 5865494"/>
              <a:gd name="connsiteX57" fmla="*/ 5615060 w 5902658"/>
              <a:gd name="connsiteY57" fmla="*/ 945838 h 5865494"/>
              <a:gd name="connsiteX58" fmla="*/ 5625854 w 5902658"/>
              <a:gd name="connsiteY58" fmla="*/ 966790 h 5865494"/>
              <a:gd name="connsiteX59" fmla="*/ 5647873 w 5902658"/>
              <a:gd name="connsiteY59" fmla="*/ 1004688 h 5865494"/>
              <a:gd name="connsiteX60" fmla="*/ 5680004 w 5902658"/>
              <a:gd name="connsiteY60" fmla="*/ 1071919 h 5865494"/>
              <a:gd name="connsiteX61" fmla="*/ 5697279 w 5902658"/>
              <a:gd name="connsiteY61" fmla="*/ 1105454 h 5865494"/>
              <a:gd name="connsiteX62" fmla="*/ 5704948 w 5902658"/>
              <a:gd name="connsiteY62" fmla="*/ 1124110 h 5865494"/>
              <a:gd name="connsiteX63" fmla="*/ 5720739 w 5902658"/>
              <a:gd name="connsiteY63" fmla="*/ 1157143 h 5865494"/>
              <a:gd name="connsiteX64" fmla="*/ 5750706 w 5902658"/>
              <a:gd name="connsiteY64" fmla="*/ 1235399 h 5865494"/>
              <a:gd name="connsiteX65" fmla="*/ 5766455 w 5902658"/>
              <a:gd name="connsiteY65" fmla="*/ 1273700 h 5865494"/>
              <a:gd name="connsiteX66" fmla="*/ 5771421 w 5902658"/>
              <a:gd name="connsiteY66" fmla="*/ 1289488 h 5865494"/>
              <a:gd name="connsiteX67" fmla="*/ 5781936 w 5902658"/>
              <a:gd name="connsiteY67" fmla="*/ 1316946 h 5865494"/>
              <a:gd name="connsiteX68" fmla="*/ 5808521 w 5902658"/>
              <a:gd name="connsiteY68" fmla="*/ 1407436 h 5865494"/>
              <a:gd name="connsiteX69" fmla="*/ 5821825 w 5902658"/>
              <a:gd name="connsiteY69" fmla="*/ 1449734 h 5865494"/>
              <a:gd name="connsiteX70" fmla="*/ 5824593 w 5902658"/>
              <a:gd name="connsiteY70" fmla="*/ 1462141 h 5865494"/>
              <a:gd name="connsiteX71" fmla="*/ 5830840 w 5902658"/>
              <a:gd name="connsiteY71" fmla="*/ 1483403 h 5865494"/>
              <a:gd name="connsiteX72" fmla="*/ 5852776 w 5902658"/>
              <a:gd name="connsiteY72" fmla="*/ 1588504 h 5865494"/>
              <a:gd name="connsiteX73" fmla="*/ 5853208 w 5902658"/>
              <a:gd name="connsiteY73" fmla="*/ 1590439 h 5865494"/>
              <a:gd name="connsiteX74" fmla="*/ 5856096 w 5902658"/>
              <a:gd name="connsiteY74" fmla="*/ 1590439 h 5865494"/>
              <a:gd name="connsiteX75" fmla="*/ 5865525 w 5902658"/>
              <a:gd name="connsiteY75" fmla="*/ 1642236 h 5865494"/>
              <a:gd name="connsiteX76" fmla="*/ 5866680 w 5902658"/>
              <a:gd name="connsiteY76" fmla="*/ 1652729 h 5865494"/>
              <a:gd name="connsiteX77" fmla="*/ 5869714 w 5902658"/>
              <a:gd name="connsiteY77" fmla="*/ 1670544 h 5865494"/>
              <a:gd name="connsiteX78" fmla="*/ 5885686 w 5902658"/>
              <a:gd name="connsiteY78" fmla="*/ 1825445 h 5865494"/>
              <a:gd name="connsiteX79" fmla="*/ 5891017 w 5902658"/>
              <a:gd name="connsiteY79" fmla="*/ 1873900 h 5865494"/>
              <a:gd name="connsiteX80" fmla="*/ 5891206 w 5902658"/>
              <a:gd name="connsiteY80" fmla="*/ 1879000 h 5865494"/>
              <a:gd name="connsiteX81" fmla="*/ 5892160 w 5902658"/>
              <a:gd name="connsiteY81" fmla="*/ 1888239 h 5865494"/>
              <a:gd name="connsiteX82" fmla="*/ 5895906 w 5902658"/>
              <a:gd name="connsiteY82" fmla="*/ 1995675 h 5865494"/>
              <a:gd name="connsiteX83" fmla="*/ 5900472 w 5902658"/>
              <a:gd name="connsiteY83" fmla="*/ 1995675 h 5865494"/>
              <a:gd name="connsiteX84" fmla="*/ 5900472 w 5902658"/>
              <a:gd name="connsiteY84" fmla="*/ 2094724 h 5865494"/>
              <a:gd name="connsiteX85" fmla="*/ 5900472 w 5902658"/>
              <a:gd name="connsiteY85" fmla="*/ 2126608 h 5865494"/>
              <a:gd name="connsiteX86" fmla="*/ 5900472 w 5902658"/>
              <a:gd name="connsiteY86" fmla="*/ 2127352 h 5865494"/>
              <a:gd name="connsiteX87" fmla="*/ 5900472 w 5902658"/>
              <a:gd name="connsiteY87" fmla="*/ 2127354 h 5865494"/>
              <a:gd name="connsiteX88" fmla="*/ 5902658 w 5902658"/>
              <a:gd name="connsiteY88" fmla="*/ 2127354 h 5865494"/>
              <a:gd name="connsiteX89" fmla="*/ 5902658 w 5902658"/>
              <a:gd name="connsiteY89" fmla="*/ 2603252 h 5865494"/>
              <a:gd name="connsiteX90" fmla="*/ 5902658 w 5902658"/>
              <a:gd name="connsiteY90" fmla="*/ 3599646 h 5865494"/>
              <a:gd name="connsiteX91" fmla="*/ 5902658 w 5902658"/>
              <a:gd name="connsiteY91" fmla="*/ 3644379 h 5865494"/>
              <a:gd name="connsiteX92" fmla="*/ 5902658 w 5902658"/>
              <a:gd name="connsiteY92" fmla="*/ 3972730 h 5865494"/>
              <a:gd name="connsiteX93" fmla="*/ 5902658 w 5902658"/>
              <a:gd name="connsiteY93" fmla="*/ 4073009 h 5865494"/>
              <a:gd name="connsiteX94" fmla="*/ 5900493 w 5902658"/>
              <a:gd name="connsiteY94" fmla="*/ 4073009 h 5865494"/>
              <a:gd name="connsiteX95" fmla="*/ 5900493 w 5902658"/>
              <a:gd name="connsiteY95" fmla="*/ 5865493 h 5865494"/>
              <a:gd name="connsiteX96" fmla="*/ 4956304 w 5902658"/>
              <a:gd name="connsiteY96" fmla="*/ 5865493 h 5865494"/>
              <a:gd name="connsiteX97" fmla="*/ 4607912 w 5902658"/>
              <a:gd name="connsiteY97" fmla="*/ 5865493 h 5865494"/>
              <a:gd name="connsiteX98" fmla="*/ 4195055 w 5902658"/>
              <a:gd name="connsiteY98" fmla="*/ 5865493 h 5865494"/>
              <a:gd name="connsiteX99" fmla="*/ 4195055 w 5902658"/>
              <a:gd name="connsiteY99" fmla="*/ 5865494 h 5865494"/>
              <a:gd name="connsiteX100" fmla="*/ 4070652 w 5902658"/>
              <a:gd name="connsiteY100" fmla="*/ 5865494 h 5865494"/>
              <a:gd name="connsiteX101" fmla="*/ 3126462 w 5902658"/>
              <a:gd name="connsiteY101" fmla="*/ 5865494 h 5865494"/>
              <a:gd name="connsiteX102" fmla="*/ 2778071 w 5902658"/>
              <a:gd name="connsiteY102" fmla="*/ 5865494 h 5865494"/>
              <a:gd name="connsiteX103" fmla="*/ 1833881 w 5902658"/>
              <a:gd name="connsiteY103" fmla="*/ 5865494 h 5865494"/>
              <a:gd name="connsiteX104" fmla="*/ 0 w 5902658"/>
              <a:gd name="connsiteY104" fmla="*/ 5865494 h 5865494"/>
              <a:gd name="connsiteX105" fmla="*/ 0 w 5902658"/>
              <a:gd name="connsiteY105" fmla="*/ 175039 h 5865494"/>
              <a:gd name="connsiteX106" fmla="*/ 1129 w 5902658"/>
              <a:gd name="connsiteY106" fmla="*/ 175039 h 5865494"/>
              <a:gd name="connsiteX107" fmla="*/ 1129 w 5902658"/>
              <a:gd name="connsiteY107" fmla="*/ 1 h 5865494"/>
              <a:gd name="connsiteX108" fmla="*/ 945319 w 5902658"/>
              <a:gd name="connsiteY108" fmla="*/ 1 h 5865494"/>
              <a:gd name="connsiteX109" fmla="*/ 1293710 w 5902658"/>
              <a:gd name="connsiteY109" fmla="*/ 1 h 5865494"/>
              <a:gd name="connsiteX110" fmla="*/ 1829875 w 5902658"/>
              <a:gd name="connsiteY110" fmla="*/ 1 h 5865494"/>
              <a:gd name="connsiteX111" fmla="*/ 1830954 w 5902658"/>
              <a:gd name="connsiteY111" fmla="*/ 1 h 5865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5902658" h="5865494">
                <a:moveTo>
                  <a:pt x="1830971" y="0"/>
                </a:moveTo>
                <a:lnTo>
                  <a:pt x="1830989" y="1"/>
                </a:lnTo>
                <a:lnTo>
                  <a:pt x="1916935" y="1"/>
                </a:lnTo>
                <a:lnTo>
                  <a:pt x="2237900" y="1"/>
                </a:lnTo>
                <a:lnTo>
                  <a:pt x="2774065" y="1"/>
                </a:lnTo>
                <a:lnTo>
                  <a:pt x="2775144" y="1"/>
                </a:lnTo>
                <a:lnTo>
                  <a:pt x="2775161" y="0"/>
                </a:lnTo>
                <a:lnTo>
                  <a:pt x="2775179" y="1"/>
                </a:lnTo>
                <a:lnTo>
                  <a:pt x="2861125" y="1"/>
                </a:lnTo>
                <a:lnTo>
                  <a:pt x="3122456" y="1"/>
                </a:lnTo>
                <a:lnTo>
                  <a:pt x="3123534" y="1"/>
                </a:lnTo>
                <a:lnTo>
                  <a:pt x="3123552" y="0"/>
                </a:lnTo>
                <a:lnTo>
                  <a:pt x="3123569" y="1"/>
                </a:lnTo>
                <a:lnTo>
                  <a:pt x="3209516" y="1"/>
                </a:lnTo>
                <a:lnTo>
                  <a:pt x="4066646" y="1"/>
                </a:lnTo>
                <a:lnTo>
                  <a:pt x="4067724" y="1"/>
                </a:lnTo>
                <a:lnTo>
                  <a:pt x="4067742" y="0"/>
                </a:lnTo>
                <a:lnTo>
                  <a:pt x="4067759" y="1"/>
                </a:lnTo>
                <a:lnTo>
                  <a:pt x="4153706" y="1"/>
                </a:lnTo>
                <a:lnTo>
                  <a:pt x="4153706" y="4569"/>
                </a:lnTo>
                <a:lnTo>
                  <a:pt x="4242296" y="9219"/>
                </a:lnTo>
                <a:lnTo>
                  <a:pt x="4247670" y="10072"/>
                </a:lnTo>
                <a:lnTo>
                  <a:pt x="4254833" y="10471"/>
                </a:lnTo>
                <a:cubicBezTo>
                  <a:pt x="4362962" y="22643"/>
                  <a:pt x="4468309" y="45248"/>
                  <a:pt x="4570041" y="77366"/>
                </a:cubicBezTo>
                <a:lnTo>
                  <a:pt x="4577457" y="80097"/>
                </a:lnTo>
                <a:lnTo>
                  <a:pt x="4578735" y="80439"/>
                </a:lnTo>
                <a:lnTo>
                  <a:pt x="4591456" y="85258"/>
                </a:lnTo>
                <a:lnTo>
                  <a:pt x="4719821" y="132559"/>
                </a:lnTo>
                <a:lnTo>
                  <a:pt x="4732997" y="138863"/>
                </a:lnTo>
                <a:lnTo>
                  <a:pt x="4738004" y="140760"/>
                </a:lnTo>
                <a:lnTo>
                  <a:pt x="4765074" y="154214"/>
                </a:lnTo>
                <a:lnTo>
                  <a:pt x="4863552" y="201329"/>
                </a:lnTo>
                <a:lnTo>
                  <a:pt x="4881932" y="212278"/>
                </a:lnTo>
                <a:lnTo>
                  <a:pt x="4890297" y="216434"/>
                </a:lnTo>
                <a:lnTo>
                  <a:pt x="4919669" y="234760"/>
                </a:lnTo>
                <a:lnTo>
                  <a:pt x="5000612" y="282982"/>
                </a:lnTo>
                <a:lnTo>
                  <a:pt x="5023551" y="299572"/>
                </a:lnTo>
                <a:lnTo>
                  <a:pt x="5034853" y="306621"/>
                </a:lnTo>
                <a:lnTo>
                  <a:pt x="5062823" y="327972"/>
                </a:lnTo>
                <a:lnTo>
                  <a:pt x="5130374" y="376826"/>
                </a:lnTo>
                <a:lnTo>
                  <a:pt x="5157140" y="399969"/>
                </a:lnTo>
                <a:lnTo>
                  <a:pt x="5170917" y="410482"/>
                </a:lnTo>
                <a:lnTo>
                  <a:pt x="5196000" y="433566"/>
                </a:lnTo>
                <a:lnTo>
                  <a:pt x="5252216" y="482168"/>
                </a:lnTo>
                <a:lnTo>
                  <a:pt x="5281993" y="512696"/>
                </a:lnTo>
                <a:lnTo>
                  <a:pt x="5297726" y="527173"/>
                </a:lnTo>
                <a:lnTo>
                  <a:pt x="5319308" y="550952"/>
                </a:lnTo>
                <a:lnTo>
                  <a:pt x="5365510" y="598318"/>
                </a:lnTo>
                <a:lnTo>
                  <a:pt x="5397402" y="636991"/>
                </a:lnTo>
                <a:lnTo>
                  <a:pt x="5414527" y="655858"/>
                </a:lnTo>
                <a:lnTo>
                  <a:pt x="5432412" y="679446"/>
                </a:lnTo>
                <a:lnTo>
                  <a:pt x="5469634" y="724583"/>
                </a:lnTo>
                <a:lnTo>
                  <a:pt x="5502668" y="772100"/>
                </a:lnTo>
                <a:lnTo>
                  <a:pt x="5520558" y="795692"/>
                </a:lnTo>
                <a:lnTo>
                  <a:pt x="5534793" y="818312"/>
                </a:lnTo>
                <a:lnTo>
                  <a:pt x="5563964" y="860270"/>
                </a:lnTo>
                <a:lnTo>
                  <a:pt x="5597100" y="917301"/>
                </a:lnTo>
                <a:lnTo>
                  <a:pt x="5615060" y="945838"/>
                </a:lnTo>
                <a:lnTo>
                  <a:pt x="5625854" y="966790"/>
                </a:lnTo>
                <a:lnTo>
                  <a:pt x="5647873" y="1004688"/>
                </a:lnTo>
                <a:lnTo>
                  <a:pt x="5680004" y="1071919"/>
                </a:lnTo>
                <a:lnTo>
                  <a:pt x="5697279" y="1105454"/>
                </a:lnTo>
                <a:lnTo>
                  <a:pt x="5704948" y="1124110"/>
                </a:lnTo>
                <a:lnTo>
                  <a:pt x="5720739" y="1157143"/>
                </a:lnTo>
                <a:lnTo>
                  <a:pt x="5750706" y="1235399"/>
                </a:lnTo>
                <a:lnTo>
                  <a:pt x="5766455" y="1273700"/>
                </a:lnTo>
                <a:lnTo>
                  <a:pt x="5771421" y="1289488"/>
                </a:lnTo>
                <a:lnTo>
                  <a:pt x="5781936" y="1316946"/>
                </a:lnTo>
                <a:lnTo>
                  <a:pt x="5808521" y="1407436"/>
                </a:lnTo>
                <a:lnTo>
                  <a:pt x="5821825" y="1449734"/>
                </a:lnTo>
                <a:lnTo>
                  <a:pt x="5824593" y="1462141"/>
                </a:lnTo>
                <a:lnTo>
                  <a:pt x="5830840" y="1483403"/>
                </a:lnTo>
                <a:lnTo>
                  <a:pt x="5852776" y="1588504"/>
                </a:lnTo>
                <a:lnTo>
                  <a:pt x="5853208" y="1590439"/>
                </a:lnTo>
                <a:lnTo>
                  <a:pt x="5856096" y="1590439"/>
                </a:lnTo>
                <a:lnTo>
                  <a:pt x="5865525" y="1642236"/>
                </a:lnTo>
                <a:lnTo>
                  <a:pt x="5866680" y="1652729"/>
                </a:lnTo>
                <a:lnTo>
                  <a:pt x="5869714" y="1670544"/>
                </a:lnTo>
                <a:lnTo>
                  <a:pt x="5885686" y="1825445"/>
                </a:lnTo>
                <a:lnTo>
                  <a:pt x="5891017" y="1873900"/>
                </a:lnTo>
                <a:lnTo>
                  <a:pt x="5891206" y="1879000"/>
                </a:lnTo>
                <a:lnTo>
                  <a:pt x="5892160" y="1888239"/>
                </a:lnTo>
                <a:lnTo>
                  <a:pt x="5895906" y="1995675"/>
                </a:lnTo>
                <a:lnTo>
                  <a:pt x="5900472" y="1995675"/>
                </a:lnTo>
                <a:lnTo>
                  <a:pt x="5900472" y="2094724"/>
                </a:lnTo>
                <a:lnTo>
                  <a:pt x="5900472" y="2126608"/>
                </a:lnTo>
                <a:lnTo>
                  <a:pt x="5900472" y="2127352"/>
                </a:lnTo>
                <a:lnTo>
                  <a:pt x="5900472" y="2127354"/>
                </a:lnTo>
                <a:lnTo>
                  <a:pt x="5902658" y="2127354"/>
                </a:lnTo>
                <a:lnTo>
                  <a:pt x="5902658" y="2603252"/>
                </a:lnTo>
                <a:lnTo>
                  <a:pt x="5902658" y="3599646"/>
                </a:lnTo>
                <a:lnTo>
                  <a:pt x="5902658" y="3644379"/>
                </a:lnTo>
                <a:lnTo>
                  <a:pt x="5902658" y="3972730"/>
                </a:lnTo>
                <a:lnTo>
                  <a:pt x="5902658" y="4073009"/>
                </a:lnTo>
                <a:lnTo>
                  <a:pt x="5900493" y="4073009"/>
                </a:lnTo>
                <a:lnTo>
                  <a:pt x="5900493" y="5865493"/>
                </a:lnTo>
                <a:lnTo>
                  <a:pt x="4956304" y="5865493"/>
                </a:lnTo>
                <a:lnTo>
                  <a:pt x="4607912" y="5865493"/>
                </a:lnTo>
                <a:lnTo>
                  <a:pt x="4195055" y="5865493"/>
                </a:lnTo>
                <a:lnTo>
                  <a:pt x="4195055" y="5865494"/>
                </a:lnTo>
                <a:lnTo>
                  <a:pt x="4070652" y="5865494"/>
                </a:lnTo>
                <a:lnTo>
                  <a:pt x="3126462" y="5865494"/>
                </a:lnTo>
                <a:lnTo>
                  <a:pt x="2778071" y="5865494"/>
                </a:lnTo>
                <a:lnTo>
                  <a:pt x="1833881" y="5865494"/>
                </a:lnTo>
                <a:lnTo>
                  <a:pt x="0" y="5865494"/>
                </a:lnTo>
                <a:lnTo>
                  <a:pt x="0" y="175039"/>
                </a:lnTo>
                <a:lnTo>
                  <a:pt x="1129" y="175039"/>
                </a:lnTo>
                <a:lnTo>
                  <a:pt x="1129" y="1"/>
                </a:lnTo>
                <a:lnTo>
                  <a:pt x="945319" y="1"/>
                </a:lnTo>
                <a:lnTo>
                  <a:pt x="1293710" y="1"/>
                </a:lnTo>
                <a:lnTo>
                  <a:pt x="1829875" y="1"/>
                </a:lnTo>
                <a:lnTo>
                  <a:pt x="1830954" y="1"/>
                </a:lnTo>
                <a:close/>
              </a:path>
            </a:pathLst>
          </a:custGeom>
          <a:solidFill>
            <a:srgbClr val="1D3166">
              <a:alpha val="86396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: Shape 70">
            <a:extLst>
              <a:ext uri="{FF2B5EF4-FFF2-40B4-BE49-F238E27FC236}">
                <a16:creationId xmlns:a16="http://schemas.microsoft.com/office/drawing/2014/main" id="{01CBD37B-EE21-CD49-82D2-9E430A9780B3}"/>
              </a:ext>
            </a:extLst>
          </p:cNvPr>
          <p:cNvSpPr/>
          <p:nvPr/>
        </p:nvSpPr>
        <p:spPr>
          <a:xfrm>
            <a:off x="6841384" y="490538"/>
            <a:ext cx="4497957" cy="5751788"/>
          </a:xfrm>
          <a:custGeom>
            <a:avLst/>
            <a:gdLst>
              <a:gd name="connsiteX0" fmla="*/ 0 w 4891380"/>
              <a:gd name="connsiteY0" fmla="*/ 0 h 5751788"/>
              <a:gd name="connsiteX1" fmla="*/ 1471669 w 4891380"/>
              <a:gd name="connsiteY1" fmla="*/ 0 h 5751788"/>
              <a:gd name="connsiteX2" fmla="*/ 1960808 w 4891380"/>
              <a:gd name="connsiteY2" fmla="*/ 0 h 5751788"/>
              <a:gd name="connsiteX3" fmla="*/ 2930558 w 4891380"/>
              <a:gd name="connsiteY3" fmla="*/ 0 h 5751788"/>
              <a:gd name="connsiteX4" fmla="*/ 3419696 w 4891380"/>
              <a:gd name="connsiteY4" fmla="*/ 0 h 5751788"/>
              <a:gd name="connsiteX5" fmla="*/ 3458648 w 4891380"/>
              <a:gd name="connsiteY5" fmla="*/ 0 h 5751788"/>
              <a:gd name="connsiteX6" fmla="*/ 3458648 w 4891380"/>
              <a:gd name="connsiteY6" fmla="*/ 1 h 5751788"/>
              <a:gd name="connsiteX7" fmla="*/ 3488752 w 4891380"/>
              <a:gd name="connsiteY7" fmla="*/ 1 h 5751788"/>
              <a:gd name="connsiteX8" fmla="*/ 3488752 w 4891380"/>
              <a:gd name="connsiteY8" fmla="*/ 3335 h 5751788"/>
              <a:gd name="connsiteX9" fmla="*/ 3559916 w 4891380"/>
              <a:gd name="connsiteY9" fmla="*/ 6728 h 5751788"/>
              <a:gd name="connsiteX10" fmla="*/ 3564234 w 4891380"/>
              <a:gd name="connsiteY10" fmla="*/ 7350 h 5751788"/>
              <a:gd name="connsiteX11" fmla="*/ 3569987 w 4891380"/>
              <a:gd name="connsiteY11" fmla="*/ 7641 h 5751788"/>
              <a:gd name="connsiteX12" fmla="*/ 3823196 w 4891380"/>
              <a:gd name="connsiteY12" fmla="*/ 56454 h 5751788"/>
              <a:gd name="connsiteX13" fmla="*/ 3829154 w 4891380"/>
              <a:gd name="connsiteY13" fmla="*/ 58447 h 5751788"/>
              <a:gd name="connsiteX14" fmla="*/ 3830180 w 4891380"/>
              <a:gd name="connsiteY14" fmla="*/ 58696 h 5751788"/>
              <a:gd name="connsiteX15" fmla="*/ 3840400 w 4891380"/>
              <a:gd name="connsiteY15" fmla="*/ 62213 h 5751788"/>
              <a:gd name="connsiteX16" fmla="*/ 3943517 w 4891380"/>
              <a:gd name="connsiteY16" fmla="*/ 96729 h 5751788"/>
              <a:gd name="connsiteX17" fmla="*/ 3954101 w 4891380"/>
              <a:gd name="connsiteY17" fmla="*/ 101328 h 5751788"/>
              <a:gd name="connsiteX18" fmla="*/ 3958123 w 4891380"/>
              <a:gd name="connsiteY18" fmla="*/ 102713 h 5751788"/>
              <a:gd name="connsiteX19" fmla="*/ 3979869 w 4891380"/>
              <a:gd name="connsiteY19" fmla="*/ 112529 h 5751788"/>
              <a:gd name="connsiteX20" fmla="*/ 4058977 w 4891380"/>
              <a:gd name="connsiteY20" fmla="*/ 146909 h 5751788"/>
              <a:gd name="connsiteX21" fmla="*/ 4073742 w 4891380"/>
              <a:gd name="connsiteY21" fmla="*/ 154899 h 5751788"/>
              <a:gd name="connsiteX22" fmla="*/ 4080462 w 4891380"/>
              <a:gd name="connsiteY22" fmla="*/ 157932 h 5751788"/>
              <a:gd name="connsiteX23" fmla="*/ 4104058 w 4891380"/>
              <a:gd name="connsiteY23" fmla="*/ 171305 h 5751788"/>
              <a:gd name="connsiteX24" fmla="*/ 4169078 w 4891380"/>
              <a:gd name="connsiteY24" fmla="*/ 206492 h 5751788"/>
              <a:gd name="connsiteX25" fmla="*/ 4187505 w 4891380"/>
              <a:gd name="connsiteY25" fmla="*/ 218597 h 5751788"/>
              <a:gd name="connsiteX26" fmla="*/ 4196586 w 4891380"/>
              <a:gd name="connsiteY26" fmla="*/ 223742 h 5751788"/>
              <a:gd name="connsiteX27" fmla="*/ 4219053 w 4891380"/>
              <a:gd name="connsiteY27" fmla="*/ 239321 h 5751788"/>
              <a:gd name="connsiteX28" fmla="*/ 4273318 w 4891380"/>
              <a:gd name="connsiteY28" fmla="*/ 274969 h 5751788"/>
              <a:gd name="connsiteX29" fmla="*/ 4294820 w 4891380"/>
              <a:gd name="connsiteY29" fmla="*/ 291856 h 5751788"/>
              <a:gd name="connsiteX30" fmla="*/ 4305886 w 4891380"/>
              <a:gd name="connsiteY30" fmla="*/ 299528 h 5751788"/>
              <a:gd name="connsiteX31" fmla="*/ 4326035 w 4891380"/>
              <a:gd name="connsiteY31" fmla="*/ 316371 h 5751788"/>
              <a:gd name="connsiteX32" fmla="*/ 4371194 w 4891380"/>
              <a:gd name="connsiteY32" fmla="*/ 351838 h 5751788"/>
              <a:gd name="connsiteX33" fmla="*/ 4395115 w 4891380"/>
              <a:gd name="connsiteY33" fmla="*/ 374115 h 5751788"/>
              <a:gd name="connsiteX34" fmla="*/ 4407752 w 4891380"/>
              <a:gd name="connsiteY34" fmla="*/ 384678 h 5751788"/>
              <a:gd name="connsiteX35" fmla="*/ 4425090 w 4891380"/>
              <a:gd name="connsiteY35" fmla="*/ 402029 h 5751788"/>
              <a:gd name="connsiteX36" fmla="*/ 4462206 w 4891380"/>
              <a:gd name="connsiteY36" fmla="*/ 436592 h 5751788"/>
              <a:gd name="connsiteX37" fmla="*/ 4487824 w 4891380"/>
              <a:gd name="connsiteY37" fmla="*/ 464813 h 5751788"/>
              <a:gd name="connsiteX38" fmla="*/ 4501580 w 4891380"/>
              <a:gd name="connsiteY38" fmla="*/ 478579 h 5751788"/>
              <a:gd name="connsiteX39" fmla="*/ 4515948 w 4891380"/>
              <a:gd name="connsiteY39" fmla="*/ 495792 h 5751788"/>
              <a:gd name="connsiteX40" fmla="*/ 4545848 w 4891380"/>
              <a:gd name="connsiteY40" fmla="*/ 528727 h 5751788"/>
              <a:gd name="connsiteX41" fmla="*/ 4572386 w 4891380"/>
              <a:gd name="connsiteY41" fmla="*/ 563402 h 5751788"/>
              <a:gd name="connsiteX42" fmla="*/ 4586756 w 4891380"/>
              <a:gd name="connsiteY42" fmla="*/ 580617 h 5751788"/>
              <a:gd name="connsiteX43" fmla="*/ 4598192 w 4891380"/>
              <a:gd name="connsiteY43" fmla="*/ 597122 h 5751788"/>
              <a:gd name="connsiteX44" fmla="*/ 4621624 w 4891380"/>
              <a:gd name="connsiteY44" fmla="*/ 627739 h 5751788"/>
              <a:gd name="connsiteX45" fmla="*/ 4648242 w 4891380"/>
              <a:gd name="connsiteY45" fmla="*/ 669353 h 5751788"/>
              <a:gd name="connsiteX46" fmla="*/ 4662670 w 4891380"/>
              <a:gd name="connsiteY46" fmla="*/ 690177 h 5751788"/>
              <a:gd name="connsiteX47" fmla="*/ 4671340 w 4891380"/>
              <a:gd name="connsiteY47" fmla="*/ 705466 h 5751788"/>
              <a:gd name="connsiteX48" fmla="*/ 4689030 w 4891380"/>
              <a:gd name="connsiteY48" fmla="*/ 733120 h 5751788"/>
              <a:gd name="connsiteX49" fmla="*/ 4714840 w 4891380"/>
              <a:gd name="connsiteY49" fmla="*/ 782179 h 5751788"/>
              <a:gd name="connsiteX50" fmla="*/ 4728718 w 4891380"/>
              <a:gd name="connsiteY50" fmla="*/ 806649 h 5751788"/>
              <a:gd name="connsiteX51" fmla="*/ 4734878 w 4891380"/>
              <a:gd name="connsiteY51" fmla="*/ 820262 h 5751788"/>
              <a:gd name="connsiteX52" fmla="*/ 4747562 w 4891380"/>
              <a:gd name="connsiteY52" fmla="*/ 844366 h 5751788"/>
              <a:gd name="connsiteX53" fmla="*/ 4771636 w 4891380"/>
              <a:gd name="connsiteY53" fmla="*/ 901470 h 5751788"/>
              <a:gd name="connsiteX54" fmla="*/ 4784286 w 4891380"/>
              <a:gd name="connsiteY54" fmla="*/ 929419 h 5751788"/>
              <a:gd name="connsiteX55" fmla="*/ 4788276 w 4891380"/>
              <a:gd name="connsiteY55" fmla="*/ 940938 h 5751788"/>
              <a:gd name="connsiteX56" fmla="*/ 4796723 w 4891380"/>
              <a:gd name="connsiteY56" fmla="*/ 960976 h 5751788"/>
              <a:gd name="connsiteX57" fmla="*/ 4818080 w 4891380"/>
              <a:gd name="connsiteY57" fmla="*/ 1027005 h 5751788"/>
              <a:gd name="connsiteX58" fmla="*/ 4828768 w 4891380"/>
              <a:gd name="connsiteY58" fmla="*/ 1057869 h 5751788"/>
              <a:gd name="connsiteX59" fmla="*/ 4830991 w 4891380"/>
              <a:gd name="connsiteY59" fmla="*/ 1066923 h 5751788"/>
              <a:gd name="connsiteX60" fmla="*/ 4836008 w 4891380"/>
              <a:gd name="connsiteY60" fmla="*/ 1082438 h 5751788"/>
              <a:gd name="connsiteX61" fmla="*/ 4853630 w 4891380"/>
              <a:gd name="connsiteY61" fmla="*/ 1159131 h 5751788"/>
              <a:gd name="connsiteX62" fmla="*/ 4861552 w 4891380"/>
              <a:gd name="connsiteY62" fmla="*/ 1191393 h 5751788"/>
              <a:gd name="connsiteX63" fmla="*/ 4862478 w 4891380"/>
              <a:gd name="connsiteY63" fmla="*/ 1197643 h 5751788"/>
              <a:gd name="connsiteX64" fmla="*/ 4864917 w 4891380"/>
              <a:gd name="connsiteY64" fmla="*/ 1208252 h 5751788"/>
              <a:gd name="connsiteX65" fmla="*/ 4877746 w 4891380"/>
              <a:gd name="connsiteY65" fmla="*/ 1300513 h 5751788"/>
              <a:gd name="connsiteX66" fmla="*/ 4882030 w 4891380"/>
              <a:gd name="connsiteY66" fmla="*/ 1329371 h 5751788"/>
              <a:gd name="connsiteX67" fmla="*/ 4882182 w 4891380"/>
              <a:gd name="connsiteY67" fmla="*/ 1332410 h 5751788"/>
              <a:gd name="connsiteX68" fmla="*/ 4882946 w 4891380"/>
              <a:gd name="connsiteY68" fmla="*/ 1337912 h 5751788"/>
              <a:gd name="connsiteX69" fmla="*/ 4885957 w 4891380"/>
              <a:gd name="connsiteY69" fmla="*/ 1401901 h 5751788"/>
              <a:gd name="connsiteX70" fmla="*/ 4889624 w 4891380"/>
              <a:gd name="connsiteY70" fmla="*/ 1401901 h 5751788"/>
              <a:gd name="connsiteX71" fmla="*/ 4889624 w 4891380"/>
              <a:gd name="connsiteY71" fmla="*/ 1460895 h 5751788"/>
              <a:gd name="connsiteX72" fmla="*/ 4889624 w 4891380"/>
              <a:gd name="connsiteY72" fmla="*/ 1479885 h 5751788"/>
              <a:gd name="connsiteX73" fmla="*/ 4889624 w 4891380"/>
              <a:gd name="connsiteY73" fmla="*/ 1480329 h 5751788"/>
              <a:gd name="connsiteX74" fmla="*/ 4891380 w 4891380"/>
              <a:gd name="connsiteY74" fmla="*/ 1480329 h 5751788"/>
              <a:gd name="connsiteX75" fmla="*/ 4891380 w 4891380"/>
              <a:gd name="connsiteY75" fmla="*/ 1630791 h 5751788"/>
              <a:gd name="connsiteX76" fmla="*/ 3458648 w 4891380"/>
              <a:gd name="connsiteY76" fmla="*/ 1630791 h 5751788"/>
              <a:gd name="connsiteX77" fmla="*/ 3458648 w 4891380"/>
              <a:gd name="connsiteY77" fmla="*/ 1630792 h 5751788"/>
              <a:gd name="connsiteX78" fmla="*/ 3488751 w 4891380"/>
              <a:gd name="connsiteY78" fmla="*/ 1630792 h 5751788"/>
              <a:gd name="connsiteX79" fmla="*/ 3488751 w 4891380"/>
              <a:gd name="connsiteY79" fmla="*/ 1634126 h 5751788"/>
              <a:gd name="connsiteX80" fmla="*/ 3559916 w 4891380"/>
              <a:gd name="connsiteY80" fmla="*/ 1637518 h 5751788"/>
              <a:gd name="connsiteX81" fmla="*/ 3564234 w 4891380"/>
              <a:gd name="connsiteY81" fmla="*/ 1638140 h 5751788"/>
              <a:gd name="connsiteX82" fmla="*/ 3569986 w 4891380"/>
              <a:gd name="connsiteY82" fmla="*/ 1638433 h 5751788"/>
              <a:gd name="connsiteX83" fmla="*/ 3823196 w 4891380"/>
              <a:gd name="connsiteY83" fmla="*/ 1687245 h 5751788"/>
              <a:gd name="connsiteX84" fmla="*/ 3829153 w 4891380"/>
              <a:gd name="connsiteY84" fmla="*/ 1689237 h 5751788"/>
              <a:gd name="connsiteX85" fmla="*/ 3830180 w 4891380"/>
              <a:gd name="connsiteY85" fmla="*/ 1689487 h 5751788"/>
              <a:gd name="connsiteX86" fmla="*/ 3840400 w 4891380"/>
              <a:gd name="connsiteY86" fmla="*/ 1693004 h 5751788"/>
              <a:gd name="connsiteX87" fmla="*/ 3943516 w 4891380"/>
              <a:gd name="connsiteY87" fmla="*/ 1727519 h 5751788"/>
              <a:gd name="connsiteX88" fmla="*/ 3954100 w 4891380"/>
              <a:gd name="connsiteY88" fmla="*/ 1732119 h 5751788"/>
              <a:gd name="connsiteX89" fmla="*/ 3958122 w 4891380"/>
              <a:gd name="connsiteY89" fmla="*/ 1733503 h 5751788"/>
              <a:gd name="connsiteX90" fmla="*/ 3979868 w 4891380"/>
              <a:gd name="connsiteY90" fmla="*/ 1743320 h 5751788"/>
              <a:gd name="connsiteX91" fmla="*/ 4058976 w 4891380"/>
              <a:gd name="connsiteY91" fmla="*/ 1777700 h 5751788"/>
              <a:gd name="connsiteX92" fmla="*/ 4073741 w 4891380"/>
              <a:gd name="connsiteY92" fmla="*/ 1785690 h 5751788"/>
              <a:gd name="connsiteX93" fmla="*/ 4080461 w 4891380"/>
              <a:gd name="connsiteY93" fmla="*/ 1788723 h 5751788"/>
              <a:gd name="connsiteX94" fmla="*/ 4104057 w 4891380"/>
              <a:gd name="connsiteY94" fmla="*/ 1802096 h 5751788"/>
              <a:gd name="connsiteX95" fmla="*/ 4169078 w 4891380"/>
              <a:gd name="connsiteY95" fmla="*/ 1837283 h 5751788"/>
              <a:gd name="connsiteX96" fmla="*/ 4187505 w 4891380"/>
              <a:gd name="connsiteY96" fmla="*/ 1849388 h 5751788"/>
              <a:gd name="connsiteX97" fmla="*/ 4196584 w 4891380"/>
              <a:gd name="connsiteY97" fmla="*/ 1854532 h 5751788"/>
              <a:gd name="connsiteX98" fmla="*/ 4219053 w 4891380"/>
              <a:gd name="connsiteY98" fmla="*/ 1870112 h 5751788"/>
              <a:gd name="connsiteX99" fmla="*/ 4273316 w 4891380"/>
              <a:gd name="connsiteY99" fmla="*/ 1905760 h 5751788"/>
              <a:gd name="connsiteX100" fmla="*/ 4294820 w 4891380"/>
              <a:gd name="connsiteY100" fmla="*/ 1922647 h 5751788"/>
              <a:gd name="connsiteX101" fmla="*/ 4305884 w 4891380"/>
              <a:gd name="connsiteY101" fmla="*/ 1930319 h 5751788"/>
              <a:gd name="connsiteX102" fmla="*/ 4326034 w 4891380"/>
              <a:gd name="connsiteY102" fmla="*/ 1947163 h 5751788"/>
              <a:gd name="connsiteX103" fmla="*/ 4371194 w 4891380"/>
              <a:gd name="connsiteY103" fmla="*/ 1982629 h 5751788"/>
              <a:gd name="connsiteX104" fmla="*/ 4395114 w 4891380"/>
              <a:gd name="connsiteY104" fmla="*/ 2004906 h 5751788"/>
              <a:gd name="connsiteX105" fmla="*/ 4407752 w 4891380"/>
              <a:gd name="connsiteY105" fmla="*/ 2015469 h 5751788"/>
              <a:gd name="connsiteX106" fmla="*/ 4425088 w 4891380"/>
              <a:gd name="connsiteY106" fmla="*/ 2032820 h 5751788"/>
              <a:gd name="connsiteX107" fmla="*/ 4462204 w 4891380"/>
              <a:gd name="connsiteY107" fmla="*/ 2067383 h 5751788"/>
              <a:gd name="connsiteX108" fmla="*/ 4487823 w 4891380"/>
              <a:gd name="connsiteY108" fmla="*/ 2095602 h 5751788"/>
              <a:gd name="connsiteX109" fmla="*/ 4501580 w 4891380"/>
              <a:gd name="connsiteY109" fmla="*/ 2109370 h 5751788"/>
              <a:gd name="connsiteX110" fmla="*/ 4515948 w 4891380"/>
              <a:gd name="connsiteY110" fmla="*/ 2126583 h 5751788"/>
              <a:gd name="connsiteX111" fmla="*/ 4545846 w 4891380"/>
              <a:gd name="connsiteY111" fmla="*/ 2159517 h 5751788"/>
              <a:gd name="connsiteX112" fmla="*/ 4572383 w 4891380"/>
              <a:gd name="connsiteY112" fmla="*/ 2194191 h 5751788"/>
              <a:gd name="connsiteX113" fmla="*/ 4586756 w 4891380"/>
              <a:gd name="connsiteY113" fmla="*/ 2211408 h 5751788"/>
              <a:gd name="connsiteX114" fmla="*/ 4598190 w 4891380"/>
              <a:gd name="connsiteY114" fmla="*/ 2227912 h 5751788"/>
              <a:gd name="connsiteX115" fmla="*/ 4621623 w 4891380"/>
              <a:gd name="connsiteY115" fmla="*/ 2258530 h 5751788"/>
              <a:gd name="connsiteX116" fmla="*/ 4648242 w 4891380"/>
              <a:gd name="connsiteY116" fmla="*/ 2300144 h 5751788"/>
              <a:gd name="connsiteX117" fmla="*/ 4662670 w 4891380"/>
              <a:gd name="connsiteY117" fmla="*/ 2320968 h 5751788"/>
              <a:gd name="connsiteX118" fmla="*/ 4671340 w 4891380"/>
              <a:gd name="connsiteY118" fmla="*/ 2336257 h 5751788"/>
              <a:gd name="connsiteX119" fmla="*/ 4689028 w 4891380"/>
              <a:gd name="connsiteY119" fmla="*/ 2363911 h 5751788"/>
              <a:gd name="connsiteX120" fmla="*/ 4714840 w 4891380"/>
              <a:gd name="connsiteY120" fmla="*/ 2412970 h 5751788"/>
              <a:gd name="connsiteX121" fmla="*/ 4728716 w 4891380"/>
              <a:gd name="connsiteY121" fmla="*/ 2437439 h 5751788"/>
              <a:gd name="connsiteX122" fmla="*/ 4734877 w 4891380"/>
              <a:gd name="connsiteY122" fmla="*/ 2451053 h 5751788"/>
              <a:gd name="connsiteX123" fmla="*/ 4747562 w 4891380"/>
              <a:gd name="connsiteY123" fmla="*/ 2475157 h 5751788"/>
              <a:gd name="connsiteX124" fmla="*/ 4771636 w 4891380"/>
              <a:gd name="connsiteY124" fmla="*/ 2532261 h 5751788"/>
              <a:gd name="connsiteX125" fmla="*/ 4784286 w 4891380"/>
              <a:gd name="connsiteY125" fmla="*/ 2560208 h 5751788"/>
              <a:gd name="connsiteX126" fmla="*/ 4788274 w 4891380"/>
              <a:gd name="connsiteY126" fmla="*/ 2571729 h 5751788"/>
              <a:gd name="connsiteX127" fmla="*/ 4796723 w 4891380"/>
              <a:gd name="connsiteY127" fmla="*/ 2591766 h 5751788"/>
              <a:gd name="connsiteX128" fmla="*/ 4818078 w 4891380"/>
              <a:gd name="connsiteY128" fmla="*/ 2657796 h 5751788"/>
              <a:gd name="connsiteX129" fmla="*/ 4828766 w 4891380"/>
              <a:gd name="connsiteY129" fmla="*/ 2688660 h 5751788"/>
              <a:gd name="connsiteX130" fmla="*/ 4830988 w 4891380"/>
              <a:gd name="connsiteY130" fmla="*/ 2697714 h 5751788"/>
              <a:gd name="connsiteX131" fmla="*/ 4836008 w 4891380"/>
              <a:gd name="connsiteY131" fmla="*/ 2713229 h 5751788"/>
              <a:gd name="connsiteX132" fmla="*/ 4853629 w 4891380"/>
              <a:gd name="connsiteY132" fmla="*/ 2789921 h 5751788"/>
              <a:gd name="connsiteX133" fmla="*/ 4861550 w 4891380"/>
              <a:gd name="connsiteY133" fmla="*/ 2822183 h 5751788"/>
              <a:gd name="connsiteX134" fmla="*/ 4862477 w 4891380"/>
              <a:gd name="connsiteY134" fmla="*/ 2828433 h 5751788"/>
              <a:gd name="connsiteX135" fmla="*/ 4864917 w 4891380"/>
              <a:gd name="connsiteY135" fmla="*/ 2839043 h 5751788"/>
              <a:gd name="connsiteX136" fmla="*/ 4877746 w 4891380"/>
              <a:gd name="connsiteY136" fmla="*/ 2931303 h 5751788"/>
              <a:gd name="connsiteX137" fmla="*/ 4882029 w 4891380"/>
              <a:gd name="connsiteY137" fmla="*/ 2960161 h 5751788"/>
              <a:gd name="connsiteX138" fmla="*/ 4882180 w 4891380"/>
              <a:gd name="connsiteY138" fmla="*/ 2963200 h 5751788"/>
              <a:gd name="connsiteX139" fmla="*/ 4882946 w 4891380"/>
              <a:gd name="connsiteY139" fmla="*/ 2968703 h 5751788"/>
              <a:gd name="connsiteX140" fmla="*/ 4885956 w 4891380"/>
              <a:gd name="connsiteY140" fmla="*/ 3032692 h 5751788"/>
              <a:gd name="connsiteX141" fmla="*/ 4889624 w 4891380"/>
              <a:gd name="connsiteY141" fmla="*/ 3032692 h 5751788"/>
              <a:gd name="connsiteX142" fmla="*/ 4889624 w 4891380"/>
              <a:gd name="connsiteY142" fmla="*/ 3091686 h 5751788"/>
              <a:gd name="connsiteX143" fmla="*/ 4889624 w 4891380"/>
              <a:gd name="connsiteY143" fmla="*/ 3110675 h 5751788"/>
              <a:gd name="connsiteX144" fmla="*/ 4889624 w 4891380"/>
              <a:gd name="connsiteY144" fmla="*/ 3111118 h 5751788"/>
              <a:gd name="connsiteX145" fmla="*/ 4891379 w 4891380"/>
              <a:gd name="connsiteY145" fmla="*/ 3111118 h 5751788"/>
              <a:gd name="connsiteX146" fmla="*/ 4891379 w 4891380"/>
              <a:gd name="connsiteY146" fmla="*/ 3394564 h 5751788"/>
              <a:gd name="connsiteX147" fmla="*/ 4891379 w 4891380"/>
              <a:gd name="connsiteY147" fmla="*/ 3988016 h 5751788"/>
              <a:gd name="connsiteX148" fmla="*/ 4891379 w 4891380"/>
              <a:gd name="connsiteY148" fmla="*/ 4271461 h 5751788"/>
              <a:gd name="connsiteX149" fmla="*/ 4891379 w 4891380"/>
              <a:gd name="connsiteY149" fmla="*/ 4349890 h 5751788"/>
              <a:gd name="connsiteX150" fmla="*/ 4889640 w 4891380"/>
              <a:gd name="connsiteY150" fmla="*/ 4349890 h 5751788"/>
              <a:gd name="connsiteX151" fmla="*/ 4889640 w 4891380"/>
              <a:gd name="connsiteY151" fmla="*/ 5751787 h 5751788"/>
              <a:gd name="connsiteX152" fmla="*/ 4400501 w 4891380"/>
              <a:gd name="connsiteY152" fmla="*/ 5751787 h 5751788"/>
              <a:gd name="connsiteX153" fmla="*/ 3430753 w 4891380"/>
              <a:gd name="connsiteY153" fmla="*/ 5751787 h 5751788"/>
              <a:gd name="connsiteX154" fmla="*/ 3420593 w 4891380"/>
              <a:gd name="connsiteY154" fmla="*/ 5751787 h 5751788"/>
              <a:gd name="connsiteX155" fmla="*/ 3419727 w 4891380"/>
              <a:gd name="connsiteY155" fmla="*/ 5751787 h 5751788"/>
              <a:gd name="connsiteX156" fmla="*/ 3419712 w 4891380"/>
              <a:gd name="connsiteY156" fmla="*/ 5751788 h 5751788"/>
              <a:gd name="connsiteX157" fmla="*/ 3419699 w 4891380"/>
              <a:gd name="connsiteY157" fmla="*/ 5751787 h 5751788"/>
              <a:gd name="connsiteX158" fmla="*/ 3350656 w 4891380"/>
              <a:gd name="connsiteY158" fmla="*/ 5751787 h 5751788"/>
              <a:gd name="connsiteX159" fmla="*/ 2941613 w 4891380"/>
              <a:gd name="connsiteY159" fmla="*/ 5751787 h 5751788"/>
              <a:gd name="connsiteX160" fmla="*/ 2931453 w 4891380"/>
              <a:gd name="connsiteY160" fmla="*/ 5751787 h 5751788"/>
              <a:gd name="connsiteX161" fmla="*/ 2930587 w 4891380"/>
              <a:gd name="connsiteY161" fmla="*/ 5751787 h 5751788"/>
              <a:gd name="connsiteX162" fmla="*/ 2930574 w 4891380"/>
              <a:gd name="connsiteY162" fmla="*/ 5751788 h 5751788"/>
              <a:gd name="connsiteX163" fmla="*/ 2930558 w 4891380"/>
              <a:gd name="connsiteY163" fmla="*/ 5751787 h 5751788"/>
              <a:gd name="connsiteX164" fmla="*/ 2861517 w 4891380"/>
              <a:gd name="connsiteY164" fmla="*/ 5751787 h 5751788"/>
              <a:gd name="connsiteX165" fmla="*/ 1961706 w 4891380"/>
              <a:gd name="connsiteY165" fmla="*/ 5751787 h 5751788"/>
              <a:gd name="connsiteX166" fmla="*/ 1960839 w 4891380"/>
              <a:gd name="connsiteY166" fmla="*/ 5751787 h 5751788"/>
              <a:gd name="connsiteX167" fmla="*/ 1960824 w 4891380"/>
              <a:gd name="connsiteY167" fmla="*/ 5751788 h 5751788"/>
              <a:gd name="connsiteX168" fmla="*/ 1960810 w 4891380"/>
              <a:gd name="connsiteY168" fmla="*/ 5751787 h 5751788"/>
              <a:gd name="connsiteX169" fmla="*/ 1891768 w 4891380"/>
              <a:gd name="connsiteY169" fmla="*/ 5751787 h 5751788"/>
              <a:gd name="connsiteX170" fmla="*/ 1472566 w 4891380"/>
              <a:gd name="connsiteY170" fmla="*/ 5751787 h 5751788"/>
              <a:gd name="connsiteX171" fmla="*/ 1471699 w 4891380"/>
              <a:gd name="connsiteY171" fmla="*/ 5751787 h 5751788"/>
              <a:gd name="connsiteX172" fmla="*/ 1471686 w 4891380"/>
              <a:gd name="connsiteY172" fmla="*/ 5751788 h 5751788"/>
              <a:gd name="connsiteX173" fmla="*/ 1471671 w 4891380"/>
              <a:gd name="connsiteY173" fmla="*/ 5751787 h 5751788"/>
              <a:gd name="connsiteX174" fmla="*/ 1402630 w 4891380"/>
              <a:gd name="connsiteY174" fmla="*/ 5751787 h 5751788"/>
              <a:gd name="connsiteX175" fmla="*/ 1402630 w 4891380"/>
              <a:gd name="connsiteY175" fmla="*/ 5748454 h 5751788"/>
              <a:gd name="connsiteX176" fmla="*/ 1331464 w 4891380"/>
              <a:gd name="connsiteY176" fmla="*/ 5745061 h 5751788"/>
              <a:gd name="connsiteX177" fmla="*/ 1327146 w 4891380"/>
              <a:gd name="connsiteY177" fmla="*/ 5744440 h 5751788"/>
              <a:gd name="connsiteX178" fmla="*/ 1321394 w 4891380"/>
              <a:gd name="connsiteY178" fmla="*/ 5744149 h 5751788"/>
              <a:gd name="connsiteX179" fmla="*/ 1068185 w 4891380"/>
              <a:gd name="connsiteY179" fmla="*/ 5695337 h 5751788"/>
              <a:gd name="connsiteX180" fmla="*/ 1062227 w 4891380"/>
              <a:gd name="connsiteY180" fmla="*/ 5693342 h 5751788"/>
              <a:gd name="connsiteX181" fmla="*/ 1061200 w 4891380"/>
              <a:gd name="connsiteY181" fmla="*/ 5693093 h 5751788"/>
              <a:gd name="connsiteX182" fmla="*/ 1050981 w 4891380"/>
              <a:gd name="connsiteY182" fmla="*/ 5689577 h 5751788"/>
              <a:gd name="connsiteX183" fmla="*/ 947864 w 4891380"/>
              <a:gd name="connsiteY183" fmla="*/ 5655061 h 5751788"/>
              <a:gd name="connsiteX184" fmla="*/ 937281 w 4891380"/>
              <a:gd name="connsiteY184" fmla="*/ 5650461 h 5751788"/>
              <a:gd name="connsiteX185" fmla="*/ 933258 w 4891380"/>
              <a:gd name="connsiteY185" fmla="*/ 5649077 h 5751788"/>
              <a:gd name="connsiteX186" fmla="*/ 911512 w 4891380"/>
              <a:gd name="connsiteY186" fmla="*/ 5639261 h 5751788"/>
              <a:gd name="connsiteX187" fmla="*/ 832403 w 4891380"/>
              <a:gd name="connsiteY187" fmla="*/ 5604881 h 5751788"/>
              <a:gd name="connsiteX188" fmla="*/ 817638 w 4891380"/>
              <a:gd name="connsiteY188" fmla="*/ 5596891 h 5751788"/>
              <a:gd name="connsiteX189" fmla="*/ 810920 w 4891380"/>
              <a:gd name="connsiteY189" fmla="*/ 5593857 h 5751788"/>
              <a:gd name="connsiteX190" fmla="*/ 787324 w 4891380"/>
              <a:gd name="connsiteY190" fmla="*/ 5580484 h 5751788"/>
              <a:gd name="connsiteX191" fmla="*/ 722302 w 4891380"/>
              <a:gd name="connsiteY191" fmla="*/ 5545298 h 5751788"/>
              <a:gd name="connsiteX192" fmla="*/ 703875 w 4891380"/>
              <a:gd name="connsiteY192" fmla="*/ 5533192 h 5751788"/>
              <a:gd name="connsiteX193" fmla="*/ 694796 w 4891380"/>
              <a:gd name="connsiteY193" fmla="*/ 5528048 h 5751788"/>
              <a:gd name="connsiteX194" fmla="*/ 672327 w 4891380"/>
              <a:gd name="connsiteY194" fmla="*/ 5512468 h 5751788"/>
              <a:gd name="connsiteX195" fmla="*/ 618064 w 4891380"/>
              <a:gd name="connsiteY195" fmla="*/ 5476820 h 5751788"/>
              <a:gd name="connsiteX196" fmla="*/ 596562 w 4891380"/>
              <a:gd name="connsiteY196" fmla="*/ 5459933 h 5751788"/>
              <a:gd name="connsiteX197" fmla="*/ 585496 w 4891380"/>
              <a:gd name="connsiteY197" fmla="*/ 5452261 h 5751788"/>
              <a:gd name="connsiteX198" fmla="*/ 565345 w 4891380"/>
              <a:gd name="connsiteY198" fmla="*/ 5435418 h 5751788"/>
              <a:gd name="connsiteX199" fmla="*/ 520187 w 4891380"/>
              <a:gd name="connsiteY199" fmla="*/ 5399950 h 5751788"/>
              <a:gd name="connsiteX200" fmla="*/ 496267 w 4891380"/>
              <a:gd name="connsiteY200" fmla="*/ 5377676 h 5751788"/>
              <a:gd name="connsiteX201" fmla="*/ 483628 w 4891380"/>
              <a:gd name="connsiteY201" fmla="*/ 5367110 h 5751788"/>
              <a:gd name="connsiteX202" fmla="*/ 466291 w 4891380"/>
              <a:gd name="connsiteY202" fmla="*/ 5349761 h 5751788"/>
              <a:gd name="connsiteX203" fmla="*/ 429176 w 4891380"/>
              <a:gd name="connsiteY203" fmla="*/ 5315197 h 5751788"/>
              <a:gd name="connsiteX204" fmla="*/ 403557 w 4891380"/>
              <a:gd name="connsiteY204" fmla="*/ 5286978 h 5751788"/>
              <a:gd name="connsiteX205" fmla="*/ 389801 w 4891380"/>
              <a:gd name="connsiteY205" fmla="*/ 5273210 h 5751788"/>
              <a:gd name="connsiteX206" fmla="*/ 375432 w 4891380"/>
              <a:gd name="connsiteY206" fmla="*/ 5255998 h 5751788"/>
              <a:gd name="connsiteX207" fmla="*/ 345533 w 4891380"/>
              <a:gd name="connsiteY207" fmla="*/ 5223062 h 5751788"/>
              <a:gd name="connsiteX208" fmla="*/ 318997 w 4891380"/>
              <a:gd name="connsiteY208" fmla="*/ 5188388 h 5751788"/>
              <a:gd name="connsiteX209" fmla="*/ 304626 w 4891380"/>
              <a:gd name="connsiteY209" fmla="*/ 5171174 h 5751788"/>
              <a:gd name="connsiteX210" fmla="*/ 293189 w 4891380"/>
              <a:gd name="connsiteY210" fmla="*/ 5154668 h 5751788"/>
              <a:gd name="connsiteX211" fmla="*/ 269757 w 4891380"/>
              <a:gd name="connsiteY211" fmla="*/ 5124051 h 5751788"/>
              <a:gd name="connsiteX212" fmla="*/ 243139 w 4891380"/>
              <a:gd name="connsiteY212" fmla="*/ 5082435 h 5751788"/>
              <a:gd name="connsiteX213" fmla="*/ 228710 w 4891380"/>
              <a:gd name="connsiteY213" fmla="*/ 5061612 h 5751788"/>
              <a:gd name="connsiteX214" fmla="*/ 220040 w 4891380"/>
              <a:gd name="connsiteY214" fmla="*/ 5046323 h 5751788"/>
              <a:gd name="connsiteX215" fmla="*/ 202353 w 4891380"/>
              <a:gd name="connsiteY215" fmla="*/ 5018669 h 5751788"/>
              <a:gd name="connsiteX216" fmla="*/ 176540 w 4891380"/>
              <a:gd name="connsiteY216" fmla="*/ 4969611 h 5751788"/>
              <a:gd name="connsiteX217" fmla="*/ 162664 w 4891380"/>
              <a:gd name="connsiteY217" fmla="*/ 4945140 h 5751788"/>
              <a:gd name="connsiteX218" fmla="*/ 156502 w 4891380"/>
              <a:gd name="connsiteY218" fmla="*/ 4931527 h 5751788"/>
              <a:gd name="connsiteX219" fmla="*/ 143819 w 4891380"/>
              <a:gd name="connsiteY219" fmla="*/ 4907422 h 5751788"/>
              <a:gd name="connsiteX220" fmla="*/ 119746 w 4891380"/>
              <a:gd name="connsiteY220" fmla="*/ 4850319 h 5751788"/>
              <a:gd name="connsiteX221" fmla="*/ 107095 w 4891380"/>
              <a:gd name="connsiteY221" fmla="*/ 4822372 h 5751788"/>
              <a:gd name="connsiteX222" fmla="*/ 103107 w 4891380"/>
              <a:gd name="connsiteY222" fmla="*/ 4810852 h 5751788"/>
              <a:gd name="connsiteX223" fmla="*/ 94658 w 4891380"/>
              <a:gd name="connsiteY223" fmla="*/ 4790814 h 5751788"/>
              <a:gd name="connsiteX224" fmla="*/ 73303 w 4891380"/>
              <a:gd name="connsiteY224" fmla="*/ 4724785 h 5751788"/>
              <a:gd name="connsiteX225" fmla="*/ 62615 w 4891380"/>
              <a:gd name="connsiteY225" fmla="*/ 4693921 h 5751788"/>
              <a:gd name="connsiteX226" fmla="*/ 60392 w 4891380"/>
              <a:gd name="connsiteY226" fmla="*/ 4684865 h 5751788"/>
              <a:gd name="connsiteX227" fmla="*/ 55373 w 4891380"/>
              <a:gd name="connsiteY227" fmla="*/ 4669350 h 5751788"/>
              <a:gd name="connsiteX228" fmla="*/ 37752 w 4891380"/>
              <a:gd name="connsiteY228" fmla="*/ 4592660 h 5751788"/>
              <a:gd name="connsiteX229" fmla="*/ 29830 w 4891380"/>
              <a:gd name="connsiteY229" fmla="*/ 4560396 h 5751788"/>
              <a:gd name="connsiteX230" fmla="*/ 28902 w 4891380"/>
              <a:gd name="connsiteY230" fmla="*/ 4554148 h 5751788"/>
              <a:gd name="connsiteX231" fmla="*/ 26465 w 4891380"/>
              <a:gd name="connsiteY231" fmla="*/ 4543536 h 5751788"/>
              <a:gd name="connsiteX232" fmla="*/ 13636 w 4891380"/>
              <a:gd name="connsiteY232" fmla="*/ 4451278 h 5751788"/>
              <a:gd name="connsiteX233" fmla="*/ 9352 w 4891380"/>
              <a:gd name="connsiteY233" fmla="*/ 4422418 h 5751788"/>
              <a:gd name="connsiteX234" fmla="*/ 9200 w 4891380"/>
              <a:gd name="connsiteY234" fmla="*/ 4419380 h 5751788"/>
              <a:gd name="connsiteX235" fmla="*/ 8434 w 4891380"/>
              <a:gd name="connsiteY235" fmla="*/ 4413877 h 5751788"/>
              <a:gd name="connsiteX236" fmla="*/ 5426 w 4891380"/>
              <a:gd name="connsiteY236" fmla="*/ 4349890 h 5751788"/>
              <a:gd name="connsiteX237" fmla="*/ 1757 w 4891380"/>
              <a:gd name="connsiteY237" fmla="*/ 4349890 h 5751788"/>
              <a:gd name="connsiteX238" fmla="*/ 1757 w 4891380"/>
              <a:gd name="connsiteY238" fmla="*/ 4290894 h 5751788"/>
              <a:gd name="connsiteX239" fmla="*/ 1757 w 4891380"/>
              <a:gd name="connsiteY239" fmla="*/ 4271904 h 5751788"/>
              <a:gd name="connsiteX240" fmla="*/ 1757 w 4891380"/>
              <a:gd name="connsiteY240" fmla="*/ 4271461 h 5751788"/>
              <a:gd name="connsiteX241" fmla="*/ 0 w 4891380"/>
              <a:gd name="connsiteY241" fmla="*/ 4271461 h 5751788"/>
              <a:gd name="connsiteX242" fmla="*/ 0 w 4891380"/>
              <a:gd name="connsiteY242" fmla="*/ 3988016 h 5751788"/>
              <a:gd name="connsiteX243" fmla="*/ 0 w 4891380"/>
              <a:gd name="connsiteY243" fmla="*/ 3394564 h 5751788"/>
              <a:gd name="connsiteX244" fmla="*/ 0 w 4891380"/>
              <a:gd name="connsiteY244" fmla="*/ 3111118 h 5751788"/>
              <a:gd name="connsiteX245" fmla="*/ 0 w 4891380"/>
              <a:gd name="connsiteY245" fmla="*/ 3032692 h 5751788"/>
              <a:gd name="connsiteX246" fmla="*/ 1740 w 4891380"/>
              <a:gd name="connsiteY246" fmla="*/ 3032692 h 5751788"/>
              <a:gd name="connsiteX247" fmla="*/ 1740 w 4891380"/>
              <a:gd name="connsiteY247" fmla="*/ 3022121 h 5751788"/>
              <a:gd name="connsiteX248" fmla="*/ 0 w 4891380"/>
              <a:gd name="connsiteY248" fmla="*/ 3022121 h 575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4891380" h="5751788">
                <a:moveTo>
                  <a:pt x="0" y="0"/>
                </a:moveTo>
                <a:lnTo>
                  <a:pt x="1471669" y="0"/>
                </a:lnTo>
                <a:lnTo>
                  <a:pt x="1960808" y="0"/>
                </a:lnTo>
                <a:lnTo>
                  <a:pt x="2930558" y="0"/>
                </a:lnTo>
                <a:lnTo>
                  <a:pt x="3419696" y="0"/>
                </a:lnTo>
                <a:lnTo>
                  <a:pt x="3458648" y="0"/>
                </a:lnTo>
                <a:lnTo>
                  <a:pt x="3458648" y="1"/>
                </a:lnTo>
                <a:lnTo>
                  <a:pt x="3488752" y="1"/>
                </a:lnTo>
                <a:lnTo>
                  <a:pt x="3488752" y="3335"/>
                </a:lnTo>
                <a:lnTo>
                  <a:pt x="3559916" y="6728"/>
                </a:lnTo>
                <a:lnTo>
                  <a:pt x="3564234" y="7350"/>
                </a:lnTo>
                <a:lnTo>
                  <a:pt x="3569987" y="7641"/>
                </a:lnTo>
                <a:cubicBezTo>
                  <a:pt x="3656849" y="16522"/>
                  <a:pt x="3741475" y="33018"/>
                  <a:pt x="3823196" y="56454"/>
                </a:cubicBezTo>
                <a:lnTo>
                  <a:pt x="3829154" y="58447"/>
                </a:lnTo>
                <a:lnTo>
                  <a:pt x="3830180" y="58696"/>
                </a:lnTo>
                <a:lnTo>
                  <a:pt x="3840400" y="62213"/>
                </a:lnTo>
                <a:lnTo>
                  <a:pt x="3943517" y="96729"/>
                </a:lnTo>
                <a:lnTo>
                  <a:pt x="3954101" y="101328"/>
                </a:lnTo>
                <a:lnTo>
                  <a:pt x="3958123" y="102713"/>
                </a:lnTo>
                <a:lnTo>
                  <a:pt x="3979869" y="112529"/>
                </a:lnTo>
                <a:lnTo>
                  <a:pt x="4058977" y="146909"/>
                </a:lnTo>
                <a:lnTo>
                  <a:pt x="4073742" y="154899"/>
                </a:lnTo>
                <a:lnTo>
                  <a:pt x="4080462" y="157932"/>
                </a:lnTo>
                <a:lnTo>
                  <a:pt x="4104058" y="171305"/>
                </a:lnTo>
                <a:lnTo>
                  <a:pt x="4169078" y="206492"/>
                </a:lnTo>
                <a:lnTo>
                  <a:pt x="4187505" y="218597"/>
                </a:lnTo>
                <a:lnTo>
                  <a:pt x="4196586" y="223742"/>
                </a:lnTo>
                <a:lnTo>
                  <a:pt x="4219053" y="239321"/>
                </a:lnTo>
                <a:lnTo>
                  <a:pt x="4273318" y="274969"/>
                </a:lnTo>
                <a:lnTo>
                  <a:pt x="4294820" y="291856"/>
                </a:lnTo>
                <a:lnTo>
                  <a:pt x="4305886" y="299528"/>
                </a:lnTo>
                <a:lnTo>
                  <a:pt x="4326035" y="316371"/>
                </a:lnTo>
                <a:lnTo>
                  <a:pt x="4371194" y="351838"/>
                </a:lnTo>
                <a:lnTo>
                  <a:pt x="4395115" y="374115"/>
                </a:lnTo>
                <a:lnTo>
                  <a:pt x="4407752" y="384678"/>
                </a:lnTo>
                <a:lnTo>
                  <a:pt x="4425090" y="402029"/>
                </a:lnTo>
                <a:lnTo>
                  <a:pt x="4462206" y="436592"/>
                </a:lnTo>
                <a:lnTo>
                  <a:pt x="4487824" y="464813"/>
                </a:lnTo>
                <a:lnTo>
                  <a:pt x="4501580" y="478579"/>
                </a:lnTo>
                <a:lnTo>
                  <a:pt x="4515948" y="495792"/>
                </a:lnTo>
                <a:lnTo>
                  <a:pt x="4545848" y="528727"/>
                </a:lnTo>
                <a:lnTo>
                  <a:pt x="4572386" y="563402"/>
                </a:lnTo>
                <a:lnTo>
                  <a:pt x="4586756" y="580617"/>
                </a:lnTo>
                <a:lnTo>
                  <a:pt x="4598192" y="597122"/>
                </a:lnTo>
                <a:lnTo>
                  <a:pt x="4621624" y="627739"/>
                </a:lnTo>
                <a:lnTo>
                  <a:pt x="4648242" y="669353"/>
                </a:lnTo>
                <a:lnTo>
                  <a:pt x="4662670" y="690177"/>
                </a:lnTo>
                <a:lnTo>
                  <a:pt x="4671340" y="705466"/>
                </a:lnTo>
                <a:lnTo>
                  <a:pt x="4689030" y="733120"/>
                </a:lnTo>
                <a:lnTo>
                  <a:pt x="4714840" y="782179"/>
                </a:lnTo>
                <a:lnTo>
                  <a:pt x="4728718" y="806649"/>
                </a:lnTo>
                <a:lnTo>
                  <a:pt x="4734878" y="820262"/>
                </a:lnTo>
                <a:lnTo>
                  <a:pt x="4747562" y="844366"/>
                </a:lnTo>
                <a:lnTo>
                  <a:pt x="4771636" y="901470"/>
                </a:lnTo>
                <a:lnTo>
                  <a:pt x="4784286" y="929419"/>
                </a:lnTo>
                <a:lnTo>
                  <a:pt x="4788276" y="940938"/>
                </a:lnTo>
                <a:lnTo>
                  <a:pt x="4796723" y="960976"/>
                </a:lnTo>
                <a:lnTo>
                  <a:pt x="4818080" y="1027005"/>
                </a:lnTo>
                <a:lnTo>
                  <a:pt x="4828768" y="1057869"/>
                </a:lnTo>
                <a:lnTo>
                  <a:pt x="4830991" y="1066923"/>
                </a:lnTo>
                <a:lnTo>
                  <a:pt x="4836008" y="1082438"/>
                </a:lnTo>
                <a:lnTo>
                  <a:pt x="4853630" y="1159131"/>
                </a:lnTo>
                <a:lnTo>
                  <a:pt x="4861552" y="1191393"/>
                </a:lnTo>
                <a:lnTo>
                  <a:pt x="4862478" y="1197643"/>
                </a:lnTo>
                <a:lnTo>
                  <a:pt x="4864917" y="1208252"/>
                </a:lnTo>
                <a:lnTo>
                  <a:pt x="4877746" y="1300513"/>
                </a:lnTo>
                <a:lnTo>
                  <a:pt x="4882030" y="1329371"/>
                </a:lnTo>
                <a:lnTo>
                  <a:pt x="4882182" y="1332410"/>
                </a:lnTo>
                <a:lnTo>
                  <a:pt x="4882946" y="1337912"/>
                </a:lnTo>
                <a:lnTo>
                  <a:pt x="4885957" y="1401901"/>
                </a:lnTo>
                <a:lnTo>
                  <a:pt x="4889624" y="1401901"/>
                </a:lnTo>
                <a:lnTo>
                  <a:pt x="4889624" y="1460895"/>
                </a:lnTo>
                <a:lnTo>
                  <a:pt x="4889624" y="1479885"/>
                </a:lnTo>
                <a:lnTo>
                  <a:pt x="4889624" y="1480329"/>
                </a:lnTo>
                <a:lnTo>
                  <a:pt x="4891380" y="1480329"/>
                </a:lnTo>
                <a:lnTo>
                  <a:pt x="4891380" y="1630791"/>
                </a:lnTo>
                <a:lnTo>
                  <a:pt x="3458648" y="1630791"/>
                </a:lnTo>
                <a:lnTo>
                  <a:pt x="3458648" y="1630792"/>
                </a:lnTo>
                <a:lnTo>
                  <a:pt x="3488751" y="1630792"/>
                </a:lnTo>
                <a:lnTo>
                  <a:pt x="3488751" y="1634126"/>
                </a:lnTo>
                <a:lnTo>
                  <a:pt x="3559916" y="1637518"/>
                </a:lnTo>
                <a:lnTo>
                  <a:pt x="3564234" y="1638140"/>
                </a:lnTo>
                <a:lnTo>
                  <a:pt x="3569986" y="1638433"/>
                </a:lnTo>
                <a:cubicBezTo>
                  <a:pt x="3656848" y="1647313"/>
                  <a:pt x="3741475" y="1663807"/>
                  <a:pt x="3823196" y="1687245"/>
                </a:cubicBezTo>
                <a:lnTo>
                  <a:pt x="3829153" y="1689237"/>
                </a:lnTo>
                <a:lnTo>
                  <a:pt x="3830180" y="1689487"/>
                </a:lnTo>
                <a:lnTo>
                  <a:pt x="3840400" y="1693004"/>
                </a:lnTo>
                <a:lnTo>
                  <a:pt x="3943516" y="1727519"/>
                </a:lnTo>
                <a:lnTo>
                  <a:pt x="3954100" y="1732119"/>
                </a:lnTo>
                <a:lnTo>
                  <a:pt x="3958122" y="1733503"/>
                </a:lnTo>
                <a:lnTo>
                  <a:pt x="3979868" y="1743320"/>
                </a:lnTo>
                <a:lnTo>
                  <a:pt x="4058976" y="1777700"/>
                </a:lnTo>
                <a:lnTo>
                  <a:pt x="4073741" y="1785690"/>
                </a:lnTo>
                <a:lnTo>
                  <a:pt x="4080461" y="1788723"/>
                </a:lnTo>
                <a:lnTo>
                  <a:pt x="4104057" y="1802096"/>
                </a:lnTo>
                <a:lnTo>
                  <a:pt x="4169078" y="1837283"/>
                </a:lnTo>
                <a:lnTo>
                  <a:pt x="4187505" y="1849388"/>
                </a:lnTo>
                <a:lnTo>
                  <a:pt x="4196584" y="1854532"/>
                </a:lnTo>
                <a:lnTo>
                  <a:pt x="4219053" y="1870112"/>
                </a:lnTo>
                <a:lnTo>
                  <a:pt x="4273316" y="1905760"/>
                </a:lnTo>
                <a:lnTo>
                  <a:pt x="4294820" y="1922647"/>
                </a:lnTo>
                <a:lnTo>
                  <a:pt x="4305884" y="1930319"/>
                </a:lnTo>
                <a:lnTo>
                  <a:pt x="4326034" y="1947163"/>
                </a:lnTo>
                <a:lnTo>
                  <a:pt x="4371194" y="1982629"/>
                </a:lnTo>
                <a:lnTo>
                  <a:pt x="4395114" y="2004906"/>
                </a:lnTo>
                <a:lnTo>
                  <a:pt x="4407752" y="2015469"/>
                </a:lnTo>
                <a:lnTo>
                  <a:pt x="4425088" y="2032820"/>
                </a:lnTo>
                <a:lnTo>
                  <a:pt x="4462204" y="2067383"/>
                </a:lnTo>
                <a:lnTo>
                  <a:pt x="4487823" y="2095602"/>
                </a:lnTo>
                <a:lnTo>
                  <a:pt x="4501580" y="2109370"/>
                </a:lnTo>
                <a:lnTo>
                  <a:pt x="4515948" y="2126583"/>
                </a:lnTo>
                <a:lnTo>
                  <a:pt x="4545846" y="2159517"/>
                </a:lnTo>
                <a:lnTo>
                  <a:pt x="4572383" y="2194191"/>
                </a:lnTo>
                <a:lnTo>
                  <a:pt x="4586756" y="2211408"/>
                </a:lnTo>
                <a:lnTo>
                  <a:pt x="4598190" y="2227912"/>
                </a:lnTo>
                <a:lnTo>
                  <a:pt x="4621623" y="2258530"/>
                </a:lnTo>
                <a:lnTo>
                  <a:pt x="4648242" y="2300144"/>
                </a:lnTo>
                <a:lnTo>
                  <a:pt x="4662670" y="2320968"/>
                </a:lnTo>
                <a:lnTo>
                  <a:pt x="4671340" y="2336257"/>
                </a:lnTo>
                <a:lnTo>
                  <a:pt x="4689028" y="2363911"/>
                </a:lnTo>
                <a:lnTo>
                  <a:pt x="4714840" y="2412970"/>
                </a:lnTo>
                <a:lnTo>
                  <a:pt x="4728716" y="2437439"/>
                </a:lnTo>
                <a:lnTo>
                  <a:pt x="4734877" y="2451053"/>
                </a:lnTo>
                <a:lnTo>
                  <a:pt x="4747562" y="2475157"/>
                </a:lnTo>
                <a:lnTo>
                  <a:pt x="4771636" y="2532261"/>
                </a:lnTo>
                <a:lnTo>
                  <a:pt x="4784286" y="2560208"/>
                </a:lnTo>
                <a:lnTo>
                  <a:pt x="4788274" y="2571729"/>
                </a:lnTo>
                <a:lnTo>
                  <a:pt x="4796723" y="2591766"/>
                </a:lnTo>
                <a:lnTo>
                  <a:pt x="4818078" y="2657796"/>
                </a:lnTo>
                <a:lnTo>
                  <a:pt x="4828766" y="2688660"/>
                </a:lnTo>
                <a:lnTo>
                  <a:pt x="4830988" y="2697714"/>
                </a:lnTo>
                <a:lnTo>
                  <a:pt x="4836008" y="2713229"/>
                </a:lnTo>
                <a:lnTo>
                  <a:pt x="4853629" y="2789921"/>
                </a:lnTo>
                <a:lnTo>
                  <a:pt x="4861550" y="2822183"/>
                </a:lnTo>
                <a:lnTo>
                  <a:pt x="4862477" y="2828433"/>
                </a:lnTo>
                <a:lnTo>
                  <a:pt x="4864917" y="2839043"/>
                </a:lnTo>
                <a:lnTo>
                  <a:pt x="4877746" y="2931303"/>
                </a:lnTo>
                <a:lnTo>
                  <a:pt x="4882029" y="2960161"/>
                </a:lnTo>
                <a:lnTo>
                  <a:pt x="4882180" y="2963200"/>
                </a:lnTo>
                <a:lnTo>
                  <a:pt x="4882946" y="2968703"/>
                </a:lnTo>
                <a:lnTo>
                  <a:pt x="4885956" y="3032692"/>
                </a:lnTo>
                <a:lnTo>
                  <a:pt x="4889624" y="3032692"/>
                </a:lnTo>
                <a:lnTo>
                  <a:pt x="4889624" y="3091686"/>
                </a:lnTo>
                <a:lnTo>
                  <a:pt x="4889624" y="3110675"/>
                </a:lnTo>
                <a:lnTo>
                  <a:pt x="4889624" y="3111118"/>
                </a:lnTo>
                <a:lnTo>
                  <a:pt x="4891379" y="3111118"/>
                </a:lnTo>
                <a:lnTo>
                  <a:pt x="4891379" y="3394564"/>
                </a:lnTo>
                <a:lnTo>
                  <a:pt x="4891379" y="3988016"/>
                </a:lnTo>
                <a:lnTo>
                  <a:pt x="4891379" y="4271461"/>
                </a:lnTo>
                <a:lnTo>
                  <a:pt x="4891379" y="4349890"/>
                </a:lnTo>
                <a:lnTo>
                  <a:pt x="4889640" y="4349890"/>
                </a:lnTo>
                <a:lnTo>
                  <a:pt x="4889640" y="5751787"/>
                </a:lnTo>
                <a:lnTo>
                  <a:pt x="4400501" y="5751787"/>
                </a:lnTo>
                <a:lnTo>
                  <a:pt x="3430753" y="5751787"/>
                </a:lnTo>
                <a:lnTo>
                  <a:pt x="3420593" y="5751787"/>
                </a:lnTo>
                <a:lnTo>
                  <a:pt x="3419727" y="5751787"/>
                </a:lnTo>
                <a:lnTo>
                  <a:pt x="3419712" y="5751788"/>
                </a:lnTo>
                <a:lnTo>
                  <a:pt x="3419699" y="5751787"/>
                </a:lnTo>
                <a:lnTo>
                  <a:pt x="3350656" y="5751787"/>
                </a:lnTo>
                <a:lnTo>
                  <a:pt x="2941613" y="5751787"/>
                </a:lnTo>
                <a:lnTo>
                  <a:pt x="2931453" y="5751787"/>
                </a:lnTo>
                <a:lnTo>
                  <a:pt x="2930587" y="5751787"/>
                </a:lnTo>
                <a:lnTo>
                  <a:pt x="2930574" y="5751788"/>
                </a:lnTo>
                <a:lnTo>
                  <a:pt x="2930558" y="5751787"/>
                </a:lnTo>
                <a:lnTo>
                  <a:pt x="2861517" y="5751787"/>
                </a:lnTo>
                <a:lnTo>
                  <a:pt x="1961706" y="5751787"/>
                </a:lnTo>
                <a:lnTo>
                  <a:pt x="1960839" y="5751787"/>
                </a:lnTo>
                <a:lnTo>
                  <a:pt x="1960824" y="5751788"/>
                </a:lnTo>
                <a:lnTo>
                  <a:pt x="1960810" y="5751787"/>
                </a:lnTo>
                <a:lnTo>
                  <a:pt x="1891768" y="5751787"/>
                </a:lnTo>
                <a:lnTo>
                  <a:pt x="1472566" y="5751787"/>
                </a:lnTo>
                <a:lnTo>
                  <a:pt x="1471699" y="5751787"/>
                </a:lnTo>
                <a:lnTo>
                  <a:pt x="1471686" y="5751788"/>
                </a:lnTo>
                <a:lnTo>
                  <a:pt x="1471671" y="5751787"/>
                </a:lnTo>
                <a:lnTo>
                  <a:pt x="1402630" y="5751787"/>
                </a:lnTo>
                <a:lnTo>
                  <a:pt x="1402630" y="5748454"/>
                </a:lnTo>
                <a:lnTo>
                  <a:pt x="1331464" y="5745061"/>
                </a:lnTo>
                <a:lnTo>
                  <a:pt x="1327146" y="5744440"/>
                </a:lnTo>
                <a:lnTo>
                  <a:pt x="1321394" y="5744149"/>
                </a:lnTo>
                <a:cubicBezTo>
                  <a:pt x="1234532" y="5735266"/>
                  <a:pt x="1149908" y="5718772"/>
                  <a:pt x="1068185" y="5695337"/>
                </a:cubicBezTo>
                <a:lnTo>
                  <a:pt x="1062227" y="5693342"/>
                </a:lnTo>
                <a:lnTo>
                  <a:pt x="1061200" y="5693093"/>
                </a:lnTo>
                <a:lnTo>
                  <a:pt x="1050981" y="5689577"/>
                </a:lnTo>
                <a:lnTo>
                  <a:pt x="947864" y="5655061"/>
                </a:lnTo>
                <a:lnTo>
                  <a:pt x="937281" y="5650461"/>
                </a:lnTo>
                <a:lnTo>
                  <a:pt x="933258" y="5649077"/>
                </a:lnTo>
                <a:lnTo>
                  <a:pt x="911512" y="5639261"/>
                </a:lnTo>
                <a:lnTo>
                  <a:pt x="832403" y="5604881"/>
                </a:lnTo>
                <a:lnTo>
                  <a:pt x="817638" y="5596891"/>
                </a:lnTo>
                <a:lnTo>
                  <a:pt x="810920" y="5593857"/>
                </a:lnTo>
                <a:lnTo>
                  <a:pt x="787324" y="5580484"/>
                </a:lnTo>
                <a:lnTo>
                  <a:pt x="722302" y="5545298"/>
                </a:lnTo>
                <a:lnTo>
                  <a:pt x="703875" y="5533192"/>
                </a:lnTo>
                <a:lnTo>
                  <a:pt x="694796" y="5528048"/>
                </a:lnTo>
                <a:lnTo>
                  <a:pt x="672327" y="5512468"/>
                </a:lnTo>
                <a:lnTo>
                  <a:pt x="618064" y="5476820"/>
                </a:lnTo>
                <a:lnTo>
                  <a:pt x="596562" y="5459933"/>
                </a:lnTo>
                <a:lnTo>
                  <a:pt x="585496" y="5452261"/>
                </a:lnTo>
                <a:lnTo>
                  <a:pt x="565345" y="5435418"/>
                </a:lnTo>
                <a:lnTo>
                  <a:pt x="520187" y="5399950"/>
                </a:lnTo>
                <a:lnTo>
                  <a:pt x="496267" y="5377676"/>
                </a:lnTo>
                <a:lnTo>
                  <a:pt x="483628" y="5367110"/>
                </a:lnTo>
                <a:lnTo>
                  <a:pt x="466291" y="5349761"/>
                </a:lnTo>
                <a:lnTo>
                  <a:pt x="429176" y="5315197"/>
                </a:lnTo>
                <a:lnTo>
                  <a:pt x="403557" y="5286978"/>
                </a:lnTo>
                <a:lnTo>
                  <a:pt x="389801" y="5273210"/>
                </a:lnTo>
                <a:lnTo>
                  <a:pt x="375432" y="5255998"/>
                </a:lnTo>
                <a:lnTo>
                  <a:pt x="345533" y="5223062"/>
                </a:lnTo>
                <a:lnTo>
                  <a:pt x="318997" y="5188388"/>
                </a:lnTo>
                <a:lnTo>
                  <a:pt x="304626" y="5171174"/>
                </a:lnTo>
                <a:lnTo>
                  <a:pt x="293189" y="5154668"/>
                </a:lnTo>
                <a:lnTo>
                  <a:pt x="269757" y="5124051"/>
                </a:lnTo>
                <a:lnTo>
                  <a:pt x="243139" y="5082435"/>
                </a:lnTo>
                <a:lnTo>
                  <a:pt x="228710" y="5061612"/>
                </a:lnTo>
                <a:lnTo>
                  <a:pt x="220040" y="5046323"/>
                </a:lnTo>
                <a:lnTo>
                  <a:pt x="202353" y="5018669"/>
                </a:lnTo>
                <a:lnTo>
                  <a:pt x="176540" y="4969611"/>
                </a:lnTo>
                <a:lnTo>
                  <a:pt x="162664" y="4945140"/>
                </a:lnTo>
                <a:lnTo>
                  <a:pt x="156502" y="4931527"/>
                </a:lnTo>
                <a:lnTo>
                  <a:pt x="143819" y="4907422"/>
                </a:lnTo>
                <a:lnTo>
                  <a:pt x="119746" y="4850319"/>
                </a:lnTo>
                <a:lnTo>
                  <a:pt x="107095" y="4822372"/>
                </a:lnTo>
                <a:lnTo>
                  <a:pt x="103107" y="4810852"/>
                </a:lnTo>
                <a:lnTo>
                  <a:pt x="94658" y="4790814"/>
                </a:lnTo>
                <a:lnTo>
                  <a:pt x="73303" y="4724785"/>
                </a:lnTo>
                <a:lnTo>
                  <a:pt x="62615" y="4693921"/>
                </a:lnTo>
                <a:lnTo>
                  <a:pt x="60392" y="4684865"/>
                </a:lnTo>
                <a:lnTo>
                  <a:pt x="55373" y="4669350"/>
                </a:lnTo>
                <a:lnTo>
                  <a:pt x="37752" y="4592660"/>
                </a:lnTo>
                <a:lnTo>
                  <a:pt x="29830" y="4560396"/>
                </a:lnTo>
                <a:lnTo>
                  <a:pt x="28902" y="4554148"/>
                </a:lnTo>
                <a:lnTo>
                  <a:pt x="26465" y="4543536"/>
                </a:lnTo>
                <a:lnTo>
                  <a:pt x="13636" y="4451278"/>
                </a:lnTo>
                <a:lnTo>
                  <a:pt x="9352" y="4422418"/>
                </a:lnTo>
                <a:lnTo>
                  <a:pt x="9200" y="4419380"/>
                </a:lnTo>
                <a:lnTo>
                  <a:pt x="8434" y="4413877"/>
                </a:lnTo>
                <a:lnTo>
                  <a:pt x="5426" y="4349890"/>
                </a:lnTo>
                <a:lnTo>
                  <a:pt x="1757" y="4349890"/>
                </a:lnTo>
                <a:lnTo>
                  <a:pt x="1757" y="4290894"/>
                </a:lnTo>
                <a:lnTo>
                  <a:pt x="1757" y="4271904"/>
                </a:lnTo>
                <a:lnTo>
                  <a:pt x="1757" y="4271461"/>
                </a:lnTo>
                <a:lnTo>
                  <a:pt x="0" y="4271461"/>
                </a:lnTo>
                <a:lnTo>
                  <a:pt x="0" y="3988016"/>
                </a:lnTo>
                <a:lnTo>
                  <a:pt x="0" y="3394564"/>
                </a:lnTo>
                <a:lnTo>
                  <a:pt x="0" y="3111118"/>
                </a:lnTo>
                <a:lnTo>
                  <a:pt x="0" y="3032692"/>
                </a:lnTo>
                <a:lnTo>
                  <a:pt x="1740" y="3032692"/>
                </a:lnTo>
                <a:lnTo>
                  <a:pt x="1740" y="3022121"/>
                </a:lnTo>
                <a:lnTo>
                  <a:pt x="0" y="3022121"/>
                </a:lnTo>
                <a:close/>
              </a:path>
            </a:pathLst>
          </a:custGeom>
          <a:solidFill>
            <a:srgbClr val="1D3166">
              <a:alpha val="87077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Title 1">
            <a:extLst>
              <a:ext uri="{FF2B5EF4-FFF2-40B4-BE49-F238E27FC236}">
                <a16:creationId xmlns:a16="http://schemas.microsoft.com/office/drawing/2014/main" id="{3CD68BE4-9D88-4043-A772-DD9877173A18}"/>
              </a:ext>
            </a:extLst>
          </p:cNvPr>
          <p:cNvSpPr txBox="1">
            <a:spLocks/>
          </p:cNvSpPr>
          <p:nvPr/>
        </p:nvSpPr>
        <p:spPr>
          <a:xfrm>
            <a:off x="7147449" y="1263328"/>
            <a:ext cx="4246815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KETENTUAN PENUTUP</a:t>
            </a:r>
          </a:p>
        </p:txBody>
      </p: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1A163368-7700-304E-92FF-C3A6E23EDE79}"/>
              </a:ext>
            </a:extLst>
          </p:cNvPr>
          <p:cNvGrpSpPr/>
          <p:nvPr/>
        </p:nvGrpSpPr>
        <p:grpSpPr>
          <a:xfrm>
            <a:off x="10482033" y="5032855"/>
            <a:ext cx="1022446" cy="1022446"/>
            <a:chOff x="3398838" y="2171701"/>
            <a:chExt cx="346075" cy="346075"/>
          </a:xfrm>
        </p:grpSpPr>
        <p:sp>
          <p:nvSpPr>
            <p:cNvPr id="206" name="Freeform 244">
              <a:extLst>
                <a:ext uri="{FF2B5EF4-FFF2-40B4-BE49-F238E27FC236}">
                  <a16:creationId xmlns:a16="http://schemas.microsoft.com/office/drawing/2014/main" id="{7608EB3F-BBE3-0C48-9883-5EDC4C670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2352676"/>
              <a:ext cx="165100" cy="165100"/>
            </a:xfrm>
            <a:custGeom>
              <a:avLst/>
              <a:gdLst>
                <a:gd name="T0" fmla="*/ 33 w 104"/>
                <a:gd name="T1" fmla="*/ 95 h 104"/>
                <a:gd name="T2" fmla="*/ 0 w 104"/>
                <a:gd name="T3" fmla="*/ 104 h 104"/>
                <a:gd name="T4" fmla="*/ 9 w 104"/>
                <a:gd name="T5" fmla="*/ 71 h 104"/>
                <a:gd name="T6" fmla="*/ 80 w 104"/>
                <a:gd name="T7" fmla="*/ 0 h 104"/>
                <a:gd name="T8" fmla="*/ 104 w 104"/>
                <a:gd name="T9" fmla="*/ 23 h 104"/>
                <a:gd name="T10" fmla="*/ 33 w 104"/>
                <a:gd name="T11" fmla="*/ 9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04">
                  <a:moveTo>
                    <a:pt x="33" y="95"/>
                  </a:moveTo>
                  <a:lnTo>
                    <a:pt x="0" y="104"/>
                  </a:lnTo>
                  <a:lnTo>
                    <a:pt x="9" y="71"/>
                  </a:lnTo>
                  <a:lnTo>
                    <a:pt x="80" y="0"/>
                  </a:lnTo>
                  <a:lnTo>
                    <a:pt x="104" y="23"/>
                  </a:lnTo>
                  <a:lnTo>
                    <a:pt x="33" y="95"/>
                  </a:lnTo>
                  <a:close/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07" name="Line 245">
              <a:extLst>
                <a:ext uri="{FF2B5EF4-FFF2-40B4-BE49-F238E27FC236}">
                  <a16:creationId xmlns:a16="http://schemas.microsoft.com/office/drawing/2014/main" id="{A7DF7299-DE88-8E48-9BF0-FF190BA1B7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6650" y="2382838"/>
              <a:ext cx="38100" cy="36513"/>
            </a:xfrm>
            <a:prstGeom prst="line">
              <a:avLst/>
            </a:pr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08" name="Line 246">
              <a:extLst>
                <a:ext uri="{FF2B5EF4-FFF2-40B4-BE49-F238E27FC236}">
                  <a16:creationId xmlns:a16="http://schemas.microsoft.com/office/drawing/2014/main" id="{72E61DBF-4177-8340-A373-EA6BA956B3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4100" y="2465388"/>
              <a:ext cx="38100" cy="3810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09" name="Rectangle 247">
              <a:extLst>
                <a:ext uri="{FF2B5EF4-FFF2-40B4-BE49-F238E27FC236}">
                  <a16:creationId xmlns:a16="http://schemas.microsoft.com/office/drawing/2014/main" id="{4191FBBA-395F-DA4E-84A8-62B251028D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276476"/>
              <a:ext cx="74613" cy="46038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0" name="Rectangle 248">
              <a:extLst>
                <a:ext uri="{FF2B5EF4-FFF2-40B4-BE49-F238E27FC236}">
                  <a16:creationId xmlns:a16="http://schemas.microsoft.com/office/drawing/2014/main" id="{CF5DDCC1-7B83-0542-814C-8D18114FC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352676"/>
              <a:ext cx="74613" cy="44450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1" name="Rectangle 249">
              <a:extLst>
                <a:ext uri="{FF2B5EF4-FFF2-40B4-BE49-F238E27FC236}">
                  <a16:creationId xmlns:a16="http://schemas.microsoft.com/office/drawing/2014/main" id="{665F44F7-1B97-2E4A-947C-70FB4E7D0F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427288"/>
              <a:ext cx="74613" cy="46038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2" name="Freeform 250">
              <a:extLst>
                <a:ext uri="{FF2B5EF4-FFF2-40B4-BE49-F238E27FC236}">
                  <a16:creationId xmlns:a16="http://schemas.microsoft.com/office/drawing/2014/main" id="{FB43092B-B379-D34A-9994-CBA86E332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171701"/>
              <a:ext cx="255588" cy="346075"/>
            </a:xfrm>
            <a:custGeom>
              <a:avLst/>
              <a:gdLst>
                <a:gd name="T0" fmla="*/ 90 w 161"/>
                <a:gd name="T1" fmla="*/ 218 h 218"/>
                <a:gd name="T2" fmla="*/ 0 w 161"/>
                <a:gd name="T3" fmla="*/ 218 h 218"/>
                <a:gd name="T4" fmla="*/ 0 w 161"/>
                <a:gd name="T5" fmla="*/ 0 h 218"/>
                <a:gd name="T6" fmla="*/ 104 w 161"/>
                <a:gd name="T7" fmla="*/ 0 h 218"/>
                <a:gd name="T8" fmla="*/ 161 w 161"/>
                <a:gd name="T9" fmla="*/ 57 h 218"/>
                <a:gd name="T10" fmla="*/ 161 w 161"/>
                <a:gd name="T11" fmla="*/ 1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218">
                  <a:moveTo>
                    <a:pt x="90" y="218"/>
                  </a:moveTo>
                  <a:lnTo>
                    <a:pt x="0" y="218"/>
                  </a:lnTo>
                  <a:lnTo>
                    <a:pt x="0" y="0"/>
                  </a:lnTo>
                  <a:lnTo>
                    <a:pt x="104" y="0"/>
                  </a:lnTo>
                  <a:lnTo>
                    <a:pt x="161" y="57"/>
                  </a:lnTo>
                  <a:lnTo>
                    <a:pt x="161" y="118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3" name="Freeform 251">
              <a:extLst>
                <a:ext uri="{FF2B5EF4-FFF2-40B4-BE49-F238E27FC236}">
                  <a16:creationId xmlns:a16="http://schemas.microsoft.com/office/drawing/2014/main" id="{F2C3D31B-5644-8246-BF0B-A3D2C560E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3938" y="2171701"/>
              <a:ext cx="90488" cy="90488"/>
            </a:xfrm>
            <a:custGeom>
              <a:avLst/>
              <a:gdLst>
                <a:gd name="T0" fmla="*/ 0 w 57"/>
                <a:gd name="T1" fmla="*/ 0 h 57"/>
                <a:gd name="T2" fmla="*/ 0 w 57"/>
                <a:gd name="T3" fmla="*/ 57 h 57"/>
                <a:gd name="T4" fmla="*/ 57 w 57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57">
                  <a:moveTo>
                    <a:pt x="0" y="0"/>
                  </a:moveTo>
                  <a:lnTo>
                    <a:pt x="0" y="57"/>
                  </a:lnTo>
                  <a:lnTo>
                    <a:pt x="57" y="57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4" name="Freeform 252">
              <a:extLst>
                <a:ext uri="{FF2B5EF4-FFF2-40B4-BE49-F238E27FC236}">
                  <a16:creationId xmlns:a16="http://schemas.microsoft.com/office/drawing/2014/main" id="{43DC79C0-9F11-A54F-9ED2-E9D2FA812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9488" y="2292351"/>
              <a:ext cx="44450" cy="150813"/>
            </a:xfrm>
            <a:custGeom>
              <a:avLst/>
              <a:gdLst>
                <a:gd name="T0" fmla="*/ 0 w 28"/>
                <a:gd name="T1" fmla="*/ 0 h 95"/>
                <a:gd name="T2" fmla="*/ 28 w 28"/>
                <a:gd name="T3" fmla="*/ 0 h 95"/>
                <a:gd name="T4" fmla="*/ 28 w 28"/>
                <a:gd name="T5" fmla="*/ 95 h 95"/>
                <a:gd name="T6" fmla="*/ 0 w 28"/>
                <a:gd name="T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95">
                  <a:moveTo>
                    <a:pt x="0" y="0"/>
                  </a:moveTo>
                  <a:lnTo>
                    <a:pt x="28" y="0"/>
                  </a:lnTo>
                  <a:lnTo>
                    <a:pt x="28" y="95"/>
                  </a:lnTo>
                  <a:lnTo>
                    <a:pt x="0" y="95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5" name="Line 253">
              <a:extLst>
                <a:ext uri="{FF2B5EF4-FFF2-40B4-BE49-F238E27FC236}">
                  <a16:creationId xmlns:a16="http://schemas.microsoft.com/office/drawing/2014/main" id="{C3531518-C0AD-DE48-BA9B-439A20A0EC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3938" y="2366963"/>
              <a:ext cx="381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</p:grpSp>
      <p:sp>
        <p:nvSpPr>
          <p:cNvPr id="20" name="Title 1">
            <a:extLst>
              <a:ext uri="{FF2B5EF4-FFF2-40B4-BE49-F238E27FC236}">
                <a16:creationId xmlns:a16="http://schemas.microsoft.com/office/drawing/2014/main" id="{A576D3ED-5149-894C-9394-CCD1A6CB49CE}"/>
              </a:ext>
            </a:extLst>
          </p:cNvPr>
          <p:cNvSpPr txBox="1">
            <a:spLocks/>
          </p:cNvSpPr>
          <p:nvPr/>
        </p:nvSpPr>
        <p:spPr>
          <a:xfrm>
            <a:off x="676451" y="1248262"/>
            <a:ext cx="4246815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KETENTUAN PERALIHAN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A72937D1-EF0B-5344-A80B-E1F46185CCB8}"/>
              </a:ext>
            </a:extLst>
          </p:cNvPr>
          <p:cNvSpPr txBox="1">
            <a:spLocks/>
          </p:cNvSpPr>
          <p:nvPr/>
        </p:nvSpPr>
        <p:spPr>
          <a:xfrm>
            <a:off x="484990" y="1731753"/>
            <a:ext cx="5257457" cy="387798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j-ea"/>
              <a:cs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Dala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hal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SIJK yang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terintegr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belu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beroper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, OPD yang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membidan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Jasa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Konstruk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dapa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menggunak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isi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daftar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simak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secar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manual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sebagaiman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tercantu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dala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Lampiran II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eratur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Menteri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j-ea"/>
              <a:cs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Dala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hal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SIJK yang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terintegr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belu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operasional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dan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belu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dapa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digunak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,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elapor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engawas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dilakuk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secar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manual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mengikut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format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sebagaiman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tercantu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dala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Lampiran IV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eratur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Menteri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091E274-5D80-2049-8AAC-475E6BDDEF24}"/>
              </a:ext>
            </a:extLst>
          </p:cNvPr>
          <p:cNvSpPr/>
          <p:nvPr/>
        </p:nvSpPr>
        <p:spPr>
          <a:xfrm>
            <a:off x="6942375" y="4259181"/>
            <a:ext cx="3245168" cy="773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32D8E39-4880-7942-A00D-9A1C205AC2A3}"/>
              </a:ext>
            </a:extLst>
          </p:cNvPr>
          <p:cNvSpPr txBox="1">
            <a:spLocks/>
          </p:cNvSpPr>
          <p:nvPr/>
        </p:nvSpPr>
        <p:spPr>
          <a:xfrm>
            <a:off x="7135875" y="1991595"/>
            <a:ext cx="3051668" cy="33547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engawas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enyelenggara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Jas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Konstruks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yang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dilaksanak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oleh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emerinta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Daerah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haru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dilaksanak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mengikut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ketentu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dala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eratur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Menteri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in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j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aling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lamba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akhir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bul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Ju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tahu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2023. 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j-ea"/>
              <a:cs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BA11E61-BC33-1349-96E6-BD310AECC642}"/>
              </a:ext>
            </a:extLst>
          </p:cNvPr>
          <p:cNvSpPr txBox="1"/>
          <p:nvPr/>
        </p:nvSpPr>
        <p:spPr>
          <a:xfrm>
            <a:off x="676451" y="830930"/>
            <a:ext cx="2660363" cy="369332"/>
          </a:xfrm>
          <a:prstGeom prst="rect">
            <a:avLst/>
          </a:prstGeom>
          <a:solidFill>
            <a:srgbClr val="FEB813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ASAL 7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31232CF-FD16-5F4E-94BD-8A5AE84A39E7}"/>
              </a:ext>
            </a:extLst>
          </p:cNvPr>
          <p:cNvSpPr txBox="1"/>
          <p:nvPr/>
        </p:nvSpPr>
        <p:spPr>
          <a:xfrm>
            <a:off x="7135875" y="830930"/>
            <a:ext cx="2678948" cy="369332"/>
          </a:xfrm>
          <a:prstGeom prst="rect">
            <a:avLst/>
          </a:prstGeom>
          <a:solidFill>
            <a:srgbClr val="FEB813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ASAL 75</a:t>
            </a:r>
          </a:p>
        </p:txBody>
      </p:sp>
    </p:spTree>
    <p:extLst>
      <p:ext uri="{BB962C8B-B14F-4D97-AF65-F5344CB8AC3E}">
        <p14:creationId xmlns:p14="http://schemas.microsoft.com/office/powerpoint/2010/main" val="40533798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hqprint">
            <a:alphaModFix amt="12281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35105EBE-2F0A-41B3-92D8-4097F35B6CC8}"/>
              </a:ext>
            </a:extLst>
          </p:cNvPr>
          <p:cNvSpPr/>
          <p:nvPr/>
        </p:nvSpPr>
        <p:spPr>
          <a:xfrm rot="10800000">
            <a:off x="287363" y="987563"/>
            <a:ext cx="3414727" cy="6236497"/>
          </a:xfrm>
          <a:custGeom>
            <a:avLst/>
            <a:gdLst>
              <a:gd name="connsiteX0" fmla="*/ 2512549 w 3414727"/>
              <a:gd name="connsiteY0" fmla="*/ 2970965 h 6236497"/>
              <a:gd name="connsiteX1" fmla="*/ 2512540 w 3414727"/>
              <a:gd name="connsiteY1" fmla="*/ 2970965 h 6236497"/>
              <a:gd name="connsiteX2" fmla="*/ 2470215 w 3414727"/>
              <a:gd name="connsiteY2" fmla="*/ 2970965 h 6236497"/>
              <a:gd name="connsiteX3" fmla="*/ 2452570 w 3414727"/>
              <a:gd name="connsiteY3" fmla="*/ 2970965 h 6236497"/>
              <a:gd name="connsiteX4" fmla="*/ 2452038 w 3414727"/>
              <a:gd name="connsiteY4" fmla="*/ 2970965 h 6236497"/>
              <a:gd name="connsiteX5" fmla="*/ 2452030 w 3414727"/>
              <a:gd name="connsiteY5" fmla="*/ 2970965 h 6236497"/>
              <a:gd name="connsiteX6" fmla="*/ 2452021 w 3414727"/>
              <a:gd name="connsiteY6" fmla="*/ 2970965 h 6236497"/>
              <a:gd name="connsiteX7" fmla="*/ 2409696 w 3414727"/>
              <a:gd name="connsiteY7" fmla="*/ 2970965 h 6236497"/>
              <a:gd name="connsiteX8" fmla="*/ 1876553 w 3414727"/>
              <a:gd name="connsiteY8" fmla="*/ 2970964 h 6236497"/>
              <a:gd name="connsiteX9" fmla="*/ 1876021 w 3414727"/>
              <a:gd name="connsiteY9" fmla="*/ 2970964 h 6236497"/>
              <a:gd name="connsiteX10" fmla="*/ 1876013 w 3414727"/>
              <a:gd name="connsiteY10" fmla="*/ 2970965 h 6236497"/>
              <a:gd name="connsiteX11" fmla="*/ 1876004 w 3414727"/>
              <a:gd name="connsiteY11" fmla="*/ 2970964 h 6236497"/>
              <a:gd name="connsiteX12" fmla="*/ 1833680 w 3414727"/>
              <a:gd name="connsiteY12" fmla="*/ 2970964 h 6236497"/>
              <a:gd name="connsiteX13" fmla="*/ 1816034 w 3414727"/>
              <a:gd name="connsiteY13" fmla="*/ 2970964 h 6236497"/>
              <a:gd name="connsiteX14" fmla="*/ 1815502 w 3414727"/>
              <a:gd name="connsiteY14" fmla="*/ 2970964 h 6236497"/>
              <a:gd name="connsiteX15" fmla="*/ 1815494 w 3414727"/>
              <a:gd name="connsiteY15" fmla="*/ 2970965 h 6236497"/>
              <a:gd name="connsiteX16" fmla="*/ 1815485 w 3414727"/>
              <a:gd name="connsiteY16" fmla="*/ 2970964 h 6236497"/>
              <a:gd name="connsiteX17" fmla="*/ 1773160 w 3414727"/>
              <a:gd name="connsiteY17" fmla="*/ 2970964 h 6236497"/>
              <a:gd name="connsiteX18" fmla="*/ 1773160 w 3414727"/>
              <a:gd name="connsiteY18" fmla="*/ 2968858 h 6236497"/>
              <a:gd name="connsiteX19" fmla="*/ 1729534 w 3414727"/>
              <a:gd name="connsiteY19" fmla="*/ 2966714 h 6236497"/>
              <a:gd name="connsiteX20" fmla="*/ 1726886 w 3414727"/>
              <a:gd name="connsiteY20" fmla="*/ 2966321 h 6236497"/>
              <a:gd name="connsiteX21" fmla="*/ 1723361 w 3414727"/>
              <a:gd name="connsiteY21" fmla="*/ 2966137 h 6236497"/>
              <a:gd name="connsiteX22" fmla="*/ 1568135 w 3414727"/>
              <a:gd name="connsiteY22" fmla="*/ 2935289 h 6236497"/>
              <a:gd name="connsiteX23" fmla="*/ 1564484 w 3414727"/>
              <a:gd name="connsiteY23" fmla="*/ 2934028 h 6236497"/>
              <a:gd name="connsiteX24" fmla="*/ 1563854 w 3414727"/>
              <a:gd name="connsiteY24" fmla="*/ 2933871 h 6236497"/>
              <a:gd name="connsiteX25" fmla="*/ 1557589 w 3414727"/>
              <a:gd name="connsiteY25" fmla="*/ 2931649 h 6236497"/>
              <a:gd name="connsiteX26" fmla="*/ 1494375 w 3414727"/>
              <a:gd name="connsiteY26" fmla="*/ 2909837 h 6236497"/>
              <a:gd name="connsiteX27" fmla="*/ 1487887 w 3414727"/>
              <a:gd name="connsiteY27" fmla="*/ 2906929 h 6236497"/>
              <a:gd name="connsiteX28" fmla="*/ 1485421 w 3414727"/>
              <a:gd name="connsiteY28" fmla="*/ 2906055 h 6236497"/>
              <a:gd name="connsiteX29" fmla="*/ 1472090 w 3414727"/>
              <a:gd name="connsiteY29" fmla="*/ 2899851 h 6236497"/>
              <a:gd name="connsiteX30" fmla="*/ 1423594 w 3414727"/>
              <a:gd name="connsiteY30" fmla="*/ 2878124 h 6236497"/>
              <a:gd name="connsiteX31" fmla="*/ 1414543 w 3414727"/>
              <a:gd name="connsiteY31" fmla="*/ 2873074 h 6236497"/>
              <a:gd name="connsiteX32" fmla="*/ 1410423 w 3414727"/>
              <a:gd name="connsiteY32" fmla="*/ 2871157 h 6236497"/>
              <a:gd name="connsiteX33" fmla="*/ 1395959 w 3414727"/>
              <a:gd name="connsiteY33" fmla="*/ 2862706 h 6236497"/>
              <a:gd name="connsiteX34" fmla="*/ 1356099 w 3414727"/>
              <a:gd name="connsiteY34" fmla="*/ 2840469 h 6236497"/>
              <a:gd name="connsiteX35" fmla="*/ 1344802 w 3414727"/>
              <a:gd name="connsiteY35" fmla="*/ 2832818 h 6236497"/>
              <a:gd name="connsiteX36" fmla="*/ 1339236 w 3414727"/>
              <a:gd name="connsiteY36" fmla="*/ 2829568 h 6236497"/>
              <a:gd name="connsiteX37" fmla="*/ 1325463 w 3414727"/>
              <a:gd name="connsiteY37" fmla="*/ 2819722 h 6236497"/>
              <a:gd name="connsiteX38" fmla="*/ 1292197 w 3414727"/>
              <a:gd name="connsiteY38" fmla="*/ 2797193 h 6236497"/>
              <a:gd name="connsiteX39" fmla="*/ 1279016 w 3414727"/>
              <a:gd name="connsiteY39" fmla="*/ 2786522 h 6236497"/>
              <a:gd name="connsiteX40" fmla="*/ 1272232 w 3414727"/>
              <a:gd name="connsiteY40" fmla="*/ 2781673 h 6236497"/>
              <a:gd name="connsiteX41" fmla="*/ 1259879 w 3414727"/>
              <a:gd name="connsiteY41" fmla="*/ 2771028 h 6236497"/>
              <a:gd name="connsiteX42" fmla="*/ 1232195 w 3414727"/>
              <a:gd name="connsiteY42" fmla="*/ 2748614 h 6236497"/>
              <a:gd name="connsiteX43" fmla="*/ 1217532 w 3414727"/>
              <a:gd name="connsiteY43" fmla="*/ 2734537 h 6236497"/>
              <a:gd name="connsiteX44" fmla="*/ 1209783 w 3414727"/>
              <a:gd name="connsiteY44" fmla="*/ 2727860 h 6236497"/>
              <a:gd name="connsiteX45" fmla="*/ 1199155 w 3414727"/>
              <a:gd name="connsiteY45" fmla="*/ 2716895 h 6236497"/>
              <a:gd name="connsiteX46" fmla="*/ 1176403 w 3414727"/>
              <a:gd name="connsiteY46" fmla="*/ 2695052 h 6236497"/>
              <a:gd name="connsiteX47" fmla="*/ 1160698 w 3414727"/>
              <a:gd name="connsiteY47" fmla="*/ 2677218 h 6236497"/>
              <a:gd name="connsiteX48" fmla="*/ 1152264 w 3414727"/>
              <a:gd name="connsiteY48" fmla="*/ 2668518 h 6236497"/>
              <a:gd name="connsiteX49" fmla="*/ 1143457 w 3414727"/>
              <a:gd name="connsiteY49" fmla="*/ 2657640 h 6236497"/>
              <a:gd name="connsiteX50" fmla="*/ 1125127 w 3414727"/>
              <a:gd name="connsiteY50" fmla="*/ 2636825 h 6236497"/>
              <a:gd name="connsiteX51" fmla="*/ 1108859 w 3414727"/>
              <a:gd name="connsiteY51" fmla="*/ 2614912 h 6236497"/>
              <a:gd name="connsiteX52" fmla="*/ 1100049 w 3414727"/>
              <a:gd name="connsiteY52" fmla="*/ 2604033 h 6236497"/>
              <a:gd name="connsiteX53" fmla="*/ 1093039 w 3414727"/>
              <a:gd name="connsiteY53" fmla="*/ 2593602 h 6236497"/>
              <a:gd name="connsiteX54" fmla="*/ 1078674 w 3414727"/>
              <a:gd name="connsiteY54" fmla="*/ 2574253 h 6236497"/>
              <a:gd name="connsiteX55" fmla="*/ 1062357 w 3414727"/>
              <a:gd name="connsiteY55" fmla="*/ 2547954 h 6236497"/>
              <a:gd name="connsiteX56" fmla="*/ 1053511 w 3414727"/>
              <a:gd name="connsiteY56" fmla="*/ 2534794 h 6236497"/>
              <a:gd name="connsiteX57" fmla="*/ 1048196 w 3414727"/>
              <a:gd name="connsiteY57" fmla="*/ 2525132 h 6236497"/>
              <a:gd name="connsiteX58" fmla="*/ 1037353 w 3414727"/>
              <a:gd name="connsiteY58" fmla="*/ 2507655 h 6236497"/>
              <a:gd name="connsiteX59" fmla="*/ 1021530 w 3414727"/>
              <a:gd name="connsiteY59" fmla="*/ 2476651 h 6236497"/>
              <a:gd name="connsiteX60" fmla="*/ 1013023 w 3414727"/>
              <a:gd name="connsiteY60" fmla="*/ 2461187 h 6236497"/>
              <a:gd name="connsiteX61" fmla="*/ 1009246 w 3414727"/>
              <a:gd name="connsiteY61" fmla="*/ 2452584 h 6236497"/>
              <a:gd name="connsiteX62" fmla="*/ 1001470 w 3414727"/>
              <a:gd name="connsiteY62" fmla="*/ 2437350 h 6236497"/>
              <a:gd name="connsiteX63" fmla="*/ 986712 w 3414727"/>
              <a:gd name="connsiteY63" fmla="*/ 2401263 h 6236497"/>
              <a:gd name="connsiteX64" fmla="*/ 978957 w 3414727"/>
              <a:gd name="connsiteY64" fmla="*/ 2383601 h 6236497"/>
              <a:gd name="connsiteX65" fmla="*/ 976512 w 3414727"/>
              <a:gd name="connsiteY65" fmla="*/ 2376320 h 6236497"/>
              <a:gd name="connsiteX66" fmla="*/ 971333 w 3414727"/>
              <a:gd name="connsiteY66" fmla="*/ 2363657 h 6236497"/>
              <a:gd name="connsiteX67" fmla="*/ 958241 w 3414727"/>
              <a:gd name="connsiteY67" fmla="*/ 2321929 h 6236497"/>
              <a:gd name="connsiteX68" fmla="*/ 951689 w 3414727"/>
              <a:gd name="connsiteY68" fmla="*/ 2302423 h 6236497"/>
              <a:gd name="connsiteX69" fmla="*/ 950326 w 3414727"/>
              <a:gd name="connsiteY69" fmla="*/ 2296701 h 6236497"/>
              <a:gd name="connsiteX70" fmla="*/ 947250 w 3414727"/>
              <a:gd name="connsiteY70" fmla="*/ 2286896 h 6236497"/>
              <a:gd name="connsiteX71" fmla="*/ 936447 w 3414727"/>
              <a:gd name="connsiteY71" fmla="*/ 2238430 h 6236497"/>
              <a:gd name="connsiteX72" fmla="*/ 931592 w 3414727"/>
              <a:gd name="connsiteY72" fmla="*/ 2218041 h 6236497"/>
              <a:gd name="connsiteX73" fmla="*/ 931023 w 3414727"/>
              <a:gd name="connsiteY73" fmla="*/ 2214091 h 6236497"/>
              <a:gd name="connsiteX74" fmla="*/ 929529 w 3414727"/>
              <a:gd name="connsiteY74" fmla="*/ 2207385 h 6236497"/>
              <a:gd name="connsiteX75" fmla="*/ 921664 w 3414727"/>
              <a:gd name="connsiteY75" fmla="*/ 2149080 h 6236497"/>
              <a:gd name="connsiteX76" fmla="*/ 919038 w 3414727"/>
              <a:gd name="connsiteY76" fmla="*/ 2130842 h 6236497"/>
              <a:gd name="connsiteX77" fmla="*/ 918944 w 3414727"/>
              <a:gd name="connsiteY77" fmla="*/ 2128921 h 6236497"/>
              <a:gd name="connsiteX78" fmla="*/ 918475 w 3414727"/>
              <a:gd name="connsiteY78" fmla="*/ 2125444 h 6236497"/>
              <a:gd name="connsiteX79" fmla="*/ 916631 w 3414727"/>
              <a:gd name="connsiteY79" fmla="*/ 2085006 h 6236497"/>
              <a:gd name="connsiteX80" fmla="*/ 914381 w 3414727"/>
              <a:gd name="connsiteY80" fmla="*/ 2085006 h 6236497"/>
              <a:gd name="connsiteX81" fmla="*/ 914381 w 3414727"/>
              <a:gd name="connsiteY81" fmla="*/ 2055911 h 6236497"/>
              <a:gd name="connsiteX82" fmla="*/ 912470 w 3414727"/>
              <a:gd name="connsiteY82" fmla="*/ 2041981 h 6236497"/>
              <a:gd name="connsiteX83" fmla="*/ 909844 w 3414727"/>
              <a:gd name="connsiteY83" fmla="*/ 2024052 h 6236497"/>
              <a:gd name="connsiteX84" fmla="*/ 909750 w 3414727"/>
              <a:gd name="connsiteY84" fmla="*/ 2022164 h 6236497"/>
              <a:gd name="connsiteX85" fmla="*/ 909281 w 3414727"/>
              <a:gd name="connsiteY85" fmla="*/ 2018746 h 6236497"/>
              <a:gd name="connsiteX86" fmla="*/ 907437 w 3414727"/>
              <a:gd name="connsiteY86" fmla="*/ 1978994 h 6236497"/>
              <a:gd name="connsiteX87" fmla="*/ 905187 w 3414727"/>
              <a:gd name="connsiteY87" fmla="*/ 1978994 h 6236497"/>
              <a:gd name="connsiteX88" fmla="*/ 905187 w 3414727"/>
              <a:gd name="connsiteY88" fmla="*/ 1942343 h 6236497"/>
              <a:gd name="connsiteX89" fmla="*/ 905187 w 3414727"/>
              <a:gd name="connsiteY89" fmla="*/ 1930545 h 6236497"/>
              <a:gd name="connsiteX90" fmla="*/ 905187 w 3414727"/>
              <a:gd name="connsiteY90" fmla="*/ 1930270 h 6236497"/>
              <a:gd name="connsiteX91" fmla="*/ 904111 w 3414727"/>
              <a:gd name="connsiteY91" fmla="*/ 1930270 h 6236497"/>
              <a:gd name="connsiteX92" fmla="*/ 904111 w 3414727"/>
              <a:gd name="connsiteY92" fmla="*/ 1770731 h 6236497"/>
              <a:gd name="connsiteX93" fmla="*/ 904111 w 3414727"/>
              <a:gd name="connsiteY93" fmla="*/ 1748996 h 6236497"/>
              <a:gd name="connsiteX94" fmla="*/ 904111 w 3414727"/>
              <a:gd name="connsiteY94" fmla="*/ 1264868 h 6236497"/>
              <a:gd name="connsiteX95" fmla="*/ 904111 w 3414727"/>
              <a:gd name="connsiteY95" fmla="*/ 1033638 h 6236497"/>
              <a:gd name="connsiteX96" fmla="*/ 904111 w 3414727"/>
              <a:gd name="connsiteY96" fmla="*/ 969659 h 6236497"/>
              <a:gd name="connsiteX97" fmla="*/ 905177 w 3414727"/>
              <a:gd name="connsiteY97" fmla="*/ 969659 h 6236497"/>
              <a:gd name="connsiteX98" fmla="*/ 905177 w 3414727"/>
              <a:gd name="connsiteY98" fmla="*/ 772763 h 6236497"/>
              <a:gd name="connsiteX99" fmla="*/ 903755 w 3414727"/>
              <a:gd name="connsiteY99" fmla="*/ 772763 h 6236497"/>
              <a:gd name="connsiteX100" fmla="*/ 903755 w 3414727"/>
              <a:gd name="connsiteY100" fmla="*/ 1 h 6236497"/>
              <a:gd name="connsiteX101" fmla="*/ 973468 w 3414727"/>
              <a:gd name="connsiteY101" fmla="*/ 1 h 6236497"/>
              <a:gd name="connsiteX102" fmla="*/ 1540291 w 3414727"/>
              <a:gd name="connsiteY102" fmla="*/ 1 h 6236497"/>
              <a:gd name="connsiteX103" fmla="*/ 1610004 w 3414727"/>
              <a:gd name="connsiteY103" fmla="*/ 1 h 6236497"/>
              <a:gd name="connsiteX104" fmla="*/ 1804327 w 3414727"/>
              <a:gd name="connsiteY104" fmla="*/ 1 h 6236497"/>
              <a:gd name="connsiteX105" fmla="*/ 1804859 w 3414727"/>
              <a:gd name="connsiteY105" fmla="*/ 1 h 6236497"/>
              <a:gd name="connsiteX106" fmla="*/ 1804867 w 3414727"/>
              <a:gd name="connsiteY106" fmla="*/ 0 h 6236497"/>
              <a:gd name="connsiteX107" fmla="*/ 1804876 w 3414727"/>
              <a:gd name="connsiteY107" fmla="*/ 1 h 6236497"/>
              <a:gd name="connsiteX108" fmla="*/ 1847201 w 3414727"/>
              <a:gd name="connsiteY108" fmla="*/ 1 h 6236497"/>
              <a:gd name="connsiteX109" fmla="*/ 1874040 w 3414727"/>
              <a:gd name="connsiteY109" fmla="*/ 1 h 6236497"/>
              <a:gd name="connsiteX110" fmla="*/ 1874571 w 3414727"/>
              <a:gd name="connsiteY110" fmla="*/ 1 h 6236497"/>
              <a:gd name="connsiteX111" fmla="*/ 1874580 w 3414727"/>
              <a:gd name="connsiteY111" fmla="*/ 0 h 6236497"/>
              <a:gd name="connsiteX112" fmla="*/ 1874589 w 3414727"/>
              <a:gd name="connsiteY112" fmla="*/ 1 h 6236497"/>
              <a:gd name="connsiteX113" fmla="*/ 1916913 w 3414727"/>
              <a:gd name="connsiteY113" fmla="*/ 1 h 6236497"/>
              <a:gd name="connsiteX114" fmla="*/ 2440864 w 3414727"/>
              <a:gd name="connsiteY114" fmla="*/ 1 h 6236497"/>
              <a:gd name="connsiteX115" fmla="*/ 2441395 w 3414727"/>
              <a:gd name="connsiteY115" fmla="*/ 1 h 6236497"/>
              <a:gd name="connsiteX116" fmla="*/ 2441403 w 3414727"/>
              <a:gd name="connsiteY116" fmla="*/ 0 h 6236497"/>
              <a:gd name="connsiteX117" fmla="*/ 2441412 w 3414727"/>
              <a:gd name="connsiteY117" fmla="*/ 1 h 6236497"/>
              <a:gd name="connsiteX118" fmla="*/ 2483737 w 3414727"/>
              <a:gd name="connsiteY118" fmla="*/ 1 h 6236497"/>
              <a:gd name="connsiteX119" fmla="*/ 2510576 w 3414727"/>
              <a:gd name="connsiteY119" fmla="*/ 1 h 6236497"/>
              <a:gd name="connsiteX120" fmla="*/ 2511107 w 3414727"/>
              <a:gd name="connsiteY120" fmla="*/ 1 h 6236497"/>
              <a:gd name="connsiteX121" fmla="*/ 2511116 w 3414727"/>
              <a:gd name="connsiteY121" fmla="*/ 0 h 6236497"/>
              <a:gd name="connsiteX122" fmla="*/ 2511124 w 3414727"/>
              <a:gd name="connsiteY122" fmla="*/ 1 h 6236497"/>
              <a:gd name="connsiteX123" fmla="*/ 2553450 w 3414727"/>
              <a:gd name="connsiteY123" fmla="*/ 1 h 6236497"/>
              <a:gd name="connsiteX124" fmla="*/ 2553450 w 3414727"/>
              <a:gd name="connsiteY124" fmla="*/ 2220 h 6236497"/>
              <a:gd name="connsiteX125" fmla="*/ 2597076 w 3414727"/>
              <a:gd name="connsiteY125" fmla="*/ 4480 h 6236497"/>
              <a:gd name="connsiteX126" fmla="*/ 2599722 w 3414727"/>
              <a:gd name="connsiteY126" fmla="*/ 4894 h 6236497"/>
              <a:gd name="connsiteX127" fmla="*/ 2603249 w 3414727"/>
              <a:gd name="connsiteY127" fmla="*/ 5088 h 6236497"/>
              <a:gd name="connsiteX128" fmla="*/ 2758475 w 3414727"/>
              <a:gd name="connsiteY128" fmla="*/ 37591 h 6236497"/>
              <a:gd name="connsiteX129" fmla="*/ 2762127 w 3414727"/>
              <a:gd name="connsiteY129" fmla="*/ 38918 h 6236497"/>
              <a:gd name="connsiteX130" fmla="*/ 2762756 w 3414727"/>
              <a:gd name="connsiteY130" fmla="*/ 39084 h 6236497"/>
              <a:gd name="connsiteX131" fmla="*/ 2769021 w 3414727"/>
              <a:gd name="connsiteY131" fmla="*/ 41426 h 6236497"/>
              <a:gd name="connsiteX132" fmla="*/ 2832235 w 3414727"/>
              <a:gd name="connsiteY132" fmla="*/ 64408 h 6236497"/>
              <a:gd name="connsiteX133" fmla="*/ 2838723 w 3414727"/>
              <a:gd name="connsiteY133" fmla="*/ 67471 h 6236497"/>
              <a:gd name="connsiteX134" fmla="*/ 2841189 w 3414727"/>
              <a:gd name="connsiteY134" fmla="*/ 68393 h 6236497"/>
              <a:gd name="connsiteX135" fmla="*/ 2854520 w 3414727"/>
              <a:gd name="connsiteY135" fmla="*/ 74929 h 6236497"/>
              <a:gd name="connsiteX136" fmla="*/ 2903015 w 3414727"/>
              <a:gd name="connsiteY136" fmla="*/ 97822 h 6236497"/>
              <a:gd name="connsiteX137" fmla="*/ 2912067 w 3414727"/>
              <a:gd name="connsiteY137" fmla="*/ 103142 h 6236497"/>
              <a:gd name="connsiteX138" fmla="*/ 2916186 w 3414727"/>
              <a:gd name="connsiteY138" fmla="*/ 105161 h 6236497"/>
              <a:gd name="connsiteX139" fmla="*/ 2930651 w 3414727"/>
              <a:gd name="connsiteY139" fmla="*/ 114065 h 6236497"/>
              <a:gd name="connsiteX140" fmla="*/ 2970512 w 3414727"/>
              <a:gd name="connsiteY140" fmla="*/ 137496 h 6236497"/>
              <a:gd name="connsiteX141" fmla="*/ 2981807 w 3414727"/>
              <a:gd name="connsiteY141" fmla="*/ 145556 h 6236497"/>
              <a:gd name="connsiteX142" fmla="*/ 2987374 w 3414727"/>
              <a:gd name="connsiteY142" fmla="*/ 148981 h 6236497"/>
              <a:gd name="connsiteX143" fmla="*/ 3001148 w 3414727"/>
              <a:gd name="connsiteY143" fmla="*/ 159355 h 6236497"/>
              <a:gd name="connsiteX144" fmla="*/ 3034413 w 3414727"/>
              <a:gd name="connsiteY144" fmla="*/ 183092 h 6236497"/>
              <a:gd name="connsiteX145" fmla="*/ 3047594 w 3414727"/>
              <a:gd name="connsiteY145" fmla="*/ 194337 h 6236497"/>
              <a:gd name="connsiteX146" fmla="*/ 3054378 w 3414727"/>
              <a:gd name="connsiteY146" fmla="*/ 199445 h 6236497"/>
              <a:gd name="connsiteX147" fmla="*/ 3066731 w 3414727"/>
              <a:gd name="connsiteY147" fmla="*/ 210661 h 6236497"/>
              <a:gd name="connsiteX148" fmla="*/ 3094414 w 3414727"/>
              <a:gd name="connsiteY148" fmla="*/ 234276 h 6236497"/>
              <a:gd name="connsiteX149" fmla="*/ 3109078 w 3414727"/>
              <a:gd name="connsiteY149" fmla="*/ 249109 h 6236497"/>
              <a:gd name="connsiteX150" fmla="*/ 3116826 w 3414727"/>
              <a:gd name="connsiteY150" fmla="*/ 256143 h 6236497"/>
              <a:gd name="connsiteX151" fmla="*/ 3127454 w 3414727"/>
              <a:gd name="connsiteY151" fmla="*/ 267697 h 6236497"/>
              <a:gd name="connsiteX152" fmla="*/ 3150207 w 3414727"/>
              <a:gd name="connsiteY152" fmla="*/ 290711 h 6236497"/>
              <a:gd name="connsiteX153" fmla="*/ 3165912 w 3414727"/>
              <a:gd name="connsiteY153" fmla="*/ 309501 h 6236497"/>
              <a:gd name="connsiteX154" fmla="*/ 3174345 w 3414727"/>
              <a:gd name="connsiteY154" fmla="*/ 318669 h 6236497"/>
              <a:gd name="connsiteX155" fmla="*/ 3183153 w 3414727"/>
              <a:gd name="connsiteY155" fmla="*/ 330130 h 6236497"/>
              <a:gd name="connsiteX156" fmla="*/ 3201483 w 3414727"/>
              <a:gd name="connsiteY156" fmla="*/ 352061 h 6236497"/>
              <a:gd name="connsiteX157" fmla="*/ 3217750 w 3414727"/>
              <a:gd name="connsiteY157" fmla="*/ 375148 h 6236497"/>
              <a:gd name="connsiteX158" fmla="*/ 3226560 w 3414727"/>
              <a:gd name="connsiteY158" fmla="*/ 386611 h 6236497"/>
              <a:gd name="connsiteX159" fmla="*/ 3233571 w 3414727"/>
              <a:gd name="connsiteY159" fmla="*/ 397601 h 6236497"/>
              <a:gd name="connsiteX160" fmla="*/ 3247936 w 3414727"/>
              <a:gd name="connsiteY160" fmla="*/ 417988 h 6236497"/>
              <a:gd name="connsiteX161" fmla="*/ 3264253 w 3414727"/>
              <a:gd name="connsiteY161" fmla="*/ 445698 h 6236497"/>
              <a:gd name="connsiteX162" fmla="*/ 3273099 w 3414727"/>
              <a:gd name="connsiteY162" fmla="*/ 459564 h 6236497"/>
              <a:gd name="connsiteX163" fmla="*/ 3278414 w 3414727"/>
              <a:gd name="connsiteY163" fmla="*/ 469744 h 6236497"/>
              <a:gd name="connsiteX164" fmla="*/ 3289257 w 3414727"/>
              <a:gd name="connsiteY164" fmla="*/ 488158 h 6236497"/>
              <a:gd name="connsiteX165" fmla="*/ 3305080 w 3414727"/>
              <a:gd name="connsiteY165" fmla="*/ 520825 h 6236497"/>
              <a:gd name="connsiteX166" fmla="*/ 3313588 w 3414727"/>
              <a:gd name="connsiteY166" fmla="*/ 537118 h 6236497"/>
              <a:gd name="connsiteX167" fmla="*/ 3317364 w 3414727"/>
              <a:gd name="connsiteY167" fmla="*/ 546183 h 6236497"/>
              <a:gd name="connsiteX168" fmla="*/ 3325140 w 3414727"/>
              <a:gd name="connsiteY168" fmla="*/ 562233 h 6236497"/>
              <a:gd name="connsiteX169" fmla="*/ 3339897 w 3414727"/>
              <a:gd name="connsiteY169" fmla="*/ 600256 h 6236497"/>
              <a:gd name="connsiteX170" fmla="*/ 3347654 w 3414727"/>
              <a:gd name="connsiteY170" fmla="*/ 618866 h 6236497"/>
              <a:gd name="connsiteX171" fmla="*/ 3350099 w 3414727"/>
              <a:gd name="connsiteY171" fmla="*/ 626536 h 6236497"/>
              <a:gd name="connsiteX172" fmla="*/ 3355277 w 3414727"/>
              <a:gd name="connsiteY172" fmla="*/ 639878 h 6236497"/>
              <a:gd name="connsiteX173" fmla="*/ 3368369 w 3414727"/>
              <a:gd name="connsiteY173" fmla="*/ 683845 h 6236497"/>
              <a:gd name="connsiteX174" fmla="*/ 3374921 w 3414727"/>
              <a:gd name="connsiteY174" fmla="*/ 704397 h 6236497"/>
              <a:gd name="connsiteX175" fmla="*/ 3376284 w 3414727"/>
              <a:gd name="connsiteY175" fmla="*/ 710425 h 6236497"/>
              <a:gd name="connsiteX176" fmla="*/ 3379360 w 3414727"/>
              <a:gd name="connsiteY176" fmla="*/ 720756 h 6236497"/>
              <a:gd name="connsiteX177" fmla="*/ 3390162 w 3414727"/>
              <a:gd name="connsiteY177" fmla="*/ 771822 h 6236497"/>
              <a:gd name="connsiteX178" fmla="*/ 3390375 w 3414727"/>
              <a:gd name="connsiteY178" fmla="*/ 772763 h 6236497"/>
              <a:gd name="connsiteX179" fmla="*/ 3391798 w 3414727"/>
              <a:gd name="connsiteY179" fmla="*/ 772763 h 6236497"/>
              <a:gd name="connsiteX180" fmla="*/ 3396441 w 3414727"/>
              <a:gd name="connsiteY180" fmla="*/ 797930 h 6236497"/>
              <a:gd name="connsiteX181" fmla="*/ 3397009 w 3414727"/>
              <a:gd name="connsiteY181" fmla="*/ 803028 h 6236497"/>
              <a:gd name="connsiteX182" fmla="*/ 3398504 w 3414727"/>
              <a:gd name="connsiteY182" fmla="*/ 811684 h 6236497"/>
              <a:gd name="connsiteX183" fmla="*/ 3406369 w 3414727"/>
              <a:gd name="connsiteY183" fmla="*/ 886948 h 6236497"/>
              <a:gd name="connsiteX184" fmla="*/ 3408995 w 3414727"/>
              <a:gd name="connsiteY184" fmla="*/ 910491 h 6236497"/>
              <a:gd name="connsiteX185" fmla="*/ 3409087 w 3414727"/>
              <a:gd name="connsiteY185" fmla="*/ 912969 h 6236497"/>
              <a:gd name="connsiteX186" fmla="*/ 3409557 w 3414727"/>
              <a:gd name="connsiteY186" fmla="*/ 917458 h 6236497"/>
              <a:gd name="connsiteX187" fmla="*/ 3411402 w 3414727"/>
              <a:gd name="connsiteY187" fmla="*/ 969659 h 6236497"/>
              <a:gd name="connsiteX188" fmla="*/ 3413650 w 3414727"/>
              <a:gd name="connsiteY188" fmla="*/ 969659 h 6236497"/>
              <a:gd name="connsiteX189" fmla="*/ 3413650 w 3414727"/>
              <a:gd name="connsiteY189" fmla="*/ 1017785 h 6236497"/>
              <a:gd name="connsiteX190" fmla="*/ 3413650 w 3414727"/>
              <a:gd name="connsiteY190" fmla="*/ 1033277 h 6236497"/>
              <a:gd name="connsiteX191" fmla="*/ 3413650 w 3414727"/>
              <a:gd name="connsiteY191" fmla="*/ 1033638 h 6236497"/>
              <a:gd name="connsiteX192" fmla="*/ 3413650 w 3414727"/>
              <a:gd name="connsiteY192" fmla="*/ 1033639 h 6236497"/>
              <a:gd name="connsiteX193" fmla="*/ 3414727 w 3414727"/>
              <a:gd name="connsiteY193" fmla="*/ 1033639 h 6236497"/>
              <a:gd name="connsiteX194" fmla="*/ 3414727 w 3414727"/>
              <a:gd name="connsiteY194" fmla="*/ 1123341 h 6236497"/>
              <a:gd name="connsiteX195" fmla="*/ 3414727 w 3414727"/>
              <a:gd name="connsiteY195" fmla="*/ 1264868 h 6236497"/>
              <a:gd name="connsiteX196" fmla="*/ 3414727 w 3414727"/>
              <a:gd name="connsiteY196" fmla="*/ 1358560 h 6236497"/>
              <a:gd name="connsiteX197" fmla="*/ 3414727 w 3414727"/>
              <a:gd name="connsiteY197" fmla="*/ 1748996 h 6236497"/>
              <a:gd name="connsiteX198" fmla="*/ 3414727 w 3414727"/>
              <a:gd name="connsiteY198" fmla="*/ 1770731 h 6236497"/>
              <a:gd name="connsiteX199" fmla="*/ 3414727 w 3414727"/>
              <a:gd name="connsiteY199" fmla="*/ 1851040 h 6236497"/>
              <a:gd name="connsiteX200" fmla="*/ 3414727 w 3414727"/>
              <a:gd name="connsiteY200" fmla="*/ 1873150 h 6236497"/>
              <a:gd name="connsiteX201" fmla="*/ 3414727 w 3414727"/>
              <a:gd name="connsiteY201" fmla="*/ 1930270 h 6236497"/>
              <a:gd name="connsiteX202" fmla="*/ 3414727 w 3414727"/>
              <a:gd name="connsiteY202" fmla="*/ 1978994 h 6236497"/>
              <a:gd name="connsiteX203" fmla="*/ 3414727 w 3414727"/>
              <a:gd name="connsiteY203" fmla="*/ 2035442 h 6236497"/>
              <a:gd name="connsiteX204" fmla="*/ 3414727 w 3414727"/>
              <a:gd name="connsiteY204" fmla="*/ 2085006 h 6236497"/>
              <a:gd name="connsiteX205" fmla="*/ 3413661 w 3414727"/>
              <a:gd name="connsiteY205" fmla="*/ 2085006 h 6236497"/>
              <a:gd name="connsiteX206" fmla="*/ 3413661 w 3414727"/>
              <a:gd name="connsiteY206" fmla="*/ 2849926 h 6236497"/>
              <a:gd name="connsiteX207" fmla="*/ 3413661 w 3414727"/>
              <a:gd name="connsiteY207" fmla="*/ 2970965 h 6236497"/>
              <a:gd name="connsiteX208" fmla="*/ 3353141 w 3414727"/>
              <a:gd name="connsiteY208" fmla="*/ 2970965 h 6236497"/>
              <a:gd name="connsiteX209" fmla="*/ 2777125 w 3414727"/>
              <a:gd name="connsiteY209" fmla="*/ 2970965 h 6236497"/>
              <a:gd name="connsiteX210" fmla="*/ 2716606 w 3414727"/>
              <a:gd name="connsiteY210" fmla="*/ 2970965 h 6236497"/>
              <a:gd name="connsiteX211" fmla="*/ 2513089 w 3414727"/>
              <a:gd name="connsiteY211" fmla="*/ 2970965 h 6236497"/>
              <a:gd name="connsiteX212" fmla="*/ 2512558 w 3414727"/>
              <a:gd name="connsiteY212" fmla="*/ 2970965 h 6236497"/>
              <a:gd name="connsiteX213" fmla="*/ 3413555 w 3414727"/>
              <a:gd name="connsiteY213" fmla="*/ 6236497 h 6236497"/>
              <a:gd name="connsiteX214" fmla="*/ 3347035 w 3414727"/>
              <a:gd name="connsiteY214" fmla="*/ 6236497 h 6236497"/>
              <a:gd name="connsiteX215" fmla="*/ 2758758 w 3414727"/>
              <a:gd name="connsiteY215" fmla="*/ 6236497 h 6236497"/>
              <a:gd name="connsiteX216" fmla="*/ 2713908 w 3414727"/>
              <a:gd name="connsiteY216" fmla="*/ 6236497 h 6236497"/>
              <a:gd name="connsiteX217" fmla="*/ 2692238 w 3414727"/>
              <a:gd name="connsiteY217" fmla="*/ 6236497 h 6236497"/>
              <a:gd name="connsiteX218" fmla="*/ 2647388 w 3414727"/>
              <a:gd name="connsiteY218" fmla="*/ 6236497 h 6236497"/>
              <a:gd name="connsiteX219" fmla="*/ 2423694 w 3414727"/>
              <a:gd name="connsiteY219" fmla="*/ 6236497 h 6236497"/>
              <a:gd name="connsiteX220" fmla="*/ 2423109 w 3414727"/>
              <a:gd name="connsiteY220" fmla="*/ 6236497 h 6236497"/>
              <a:gd name="connsiteX221" fmla="*/ 2423100 w 3414727"/>
              <a:gd name="connsiteY221" fmla="*/ 6236497 h 6236497"/>
              <a:gd name="connsiteX222" fmla="*/ 2423090 w 3414727"/>
              <a:gd name="connsiteY222" fmla="*/ 6236497 h 6236497"/>
              <a:gd name="connsiteX223" fmla="*/ 2376569 w 3414727"/>
              <a:gd name="connsiteY223" fmla="*/ 6236497 h 6236497"/>
              <a:gd name="connsiteX224" fmla="*/ 2357173 w 3414727"/>
              <a:gd name="connsiteY224" fmla="*/ 6236497 h 6236497"/>
              <a:gd name="connsiteX225" fmla="*/ 2356590 w 3414727"/>
              <a:gd name="connsiteY225" fmla="*/ 6236497 h 6236497"/>
              <a:gd name="connsiteX226" fmla="*/ 2356581 w 3414727"/>
              <a:gd name="connsiteY226" fmla="*/ 6236497 h 6236497"/>
              <a:gd name="connsiteX227" fmla="*/ 2356571 w 3414727"/>
              <a:gd name="connsiteY227" fmla="*/ 6236497 h 6236497"/>
              <a:gd name="connsiteX228" fmla="*/ 2310049 w 3414727"/>
              <a:gd name="connsiteY228" fmla="*/ 6236497 h 6236497"/>
              <a:gd name="connsiteX229" fmla="*/ 2059112 w 3414727"/>
              <a:gd name="connsiteY229" fmla="*/ 6236497 h 6236497"/>
              <a:gd name="connsiteX230" fmla="*/ 1992591 w 3414727"/>
              <a:gd name="connsiteY230" fmla="*/ 6236497 h 6236497"/>
              <a:gd name="connsiteX231" fmla="*/ 1768897 w 3414727"/>
              <a:gd name="connsiteY231" fmla="*/ 6236497 h 6236497"/>
              <a:gd name="connsiteX232" fmla="*/ 1768312 w 3414727"/>
              <a:gd name="connsiteY232" fmla="*/ 6236497 h 6236497"/>
              <a:gd name="connsiteX233" fmla="*/ 1768303 w 3414727"/>
              <a:gd name="connsiteY233" fmla="*/ 6236497 h 6236497"/>
              <a:gd name="connsiteX234" fmla="*/ 1768293 w 3414727"/>
              <a:gd name="connsiteY234" fmla="*/ 6236497 h 6236497"/>
              <a:gd name="connsiteX235" fmla="*/ 1724047 w 3414727"/>
              <a:gd name="connsiteY235" fmla="*/ 6236497 h 6236497"/>
              <a:gd name="connsiteX236" fmla="*/ 1723462 w 3414727"/>
              <a:gd name="connsiteY236" fmla="*/ 6236497 h 6236497"/>
              <a:gd name="connsiteX237" fmla="*/ 1723453 w 3414727"/>
              <a:gd name="connsiteY237" fmla="*/ 6236497 h 6236497"/>
              <a:gd name="connsiteX238" fmla="*/ 1723443 w 3414727"/>
              <a:gd name="connsiteY238" fmla="*/ 6236497 h 6236497"/>
              <a:gd name="connsiteX239" fmla="*/ 1721772 w 3414727"/>
              <a:gd name="connsiteY239" fmla="*/ 6236497 h 6236497"/>
              <a:gd name="connsiteX240" fmla="*/ 1702376 w 3414727"/>
              <a:gd name="connsiteY240" fmla="*/ 6236497 h 6236497"/>
              <a:gd name="connsiteX241" fmla="*/ 1701793 w 3414727"/>
              <a:gd name="connsiteY241" fmla="*/ 6236497 h 6236497"/>
              <a:gd name="connsiteX242" fmla="*/ 1701784 w 3414727"/>
              <a:gd name="connsiteY242" fmla="*/ 6236497 h 6236497"/>
              <a:gd name="connsiteX243" fmla="*/ 1701774 w 3414727"/>
              <a:gd name="connsiteY243" fmla="*/ 6236497 h 6236497"/>
              <a:gd name="connsiteX244" fmla="*/ 1676921 w 3414727"/>
              <a:gd name="connsiteY244" fmla="*/ 6236497 h 6236497"/>
              <a:gd name="connsiteX245" fmla="*/ 1657527 w 3414727"/>
              <a:gd name="connsiteY245" fmla="*/ 6236497 h 6236497"/>
              <a:gd name="connsiteX246" fmla="*/ 1656943 w 3414727"/>
              <a:gd name="connsiteY246" fmla="*/ 6236497 h 6236497"/>
              <a:gd name="connsiteX247" fmla="*/ 1656933 w 3414727"/>
              <a:gd name="connsiteY247" fmla="*/ 6236497 h 6236497"/>
              <a:gd name="connsiteX248" fmla="*/ 1656923 w 3414727"/>
              <a:gd name="connsiteY248" fmla="*/ 6236497 h 6236497"/>
              <a:gd name="connsiteX249" fmla="*/ 1655252 w 3414727"/>
              <a:gd name="connsiteY249" fmla="*/ 6236497 h 6236497"/>
              <a:gd name="connsiteX250" fmla="*/ 1610402 w 3414727"/>
              <a:gd name="connsiteY250" fmla="*/ 6236497 h 6236497"/>
              <a:gd name="connsiteX251" fmla="*/ 1069250 w 3414727"/>
              <a:gd name="connsiteY251" fmla="*/ 6236497 h 6236497"/>
              <a:gd name="connsiteX252" fmla="*/ 1068665 w 3414727"/>
              <a:gd name="connsiteY252" fmla="*/ 6236497 h 6236497"/>
              <a:gd name="connsiteX253" fmla="*/ 1068656 w 3414727"/>
              <a:gd name="connsiteY253" fmla="*/ 6236497 h 6236497"/>
              <a:gd name="connsiteX254" fmla="*/ 1068646 w 3414727"/>
              <a:gd name="connsiteY254" fmla="*/ 6236497 h 6236497"/>
              <a:gd name="connsiteX255" fmla="*/ 1022124 w 3414727"/>
              <a:gd name="connsiteY255" fmla="*/ 6236497 h 6236497"/>
              <a:gd name="connsiteX256" fmla="*/ 1002729 w 3414727"/>
              <a:gd name="connsiteY256" fmla="*/ 6236497 h 6236497"/>
              <a:gd name="connsiteX257" fmla="*/ 1002146 w 3414727"/>
              <a:gd name="connsiteY257" fmla="*/ 6236497 h 6236497"/>
              <a:gd name="connsiteX258" fmla="*/ 1002136 w 3414727"/>
              <a:gd name="connsiteY258" fmla="*/ 6236497 h 6236497"/>
              <a:gd name="connsiteX259" fmla="*/ 1002126 w 3414727"/>
              <a:gd name="connsiteY259" fmla="*/ 6236497 h 6236497"/>
              <a:gd name="connsiteX260" fmla="*/ 955605 w 3414727"/>
              <a:gd name="connsiteY260" fmla="*/ 6236497 h 6236497"/>
              <a:gd name="connsiteX261" fmla="*/ 955605 w 3414727"/>
              <a:gd name="connsiteY261" fmla="*/ 6234182 h 6236497"/>
              <a:gd name="connsiteX262" fmla="*/ 907653 w 3414727"/>
              <a:gd name="connsiteY262" fmla="*/ 6231824 h 6236497"/>
              <a:gd name="connsiteX263" fmla="*/ 904743 w 3414727"/>
              <a:gd name="connsiteY263" fmla="*/ 6231393 h 6236497"/>
              <a:gd name="connsiteX264" fmla="*/ 900868 w 3414727"/>
              <a:gd name="connsiteY264" fmla="*/ 6231190 h 6236497"/>
              <a:gd name="connsiteX265" fmla="*/ 730252 w 3414727"/>
              <a:gd name="connsiteY265" fmla="*/ 6197284 h 6236497"/>
              <a:gd name="connsiteX266" fmla="*/ 726239 w 3414727"/>
              <a:gd name="connsiteY266" fmla="*/ 6195899 h 6236497"/>
              <a:gd name="connsiteX267" fmla="*/ 725547 w 3414727"/>
              <a:gd name="connsiteY267" fmla="*/ 6195725 h 6236497"/>
              <a:gd name="connsiteX268" fmla="*/ 718660 w 3414727"/>
              <a:gd name="connsiteY268" fmla="*/ 6193283 h 6236497"/>
              <a:gd name="connsiteX269" fmla="*/ 649179 w 3414727"/>
              <a:gd name="connsiteY269" fmla="*/ 6169308 h 6236497"/>
              <a:gd name="connsiteX270" fmla="*/ 642047 w 3414727"/>
              <a:gd name="connsiteY270" fmla="*/ 6166112 h 6236497"/>
              <a:gd name="connsiteX271" fmla="*/ 639337 w 3414727"/>
              <a:gd name="connsiteY271" fmla="*/ 6165151 h 6236497"/>
              <a:gd name="connsiteX272" fmla="*/ 624684 w 3414727"/>
              <a:gd name="connsiteY272" fmla="*/ 6158333 h 6236497"/>
              <a:gd name="connsiteX273" fmla="*/ 571379 w 3414727"/>
              <a:gd name="connsiteY273" fmla="*/ 6134451 h 6236497"/>
              <a:gd name="connsiteX274" fmla="*/ 561431 w 3414727"/>
              <a:gd name="connsiteY274" fmla="*/ 6128901 h 6236497"/>
              <a:gd name="connsiteX275" fmla="*/ 556903 w 3414727"/>
              <a:gd name="connsiteY275" fmla="*/ 6126794 h 6236497"/>
              <a:gd name="connsiteX276" fmla="*/ 541005 w 3414727"/>
              <a:gd name="connsiteY276" fmla="*/ 6117505 h 6236497"/>
              <a:gd name="connsiteX277" fmla="*/ 497192 w 3414727"/>
              <a:gd name="connsiteY277" fmla="*/ 6093062 h 6236497"/>
              <a:gd name="connsiteX278" fmla="*/ 484776 w 3414727"/>
              <a:gd name="connsiteY278" fmla="*/ 6084653 h 6236497"/>
              <a:gd name="connsiteX279" fmla="*/ 478658 w 3414727"/>
              <a:gd name="connsiteY279" fmla="*/ 6081081 h 6236497"/>
              <a:gd name="connsiteX280" fmla="*/ 463519 w 3414727"/>
              <a:gd name="connsiteY280" fmla="*/ 6070258 h 6236497"/>
              <a:gd name="connsiteX281" fmla="*/ 426955 w 3414727"/>
              <a:gd name="connsiteY281" fmla="*/ 6045496 h 6236497"/>
              <a:gd name="connsiteX282" fmla="*/ 412467 w 3414727"/>
              <a:gd name="connsiteY282" fmla="*/ 6033767 h 6236497"/>
              <a:gd name="connsiteX283" fmla="*/ 405010 w 3414727"/>
              <a:gd name="connsiteY283" fmla="*/ 6028437 h 6236497"/>
              <a:gd name="connsiteX284" fmla="*/ 391434 w 3414727"/>
              <a:gd name="connsiteY284" fmla="*/ 6016737 h 6236497"/>
              <a:gd name="connsiteX285" fmla="*/ 361004 w 3414727"/>
              <a:gd name="connsiteY285" fmla="*/ 5992101 h 6236497"/>
              <a:gd name="connsiteX286" fmla="*/ 344887 w 3414727"/>
              <a:gd name="connsiteY286" fmla="*/ 5976627 h 6236497"/>
              <a:gd name="connsiteX287" fmla="*/ 336370 w 3414727"/>
              <a:gd name="connsiteY287" fmla="*/ 5969288 h 6236497"/>
              <a:gd name="connsiteX288" fmla="*/ 324688 w 3414727"/>
              <a:gd name="connsiteY288" fmla="*/ 5957236 h 6236497"/>
              <a:gd name="connsiteX289" fmla="*/ 299680 w 3414727"/>
              <a:gd name="connsiteY289" fmla="*/ 5933228 h 6236497"/>
              <a:gd name="connsiteX290" fmla="*/ 282418 w 3414727"/>
              <a:gd name="connsiteY290" fmla="*/ 5913626 h 6236497"/>
              <a:gd name="connsiteX291" fmla="*/ 273149 w 3414727"/>
              <a:gd name="connsiteY291" fmla="*/ 5904062 h 6236497"/>
              <a:gd name="connsiteX292" fmla="*/ 263468 w 3414727"/>
              <a:gd name="connsiteY292" fmla="*/ 5892106 h 6236497"/>
              <a:gd name="connsiteX293" fmla="*/ 243320 w 3414727"/>
              <a:gd name="connsiteY293" fmla="*/ 5869228 h 6236497"/>
              <a:gd name="connsiteX294" fmla="*/ 225440 w 3414727"/>
              <a:gd name="connsiteY294" fmla="*/ 5845142 h 6236497"/>
              <a:gd name="connsiteX295" fmla="*/ 215756 w 3414727"/>
              <a:gd name="connsiteY295" fmla="*/ 5833184 h 6236497"/>
              <a:gd name="connsiteX296" fmla="*/ 208051 w 3414727"/>
              <a:gd name="connsiteY296" fmla="*/ 5821719 h 6236497"/>
              <a:gd name="connsiteX297" fmla="*/ 192262 w 3414727"/>
              <a:gd name="connsiteY297" fmla="*/ 5800452 h 6236497"/>
              <a:gd name="connsiteX298" fmla="*/ 174326 w 3414727"/>
              <a:gd name="connsiteY298" fmla="*/ 5771545 h 6236497"/>
              <a:gd name="connsiteX299" fmla="*/ 164603 w 3414727"/>
              <a:gd name="connsiteY299" fmla="*/ 5757080 h 6236497"/>
              <a:gd name="connsiteX300" fmla="*/ 158762 w 3414727"/>
              <a:gd name="connsiteY300" fmla="*/ 5746460 h 6236497"/>
              <a:gd name="connsiteX301" fmla="*/ 146844 w 3414727"/>
              <a:gd name="connsiteY301" fmla="*/ 5727251 h 6236497"/>
              <a:gd name="connsiteX302" fmla="*/ 129452 w 3414727"/>
              <a:gd name="connsiteY302" fmla="*/ 5693173 h 6236497"/>
              <a:gd name="connsiteX303" fmla="*/ 120101 w 3414727"/>
              <a:gd name="connsiteY303" fmla="*/ 5676175 h 6236497"/>
              <a:gd name="connsiteX304" fmla="*/ 115950 w 3414727"/>
              <a:gd name="connsiteY304" fmla="*/ 5666719 h 6236497"/>
              <a:gd name="connsiteX305" fmla="*/ 107403 w 3414727"/>
              <a:gd name="connsiteY305" fmla="*/ 5649975 h 6236497"/>
              <a:gd name="connsiteX306" fmla="*/ 91182 w 3414727"/>
              <a:gd name="connsiteY306" fmla="*/ 5610310 h 6236497"/>
              <a:gd name="connsiteX307" fmla="*/ 82657 w 3414727"/>
              <a:gd name="connsiteY307" fmla="*/ 5590897 h 6236497"/>
              <a:gd name="connsiteX308" fmla="*/ 79971 w 3414727"/>
              <a:gd name="connsiteY308" fmla="*/ 5582895 h 6236497"/>
              <a:gd name="connsiteX309" fmla="*/ 74278 w 3414727"/>
              <a:gd name="connsiteY309" fmla="*/ 5568976 h 6236497"/>
              <a:gd name="connsiteX310" fmla="*/ 59888 w 3414727"/>
              <a:gd name="connsiteY310" fmla="*/ 5523110 h 6236497"/>
              <a:gd name="connsiteX311" fmla="*/ 52686 w 3414727"/>
              <a:gd name="connsiteY311" fmla="*/ 5501671 h 6236497"/>
              <a:gd name="connsiteX312" fmla="*/ 51189 w 3414727"/>
              <a:gd name="connsiteY312" fmla="*/ 5495381 h 6236497"/>
              <a:gd name="connsiteX313" fmla="*/ 47808 w 3414727"/>
              <a:gd name="connsiteY313" fmla="*/ 5484604 h 6236497"/>
              <a:gd name="connsiteX314" fmla="*/ 35933 w 3414727"/>
              <a:gd name="connsiteY314" fmla="*/ 5431333 h 6236497"/>
              <a:gd name="connsiteX315" fmla="*/ 30597 w 3414727"/>
              <a:gd name="connsiteY315" fmla="*/ 5408921 h 6236497"/>
              <a:gd name="connsiteX316" fmla="*/ 29971 w 3414727"/>
              <a:gd name="connsiteY316" fmla="*/ 5404580 h 6236497"/>
              <a:gd name="connsiteX317" fmla="*/ 28329 w 3414727"/>
              <a:gd name="connsiteY317" fmla="*/ 5397210 h 6236497"/>
              <a:gd name="connsiteX318" fmla="*/ 19684 w 3414727"/>
              <a:gd name="connsiteY318" fmla="*/ 5333124 h 6236497"/>
              <a:gd name="connsiteX319" fmla="*/ 16798 w 3414727"/>
              <a:gd name="connsiteY319" fmla="*/ 5313077 h 6236497"/>
              <a:gd name="connsiteX320" fmla="*/ 16695 w 3414727"/>
              <a:gd name="connsiteY320" fmla="*/ 5310966 h 6236497"/>
              <a:gd name="connsiteX321" fmla="*/ 16179 w 3414727"/>
              <a:gd name="connsiteY321" fmla="*/ 5307144 h 6236497"/>
              <a:gd name="connsiteX322" fmla="*/ 14152 w 3414727"/>
              <a:gd name="connsiteY322" fmla="*/ 5262696 h 6236497"/>
              <a:gd name="connsiteX323" fmla="*/ 11679 w 3414727"/>
              <a:gd name="connsiteY323" fmla="*/ 5262696 h 6236497"/>
              <a:gd name="connsiteX324" fmla="*/ 11679 w 3414727"/>
              <a:gd name="connsiteY324" fmla="*/ 5230717 h 6236497"/>
              <a:gd name="connsiteX325" fmla="*/ 9578 w 3414727"/>
              <a:gd name="connsiteY325" fmla="*/ 5215406 h 6236497"/>
              <a:gd name="connsiteX326" fmla="*/ 6692 w 3414727"/>
              <a:gd name="connsiteY326" fmla="*/ 5195699 h 6236497"/>
              <a:gd name="connsiteX327" fmla="*/ 6589 w 3414727"/>
              <a:gd name="connsiteY327" fmla="*/ 5193624 h 6236497"/>
              <a:gd name="connsiteX328" fmla="*/ 6073 w 3414727"/>
              <a:gd name="connsiteY328" fmla="*/ 5189867 h 6236497"/>
              <a:gd name="connsiteX329" fmla="*/ 4046 w 3414727"/>
              <a:gd name="connsiteY329" fmla="*/ 5146174 h 6236497"/>
              <a:gd name="connsiteX330" fmla="*/ 1574 w 3414727"/>
              <a:gd name="connsiteY330" fmla="*/ 5146174 h 6236497"/>
              <a:gd name="connsiteX331" fmla="*/ 1574 w 3414727"/>
              <a:gd name="connsiteY331" fmla="*/ 5105888 h 6236497"/>
              <a:gd name="connsiteX332" fmla="*/ 1574 w 3414727"/>
              <a:gd name="connsiteY332" fmla="*/ 5092921 h 6236497"/>
              <a:gd name="connsiteX333" fmla="*/ 1574 w 3414727"/>
              <a:gd name="connsiteY333" fmla="*/ 5092619 h 6236497"/>
              <a:gd name="connsiteX334" fmla="*/ 390 w 3414727"/>
              <a:gd name="connsiteY334" fmla="*/ 5092619 h 6236497"/>
              <a:gd name="connsiteX335" fmla="*/ 390 w 3414727"/>
              <a:gd name="connsiteY335" fmla="*/ 4917262 h 6236497"/>
              <a:gd name="connsiteX336" fmla="*/ 390 w 3414727"/>
              <a:gd name="connsiteY336" fmla="*/ 4893372 h 6236497"/>
              <a:gd name="connsiteX337" fmla="*/ 391 w 3414727"/>
              <a:gd name="connsiteY337" fmla="*/ 4361244 h 6236497"/>
              <a:gd name="connsiteX338" fmla="*/ 391 w 3414727"/>
              <a:gd name="connsiteY338" fmla="*/ 4107087 h 6236497"/>
              <a:gd name="connsiteX339" fmla="*/ 391 w 3414727"/>
              <a:gd name="connsiteY339" fmla="*/ 4036764 h 6236497"/>
              <a:gd name="connsiteX340" fmla="*/ 1563 w 3414727"/>
              <a:gd name="connsiteY340" fmla="*/ 4036764 h 6236497"/>
              <a:gd name="connsiteX341" fmla="*/ 1563 w 3414727"/>
              <a:gd name="connsiteY341" fmla="*/ 3820347 h 6236497"/>
              <a:gd name="connsiteX342" fmla="*/ 0 w 3414727"/>
              <a:gd name="connsiteY342" fmla="*/ 3820347 h 6236497"/>
              <a:gd name="connsiteX343" fmla="*/ 0 w 3414727"/>
              <a:gd name="connsiteY343" fmla="*/ 2970967 h 6236497"/>
              <a:gd name="connsiteX344" fmla="*/ 76625 w 3414727"/>
              <a:gd name="connsiteY344" fmla="*/ 2970967 h 6236497"/>
              <a:gd name="connsiteX345" fmla="*/ 654797 w 3414727"/>
              <a:gd name="connsiteY345" fmla="*/ 2970967 h 6236497"/>
              <a:gd name="connsiteX346" fmla="*/ 699648 w 3414727"/>
              <a:gd name="connsiteY346" fmla="*/ 2970967 h 6236497"/>
              <a:gd name="connsiteX347" fmla="*/ 731422 w 3414727"/>
              <a:gd name="connsiteY347" fmla="*/ 2970967 h 6236497"/>
              <a:gd name="connsiteX348" fmla="*/ 776273 w 3414727"/>
              <a:gd name="connsiteY348" fmla="*/ 2970967 h 6236497"/>
              <a:gd name="connsiteX349" fmla="*/ 989863 w 3414727"/>
              <a:gd name="connsiteY349" fmla="*/ 2970967 h 6236497"/>
              <a:gd name="connsiteX350" fmla="*/ 990447 w 3414727"/>
              <a:gd name="connsiteY350" fmla="*/ 2970967 h 6236497"/>
              <a:gd name="connsiteX351" fmla="*/ 990456 w 3414727"/>
              <a:gd name="connsiteY351" fmla="*/ 2970966 h 6236497"/>
              <a:gd name="connsiteX352" fmla="*/ 990466 w 3414727"/>
              <a:gd name="connsiteY352" fmla="*/ 2970967 h 6236497"/>
              <a:gd name="connsiteX353" fmla="*/ 1036986 w 3414727"/>
              <a:gd name="connsiteY353" fmla="*/ 2970967 h 6236497"/>
              <a:gd name="connsiteX354" fmla="*/ 1066487 w 3414727"/>
              <a:gd name="connsiteY354" fmla="*/ 2970967 h 6236497"/>
              <a:gd name="connsiteX355" fmla="*/ 1067071 w 3414727"/>
              <a:gd name="connsiteY355" fmla="*/ 2970967 h 6236497"/>
              <a:gd name="connsiteX356" fmla="*/ 1067081 w 3414727"/>
              <a:gd name="connsiteY356" fmla="*/ 2970966 h 6236497"/>
              <a:gd name="connsiteX357" fmla="*/ 1067090 w 3414727"/>
              <a:gd name="connsiteY357" fmla="*/ 2970967 h 6236497"/>
              <a:gd name="connsiteX358" fmla="*/ 1113611 w 3414727"/>
              <a:gd name="connsiteY358" fmla="*/ 2970967 h 6236497"/>
              <a:gd name="connsiteX359" fmla="*/ 1354445 w 3414727"/>
              <a:gd name="connsiteY359" fmla="*/ 2970967 h 6236497"/>
              <a:gd name="connsiteX360" fmla="*/ 1431070 w 3414727"/>
              <a:gd name="connsiteY360" fmla="*/ 2970967 h 6236497"/>
              <a:gd name="connsiteX361" fmla="*/ 1644660 w 3414727"/>
              <a:gd name="connsiteY361" fmla="*/ 2970967 h 6236497"/>
              <a:gd name="connsiteX362" fmla="*/ 1645244 w 3414727"/>
              <a:gd name="connsiteY362" fmla="*/ 2970967 h 6236497"/>
              <a:gd name="connsiteX363" fmla="*/ 1645253 w 3414727"/>
              <a:gd name="connsiteY363" fmla="*/ 2970966 h 6236497"/>
              <a:gd name="connsiteX364" fmla="*/ 1645263 w 3414727"/>
              <a:gd name="connsiteY364" fmla="*/ 2970967 h 6236497"/>
              <a:gd name="connsiteX365" fmla="*/ 1689510 w 3414727"/>
              <a:gd name="connsiteY365" fmla="*/ 2970967 h 6236497"/>
              <a:gd name="connsiteX366" fmla="*/ 1690094 w 3414727"/>
              <a:gd name="connsiteY366" fmla="*/ 2970967 h 6236497"/>
              <a:gd name="connsiteX367" fmla="*/ 1690104 w 3414727"/>
              <a:gd name="connsiteY367" fmla="*/ 2970966 h 6236497"/>
              <a:gd name="connsiteX368" fmla="*/ 1690113 w 3414727"/>
              <a:gd name="connsiteY368" fmla="*/ 2970967 h 6236497"/>
              <a:gd name="connsiteX369" fmla="*/ 1691783 w 3414727"/>
              <a:gd name="connsiteY369" fmla="*/ 2970967 h 6236497"/>
              <a:gd name="connsiteX370" fmla="*/ 1721284 w 3414727"/>
              <a:gd name="connsiteY370" fmla="*/ 2970967 h 6236497"/>
              <a:gd name="connsiteX371" fmla="*/ 1721868 w 3414727"/>
              <a:gd name="connsiteY371" fmla="*/ 2970967 h 6236497"/>
              <a:gd name="connsiteX372" fmla="*/ 1721878 w 3414727"/>
              <a:gd name="connsiteY372" fmla="*/ 2970966 h 6236497"/>
              <a:gd name="connsiteX373" fmla="*/ 1721887 w 3414727"/>
              <a:gd name="connsiteY373" fmla="*/ 2970967 h 6236497"/>
              <a:gd name="connsiteX374" fmla="*/ 1736634 w 3414727"/>
              <a:gd name="connsiteY374" fmla="*/ 2970967 h 6236497"/>
              <a:gd name="connsiteX375" fmla="*/ 1766135 w 3414727"/>
              <a:gd name="connsiteY375" fmla="*/ 2970967 h 6236497"/>
              <a:gd name="connsiteX376" fmla="*/ 1766718 w 3414727"/>
              <a:gd name="connsiteY376" fmla="*/ 2970967 h 6236497"/>
              <a:gd name="connsiteX377" fmla="*/ 1766728 w 3414727"/>
              <a:gd name="connsiteY377" fmla="*/ 2970966 h 6236497"/>
              <a:gd name="connsiteX378" fmla="*/ 1766737 w 3414727"/>
              <a:gd name="connsiteY378" fmla="*/ 2970967 h 6236497"/>
              <a:gd name="connsiteX379" fmla="*/ 1768408 w 3414727"/>
              <a:gd name="connsiteY379" fmla="*/ 2970967 h 6236497"/>
              <a:gd name="connsiteX380" fmla="*/ 1813259 w 3414727"/>
              <a:gd name="connsiteY380" fmla="*/ 2970967 h 6236497"/>
              <a:gd name="connsiteX381" fmla="*/ 2344307 w 3414727"/>
              <a:gd name="connsiteY381" fmla="*/ 2970967 h 6236497"/>
              <a:gd name="connsiteX382" fmla="*/ 2344891 w 3414727"/>
              <a:gd name="connsiteY382" fmla="*/ 2970967 h 6236497"/>
              <a:gd name="connsiteX383" fmla="*/ 2344900 w 3414727"/>
              <a:gd name="connsiteY383" fmla="*/ 2970966 h 6236497"/>
              <a:gd name="connsiteX384" fmla="*/ 2344910 w 3414727"/>
              <a:gd name="connsiteY384" fmla="*/ 2970967 h 6236497"/>
              <a:gd name="connsiteX385" fmla="*/ 2391431 w 3414727"/>
              <a:gd name="connsiteY385" fmla="*/ 2970967 h 6236497"/>
              <a:gd name="connsiteX386" fmla="*/ 2420932 w 3414727"/>
              <a:gd name="connsiteY386" fmla="*/ 2970967 h 6236497"/>
              <a:gd name="connsiteX387" fmla="*/ 2421516 w 3414727"/>
              <a:gd name="connsiteY387" fmla="*/ 2970967 h 6236497"/>
              <a:gd name="connsiteX388" fmla="*/ 2421525 w 3414727"/>
              <a:gd name="connsiteY388" fmla="*/ 2970966 h 6236497"/>
              <a:gd name="connsiteX389" fmla="*/ 2421534 w 3414727"/>
              <a:gd name="connsiteY389" fmla="*/ 2970967 h 6236497"/>
              <a:gd name="connsiteX390" fmla="*/ 2468056 w 3414727"/>
              <a:gd name="connsiteY390" fmla="*/ 2970967 h 6236497"/>
              <a:gd name="connsiteX391" fmla="*/ 2468056 w 3414727"/>
              <a:gd name="connsiteY391" fmla="*/ 2973406 h 6236497"/>
              <a:gd name="connsiteX392" fmla="*/ 2516007 w 3414727"/>
              <a:gd name="connsiteY392" fmla="*/ 2975890 h 6236497"/>
              <a:gd name="connsiteX393" fmla="*/ 2518917 w 3414727"/>
              <a:gd name="connsiteY393" fmla="*/ 2976345 h 6236497"/>
              <a:gd name="connsiteX394" fmla="*/ 2522794 w 3414727"/>
              <a:gd name="connsiteY394" fmla="*/ 2976559 h 6236497"/>
              <a:gd name="connsiteX395" fmla="*/ 2693409 w 3414727"/>
              <a:gd name="connsiteY395" fmla="*/ 3012284 h 6236497"/>
              <a:gd name="connsiteX396" fmla="*/ 2697422 w 3414727"/>
              <a:gd name="connsiteY396" fmla="*/ 3013743 h 6236497"/>
              <a:gd name="connsiteX397" fmla="*/ 2698115 w 3414727"/>
              <a:gd name="connsiteY397" fmla="*/ 3013925 h 6236497"/>
              <a:gd name="connsiteX398" fmla="*/ 2705001 w 3414727"/>
              <a:gd name="connsiteY398" fmla="*/ 3016499 h 6236497"/>
              <a:gd name="connsiteX399" fmla="*/ 2774482 w 3414727"/>
              <a:gd name="connsiteY399" fmla="*/ 3041760 h 6236497"/>
              <a:gd name="connsiteX400" fmla="*/ 2781614 w 3414727"/>
              <a:gd name="connsiteY400" fmla="*/ 3045126 h 6236497"/>
              <a:gd name="connsiteX401" fmla="*/ 2784325 w 3414727"/>
              <a:gd name="connsiteY401" fmla="*/ 3046139 h 6236497"/>
              <a:gd name="connsiteX402" fmla="*/ 2798976 w 3414727"/>
              <a:gd name="connsiteY402" fmla="*/ 3053324 h 6236497"/>
              <a:gd name="connsiteX403" fmla="*/ 2852281 w 3414727"/>
              <a:gd name="connsiteY403" fmla="*/ 3078487 h 6236497"/>
              <a:gd name="connsiteX404" fmla="*/ 2862229 w 3414727"/>
              <a:gd name="connsiteY404" fmla="*/ 3084334 h 6236497"/>
              <a:gd name="connsiteX405" fmla="*/ 2866757 w 3414727"/>
              <a:gd name="connsiteY405" fmla="*/ 3086553 h 6236497"/>
              <a:gd name="connsiteX406" fmla="*/ 2882655 w 3414727"/>
              <a:gd name="connsiteY406" fmla="*/ 3096341 h 6236497"/>
              <a:gd name="connsiteX407" fmla="*/ 2926469 w 3414727"/>
              <a:gd name="connsiteY407" fmla="*/ 3122094 h 6236497"/>
              <a:gd name="connsiteX408" fmla="*/ 2938885 w 3414727"/>
              <a:gd name="connsiteY408" fmla="*/ 3130954 h 6236497"/>
              <a:gd name="connsiteX409" fmla="*/ 2945002 w 3414727"/>
              <a:gd name="connsiteY409" fmla="*/ 3134718 h 6236497"/>
              <a:gd name="connsiteX410" fmla="*/ 2960142 w 3414727"/>
              <a:gd name="connsiteY410" fmla="*/ 3146121 h 6236497"/>
              <a:gd name="connsiteX411" fmla="*/ 2996705 w 3414727"/>
              <a:gd name="connsiteY411" fmla="*/ 3172212 h 6236497"/>
              <a:gd name="connsiteX412" fmla="*/ 3011193 w 3414727"/>
              <a:gd name="connsiteY412" fmla="*/ 3184572 h 6236497"/>
              <a:gd name="connsiteX413" fmla="*/ 3018650 w 3414727"/>
              <a:gd name="connsiteY413" fmla="*/ 3190186 h 6236497"/>
              <a:gd name="connsiteX414" fmla="*/ 3032228 w 3414727"/>
              <a:gd name="connsiteY414" fmla="*/ 3202514 h 6236497"/>
              <a:gd name="connsiteX415" fmla="*/ 3062657 w 3414727"/>
              <a:gd name="connsiteY415" fmla="*/ 3228469 h 6236497"/>
              <a:gd name="connsiteX416" fmla="*/ 3078773 w 3414727"/>
              <a:gd name="connsiteY416" fmla="*/ 3244774 h 6236497"/>
              <a:gd name="connsiteX417" fmla="*/ 3087290 w 3414727"/>
              <a:gd name="connsiteY417" fmla="*/ 3252505 h 6236497"/>
              <a:gd name="connsiteX418" fmla="*/ 3098972 w 3414727"/>
              <a:gd name="connsiteY418" fmla="*/ 3265205 h 6236497"/>
              <a:gd name="connsiteX419" fmla="*/ 3123981 w 3414727"/>
              <a:gd name="connsiteY419" fmla="*/ 3290500 h 6236497"/>
              <a:gd name="connsiteX420" fmla="*/ 3141242 w 3414727"/>
              <a:gd name="connsiteY420" fmla="*/ 3311153 h 6236497"/>
              <a:gd name="connsiteX421" fmla="*/ 3150512 w 3414727"/>
              <a:gd name="connsiteY421" fmla="*/ 3321230 h 6236497"/>
              <a:gd name="connsiteX422" fmla="*/ 3160193 w 3414727"/>
              <a:gd name="connsiteY422" fmla="*/ 3333827 h 6236497"/>
              <a:gd name="connsiteX423" fmla="*/ 3180340 w 3414727"/>
              <a:gd name="connsiteY423" fmla="*/ 3357933 h 6236497"/>
              <a:gd name="connsiteX424" fmla="*/ 3198220 w 3414727"/>
              <a:gd name="connsiteY424" fmla="*/ 3383309 h 6236497"/>
              <a:gd name="connsiteX425" fmla="*/ 3207904 w 3414727"/>
              <a:gd name="connsiteY425" fmla="*/ 3395909 h 6236497"/>
              <a:gd name="connsiteX426" fmla="*/ 3215609 w 3414727"/>
              <a:gd name="connsiteY426" fmla="*/ 3407989 h 6236497"/>
              <a:gd name="connsiteX427" fmla="*/ 3231400 w 3414727"/>
              <a:gd name="connsiteY427" fmla="*/ 3430397 h 6236497"/>
              <a:gd name="connsiteX428" fmla="*/ 3249335 w 3414727"/>
              <a:gd name="connsiteY428" fmla="*/ 3460855 h 6236497"/>
              <a:gd name="connsiteX429" fmla="*/ 3259057 w 3414727"/>
              <a:gd name="connsiteY429" fmla="*/ 3476095 h 6236497"/>
              <a:gd name="connsiteX430" fmla="*/ 3264899 w 3414727"/>
              <a:gd name="connsiteY430" fmla="*/ 3487285 h 6236497"/>
              <a:gd name="connsiteX431" fmla="*/ 3276817 w 3414727"/>
              <a:gd name="connsiteY431" fmla="*/ 3507524 h 6236497"/>
              <a:gd name="connsiteX432" fmla="*/ 3294209 w 3414727"/>
              <a:gd name="connsiteY432" fmla="*/ 3543430 h 6236497"/>
              <a:gd name="connsiteX433" fmla="*/ 3303560 w 3414727"/>
              <a:gd name="connsiteY433" fmla="*/ 3561338 h 6236497"/>
              <a:gd name="connsiteX434" fmla="*/ 3307711 w 3414727"/>
              <a:gd name="connsiteY434" fmla="*/ 3571302 h 6236497"/>
              <a:gd name="connsiteX435" fmla="*/ 3316258 w 3414727"/>
              <a:gd name="connsiteY435" fmla="*/ 3588944 h 6236497"/>
              <a:gd name="connsiteX436" fmla="*/ 3332479 w 3414727"/>
              <a:gd name="connsiteY436" fmla="*/ 3630736 h 6236497"/>
              <a:gd name="connsiteX437" fmla="*/ 3341004 w 3414727"/>
              <a:gd name="connsiteY437" fmla="*/ 3651191 h 6236497"/>
              <a:gd name="connsiteX438" fmla="*/ 3343691 w 3414727"/>
              <a:gd name="connsiteY438" fmla="*/ 3659622 h 6236497"/>
              <a:gd name="connsiteX439" fmla="*/ 3349383 w 3414727"/>
              <a:gd name="connsiteY439" fmla="*/ 3674287 h 6236497"/>
              <a:gd name="connsiteX440" fmla="*/ 3363773 w 3414727"/>
              <a:gd name="connsiteY440" fmla="*/ 3722614 h 6236497"/>
              <a:gd name="connsiteX441" fmla="*/ 3370974 w 3414727"/>
              <a:gd name="connsiteY441" fmla="*/ 3745202 h 6236497"/>
              <a:gd name="connsiteX442" fmla="*/ 3372473 w 3414727"/>
              <a:gd name="connsiteY442" fmla="*/ 3751829 h 6236497"/>
              <a:gd name="connsiteX443" fmla="*/ 3375854 w 3414727"/>
              <a:gd name="connsiteY443" fmla="*/ 3763184 h 6236497"/>
              <a:gd name="connsiteX444" fmla="*/ 3387727 w 3414727"/>
              <a:gd name="connsiteY444" fmla="*/ 3819313 h 6236497"/>
              <a:gd name="connsiteX445" fmla="*/ 3387961 w 3414727"/>
              <a:gd name="connsiteY445" fmla="*/ 3820347 h 6236497"/>
              <a:gd name="connsiteX446" fmla="*/ 3389524 w 3414727"/>
              <a:gd name="connsiteY446" fmla="*/ 3820347 h 6236497"/>
              <a:gd name="connsiteX447" fmla="*/ 3394628 w 3414727"/>
              <a:gd name="connsiteY447" fmla="*/ 3848009 h 6236497"/>
              <a:gd name="connsiteX448" fmla="*/ 3395253 w 3414727"/>
              <a:gd name="connsiteY448" fmla="*/ 3853613 h 6236497"/>
              <a:gd name="connsiteX449" fmla="*/ 3396896 w 3414727"/>
              <a:gd name="connsiteY449" fmla="*/ 3863126 h 6236497"/>
              <a:gd name="connsiteX450" fmla="*/ 3405541 w 3414727"/>
              <a:gd name="connsiteY450" fmla="*/ 3945853 h 6236497"/>
              <a:gd name="connsiteX451" fmla="*/ 3408427 w 3414727"/>
              <a:gd name="connsiteY451" fmla="*/ 3971731 h 6236497"/>
              <a:gd name="connsiteX452" fmla="*/ 3408528 w 3414727"/>
              <a:gd name="connsiteY452" fmla="*/ 3974454 h 6236497"/>
              <a:gd name="connsiteX453" fmla="*/ 3409045 w 3414727"/>
              <a:gd name="connsiteY453" fmla="*/ 3979387 h 6236497"/>
              <a:gd name="connsiteX454" fmla="*/ 3411073 w 3414727"/>
              <a:gd name="connsiteY454" fmla="*/ 4036764 h 6236497"/>
              <a:gd name="connsiteX455" fmla="*/ 3413544 w 3414727"/>
              <a:gd name="connsiteY455" fmla="*/ 4036764 h 6236497"/>
              <a:gd name="connsiteX456" fmla="*/ 3413544 w 3414727"/>
              <a:gd name="connsiteY456" fmla="*/ 4089662 h 6236497"/>
              <a:gd name="connsiteX457" fmla="*/ 3413544 w 3414727"/>
              <a:gd name="connsiteY457" fmla="*/ 4106691 h 6236497"/>
              <a:gd name="connsiteX458" fmla="*/ 3413544 w 3414727"/>
              <a:gd name="connsiteY458" fmla="*/ 4107087 h 6236497"/>
              <a:gd name="connsiteX459" fmla="*/ 3413544 w 3414727"/>
              <a:gd name="connsiteY459" fmla="*/ 4107088 h 6236497"/>
              <a:gd name="connsiteX460" fmla="*/ 3414727 w 3414727"/>
              <a:gd name="connsiteY460" fmla="*/ 4107088 h 6236497"/>
              <a:gd name="connsiteX461" fmla="*/ 3414727 w 3414727"/>
              <a:gd name="connsiteY461" fmla="*/ 4205685 h 6236497"/>
              <a:gd name="connsiteX462" fmla="*/ 3414727 w 3414727"/>
              <a:gd name="connsiteY462" fmla="*/ 4361244 h 6236497"/>
              <a:gd name="connsiteX463" fmla="*/ 3414727 w 3414727"/>
              <a:gd name="connsiteY463" fmla="*/ 4464225 h 6236497"/>
              <a:gd name="connsiteX464" fmla="*/ 3414727 w 3414727"/>
              <a:gd name="connsiteY464" fmla="*/ 4893372 h 6236497"/>
              <a:gd name="connsiteX465" fmla="*/ 3414727 w 3414727"/>
              <a:gd name="connsiteY465" fmla="*/ 4917262 h 6236497"/>
              <a:gd name="connsiteX466" fmla="*/ 3414727 w 3414727"/>
              <a:gd name="connsiteY466" fmla="*/ 5005534 h 6236497"/>
              <a:gd name="connsiteX467" fmla="*/ 3414727 w 3414727"/>
              <a:gd name="connsiteY467" fmla="*/ 5029836 h 6236497"/>
              <a:gd name="connsiteX468" fmla="*/ 3414727 w 3414727"/>
              <a:gd name="connsiteY468" fmla="*/ 5092619 h 6236497"/>
              <a:gd name="connsiteX469" fmla="*/ 3414727 w 3414727"/>
              <a:gd name="connsiteY469" fmla="*/ 5146174 h 6236497"/>
              <a:gd name="connsiteX470" fmla="*/ 3414727 w 3414727"/>
              <a:gd name="connsiteY470" fmla="*/ 5208218 h 6236497"/>
              <a:gd name="connsiteX471" fmla="*/ 3414727 w 3414727"/>
              <a:gd name="connsiteY471" fmla="*/ 5262696 h 6236497"/>
              <a:gd name="connsiteX472" fmla="*/ 3413555 w 3414727"/>
              <a:gd name="connsiteY472" fmla="*/ 5262696 h 6236497"/>
              <a:gd name="connsiteX473" fmla="*/ 3413555 w 3414727"/>
              <a:gd name="connsiteY473" fmla="*/ 6103456 h 62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</a:cxnLst>
            <a:rect l="l" t="t" r="r" b="b"/>
            <a:pathLst>
              <a:path w="3414727" h="6236497">
                <a:moveTo>
                  <a:pt x="2512549" y="2970965"/>
                </a:moveTo>
                <a:lnTo>
                  <a:pt x="2512540" y="2970965"/>
                </a:lnTo>
                <a:lnTo>
                  <a:pt x="2470215" y="2970965"/>
                </a:lnTo>
                <a:lnTo>
                  <a:pt x="2452570" y="2970965"/>
                </a:lnTo>
                <a:lnTo>
                  <a:pt x="2452038" y="2970965"/>
                </a:lnTo>
                <a:lnTo>
                  <a:pt x="2452030" y="2970965"/>
                </a:lnTo>
                <a:lnTo>
                  <a:pt x="2452021" y="2970965"/>
                </a:lnTo>
                <a:lnTo>
                  <a:pt x="2409696" y="2970965"/>
                </a:lnTo>
                <a:lnTo>
                  <a:pt x="1876553" y="2970964"/>
                </a:lnTo>
                <a:lnTo>
                  <a:pt x="1876021" y="2970964"/>
                </a:lnTo>
                <a:lnTo>
                  <a:pt x="1876013" y="2970965"/>
                </a:lnTo>
                <a:lnTo>
                  <a:pt x="1876004" y="2970964"/>
                </a:lnTo>
                <a:lnTo>
                  <a:pt x="1833680" y="2970964"/>
                </a:lnTo>
                <a:lnTo>
                  <a:pt x="1816034" y="2970964"/>
                </a:lnTo>
                <a:lnTo>
                  <a:pt x="1815502" y="2970964"/>
                </a:lnTo>
                <a:lnTo>
                  <a:pt x="1815494" y="2970965"/>
                </a:lnTo>
                <a:lnTo>
                  <a:pt x="1815485" y="2970964"/>
                </a:lnTo>
                <a:lnTo>
                  <a:pt x="1773160" y="2970964"/>
                </a:lnTo>
                <a:lnTo>
                  <a:pt x="1773160" y="2968858"/>
                </a:lnTo>
                <a:lnTo>
                  <a:pt x="1729534" y="2966714"/>
                </a:lnTo>
                <a:lnTo>
                  <a:pt x="1726886" y="2966321"/>
                </a:lnTo>
                <a:lnTo>
                  <a:pt x="1723361" y="2966137"/>
                </a:lnTo>
                <a:cubicBezTo>
                  <a:pt x="1670112" y="2960524"/>
                  <a:pt x="1618234" y="2950099"/>
                  <a:pt x="1568135" y="2935289"/>
                </a:cubicBezTo>
                <a:lnTo>
                  <a:pt x="1564484" y="2934028"/>
                </a:lnTo>
                <a:lnTo>
                  <a:pt x="1563854" y="2933871"/>
                </a:lnTo>
                <a:lnTo>
                  <a:pt x="1557589" y="2931649"/>
                </a:lnTo>
                <a:lnTo>
                  <a:pt x="1494375" y="2909837"/>
                </a:lnTo>
                <a:lnTo>
                  <a:pt x="1487887" y="2906929"/>
                </a:lnTo>
                <a:lnTo>
                  <a:pt x="1485421" y="2906055"/>
                </a:lnTo>
                <a:lnTo>
                  <a:pt x="1472090" y="2899851"/>
                </a:lnTo>
                <a:lnTo>
                  <a:pt x="1423594" y="2878124"/>
                </a:lnTo>
                <a:lnTo>
                  <a:pt x="1414543" y="2873074"/>
                </a:lnTo>
                <a:lnTo>
                  <a:pt x="1410423" y="2871157"/>
                </a:lnTo>
                <a:lnTo>
                  <a:pt x="1395959" y="2862706"/>
                </a:lnTo>
                <a:lnTo>
                  <a:pt x="1356099" y="2840469"/>
                </a:lnTo>
                <a:lnTo>
                  <a:pt x="1344802" y="2832818"/>
                </a:lnTo>
                <a:lnTo>
                  <a:pt x="1339236" y="2829568"/>
                </a:lnTo>
                <a:lnTo>
                  <a:pt x="1325463" y="2819722"/>
                </a:lnTo>
                <a:lnTo>
                  <a:pt x="1292197" y="2797193"/>
                </a:lnTo>
                <a:lnTo>
                  <a:pt x="1279016" y="2786522"/>
                </a:lnTo>
                <a:lnTo>
                  <a:pt x="1272232" y="2781673"/>
                </a:lnTo>
                <a:lnTo>
                  <a:pt x="1259879" y="2771028"/>
                </a:lnTo>
                <a:lnTo>
                  <a:pt x="1232195" y="2748614"/>
                </a:lnTo>
                <a:lnTo>
                  <a:pt x="1217532" y="2734537"/>
                </a:lnTo>
                <a:lnTo>
                  <a:pt x="1209783" y="2727860"/>
                </a:lnTo>
                <a:lnTo>
                  <a:pt x="1199155" y="2716895"/>
                </a:lnTo>
                <a:lnTo>
                  <a:pt x="1176403" y="2695052"/>
                </a:lnTo>
                <a:lnTo>
                  <a:pt x="1160698" y="2677218"/>
                </a:lnTo>
                <a:lnTo>
                  <a:pt x="1152264" y="2668518"/>
                </a:lnTo>
                <a:lnTo>
                  <a:pt x="1143457" y="2657640"/>
                </a:lnTo>
                <a:lnTo>
                  <a:pt x="1125127" y="2636825"/>
                </a:lnTo>
                <a:lnTo>
                  <a:pt x="1108859" y="2614912"/>
                </a:lnTo>
                <a:lnTo>
                  <a:pt x="1100049" y="2604033"/>
                </a:lnTo>
                <a:lnTo>
                  <a:pt x="1093039" y="2593602"/>
                </a:lnTo>
                <a:lnTo>
                  <a:pt x="1078674" y="2574253"/>
                </a:lnTo>
                <a:lnTo>
                  <a:pt x="1062357" y="2547954"/>
                </a:lnTo>
                <a:lnTo>
                  <a:pt x="1053511" y="2534794"/>
                </a:lnTo>
                <a:lnTo>
                  <a:pt x="1048196" y="2525132"/>
                </a:lnTo>
                <a:lnTo>
                  <a:pt x="1037353" y="2507655"/>
                </a:lnTo>
                <a:lnTo>
                  <a:pt x="1021530" y="2476651"/>
                </a:lnTo>
                <a:lnTo>
                  <a:pt x="1013023" y="2461187"/>
                </a:lnTo>
                <a:lnTo>
                  <a:pt x="1009246" y="2452584"/>
                </a:lnTo>
                <a:lnTo>
                  <a:pt x="1001470" y="2437350"/>
                </a:lnTo>
                <a:lnTo>
                  <a:pt x="986712" y="2401263"/>
                </a:lnTo>
                <a:lnTo>
                  <a:pt x="978957" y="2383601"/>
                </a:lnTo>
                <a:lnTo>
                  <a:pt x="976512" y="2376320"/>
                </a:lnTo>
                <a:lnTo>
                  <a:pt x="971333" y="2363657"/>
                </a:lnTo>
                <a:lnTo>
                  <a:pt x="958241" y="2321929"/>
                </a:lnTo>
                <a:lnTo>
                  <a:pt x="951689" y="2302423"/>
                </a:lnTo>
                <a:lnTo>
                  <a:pt x="950326" y="2296701"/>
                </a:lnTo>
                <a:lnTo>
                  <a:pt x="947250" y="2286896"/>
                </a:lnTo>
                <a:lnTo>
                  <a:pt x="936447" y="2238430"/>
                </a:lnTo>
                <a:lnTo>
                  <a:pt x="931592" y="2218041"/>
                </a:lnTo>
                <a:lnTo>
                  <a:pt x="931023" y="2214091"/>
                </a:lnTo>
                <a:lnTo>
                  <a:pt x="929529" y="2207385"/>
                </a:lnTo>
                <a:lnTo>
                  <a:pt x="921664" y="2149080"/>
                </a:lnTo>
                <a:lnTo>
                  <a:pt x="919038" y="2130842"/>
                </a:lnTo>
                <a:lnTo>
                  <a:pt x="918944" y="2128921"/>
                </a:lnTo>
                <a:lnTo>
                  <a:pt x="918475" y="2125444"/>
                </a:lnTo>
                <a:lnTo>
                  <a:pt x="916631" y="2085006"/>
                </a:lnTo>
                <a:lnTo>
                  <a:pt x="914381" y="2085006"/>
                </a:lnTo>
                <a:lnTo>
                  <a:pt x="914381" y="2055911"/>
                </a:lnTo>
                <a:lnTo>
                  <a:pt x="912470" y="2041981"/>
                </a:lnTo>
                <a:lnTo>
                  <a:pt x="909844" y="2024052"/>
                </a:lnTo>
                <a:lnTo>
                  <a:pt x="909750" y="2022164"/>
                </a:lnTo>
                <a:lnTo>
                  <a:pt x="909281" y="2018746"/>
                </a:lnTo>
                <a:lnTo>
                  <a:pt x="907437" y="1978994"/>
                </a:lnTo>
                <a:lnTo>
                  <a:pt x="905187" y="1978994"/>
                </a:lnTo>
                <a:lnTo>
                  <a:pt x="905187" y="1942343"/>
                </a:lnTo>
                <a:lnTo>
                  <a:pt x="905187" y="1930545"/>
                </a:lnTo>
                <a:lnTo>
                  <a:pt x="905187" y="1930270"/>
                </a:lnTo>
                <a:lnTo>
                  <a:pt x="904111" y="1930270"/>
                </a:lnTo>
                <a:lnTo>
                  <a:pt x="904111" y="1770731"/>
                </a:lnTo>
                <a:lnTo>
                  <a:pt x="904111" y="1748996"/>
                </a:lnTo>
                <a:lnTo>
                  <a:pt x="904111" y="1264868"/>
                </a:lnTo>
                <a:lnTo>
                  <a:pt x="904111" y="1033638"/>
                </a:lnTo>
                <a:lnTo>
                  <a:pt x="904111" y="969659"/>
                </a:lnTo>
                <a:lnTo>
                  <a:pt x="905177" y="969659"/>
                </a:lnTo>
                <a:lnTo>
                  <a:pt x="905177" y="772763"/>
                </a:lnTo>
                <a:lnTo>
                  <a:pt x="903755" y="772763"/>
                </a:lnTo>
                <a:lnTo>
                  <a:pt x="903755" y="1"/>
                </a:lnTo>
                <a:lnTo>
                  <a:pt x="973468" y="1"/>
                </a:lnTo>
                <a:lnTo>
                  <a:pt x="1540291" y="1"/>
                </a:lnTo>
                <a:lnTo>
                  <a:pt x="1610004" y="1"/>
                </a:lnTo>
                <a:lnTo>
                  <a:pt x="1804327" y="1"/>
                </a:lnTo>
                <a:lnTo>
                  <a:pt x="1804859" y="1"/>
                </a:lnTo>
                <a:lnTo>
                  <a:pt x="1804867" y="0"/>
                </a:lnTo>
                <a:lnTo>
                  <a:pt x="1804876" y="1"/>
                </a:lnTo>
                <a:lnTo>
                  <a:pt x="1847201" y="1"/>
                </a:lnTo>
                <a:lnTo>
                  <a:pt x="1874040" y="1"/>
                </a:lnTo>
                <a:lnTo>
                  <a:pt x="1874571" y="1"/>
                </a:lnTo>
                <a:lnTo>
                  <a:pt x="1874580" y="0"/>
                </a:lnTo>
                <a:lnTo>
                  <a:pt x="1874589" y="1"/>
                </a:lnTo>
                <a:lnTo>
                  <a:pt x="1916913" y="1"/>
                </a:lnTo>
                <a:lnTo>
                  <a:pt x="2440864" y="1"/>
                </a:lnTo>
                <a:lnTo>
                  <a:pt x="2441395" y="1"/>
                </a:lnTo>
                <a:lnTo>
                  <a:pt x="2441403" y="0"/>
                </a:lnTo>
                <a:lnTo>
                  <a:pt x="2441412" y="1"/>
                </a:lnTo>
                <a:lnTo>
                  <a:pt x="2483737" y="1"/>
                </a:lnTo>
                <a:lnTo>
                  <a:pt x="2510576" y="1"/>
                </a:lnTo>
                <a:lnTo>
                  <a:pt x="2511107" y="1"/>
                </a:lnTo>
                <a:lnTo>
                  <a:pt x="2511116" y="0"/>
                </a:lnTo>
                <a:lnTo>
                  <a:pt x="2511124" y="1"/>
                </a:lnTo>
                <a:lnTo>
                  <a:pt x="2553450" y="1"/>
                </a:lnTo>
                <a:lnTo>
                  <a:pt x="2553450" y="2220"/>
                </a:lnTo>
                <a:lnTo>
                  <a:pt x="2597076" y="4480"/>
                </a:lnTo>
                <a:lnTo>
                  <a:pt x="2599722" y="4894"/>
                </a:lnTo>
                <a:lnTo>
                  <a:pt x="2603249" y="5088"/>
                </a:lnTo>
                <a:cubicBezTo>
                  <a:pt x="2656499" y="11002"/>
                  <a:pt x="2708377" y="21985"/>
                  <a:pt x="2758475" y="37591"/>
                </a:cubicBezTo>
                <a:lnTo>
                  <a:pt x="2762127" y="38918"/>
                </a:lnTo>
                <a:lnTo>
                  <a:pt x="2762756" y="39084"/>
                </a:lnTo>
                <a:lnTo>
                  <a:pt x="2769021" y="41426"/>
                </a:lnTo>
                <a:lnTo>
                  <a:pt x="2832235" y="64408"/>
                </a:lnTo>
                <a:lnTo>
                  <a:pt x="2838723" y="67471"/>
                </a:lnTo>
                <a:lnTo>
                  <a:pt x="2841189" y="68393"/>
                </a:lnTo>
                <a:lnTo>
                  <a:pt x="2854520" y="74929"/>
                </a:lnTo>
                <a:lnTo>
                  <a:pt x="2903015" y="97822"/>
                </a:lnTo>
                <a:lnTo>
                  <a:pt x="2912067" y="103142"/>
                </a:lnTo>
                <a:lnTo>
                  <a:pt x="2916186" y="105161"/>
                </a:lnTo>
                <a:lnTo>
                  <a:pt x="2930651" y="114065"/>
                </a:lnTo>
                <a:lnTo>
                  <a:pt x="2970512" y="137496"/>
                </a:lnTo>
                <a:lnTo>
                  <a:pt x="2981807" y="145556"/>
                </a:lnTo>
                <a:lnTo>
                  <a:pt x="2987374" y="148981"/>
                </a:lnTo>
                <a:lnTo>
                  <a:pt x="3001148" y="159355"/>
                </a:lnTo>
                <a:lnTo>
                  <a:pt x="3034413" y="183092"/>
                </a:lnTo>
                <a:lnTo>
                  <a:pt x="3047594" y="194337"/>
                </a:lnTo>
                <a:lnTo>
                  <a:pt x="3054378" y="199445"/>
                </a:lnTo>
                <a:lnTo>
                  <a:pt x="3066731" y="210661"/>
                </a:lnTo>
                <a:lnTo>
                  <a:pt x="3094414" y="234276"/>
                </a:lnTo>
                <a:lnTo>
                  <a:pt x="3109078" y="249109"/>
                </a:lnTo>
                <a:lnTo>
                  <a:pt x="3116826" y="256143"/>
                </a:lnTo>
                <a:lnTo>
                  <a:pt x="3127454" y="267697"/>
                </a:lnTo>
                <a:lnTo>
                  <a:pt x="3150207" y="290711"/>
                </a:lnTo>
                <a:lnTo>
                  <a:pt x="3165912" y="309501"/>
                </a:lnTo>
                <a:lnTo>
                  <a:pt x="3174345" y="318669"/>
                </a:lnTo>
                <a:lnTo>
                  <a:pt x="3183153" y="330130"/>
                </a:lnTo>
                <a:lnTo>
                  <a:pt x="3201483" y="352061"/>
                </a:lnTo>
                <a:lnTo>
                  <a:pt x="3217750" y="375148"/>
                </a:lnTo>
                <a:lnTo>
                  <a:pt x="3226560" y="386611"/>
                </a:lnTo>
                <a:lnTo>
                  <a:pt x="3233571" y="397601"/>
                </a:lnTo>
                <a:lnTo>
                  <a:pt x="3247936" y="417988"/>
                </a:lnTo>
                <a:lnTo>
                  <a:pt x="3264253" y="445698"/>
                </a:lnTo>
                <a:lnTo>
                  <a:pt x="3273099" y="459564"/>
                </a:lnTo>
                <a:lnTo>
                  <a:pt x="3278414" y="469744"/>
                </a:lnTo>
                <a:lnTo>
                  <a:pt x="3289257" y="488158"/>
                </a:lnTo>
                <a:lnTo>
                  <a:pt x="3305080" y="520825"/>
                </a:lnTo>
                <a:lnTo>
                  <a:pt x="3313588" y="537118"/>
                </a:lnTo>
                <a:lnTo>
                  <a:pt x="3317364" y="546183"/>
                </a:lnTo>
                <a:lnTo>
                  <a:pt x="3325140" y="562233"/>
                </a:lnTo>
                <a:lnTo>
                  <a:pt x="3339897" y="600256"/>
                </a:lnTo>
                <a:lnTo>
                  <a:pt x="3347654" y="618866"/>
                </a:lnTo>
                <a:lnTo>
                  <a:pt x="3350099" y="626536"/>
                </a:lnTo>
                <a:lnTo>
                  <a:pt x="3355277" y="639878"/>
                </a:lnTo>
                <a:lnTo>
                  <a:pt x="3368369" y="683845"/>
                </a:lnTo>
                <a:lnTo>
                  <a:pt x="3374921" y="704397"/>
                </a:lnTo>
                <a:lnTo>
                  <a:pt x="3376284" y="710425"/>
                </a:lnTo>
                <a:lnTo>
                  <a:pt x="3379360" y="720756"/>
                </a:lnTo>
                <a:lnTo>
                  <a:pt x="3390162" y="771822"/>
                </a:lnTo>
                <a:lnTo>
                  <a:pt x="3390375" y="772763"/>
                </a:lnTo>
                <a:lnTo>
                  <a:pt x="3391798" y="772763"/>
                </a:lnTo>
                <a:lnTo>
                  <a:pt x="3396441" y="797930"/>
                </a:lnTo>
                <a:lnTo>
                  <a:pt x="3397009" y="803028"/>
                </a:lnTo>
                <a:lnTo>
                  <a:pt x="3398504" y="811684"/>
                </a:lnTo>
                <a:lnTo>
                  <a:pt x="3406369" y="886948"/>
                </a:lnTo>
                <a:lnTo>
                  <a:pt x="3408995" y="910491"/>
                </a:lnTo>
                <a:lnTo>
                  <a:pt x="3409087" y="912969"/>
                </a:lnTo>
                <a:lnTo>
                  <a:pt x="3409557" y="917458"/>
                </a:lnTo>
                <a:lnTo>
                  <a:pt x="3411402" y="969659"/>
                </a:lnTo>
                <a:lnTo>
                  <a:pt x="3413650" y="969659"/>
                </a:lnTo>
                <a:lnTo>
                  <a:pt x="3413650" y="1017785"/>
                </a:lnTo>
                <a:lnTo>
                  <a:pt x="3413650" y="1033277"/>
                </a:lnTo>
                <a:lnTo>
                  <a:pt x="3413650" y="1033638"/>
                </a:lnTo>
                <a:lnTo>
                  <a:pt x="3413650" y="1033639"/>
                </a:lnTo>
                <a:lnTo>
                  <a:pt x="3414727" y="1033639"/>
                </a:lnTo>
                <a:lnTo>
                  <a:pt x="3414727" y="1123341"/>
                </a:lnTo>
                <a:lnTo>
                  <a:pt x="3414727" y="1264868"/>
                </a:lnTo>
                <a:lnTo>
                  <a:pt x="3414727" y="1358560"/>
                </a:lnTo>
                <a:lnTo>
                  <a:pt x="3414727" y="1748996"/>
                </a:lnTo>
                <a:lnTo>
                  <a:pt x="3414727" y="1770731"/>
                </a:lnTo>
                <a:lnTo>
                  <a:pt x="3414727" y="1851040"/>
                </a:lnTo>
                <a:lnTo>
                  <a:pt x="3414727" y="1873150"/>
                </a:lnTo>
                <a:lnTo>
                  <a:pt x="3414727" y="1930270"/>
                </a:lnTo>
                <a:lnTo>
                  <a:pt x="3414727" y="1978994"/>
                </a:lnTo>
                <a:lnTo>
                  <a:pt x="3414727" y="2035442"/>
                </a:lnTo>
                <a:lnTo>
                  <a:pt x="3414727" y="2085006"/>
                </a:lnTo>
                <a:lnTo>
                  <a:pt x="3413661" y="2085006"/>
                </a:lnTo>
                <a:lnTo>
                  <a:pt x="3413661" y="2849926"/>
                </a:lnTo>
                <a:lnTo>
                  <a:pt x="3413661" y="2970965"/>
                </a:lnTo>
                <a:lnTo>
                  <a:pt x="3353141" y="2970965"/>
                </a:lnTo>
                <a:lnTo>
                  <a:pt x="2777125" y="2970965"/>
                </a:lnTo>
                <a:lnTo>
                  <a:pt x="2716606" y="2970965"/>
                </a:lnTo>
                <a:lnTo>
                  <a:pt x="2513089" y="2970965"/>
                </a:lnTo>
                <a:lnTo>
                  <a:pt x="2512558" y="2970965"/>
                </a:lnTo>
                <a:close/>
                <a:moveTo>
                  <a:pt x="3413555" y="6236497"/>
                </a:moveTo>
                <a:lnTo>
                  <a:pt x="3347035" y="6236497"/>
                </a:lnTo>
                <a:lnTo>
                  <a:pt x="2758758" y="6236497"/>
                </a:lnTo>
                <a:lnTo>
                  <a:pt x="2713908" y="6236497"/>
                </a:lnTo>
                <a:lnTo>
                  <a:pt x="2692238" y="6236497"/>
                </a:lnTo>
                <a:lnTo>
                  <a:pt x="2647388" y="6236497"/>
                </a:lnTo>
                <a:lnTo>
                  <a:pt x="2423694" y="6236497"/>
                </a:lnTo>
                <a:lnTo>
                  <a:pt x="2423109" y="6236497"/>
                </a:lnTo>
                <a:lnTo>
                  <a:pt x="2423100" y="6236497"/>
                </a:lnTo>
                <a:lnTo>
                  <a:pt x="2423090" y="6236497"/>
                </a:lnTo>
                <a:lnTo>
                  <a:pt x="2376569" y="6236497"/>
                </a:lnTo>
                <a:lnTo>
                  <a:pt x="2357173" y="6236497"/>
                </a:lnTo>
                <a:lnTo>
                  <a:pt x="2356590" y="6236497"/>
                </a:lnTo>
                <a:lnTo>
                  <a:pt x="2356581" y="6236497"/>
                </a:lnTo>
                <a:lnTo>
                  <a:pt x="2356571" y="6236497"/>
                </a:lnTo>
                <a:lnTo>
                  <a:pt x="2310049" y="6236497"/>
                </a:lnTo>
                <a:lnTo>
                  <a:pt x="2059112" y="6236497"/>
                </a:lnTo>
                <a:lnTo>
                  <a:pt x="1992591" y="6236497"/>
                </a:lnTo>
                <a:lnTo>
                  <a:pt x="1768897" y="6236497"/>
                </a:lnTo>
                <a:lnTo>
                  <a:pt x="1768312" y="6236497"/>
                </a:lnTo>
                <a:lnTo>
                  <a:pt x="1768303" y="6236497"/>
                </a:lnTo>
                <a:lnTo>
                  <a:pt x="1768293" y="6236497"/>
                </a:lnTo>
                <a:lnTo>
                  <a:pt x="1724047" y="6236497"/>
                </a:lnTo>
                <a:lnTo>
                  <a:pt x="1723462" y="6236497"/>
                </a:lnTo>
                <a:lnTo>
                  <a:pt x="1723453" y="6236497"/>
                </a:lnTo>
                <a:lnTo>
                  <a:pt x="1723443" y="6236497"/>
                </a:lnTo>
                <a:lnTo>
                  <a:pt x="1721772" y="6236497"/>
                </a:lnTo>
                <a:lnTo>
                  <a:pt x="1702376" y="6236497"/>
                </a:lnTo>
                <a:lnTo>
                  <a:pt x="1701793" y="6236497"/>
                </a:lnTo>
                <a:lnTo>
                  <a:pt x="1701784" y="6236497"/>
                </a:lnTo>
                <a:lnTo>
                  <a:pt x="1701774" y="6236497"/>
                </a:lnTo>
                <a:lnTo>
                  <a:pt x="1676921" y="6236497"/>
                </a:lnTo>
                <a:lnTo>
                  <a:pt x="1657527" y="6236497"/>
                </a:lnTo>
                <a:lnTo>
                  <a:pt x="1656943" y="6236497"/>
                </a:lnTo>
                <a:lnTo>
                  <a:pt x="1656933" y="6236497"/>
                </a:lnTo>
                <a:lnTo>
                  <a:pt x="1656923" y="6236497"/>
                </a:lnTo>
                <a:lnTo>
                  <a:pt x="1655252" y="6236497"/>
                </a:lnTo>
                <a:lnTo>
                  <a:pt x="1610402" y="6236497"/>
                </a:lnTo>
                <a:lnTo>
                  <a:pt x="1069250" y="6236497"/>
                </a:lnTo>
                <a:lnTo>
                  <a:pt x="1068665" y="6236497"/>
                </a:lnTo>
                <a:lnTo>
                  <a:pt x="1068656" y="6236497"/>
                </a:lnTo>
                <a:lnTo>
                  <a:pt x="1068646" y="6236497"/>
                </a:lnTo>
                <a:lnTo>
                  <a:pt x="1022124" y="6236497"/>
                </a:lnTo>
                <a:lnTo>
                  <a:pt x="1002729" y="6236497"/>
                </a:lnTo>
                <a:lnTo>
                  <a:pt x="1002146" y="6236497"/>
                </a:lnTo>
                <a:lnTo>
                  <a:pt x="1002136" y="6236497"/>
                </a:lnTo>
                <a:lnTo>
                  <a:pt x="1002126" y="6236497"/>
                </a:lnTo>
                <a:lnTo>
                  <a:pt x="955605" y="6236497"/>
                </a:lnTo>
                <a:lnTo>
                  <a:pt x="955605" y="6234182"/>
                </a:lnTo>
                <a:lnTo>
                  <a:pt x="907653" y="6231824"/>
                </a:lnTo>
                <a:lnTo>
                  <a:pt x="904743" y="6231393"/>
                </a:lnTo>
                <a:lnTo>
                  <a:pt x="900868" y="6231190"/>
                </a:lnTo>
                <a:cubicBezTo>
                  <a:pt x="842339" y="6225021"/>
                  <a:pt x="785317" y="6213563"/>
                  <a:pt x="730252" y="6197284"/>
                </a:cubicBezTo>
                <a:lnTo>
                  <a:pt x="726239" y="6195899"/>
                </a:lnTo>
                <a:lnTo>
                  <a:pt x="725547" y="6195725"/>
                </a:lnTo>
                <a:lnTo>
                  <a:pt x="718660" y="6193283"/>
                </a:lnTo>
                <a:lnTo>
                  <a:pt x="649179" y="6169308"/>
                </a:lnTo>
                <a:lnTo>
                  <a:pt x="642047" y="6166112"/>
                </a:lnTo>
                <a:lnTo>
                  <a:pt x="639337" y="6165151"/>
                </a:lnTo>
                <a:lnTo>
                  <a:pt x="624684" y="6158333"/>
                </a:lnTo>
                <a:lnTo>
                  <a:pt x="571379" y="6134451"/>
                </a:lnTo>
                <a:lnTo>
                  <a:pt x="561431" y="6128901"/>
                </a:lnTo>
                <a:lnTo>
                  <a:pt x="556903" y="6126794"/>
                </a:lnTo>
                <a:lnTo>
                  <a:pt x="541005" y="6117505"/>
                </a:lnTo>
                <a:lnTo>
                  <a:pt x="497192" y="6093062"/>
                </a:lnTo>
                <a:lnTo>
                  <a:pt x="484776" y="6084653"/>
                </a:lnTo>
                <a:lnTo>
                  <a:pt x="478658" y="6081081"/>
                </a:lnTo>
                <a:lnTo>
                  <a:pt x="463519" y="6070258"/>
                </a:lnTo>
                <a:lnTo>
                  <a:pt x="426955" y="6045496"/>
                </a:lnTo>
                <a:lnTo>
                  <a:pt x="412467" y="6033767"/>
                </a:lnTo>
                <a:lnTo>
                  <a:pt x="405010" y="6028437"/>
                </a:lnTo>
                <a:lnTo>
                  <a:pt x="391434" y="6016737"/>
                </a:lnTo>
                <a:lnTo>
                  <a:pt x="361004" y="5992101"/>
                </a:lnTo>
                <a:lnTo>
                  <a:pt x="344887" y="5976627"/>
                </a:lnTo>
                <a:lnTo>
                  <a:pt x="336370" y="5969288"/>
                </a:lnTo>
                <a:lnTo>
                  <a:pt x="324688" y="5957236"/>
                </a:lnTo>
                <a:lnTo>
                  <a:pt x="299680" y="5933228"/>
                </a:lnTo>
                <a:lnTo>
                  <a:pt x="282418" y="5913626"/>
                </a:lnTo>
                <a:lnTo>
                  <a:pt x="273149" y="5904062"/>
                </a:lnTo>
                <a:lnTo>
                  <a:pt x="263468" y="5892106"/>
                </a:lnTo>
                <a:lnTo>
                  <a:pt x="243320" y="5869228"/>
                </a:lnTo>
                <a:lnTo>
                  <a:pt x="225440" y="5845142"/>
                </a:lnTo>
                <a:lnTo>
                  <a:pt x="215756" y="5833184"/>
                </a:lnTo>
                <a:lnTo>
                  <a:pt x="208051" y="5821719"/>
                </a:lnTo>
                <a:lnTo>
                  <a:pt x="192262" y="5800452"/>
                </a:lnTo>
                <a:lnTo>
                  <a:pt x="174326" y="5771545"/>
                </a:lnTo>
                <a:lnTo>
                  <a:pt x="164603" y="5757080"/>
                </a:lnTo>
                <a:lnTo>
                  <a:pt x="158762" y="5746460"/>
                </a:lnTo>
                <a:lnTo>
                  <a:pt x="146844" y="5727251"/>
                </a:lnTo>
                <a:lnTo>
                  <a:pt x="129452" y="5693173"/>
                </a:lnTo>
                <a:lnTo>
                  <a:pt x="120101" y="5676175"/>
                </a:lnTo>
                <a:lnTo>
                  <a:pt x="115950" y="5666719"/>
                </a:lnTo>
                <a:lnTo>
                  <a:pt x="107403" y="5649975"/>
                </a:lnTo>
                <a:lnTo>
                  <a:pt x="91182" y="5610310"/>
                </a:lnTo>
                <a:lnTo>
                  <a:pt x="82657" y="5590897"/>
                </a:lnTo>
                <a:lnTo>
                  <a:pt x="79971" y="5582895"/>
                </a:lnTo>
                <a:lnTo>
                  <a:pt x="74278" y="5568976"/>
                </a:lnTo>
                <a:lnTo>
                  <a:pt x="59888" y="5523110"/>
                </a:lnTo>
                <a:lnTo>
                  <a:pt x="52686" y="5501671"/>
                </a:lnTo>
                <a:lnTo>
                  <a:pt x="51189" y="5495381"/>
                </a:lnTo>
                <a:lnTo>
                  <a:pt x="47808" y="5484604"/>
                </a:lnTo>
                <a:lnTo>
                  <a:pt x="35933" y="5431333"/>
                </a:lnTo>
                <a:lnTo>
                  <a:pt x="30597" y="5408921"/>
                </a:lnTo>
                <a:lnTo>
                  <a:pt x="29971" y="5404580"/>
                </a:lnTo>
                <a:lnTo>
                  <a:pt x="28329" y="5397210"/>
                </a:lnTo>
                <a:lnTo>
                  <a:pt x="19684" y="5333124"/>
                </a:lnTo>
                <a:lnTo>
                  <a:pt x="16798" y="5313077"/>
                </a:lnTo>
                <a:lnTo>
                  <a:pt x="16695" y="5310966"/>
                </a:lnTo>
                <a:lnTo>
                  <a:pt x="16179" y="5307144"/>
                </a:lnTo>
                <a:lnTo>
                  <a:pt x="14152" y="5262696"/>
                </a:lnTo>
                <a:lnTo>
                  <a:pt x="11679" y="5262696"/>
                </a:lnTo>
                <a:lnTo>
                  <a:pt x="11679" y="5230717"/>
                </a:lnTo>
                <a:lnTo>
                  <a:pt x="9578" y="5215406"/>
                </a:lnTo>
                <a:lnTo>
                  <a:pt x="6692" y="5195699"/>
                </a:lnTo>
                <a:lnTo>
                  <a:pt x="6589" y="5193624"/>
                </a:lnTo>
                <a:lnTo>
                  <a:pt x="6073" y="5189867"/>
                </a:lnTo>
                <a:lnTo>
                  <a:pt x="4046" y="5146174"/>
                </a:lnTo>
                <a:lnTo>
                  <a:pt x="1574" y="5146174"/>
                </a:lnTo>
                <a:lnTo>
                  <a:pt x="1574" y="5105888"/>
                </a:lnTo>
                <a:lnTo>
                  <a:pt x="1574" y="5092921"/>
                </a:lnTo>
                <a:lnTo>
                  <a:pt x="1574" y="5092619"/>
                </a:lnTo>
                <a:lnTo>
                  <a:pt x="390" y="5092619"/>
                </a:lnTo>
                <a:lnTo>
                  <a:pt x="390" y="4917262"/>
                </a:lnTo>
                <a:lnTo>
                  <a:pt x="390" y="4893372"/>
                </a:lnTo>
                <a:lnTo>
                  <a:pt x="391" y="4361244"/>
                </a:lnTo>
                <a:lnTo>
                  <a:pt x="391" y="4107087"/>
                </a:lnTo>
                <a:lnTo>
                  <a:pt x="391" y="4036764"/>
                </a:lnTo>
                <a:lnTo>
                  <a:pt x="1563" y="4036764"/>
                </a:lnTo>
                <a:lnTo>
                  <a:pt x="1563" y="3820347"/>
                </a:lnTo>
                <a:lnTo>
                  <a:pt x="0" y="3820347"/>
                </a:lnTo>
                <a:lnTo>
                  <a:pt x="0" y="2970967"/>
                </a:lnTo>
                <a:lnTo>
                  <a:pt x="76625" y="2970967"/>
                </a:lnTo>
                <a:lnTo>
                  <a:pt x="654797" y="2970967"/>
                </a:lnTo>
                <a:lnTo>
                  <a:pt x="699648" y="2970967"/>
                </a:lnTo>
                <a:lnTo>
                  <a:pt x="731422" y="2970967"/>
                </a:lnTo>
                <a:lnTo>
                  <a:pt x="776273" y="2970967"/>
                </a:lnTo>
                <a:lnTo>
                  <a:pt x="989863" y="2970967"/>
                </a:lnTo>
                <a:lnTo>
                  <a:pt x="990447" y="2970967"/>
                </a:lnTo>
                <a:lnTo>
                  <a:pt x="990456" y="2970966"/>
                </a:lnTo>
                <a:lnTo>
                  <a:pt x="990466" y="2970967"/>
                </a:lnTo>
                <a:lnTo>
                  <a:pt x="1036986" y="2970967"/>
                </a:lnTo>
                <a:lnTo>
                  <a:pt x="1066487" y="2970967"/>
                </a:lnTo>
                <a:lnTo>
                  <a:pt x="1067071" y="2970967"/>
                </a:lnTo>
                <a:lnTo>
                  <a:pt x="1067081" y="2970966"/>
                </a:lnTo>
                <a:lnTo>
                  <a:pt x="1067090" y="2970967"/>
                </a:lnTo>
                <a:lnTo>
                  <a:pt x="1113611" y="2970967"/>
                </a:lnTo>
                <a:lnTo>
                  <a:pt x="1354445" y="2970967"/>
                </a:lnTo>
                <a:lnTo>
                  <a:pt x="1431070" y="2970967"/>
                </a:lnTo>
                <a:lnTo>
                  <a:pt x="1644660" y="2970967"/>
                </a:lnTo>
                <a:lnTo>
                  <a:pt x="1645244" y="2970967"/>
                </a:lnTo>
                <a:lnTo>
                  <a:pt x="1645253" y="2970966"/>
                </a:lnTo>
                <a:lnTo>
                  <a:pt x="1645263" y="2970967"/>
                </a:lnTo>
                <a:lnTo>
                  <a:pt x="1689510" y="2970967"/>
                </a:lnTo>
                <a:lnTo>
                  <a:pt x="1690094" y="2970967"/>
                </a:lnTo>
                <a:lnTo>
                  <a:pt x="1690104" y="2970966"/>
                </a:lnTo>
                <a:lnTo>
                  <a:pt x="1690113" y="2970967"/>
                </a:lnTo>
                <a:lnTo>
                  <a:pt x="1691783" y="2970967"/>
                </a:lnTo>
                <a:lnTo>
                  <a:pt x="1721284" y="2970967"/>
                </a:lnTo>
                <a:lnTo>
                  <a:pt x="1721868" y="2970967"/>
                </a:lnTo>
                <a:lnTo>
                  <a:pt x="1721878" y="2970966"/>
                </a:lnTo>
                <a:lnTo>
                  <a:pt x="1721887" y="2970967"/>
                </a:lnTo>
                <a:lnTo>
                  <a:pt x="1736634" y="2970967"/>
                </a:lnTo>
                <a:lnTo>
                  <a:pt x="1766135" y="2970967"/>
                </a:lnTo>
                <a:lnTo>
                  <a:pt x="1766718" y="2970967"/>
                </a:lnTo>
                <a:lnTo>
                  <a:pt x="1766728" y="2970966"/>
                </a:lnTo>
                <a:lnTo>
                  <a:pt x="1766737" y="2970967"/>
                </a:lnTo>
                <a:lnTo>
                  <a:pt x="1768408" y="2970967"/>
                </a:lnTo>
                <a:lnTo>
                  <a:pt x="1813259" y="2970967"/>
                </a:lnTo>
                <a:lnTo>
                  <a:pt x="2344307" y="2970967"/>
                </a:lnTo>
                <a:lnTo>
                  <a:pt x="2344891" y="2970967"/>
                </a:lnTo>
                <a:lnTo>
                  <a:pt x="2344900" y="2970966"/>
                </a:lnTo>
                <a:lnTo>
                  <a:pt x="2344910" y="2970967"/>
                </a:lnTo>
                <a:lnTo>
                  <a:pt x="2391431" y="2970967"/>
                </a:lnTo>
                <a:lnTo>
                  <a:pt x="2420932" y="2970967"/>
                </a:lnTo>
                <a:lnTo>
                  <a:pt x="2421516" y="2970967"/>
                </a:lnTo>
                <a:lnTo>
                  <a:pt x="2421525" y="2970966"/>
                </a:lnTo>
                <a:lnTo>
                  <a:pt x="2421534" y="2970967"/>
                </a:lnTo>
                <a:lnTo>
                  <a:pt x="2468056" y="2970967"/>
                </a:lnTo>
                <a:lnTo>
                  <a:pt x="2468056" y="2973406"/>
                </a:lnTo>
                <a:lnTo>
                  <a:pt x="2516007" y="2975890"/>
                </a:lnTo>
                <a:lnTo>
                  <a:pt x="2518917" y="2976345"/>
                </a:lnTo>
                <a:lnTo>
                  <a:pt x="2522794" y="2976559"/>
                </a:lnTo>
                <a:cubicBezTo>
                  <a:pt x="2581322" y="2983059"/>
                  <a:pt x="2638343" y="2995131"/>
                  <a:pt x="2693409" y="3012284"/>
                </a:cubicBezTo>
                <a:lnTo>
                  <a:pt x="2697422" y="3013743"/>
                </a:lnTo>
                <a:lnTo>
                  <a:pt x="2698115" y="3013925"/>
                </a:lnTo>
                <a:lnTo>
                  <a:pt x="2705001" y="3016499"/>
                </a:lnTo>
                <a:lnTo>
                  <a:pt x="2774482" y="3041760"/>
                </a:lnTo>
                <a:lnTo>
                  <a:pt x="2781614" y="3045126"/>
                </a:lnTo>
                <a:lnTo>
                  <a:pt x="2784325" y="3046139"/>
                </a:lnTo>
                <a:lnTo>
                  <a:pt x="2798976" y="3053324"/>
                </a:lnTo>
                <a:lnTo>
                  <a:pt x="2852281" y="3078487"/>
                </a:lnTo>
                <a:lnTo>
                  <a:pt x="2862229" y="3084334"/>
                </a:lnTo>
                <a:lnTo>
                  <a:pt x="2866757" y="3086553"/>
                </a:lnTo>
                <a:lnTo>
                  <a:pt x="2882655" y="3096341"/>
                </a:lnTo>
                <a:lnTo>
                  <a:pt x="2926469" y="3122094"/>
                </a:lnTo>
                <a:lnTo>
                  <a:pt x="2938885" y="3130954"/>
                </a:lnTo>
                <a:lnTo>
                  <a:pt x="2945002" y="3134718"/>
                </a:lnTo>
                <a:lnTo>
                  <a:pt x="2960142" y="3146121"/>
                </a:lnTo>
                <a:lnTo>
                  <a:pt x="2996705" y="3172212"/>
                </a:lnTo>
                <a:lnTo>
                  <a:pt x="3011193" y="3184572"/>
                </a:lnTo>
                <a:lnTo>
                  <a:pt x="3018650" y="3190186"/>
                </a:lnTo>
                <a:lnTo>
                  <a:pt x="3032228" y="3202514"/>
                </a:lnTo>
                <a:lnTo>
                  <a:pt x="3062657" y="3228469"/>
                </a:lnTo>
                <a:lnTo>
                  <a:pt x="3078773" y="3244774"/>
                </a:lnTo>
                <a:lnTo>
                  <a:pt x="3087290" y="3252505"/>
                </a:lnTo>
                <a:lnTo>
                  <a:pt x="3098972" y="3265205"/>
                </a:lnTo>
                <a:lnTo>
                  <a:pt x="3123981" y="3290500"/>
                </a:lnTo>
                <a:lnTo>
                  <a:pt x="3141242" y="3311153"/>
                </a:lnTo>
                <a:lnTo>
                  <a:pt x="3150512" y="3321230"/>
                </a:lnTo>
                <a:lnTo>
                  <a:pt x="3160193" y="3333827"/>
                </a:lnTo>
                <a:lnTo>
                  <a:pt x="3180340" y="3357933"/>
                </a:lnTo>
                <a:lnTo>
                  <a:pt x="3198220" y="3383309"/>
                </a:lnTo>
                <a:lnTo>
                  <a:pt x="3207904" y="3395909"/>
                </a:lnTo>
                <a:lnTo>
                  <a:pt x="3215609" y="3407989"/>
                </a:lnTo>
                <a:lnTo>
                  <a:pt x="3231400" y="3430397"/>
                </a:lnTo>
                <a:lnTo>
                  <a:pt x="3249335" y="3460855"/>
                </a:lnTo>
                <a:lnTo>
                  <a:pt x="3259057" y="3476095"/>
                </a:lnTo>
                <a:lnTo>
                  <a:pt x="3264899" y="3487285"/>
                </a:lnTo>
                <a:lnTo>
                  <a:pt x="3276817" y="3507524"/>
                </a:lnTo>
                <a:lnTo>
                  <a:pt x="3294209" y="3543430"/>
                </a:lnTo>
                <a:lnTo>
                  <a:pt x="3303560" y="3561338"/>
                </a:lnTo>
                <a:lnTo>
                  <a:pt x="3307711" y="3571302"/>
                </a:lnTo>
                <a:lnTo>
                  <a:pt x="3316258" y="3588944"/>
                </a:lnTo>
                <a:lnTo>
                  <a:pt x="3332479" y="3630736"/>
                </a:lnTo>
                <a:lnTo>
                  <a:pt x="3341004" y="3651191"/>
                </a:lnTo>
                <a:lnTo>
                  <a:pt x="3343691" y="3659622"/>
                </a:lnTo>
                <a:lnTo>
                  <a:pt x="3349383" y="3674287"/>
                </a:lnTo>
                <a:lnTo>
                  <a:pt x="3363773" y="3722614"/>
                </a:lnTo>
                <a:lnTo>
                  <a:pt x="3370974" y="3745202"/>
                </a:lnTo>
                <a:lnTo>
                  <a:pt x="3372473" y="3751829"/>
                </a:lnTo>
                <a:lnTo>
                  <a:pt x="3375854" y="3763184"/>
                </a:lnTo>
                <a:lnTo>
                  <a:pt x="3387727" y="3819313"/>
                </a:lnTo>
                <a:lnTo>
                  <a:pt x="3387961" y="3820347"/>
                </a:lnTo>
                <a:lnTo>
                  <a:pt x="3389524" y="3820347"/>
                </a:lnTo>
                <a:lnTo>
                  <a:pt x="3394628" y="3848009"/>
                </a:lnTo>
                <a:lnTo>
                  <a:pt x="3395253" y="3853613"/>
                </a:lnTo>
                <a:lnTo>
                  <a:pt x="3396896" y="3863126"/>
                </a:lnTo>
                <a:lnTo>
                  <a:pt x="3405541" y="3945853"/>
                </a:lnTo>
                <a:lnTo>
                  <a:pt x="3408427" y="3971731"/>
                </a:lnTo>
                <a:lnTo>
                  <a:pt x="3408528" y="3974454"/>
                </a:lnTo>
                <a:lnTo>
                  <a:pt x="3409045" y="3979387"/>
                </a:lnTo>
                <a:lnTo>
                  <a:pt x="3411073" y="4036764"/>
                </a:lnTo>
                <a:lnTo>
                  <a:pt x="3413544" y="4036764"/>
                </a:lnTo>
                <a:lnTo>
                  <a:pt x="3413544" y="4089662"/>
                </a:lnTo>
                <a:lnTo>
                  <a:pt x="3413544" y="4106691"/>
                </a:lnTo>
                <a:lnTo>
                  <a:pt x="3413544" y="4107087"/>
                </a:lnTo>
                <a:lnTo>
                  <a:pt x="3413544" y="4107088"/>
                </a:lnTo>
                <a:lnTo>
                  <a:pt x="3414727" y="4107088"/>
                </a:lnTo>
                <a:lnTo>
                  <a:pt x="3414727" y="4205685"/>
                </a:lnTo>
                <a:lnTo>
                  <a:pt x="3414727" y="4361244"/>
                </a:lnTo>
                <a:lnTo>
                  <a:pt x="3414727" y="4464225"/>
                </a:lnTo>
                <a:lnTo>
                  <a:pt x="3414727" y="4893372"/>
                </a:lnTo>
                <a:lnTo>
                  <a:pt x="3414727" y="4917262"/>
                </a:lnTo>
                <a:lnTo>
                  <a:pt x="3414727" y="5005534"/>
                </a:lnTo>
                <a:lnTo>
                  <a:pt x="3414727" y="5029836"/>
                </a:lnTo>
                <a:lnTo>
                  <a:pt x="3414727" y="5092619"/>
                </a:lnTo>
                <a:lnTo>
                  <a:pt x="3414727" y="5146174"/>
                </a:lnTo>
                <a:lnTo>
                  <a:pt x="3414727" y="5208218"/>
                </a:lnTo>
                <a:lnTo>
                  <a:pt x="3414727" y="5262696"/>
                </a:lnTo>
                <a:lnTo>
                  <a:pt x="3413555" y="5262696"/>
                </a:lnTo>
                <a:lnTo>
                  <a:pt x="3413555" y="6103456"/>
                </a:lnTo>
                <a:close/>
              </a:path>
            </a:pathLst>
          </a:custGeom>
          <a:solidFill>
            <a:srgbClr val="1D316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8E3FB981-499A-764E-BA36-02F5C3269EE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9191" y="1426995"/>
            <a:ext cx="3418030" cy="4878949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AAA644E-4AFB-DC4D-B49B-B4CD88E661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9388" y="171712"/>
            <a:ext cx="5402183" cy="5402183"/>
          </a:xfrm>
          <a:prstGeom prst="rect">
            <a:avLst/>
          </a:prstGeom>
        </p:spPr>
      </p:pic>
      <p:pic>
        <p:nvPicPr>
          <p:cNvPr id="22" name="Picture 21" descr="Text, logo&#10;&#10;Description automatically generated">
            <a:extLst>
              <a:ext uri="{FF2B5EF4-FFF2-40B4-BE49-F238E27FC236}">
                <a16:creationId xmlns:a16="http://schemas.microsoft.com/office/drawing/2014/main" id="{E14AF1B9-672B-2246-850A-40D1FB6E235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8152" y="5645583"/>
            <a:ext cx="2645682" cy="1006397"/>
          </a:xfrm>
          <a:prstGeom prst="rect">
            <a:avLst/>
          </a:prstGeom>
        </p:spPr>
      </p:pic>
      <p:pic>
        <p:nvPicPr>
          <p:cNvPr id="23" name="Picture 22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5911D988-63C8-0D47-BA32-9213B49971D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5946" y="250320"/>
            <a:ext cx="1764313" cy="772291"/>
          </a:xfrm>
          <a:prstGeom prst="rect">
            <a:avLst/>
          </a:prstGeom>
        </p:spPr>
      </p:pic>
      <p:sp>
        <p:nvSpPr>
          <p:cNvPr id="31" name="Freeform: Shape 64">
            <a:extLst>
              <a:ext uri="{FF2B5EF4-FFF2-40B4-BE49-F238E27FC236}">
                <a16:creationId xmlns:a16="http://schemas.microsoft.com/office/drawing/2014/main" id="{D5CF9FA4-42BA-124A-8A04-E782B31475A2}"/>
              </a:ext>
            </a:extLst>
          </p:cNvPr>
          <p:cNvSpPr/>
          <p:nvPr/>
        </p:nvSpPr>
        <p:spPr>
          <a:xfrm>
            <a:off x="4176745" y="4188471"/>
            <a:ext cx="4443789" cy="2463509"/>
          </a:xfrm>
          <a:custGeom>
            <a:avLst/>
            <a:gdLst>
              <a:gd name="connsiteX0" fmla="*/ 0 w 4443789"/>
              <a:gd name="connsiteY0" fmla="*/ 0 h 2984238"/>
              <a:gd name="connsiteX1" fmla="*/ 600036 w 4443789"/>
              <a:gd name="connsiteY1" fmla="*/ 0 h 2984238"/>
              <a:gd name="connsiteX2" fmla="*/ 633604 w 4443789"/>
              <a:gd name="connsiteY2" fmla="*/ 0 h 2984238"/>
              <a:gd name="connsiteX3" fmla="*/ 1454682 w 4443789"/>
              <a:gd name="connsiteY3" fmla="*/ 0 h 2984238"/>
              <a:gd name="connsiteX4" fmla="*/ 2203288 w 4443789"/>
              <a:gd name="connsiteY4" fmla="*/ 0 h 2984238"/>
              <a:gd name="connsiteX5" fmla="*/ 2475597 w 4443789"/>
              <a:gd name="connsiteY5" fmla="*/ 0 h 2984238"/>
              <a:gd name="connsiteX6" fmla="*/ 2496805 w 4443789"/>
              <a:gd name="connsiteY6" fmla="*/ 0 h 2984238"/>
              <a:gd name="connsiteX7" fmla="*/ 2769115 w 4443789"/>
              <a:gd name="connsiteY7" fmla="*/ 0 h 2984238"/>
              <a:gd name="connsiteX8" fmla="*/ 3512790 w 4443789"/>
              <a:gd name="connsiteY8" fmla="*/ 0 h 2984238"/>
              <a:gd name="connsiteX9" fmla="*/ 3537876 w 4443789"/>
              <a:gd name="connsiteY9" fmla="*/ 0 h 2984238"/>
              <a:gd name="connsiteX10" fmla="*/ 3740986 w 4443789"/>
              <a:gd name="connsiteY10" fmla="*/ 0 h 2984238"/>
              <a:gd name="connsiteX11" fmla="*/ 3810185 w 4443789"/>
              <a:gd name="connsiteY11" fmla="*/ 0 h 2984238"/>
              <a:gd name="connsiteX12" fmla="*/ 3810185 w 4443789"/>
              <a:gd name="connsiteY12" fmla="*/ 832 h 2984238"/>
              <a:gd name="connsiteX13" fmla="*/ 3810186 w 4443789"/>
              <a:gd name="connsiteY13" fmla="*/ 832 h 2984238"/>
              <a:gd name="connsiteX14" fmla="*/ 3810375 w 4443789"/>
              <a:gd name="connsiteY14" fmla="*/ 832 h 2984238"/>
              <a:gd name="connsiteX15" fmla="*/ 3818503 w 4443789"/>
              <a:gd name="connsiteY15" fmla="*/ 832 h 2984238"/>
              <a:gd name="connsiteX16" fmla="*/ 3843754 w 4443789"/>
              <a:gd name="connsiteY16" fmla="*/ 832 h 2984238"/>
              <a:gd name="connsiteX17" fmla="*/ 3843754 w 4443789"/>
              <a:gd name="connsiteY17" fmla="*/ 2567 h 2984238"/>
              <a:gd name="connsiteX18" fmla="*/ 3871142 w 4443789"/>
              <a:gd name="connsiteY18" fmla="*/ 3990 h 2984238"/>
              <a:gd name="connsiteX19" fmla="*/ 3873498 w 4443789"/>
              <a:gd name="connsiteY19" fmla="*/ 4352 h 2984238"/>
              <a:gd name="connsiteX20" fmla="*/ 3874797 w 4443789"/>
              <a:gd name="connsiteY20" fmla="*/ 4423 h 2984238"/>
              <a:gd name="connsiteX21" fmla="*/ 3887149 w 4443789"/>
              <a:gd name="connsiteY21" fmla="*/ 6450 h 2984238"/>
              <a:gd name="connsiteX22" fmla="*/ 3926638 w 4443789"/>
              <a:gd name="connsiteY22" fmla="*/ 12518 h 2984238"/>
              <a:gd name="connsiteX23" fmla="*/ 3931179 w 4443789"/>
              <a:gd name="connsiteY23" fmla="*/ 13671 h 2984238"/>
              <a:gd name="connsiteX24" fmla="*/ 3933854 w 4443789"/>
              <a:gd name="connsiteY24" fmla="*/ 14110 h 2984238"/>
              <a:gd name="connsiteX25" fmla="*/ 3947663 w 4443789"/>
              <a:gd name="connsiteY25" fmla="*/ 17858 h 2984238"/>
              <a:gd name="connsiteX26" fmla="*/ 3980488 w 4443789"/>
              <a:gd name="connsiteY26" fmla="*/ 26192 h 2984238"/>
              <a:gd name="connsiteX27" fmla="*/ 3987130 w 4443789"/>
              <a:gd name="connsiteY27" fmla="*/ 28566 h 2984238"/>
              <a:gd name="connsiteX28" fmla="*/ 3991004 w 4443789"/>
              <a:gd name="connsiteY28" fmla="*/ 29617 h 2984238"/>
              <a:gd name="connsiteX29" fmla="*/ 4004215 w 4443789"/>
              <a:gd name="connsiteY29" fmla="*/ 34672 h 2984238"/>
              <a:gd name="connsiteX30" fmla="*/ 4032477 w 4443789"/>
              <a:gd name="connsiteY30" fmla="*/ 44775 h 2984238"/>
              <a:gd name="connsiteX31" fmla="*/ 4041053 w 4443789"/>
              <a:gd name="connsiteY31" fmla="*/ 48770 h 2984238"/>
              <a:gd name="connsiteX32" fmla="*/ 4045984 w 4443789"/>
              <a:gd name="connsiteY32" fmla="*/ 50657 h 2984238"/>
              <a:gd name="connsiteX33" fmla="*/ 4057946 w 4443789"/>
              <a:gd name="connsiteY33" fmla="*/ 56640 h 2984238"/>
              <a:gd name="connsiteX34" fmla="*/ 4082388 w 4443789"/>
              <a:gd name="connsiteY34" fmla="*/ 68027 h 2984238"/>
              <a:gd name="connsiteX35" fmla="*/ 4092704 w 4443789"/>
              <a:gd name="connsiteY35" fmla="*/ 74027 h 2984238"/>
              <a:gd name="connsiteX36" fmla="*/ 4098531 w 4443789"/>
              <a:gd name="connsiteY36" fmla="*/ 76941 h 2984238"/>
              <a:gd name="connsiteX37" fmla="*/ 4109004 w 4443789"/>
              <a:gd name="connsiteY37" fmla="*/ 83505 h 2984238"/>
              <a:gd name="connsiteX38" fmla="*/ 4130002 w 4443789"/>
              <a:gd name="connsiteY38" fmla="*/ 95714 h 2984238"/>
              <a:gd name="connsiteX39" fmla="*/ 4141839 w 4443789"/>
              <a:gd name="connsiteY39" fmla="*/ 104081 h 2984238"/>
              <a:gd name="connsiteX40" fmla="*/ 4148382 w 4443789"/>
              <a:gd name="connsiteY40" fmla="*/ 108181 h 2984238"/>
              <a:gd name="connsiteX41" fmla="*/ 4157295 w 4443789"/>
              <a:gd name="connsiteY41" fmla="*/ 115007 h 2984238"/>
              <a:gd name="connsiteX42" fmla="*/ 4175107 w 4443789"/>
              <a:gd name="connsiteY42" fmla="*/ 127597 h 2984238"/>
              <a:gd name="connsiteX43" fmla="*/ 4188212 w 4443789"/>
              <a:gd name="connsiteY43" fmla="*/ 138681 h 2984238"/>
              <a:gd name="connsiteX44" fmla="*/ 4195276 w 4443789"/>
              <a:gd name="connsiteY44" fmla="*/ 144090 h 2984238"/>
              <a:gd name="connsiteX45" fmla="*/ 4202645 w 4443789"/>
              <a:gd name="connsiteY45" fmla="*/ 150888 h 2984238"/>
              <a:gd name="connsiteX46" fmla="*/ 4217486 w 4443789"/>
              <a:gd name="connsiteY46" fmla="*/ 163439 h 2984238"/>
              <a:gd name="connsiteX47" fmla="*/ 4231582 w 4443789"/>
              <a:gd name="connsiteY47" fmla="*/ 177583 h 2984238"/>
              <a:gd name="connsiteX48" fmla="*/ 4238950 w 4443789"/>
              <a:gd name="connsiteY48" fmla="*/ 184379 h 2984238"/>
              <a:gd name="connsiteX49" fmla="*/ 4244842 w 4443789"/>
              <a:gd name="connsiteY49" fmla="*/ 190886 h 2984238"/>
              <a:gd name="connsiteX50" fmla="*/ 4256920 w 4443789"/>
              <a:gd name="connsiteY50" fmla="*/ 203004 h 2984238"/>
              <a:gd name="connsiteX51" fmla="*/ 4271715 w 4443789"/>
              <a:gd name="connsiteY51" fmla="*/ 220559 h 2984238"/>
              <a:gd name="connsiteX52" fmla="*/ 4279140 w 4443789"/>
              <a:gd name="connsiteY52" fmla="*/ 228759 h 2984238"/>
              <a:gd name="connsiteX53" fmla="*/ 4283662 w 4443789"/>
              <a:gd name="connsiteY53" fmla="*/ 234737 h 2984238"/>
              <a:gd name="connsiteX54" fmla="*/ 4293198 w 4443789"/>
              <a:gd name="connsiteY54" fmla="*/ 246051 h 2984238"/>
              <a:gd name="connsiteX55" fmla="*/ 4308376 w 4443789"/>
              <a:gd name="connsiteY55" fmla="*/ 267413 h 2984238"/>
              <a:gd name="connsiteX56" fmla="*/ 4315586 w 4443789"/>
              <a:gd name="connsiteY56" fmla="*/ 276943 h 2984238"/>
              <a:gd name="connsiteX57" fmla="*/ 4318870 w 4443789"/>
              <a:gd name="connsiteY57" fmla="*/ 282177 h 2984238"/>
              <a:gd name="connsiteX58" fmla="*/ 4326098 w 4443789"/>
              <a:gd name="connsiteY58" fmla="*/ 292347 h 2984238"/>
              <a:gd name="connsiteX59" fmla="*/ 4341356 w 4443789"/>
              <a:gd name="connsiteY59" fmla="*/ 318015 h 2984238"/>
              <a:gd name="connsiteX60" fmla="*/ 4348025 w 4443789"/>
              <a:gd name="connsiteY60" fmla="*/ 328644 h 2984238"/>
              <a:gd name="connsiteX61" fmla="*/ 4350227 w 4443789"/>
              <a:gd name="connsiteY61" fmla="*/ 332936 h 2984238"/>
              <a:gd name="connsiteX62" fmla="*/ 4355408 w 4443789"/>
              <a:gd name="connsiteY62" fmla="*/ 341652 h 2984238"/>
              <a:gd name="connsiteX63" fmla="*/ 4370469 w 4443789"/>
              <a:gd name="connsiteY63" fmla="*/ 372409 h 2984238"/>
              <a:gd name="connsiteX64" fmla="*/ 4376192 w 4443789"/>
              <a:gd name="connsiteY64" fmla="*/ 383570 h 2984238"/>
              <a:gd name="connsiteX65" fmla="*/ 4377489 w 4443789"/>
              <a:gd name="connsiteY65" fmla="*/ 386748 h 2984238"/>
              <a:gd name="connsiteX66" fmla="*/ 4380909 w 4443789"/>
              <a:gd name="connsiteY66" fmla="*/ 393731 h 2984238"/>
              <a:gd name="connsiteX67" fmla="*/ 4395626 w 4443789"/>
              <a:gd name="connsiteY67" fmla="*/ 431150 h 2984238"/>
              <a:gd name="connsiteX68" fmla="*/ 4399828 w 4443789"/>
              <a:gd name="connsiteY68" fmla="*/ 441436 h 2984238"/>
              <a:gd name="connsiteX69" fmla="*/ 4400420 w 4443789"/>
              <a:gd name="connsiteY69" fmla="*/ 443339 h 2984238"/>
              <a:gd name="connsiteX70" fmla="*/ 4402388 w 4443789"/>
              <a:gd name="connsiteY70" fmla="*/ 448347 h 2984238"/>
              <a:gd name="connsiteX71" fmla="*/ 4417161 w 4443789"/>
              <a:gd name="connsiteY71" fmla="*/ 497120 h 2984238"/>
              <a:gd name="connsiteX72" fmla="*/ 4418667 w 4443789"/>
              <a:gd name="connsiteY72" fmla="*/ 501954 h 2984238"/>
              <a:gd name="connsiteX73" fmla="*/ 4418772 w 4443789"/>
              <a:gd name="connsiteY73" fmla="*/ 502440 h 2984238"/>
              <a:gd name="connsiteX74" fmla="*/ 4419628 w 4443789"/>
              <a:gd name="connsiteY74" fmla="*/ 505257 h 2984238"/>
              <a:gd name="connsiteX75" fmla="*/ 4440518 w 4443789"/>
              <a:gd name="connsiteY75" fmla="*/ 625027 h 2984238"/>
              <a:gd name="connsiteX76" fmla="*/ 4440644 w 4443789"/>
              <a:gd name="connsiteY76" fmla="*/ 627748 h 2984238"/>
              <a:gd name="connsiteX77" fmla="*/ 4440910 w 4443789"/>
              <a:gd name="connsiteY77" fmla="*/ 629790 h 2984238"/>
              <a:gd name="connsiteX78" fmla="*/ 4442362 w 4443789"/>
              <a:gd name="connsiteY78" fmla="*/ 663451 h 2984238"/>
              <a:gd name="connsiteX79" fmla="*/ 4443789 w 4443789"/>
              <a:gd name="connsiteY79" fmla="*/ 663451 h 2984238"/>
              <a:gd name="connsiteX80" fmla="*/ 4443789 w 4443789"/>
              <a:gd name="connsiteY80" fmla="*/ 696109 h 2984238"/>
              <a:gd name="connsiteX81" fmla="*/ 4443789 w 4443789"/>
              <a:gd name="connsiteY81" fmla="*/ 696115 h 2984238"/>
              <a:gd name="connsiteX82" fmla="*/ 4443789 w 4443789"/>
              <a:gd name="connsiteY82" fmla="*/ 696122 h 2984238"/>
              <a:gd name="connsiteX83" fmla="*/ 4443789 w 4443789"/>
              <a:gd name="connsiteY83" fmla="*/ 696532 h 2984238"/>
              <a:gd name="connsiteX84" fmla="*/ 4443789 w 4443789"/>
              <a:gd name="connsiteY84" fmla="*/ 703132 h 2984238"/>
              <a:gd name="connsiteX85" fmla="*/ 4443789 w 4443789"/>
              <a:gd name="connsiteY85" fmla="*/ 1121961 h 2984238"/>
              <a:gd name="connsiteX86" fmla="*/ 4443789 w 4443789"/>
              <a:gd name="connsiteY86" fmla="*/ 1126490 h 2984238"/>
              <a:gd name="connsiteX87" fmla="*/ 4443789 w 4443789"/>
              <a:gd name="connsiteY87" fmla="*/ 1154619 h 2984238"/>
              <a:gd name="connsiteX88" fmla="*/ 4443789 w 4443789"/>
              <a:gd name="connsiteY88" fmla="*/ 1154625 h 2984238"/>
              <a:gd name="connsiteX89" fmla="*/ 4443789 w 4443789"/>
              <a:gd name="connsiteY89" fmla="*/ 1154632 h 2984238"/>
              <a:gd name="connsiteX90" fmla="*/ 4443789 w 4443789"/>
              <a:gd name="connsiteY90" fmla="*/ 1155042 h 2984238"/>
              <a:gd name="connsiteX91" fmla="*/ 4443789 w 4443789"/>
              <a:gd name="connsiteY91" fmla="*/ 1161642 h 2984238"/>
              <a:gd name="connsiteX92" fmla="*/ 4443789 w 4443789"/>
              <a:gd name="connsiteY92" fmla="*/ 1399246 h 2984238"/>
              <a:gd name="connsiteX93" fmla="*/ 4443789 w 4443789"/>
              <a:gd name="connsiteY93" fmla="*/ 1585000 h 2984238"/>
              <a:gd name="connsiteX94" fmla="*/ 4443789 w 4443789"/>
              <a:gd name="connsiteY94" fmla="*/ 1829621 h 2984238"/>
              <a:gd name="connsiteX95" fmla="*/ 4443789 w 4443789"/>
              <a:gd name="connsiteY95" fmla="*/ 1857756 h 2984238"/>
              <a:gd name="connsiteX96" fmla="*/ 4443789 w 4443789"/>
              <a:gd name="connsiteY96" fmla="*/ 2288131 h 2984238"/>
              <a:gd name="connsiteX97" fmla="*/ 4443789 w 4443789"/>
              <a:gd name="connsiteY97" fmla="*/ 2525728 h 2984238"/>
              <a:gd name="connsiteX98" fmla="*/ 4443789 w 4443789"/>
              <a:gd name="connsiteY98" fmla="*/ 2984238 h 2984238"/>
              <a:gd name="connsiteX99" fmla="*/ 3843754 w 4443789"/>
              <a:gd name="connsiteY99" fmla="*/ 2984238 h 2984238"/>
              <a:gd name="connsiteX100" fmla="*/ 3810186 w 4443789"/>
              <a:gd name="connsiteY100" fmla="*/ 2984238 h 2984238"/>
              <a:gd name="connsiteX101" fmla="*/ 3740986 w 4443789"/>
              <a:gd name="connsiteY101" fmla="*/ 2984238 h 2984238"/>
              <a:gd name="connsiteX102" fmla="*/ 3512790 w 4443789"/>
              <a:gd name="connsiteY102" fmla="*/ 2984238 h 2984238"/>
              <a:gd name="connsiteX103" fmla="*/ 3402719 w 4443789"/>
              <a:gd name="connsiteY103" fmla="*/ 2984238 h 2984238"/>
              <a:gd name="connsiteX104" fmla="*/ 3109201 w 4443789"/>
              <a:gd name="connsiteY104" fmla="*/ 2984238 h 2984238"/>
              <a:gd name="connsiteX105" fmla="*/ 2986086 w 4443789"/>
              <a:gd name="connsiteY105" fmla="*/ 2984238 h 2984238"/>
              <a:gd name="connsiteX106" fmla="*/ 2802684 w 4443789"/>
              <a:gd name="connsiteY106" fmla="*/ 2984238 h 2984238"/>
              <a:gd name="connsiteX107" fmla="*/ 2769116 w 4443789"/>
              <a:gd name="connsiteY107" fmla="*/ 2984238 h 2984238"/>
              <a:gd name="connsiteX108" fmla="*/ 2713776 w 4443789"/>
              <a:gd name="connsiteY108" fmla="*/ 2984238 h 2984238"/>
              <a:gd name="connsiteX109" fmla="*/ 2509166 w 4443789"/>
              <a:gd name="connsiteY109" fmla="*/ 2984238 h 2984238"/>
              <a:gd name="connsiteX110" fmla="*/ 2475598 w 4443789"/>
              <a:gd name="connsiteY110" fmla="*/ 2984238 h 2984238"/>
              <a:gd name="connsiteX111" fmla="*/ 1839935 w 4443789"/>
              <a:gd name="connsiteY111" fmla="*/ 2984238 h 2984238"/>
              <a:gd name="connsiteX112" fmla="*/ 1716819 w 4443789"/>
              <a:gd name="connsiteY112" fmla="*/ 2984238 h 2984238"/>
              <a:gd name="connsiteX113" fmla="*/ 1454682 w 4443789"/>
              <a:gd name="connsiteY113" fmla="*/ 2984238 h 2984238"/>
              <a:gd name="connsiteX114" fmla="*/ 1444510 w 4443789"/>
              <a:gd name="connsiteY114" fmla="*/ 2984238 h 2984238"/>
              <a:gd name="connsiteX115" fmla="*/ 1423301 w 4443789"/>
              <a:gd name="connsiteY115" fmla="*/ 2984238 h 2984238"/>
              <a:gd name="connsiteX116" fmla="*/ 1239899 w 4443789"/>
              <a:gd name="connsiteY116" fmla="*/ 2984238 h 2984238"/>
              <a:gd name="connsiteX117" fmla="*/ 1206331 w 4443789"/>
              <a:gd name="connsiteY117" fmla="*/ 2984238 h 2984238"/>
              <a:gd name="connsiteX118" fmla="*/ 1150992 w 4443789"/>
              <a:gd name="connsiteY118" fmla="*/ 2984238 h 2984238"/>
              <a:gd name="connsiteX119" fmla="*/ 905913 w 4443789"/>
              <a:gd name="connsiteY119" fmla="*/ 2984238 h 2984238"/>
              <a:gd name="connsiteX120" fmla="*/ 702803 w 4443789"/>
              <a:gd name="connsiteY120" fmla="*/ 2984238 h 2984238"/>
              <a:gd name="connsiteX121" fmla="*/ 633605 w 4443789"/>
              <a:gd name="connsiteY121" fmla="*/ 2984238 h 2984238"/>
              <a:gd name="connsiteX122" fmla="*/ 633605 w 4443789"/>
              <a:gd name="connsiteY122" fmla="*/ 2983406 h 2984238"/>
              <a:gd name="connsiteX123" fmla="*/ 633604 w 4443789"/>
              <a:gd name="connsiteY123" fmla="*/ 2983406 h 2984238"/>
              <a:gd name="connsiteX124" fmla="*/ 633414 w 4443789"/>
              <a:gd name="connsiteY124" fmla="*/ 2983406 h 2984238"/>
              <a:gd name="connsiteX125" fmla="*/ 625287 w 4443789"/>
              <a:gd name="connsiteY125" fmla="*/ 2983406 h 2984238"/>
              <a:gd name="connsiteX126" fmla="*/ 600036 w 4443789"/>
              <a:gd name="connsiteY126" fmla="*/ 2983406 h 2984238"/>
              <a:gd name="connsiteX127" fmla="*/ 600036 w 4443789"/>
              <a:gd name="connsiteY127" fmla="*/ 2981671 h 2984238"/>
              <a:gd name="connsiteX128" fmla="*/ 572647 w 4443789"/>
              <a:gd name="connsiteY128" fmla="*/ 2980249 h 2984238"/>
              <a:gd name="connsiteX129" fmla="*/ 570293 w 4443789"/>
              <a:gd name="connsiteY129" fmla="*/ 2979886 h 2984238"/>
              <a:gd name="connsiteX130" fmla="*/ 568992 w 4443789"/>
              <a:gd name="connsiteY130" fmla="*/ 2979815 h 2984238"/>
              <a:gd name="connsiteX131" fmla="*/ 556640 w 4443789"/>
              <a:gd name="connsiteY131" fmla="*/ 2977788 h 2984238"/>
              <a:gd name="connsiteX132" fmla="*/ 517152 w 4443789"/>
              <a:gd name="connsiteY132" fmla="*/ 2971720 h 2984238"/>
              <a:gd name="connsiteX133" fmla="*/ 512609 w 4443789"/>
              <a:gd name="connsiteY133" fmla="*/ 2970567 h 2984238"/>
              <a:gd name="connsiteX134" fmla="*/ 509935 w 4443789"/>
              <a:gd name="connsiteY134" fmla="*/ 2970129 h 2984238"/>
              <a:gd name="connsiteX135" fmla="*/ 496126 w 4443789"/>
              <a:gd name="connsiteY135" fmla="*/ 2966380 h 2984238"/>
              <a:gd name="connsiteX136" fmla="*/ 463301 w 4443789"/>
              <a:gd name="connsiteY136" fmla="*/ 2958046 h 2984238"/>
              <a:gd name="connsiteX137" fmla="*/ 456659 w 4443789"/>
              <a:gd name="connsiteY137" fmla="*/ 2955672 h 2984238"/>
              <a:gd name="connsiteX138" fmla="*/ 452785 w 4443789"/>
              <a:gd name="connsiteY138" fmla="*/ 2954621 h 2984238"/>
              <a:gd name="connsiteX139" fmla="*/ 439575 w 4443789"/>
              <a:gd name="connsiteY139" fmla="*/ 2949567 h 2984238"/>
              <a:gd name="connsiteX140" fmla="*/ 411312 w 4443789"/>
              <a:gd name="connsiteY140" fmla="*/ 2939463 h 2984238"/>
              <a:gd name="connsiteX141" fmla="*/ 402737 w 4443789"/>
              <a:gd name="connsiteY141" fmla="*/ 2935469 h 2984238"/>
              <a:gd name="connsiteX142" fmla="*/ 397806 w 4443789"/>
              <a:gd name="connsiteY142" fmla="*/ 2933581 h 2984238"/>
              <a:gd name="connsiteX143" fmla="*/ 385843 w 4443789"/>
              <a:gd name="connsiteY143" fmla="*/ 2927598 h 2984238"/>
              <a:gd name="connsiteX144" fmla="*/ 361403 w 4443789"/>
              <a:gd name="connsiteY144" fmla="*/ 2916211 h 2984238"/>
              <a:gd name="connsiteX145" fmla="*/ 351085 w 4443789"/>
              <a:gd name="connsiteY145" fmla="*/ 2910211 h 2984238"/>
              <a:gd name="connsiteX146" fmla="*/ 345259 w 4443789"/>
              <a:gd name="connsiteY146" fmla="*/ 2907297 h 2984238"/>
              <a:gd name="connsiteX147" fmla="*/ 334785 w 4443789"/>
              <a:gd name="connsiteY147" fmla="*/ 2900733 h 2984238"/>
              <a:gd name="connsiteX148" fmla="*/ 313788 w 4443789"/>
              <a:gd name="connsiteY148" fmla="*/ 2888524 h 2984238"/>
              <a:gd name="connsiteX149" fmla="*/ 301951 w 4443789"/>
              <a:gd name="connsiteY149" fmla="*/ 2880157 h 2984238"/>
              <a:gd name="connsiteX150" fmla="*/ 295407 w 4443789"/>
              <a:gd name="connsiteY150" fmla="*/ 2876057 h 2984238"/>
              <a:gd name="connsiteX151" fmla="*/ 286494 w 4443789"/>
              <a:gd name="connsiteY151" fmla="*/ 2869231 h 2984238"/>
              <a:gd name="connsiteX152" fmla="*/ 268682 w 4443789"/>
              <a:gd name="connsiteY152" fmla="*/ 2856641 h 2984238"/>
              <a:gd name="connsiteX153" fmla="*/ 255577 w 4443789"/>
              <a:gd name="connsiteY153" fmla="*/ 2845557 h 2984238"/>
              <a:gd name="connsiteX154" fmla="*/ 248513 w 4443789"/>
              <a:gd name="connsiteY154" fmla="*/ 2840148 h 2984238"/>
              <a:gd name="connsiteX155" fmla="*/ 241144 w 4443789"/>
              <a:gd name="connsiteY155" fmla="*/ 2833351 h 2984238"/>
              <a:gd name="connsiteX156" fmla="*/ 226303 w 4443789"/>
              <a:gd name="connsiteY156" fmla="*/ 2820799 h 2984238"/>
              <a:gd name="connsiteX157" fmla="*/ 212206 w 4443789"/>
              <a:gd name="connsiteY157" fmla="*/ 2806655 h 2984238"/>
              <a:gd name="connsiteX158" fmla="*/ 204840 w 4443789"/>
              <a:gd name="connsiteY158" fmla="*/ 2799860 h 2984238"/>
              <a:gd name="connsiteX159" fmla="*/ 198946 w 4443789"/>
              <a:gd name="connsiteY159" fmla="*/ 2793352 h 2984238"/>
              <a:gd name="connsiteX160" fmla="*/ 186869 w 4443789"/>
              <a:gd name="connsiteY160" fmla="*/ 2781235 h 2984238"/>
              <a:gd name="connsiteX161" fmla="*/ 172075 w 4443789"/>
              <a:gd name="connsiteY161" fmla="*/ 2763680 h 2984238"/>
              <a:gd name="connsiteX162" fmla="*/ 164649 w 4443789"/>
              <a:gd name="connsiteY162" fmla="*/ 2755479 h 2984238"/>
              <a:gd name="connsiteX163" fmla="*/ 160126 w 4443789"/>
              <a:gd name="connsiteY163" fmla="*/ 2749501 h 2984238"/>
              <a:gd name="connsiteX164" fmla="*/ 150593 w 4443789"/>
              <a:gd name="connsiteY164" fmla="*/ 2738187 h 2984238"/>
              <a:gd name="connsiteX165" fmla="*/ 135413 w 4443789"/>
              <a:gd name="connsiteY165" fmla="*/ 2716825 h 2984238"/>
              <a:gd name="connsiteX166" fmla="*/ 128203 w 4443789"/>
              <a:gd name="connsiteY166" fmla="*/ 2707295 h 2984238"/>
              <a:gd name="connsiteX167" fmla="*/ 124919 w 4443789"/>
              <a:gd name="connsiteY167" fmla="*/ 2702060 h 2984238"/>
              <a:gd name="connsiteX168" fmla="*/ 117691 w 4443789"/>
              <a:gd name="connsiteY168" fmla="*/ 2691891 h 2984238"/>
              <a:gd name="connsiteX169" fmla="*/ 102434 w 4443789"/>
              <a:gd name="connsiteY169" fmla="*/ 2666223 h 2984238"/>
              <a:gd name="connsiteX170" fmla="*/ 95765 w 4443789"/>
              <a:gd name="connsiteY170" fmla="*/ 2655594 h 2984238"/>
              <a:gd name="connsiteX171" fmla="*/ 93563 w 4443789"/>
              <a:gd name="connsiteY171" fmla="*/ 2651301 h 2984238"/>
              <a:gd name="connsiteX172" fmla="*/ 88382 w 4443789"/>
              <a:gd name="connsiteY172" fmla="*/ 2642586 h 2984238"/>
              <a:gd name="connsiteX173" fmla="*/ 73321 w 4443789"/>
              <a:gd name="connsiteY173" fmla="*/ 2611829 h 2984238"/>
              <a:gd name="connsiteX174" fmla="*/ 67598 w 4443789"/>
              <a:gd name="connsiteY174" fmla="*/ 2600668 h 2984238"/>
              <a:gd name="connsiteX175" fmla="*/ 66299 w 4443789"/>
              <a:gd name="connsiteY175" fmla="*/ 2597490 h 2984238"/>
              <a:gd name="connsiteX176" fmla="*/ 62879 w 4443789"/>
              <a:gd name="connsiteY176" fmla="*/ 2590507 h 2984238"/>
              <a:gd name="connsiteX177" fmla="*/ 48163 w 4443789"/>
              <a:gd name="connsiteY177" fmla="*/ 2553088 h 2984238"/>
              <a:gd name="connsiteX178" fmla="*/ 43963 w 4443789"/>
              <a:gd name="connsiteY178" fmla="*/ 2542802 h 2984238"/>
              <a:gd name="connsiteX179" fmla="*/ 43371 w 4443789"/>
              <a:gd name="connsiteY179" fmla="*/ 2540899 h 2984238"/>
              <a:gd name="connsiteX180" fmla="*/ 41402 w 4443789"/>
              <a:gd name="connsiteY180" fmla="*/ 2535892 h 2984238"/>
              <a:gd name="connsiteX181" fmla="*/ 26628 w 4443789"/>
              <a:gd name="connsiteY181" fmla="*/ 2487119 h 2984238"/>
              <a:gd name="connsiteX182" fmla="*/ 25122 w 4443789"/>
              <a:gd name="connsiteY182" fmla="*/ 2482285 h 2984238"/>
              <a:gd name="connsiteX183" fmla="*/ 25017 w 4443789"/>
              <a:gd name="connsiteY183" fmla="*/ 2481798 h 2984238"/>
              <a:gd name="connsiteX184" fmla="*/ 24163 w 4443789"/>
              <a:gd name="connsiteY184" fmla="*/ 2478980 h 2984238"/>
              <a:gd name="connsiteX185" fmla="*/ 3271 w 4443789"/>
              <a:gd name="connsiteY185" fmla="*/ 2359211 h 2984238"/>
              <a:gd name="connsiteX186" fmla="*/ 3146 w 4443789"/>
              <a:gd name="connsiteY186" fmla="*/ 2356490 h 2984238"/>
              <a:gd name="connsiteX187" fmla="*/ 2879 w 4443789"/>
              <a:gd name="connsiteY187" fmla="*/ 2354448 h 2984238"/>
              <a:gd name="connsiteX188" fmla="*/ 1428 w 4443789"/>
              <a:gd name="connsiteY188" fmla="*/ 2320787 h 2984238"/>
              <a:gd name="connsiteX189" fmla="*/ 1 w 4443789"/>
              <a:gd name="connsiteY189" fmla="*/ 2320787 h 2984238"/>
              <a:gd name="connsiteX190" fmla="*/ 1 w 4443789"/>
              <a:gd name="connsiteY190" fmla="*/ 2288129 h 2984238"/>
              <a:gd name="connsiteX191" fmla="*/ 0 w 4443789"/>
              <a:gd name="connsiteY191" fmla="*/ 2288123 h 2984238"/>
              <a:gd name="connsiteX192" fmla="*/ 1 w 4443789"/>
              <a:gd name="connsiteY192" fmla="*/ 2288116 h 2984238"/>
              <a:gd name="connsiteX193" fmla="*/ 1 w 4443789"/>
              <a:gd name="connsiteY193" fmla="*/ 2287707 h 2984238"/>
              <a:gd name="connsiteX194" fmla="*/ 1 w 4443789"/>
              <a:gd name="connsiteY194" fmla="*/ 2281106 h 2984238"/>
              <a:gd name="connsiteX195" fmla="*/ 0 w 4443789"/>
              <a:gd name="connsiteY195" fmla="*/ 2281106 h 2984238"/>
              <a:gd name="connsiteX196" fmla="*/ 0 w 4443789"/>
              <a:gd name="connsiteY196" fmla="*/ 1857749 h 2984238"/>
              <a:gd name="connsiteX197" fmla="*/ 0 w 4443789"/>
              <a:gd name="connsiteY197" fmla="*/ 1857748 h 2984238"/>
              <a:gd name="connsiteX198" fmla="*/ 0 w 4443789"/>
              <a:gd name="connsiteY198" fmla="*/ 1857747 h 2984238"/>
              <a:gd name="connsiteX199" fmla="*/ 0 w 4443789"/>
              <a:gd name="connsiteY199" fmla="*/ 1829613 h 2984238"/>
              <a:gd name="connsiteX200" fmla="*/ 0 w 4443789"/>
              <a:gd name="connsiteY200" fmla="*/ 1822596 h 2984238"/>
              <a:gd name="connsiteX201" fmla="*/ 0 w 4443789"/>
              <a:gd name="connsiteY201" fmla="*/ 1584992 h 2984238"/>
              <a:gd name="connsiteX202" fmla="*/ 0 w 4443789"/>
              <a:gd name="connsiteY202" fmla="*/ 1399239 h 2984238"/>
              <a:gd name="connsiteX203" fmla="*/ 0 w 4443789"/>
              <a:gd name="connsiteY203" fmla="*/ 1399238 h 2984238"/>
              <a:gd name="connsiteX204" fmla="*/ 0 w 4443789"/>
              <a:gd name="connsiteY204" fmla="*/ 1399237 h 2984238"/>
              <a:gd name="connsiteX205" fmla="*/ 0 w 4443789"/>
              <a:gd name="connsiteY205" fmla="*/ 1154618 h 2984238"/>
              <a:gd name="connsiteX206" fmla="*/ 0 w 4443789"/>
              <a:gd name="connsiteY206" fmla="*/ 1126482 h 2984238"/>
              <a:gd name="connsiteX207" fmla="*/ 0 w 4443789"/>
              <a:gd name="connsiteY207" fmla="*/ 696108 h 2984238"/>
              <a:gd name="connsiteX208" fmla="*/ 0 w 4443789"/>
              <a:gd name="connsiteY208" fmla="*/ 458510 h 2984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</a:cxnLst>
            <a:rect l="l" t="t" r="r" b="b"/>
            <a:pathLst>
              <a:path w="4443789" h="2984238">
                <a:moveTo>
                  <a:pt x="0" y="0"/>
                </a:moveTo>
                <a:lnTo>
                  <a:pt x="600036" y="0"/>
                </a:lnTo>
                <a:lnTo>
                  <a:pt x="633604" y="0"/>
                </a:lnTo>
                <a:lnTo>
                  <a:pt x="1454682" y="0"/>
                </a:lnTo>
                <a:lnTo>
                  <a:pt x="2203288" y="0"/>
                </a:lnTo>
                <a:lnTo>
                  <a:pt x="2475597" y="0"/>
                </a:lnTo>
                <a:lnTo>
                  <a:pt x="2496805" y="0"/>
                </a:lnTo>
                <a:lnTo>
                  <a:pt x="2769115" y="0"/>
                </a:lnTo>
                <a:lnTo>
                  <a:pt x="3512790" y="0"/>
                </a:lnTo>
                <a:lnTo>
                  <a:pt x="3537876" y="0"/>
                </a:lnTo>
                <a:lnTo>
                  <a:pt x="3740986" y="0"/>
                </a:lnTo>
                <a:lnTo>
                  <a:pt x="3810185" y="0"/>
                </a:lnTo>
                <a:lnTo>
                  <a:pt x="3810185" y="832"/>
                </a:lnTo>
                <a:lnTo>
                  <a:pt x="3810186" y="832"/>
                </a:lnTo>
                <a:lnTo>
                  <a:pt x="3810375" y="832"/>
                </a:lnTo>
                <a:lnTo>
                  <a:pt x="3818503" y="832"/>
                </a:lnTo>
                <a:lnTo>
                  <a:pt x="3843754" y="832"/>
                </a:lnTo>
                <a:lnTo>
                  <a:pt x="3843754" y="2567"/>
                </a:lnTo>
                <a:lnTo>
                  <a:pt x="3871142" y="3990"/>
                </a:lnTo>
                <a:lnTo>
                  <a:pt x="3873498" y="4352"/>
                </a:lnTo>
                <a:lnTo>
                  <a:pt x="3874797" y="4423"/>
                </a:lnTo>
                <a:lnTo>
                  <a:pt x="3887149" y="6450"/>
                </a:lnTo>
                <a:lnTo>
                  <a:pt x="3926638" y="12518"/>
                </a:lnTo>
                <a:lnTo>
                  <a:pt x="3931179" y="13671"/>
                </a:lnTo>
                <a:lnTo>
                  <a:pt x="3933854" y="14110"/>
                </a:lnTo>
                <a:lnTo>
                  <a:pt x="3947663" y="17858"/>
                </a:lnTo>
                <a:lnTo>
                  <a:pt x="3980488" y="26192"/>
                </a:lnTo>
                <a:lnTo>
                  <a:pt x="3987130" y="28566"/>
                </a:lnTo>
                <a:lnTo>
                  <a:pt x="3991004" y="29617"/>
                </a:lnTo>
                <a:lnTo>
                  <a:pt x="4004215" y="34672"/>
                </a:lnTo>
                <a:lnTo>
                  <a:pt x="4032477" y="44775"/>
                </a:lnTo>
                <a:lnTo>
                  <a:pt x="4041053" y="48770"/>
                </a:lnTo>
                <a:lnTo>
                  <a:pt x="4045984" y="50657"/>
                </a:lnTo>
                <a:lnTo>
                  <a:pt x="4057946" y="56640"/>
                </a:lnTo>
                <a:lnTo>
                  <a:pt x="4082388" y="68027"/>
                </a:lnTo>
                <a:lnTo>
                  <a:pt x="4092704" y="74027"/>
                </a:lnTo>
                <a:lnTo>
                  <a:pt x="4098531" y="76941"/>
                </a:lnTo>
                <a:lnTo>
                  <a:pt x="4109004" y="83505"/>
                </a:lnTo>
                <a:lnTo>
                  <a:pt x="4130002" y="95714"/>
                </a:lnTo>
                <a:lnTo>
                  <a:pt x="4141839" y="104081"/>
                </a:lnTo>
                <a:lnTo>
                  <a:pt x="4148382" y="108181"/>
                </a:lnTo>
                <a:lnTo>
                  <a:pt x="4157295" y="115007"/>
                </a:lnTo>
                <a:lnTo>
                  <a:pt x="4175107" y="127597"/>
                </a:lnTo>
                <a:lnTo>
                  <a:pt x="4188212" y="138681"/>
                </a:lnTo>
                <a:lnTo>
                  <a:pt x="4195276" y="144090"/>
                </a:lnTo>
                <a:lnTo>
                  <a:pt x="4202645" y="150888"/>
                </a:lnTo>
                <a:lnTo>
                  <a:pt x="4217486" y="163439"/>
                </a:lnTo>
                <a:lnTo>
                  <a:pt x="4231582" y="177583"/>
                </a:lnTo>
                <a:lnTo>
                  <a:pt x="4238950" y="184379"/>
                </a:lnTo>
                <a:lnTo>
                  <a:pt x="4244842" y="190886"/>
                </a:lnTo>
                <a:lnTo>
                  <a:pt x="4256920" y="203004"/>
                </a:lnTo>
                <a:lnTo>
                  <a:pt x="4271715" y="220559"/>
                </a:lnTo>
                <a:lnTo>
                  <a:pt x="4279140" y="228759"/>
                </a:lnTo>
                <a:lnTo>
                  <a:pt x="4283662" y="234737"/>
                </a:lnTo>
                <a:lnTo>
                  <a:pt x="4293198" y="246051"/>
                </a:lnTo>
                <a:lnTo>
                  <a:pt x="4308376" y="267413"/>
                </a:lnTo>
                <a:lnTo>
                  <a:pt x="4315586" y="276943"/>
                </a:lnTo>
                <a:lnTo>
                  <a:pt x="4318870" y="282177"/>
                </a:lnTo>
                <a:lnTo>
                  <a:pt x="4326098" y="292347"/>
                </a:lnTo>
                <a:lnTo>
                  <a:pt x="4341356" y="318015"/>
                </a:lnTo>
                <a:lnTo>
                  <a:pt x="4348025" y="328644"/>
                </a:lnTo>
                <a:lnTo>
                  <a:pt x="4350227" y="332936"/>
                </a:lnTo>
                <a:lnTo>
                  <a:pt x="4355408" y="341652"/>
                </a:lnTo>
                <a:lnTo>
                  <a:pt x="4370469" y="372409"/>
                </a:lnTo>
                <a:lnTo>
                  <a:pt x="4376192" y="383570"/>
                </a:lnTo>
                <a:lnTo>
                  <a:pt x="4377489" y="386748"/>
                </a:lnTo>
                <a:lnTo>
                  <a:pt x="4380909" y="393731"/>
                </a:lnTo>
                <a:lnTo>
                  <a:pt x="4395626" y="431150"/>
                </a:lnTo>
                <a:lnTo>
                  <a:pt x="4399828" y="441436"/>
                </a:lnTo>
                <a:lnTo>
                  <a:pt x="4400420" y="443339"/>
                </a:lnTo>
                <a:lnTo>
                  <a:pt x="4402388" y="448347"/>
                </a:lnTo>
                <a:lnTo>
                  <a:pt x="4417161" y="497120"/>
                </a:lnTo>
                <a:lnTo>
                  <a:pt x="4418667" y="501954"/>
                </a:lnTo>
                <a:lnTo>
                  <a:pt x="4418772" y="502440"/>
                </a:lnTo>
                <a:lnTo>
                  <a:pt x="4419628" y="505257"/>
                </a:lnTo>
                <a:cubicBezTo>
                  <a:pt x="4429658" y="543913"/>
                  <a:pt x="4436718" y="583941"/>
                  <a:pt x="4440518" y="625027"/>
                </a:cubicBezTo>
                <a:lnTo>
                  <a:pt x="4440644" y="627748"/>
                </a:lnTo>
                <a:lnTo>
                  <a:pt x="4440910" y="629790"/>
                </a:lnTo>
                <a:lnTo>
                  <a:pt x="4442362" y="663451"/>
                </a:lnTo>
                <a:lnTo>
                  <a:pt x="4443789" y="663451"/>
                </a:lnTo>
                <a:lnTo>
                  <a:pt x="4443789" y="696109"/>
                </a:lnTo>
                <a:lnTo>
                  <a:pt x="4443789" y="696115"/>
                </a:lnTo>
                <a:lnTo>
                  <a:pt x="4443789" y="696122"/>
                </a:lnTo>
                <a:lnTo>
                  <a:pt x="4443789" y="696532"/>
                </a:lnTo>
                <a:lnTo>
                  <a:pt x="4443789" y="703132"/>
                </a:lnTo>
                <a:lnTo>
                  <a:pt x="4443789" y="1121961"/>
                </a:lnTo>
                <a:lnTo>
                  <a:pt x="4443789" y="1126490"/>
                </a:lnTo>
                <a:lnTo>
                  <a:pt x="4443789" y="1154619"/>
                </a:lnTo>
                <a:lnTo>
                  <a:pt x="4443789" y="1154625"/>
                </a:lnTo>
                <a:lnTo>
                  <a:pt x="4443789" y="1154632"/>
                </a:lnTo>
                <a:lnTo>
                  <a:pt x="4443789" y="1155042"/>
                </a:lnTo>
                <a:lnTo>
                  <a:pt x="4443789" y="1161642"/>
                </a:lnTo>
                <a:lnTo>
                  <a:pt x="4443789" y="1399246"/>
                </a:lnTo>
                <a:lnTo>
                  <a:pt x="4443789" y="1585000"/>
                </a:lnTo>
                <a:lnTo>
                  <a:pt x="4443789" y="1829621"/>
                </a:lnTo>
                <a:lnTo>
                  <a:pt x="4443789" y="1857756"/>
                </a:lnTo>
                <a:lnTo>
                  <a:pt x="4443789" y="2288131"/>
                </a:lnTo>
                <a:lnTo>
                  <a:pt x="4443789" y="2525728"/>
                </a:lnTo>
                <a:lnTo>
                  <a:pt x="4443789" y="2984238"/>
                </a:lnTo>
                <a:lnTo>
                  <a:pt x="3843754" y="2984238"/>
                </a:lnTo>
                <a:lnTo>
                  <a:pt x="3810186" y="2984238"/>
                </a:lnTo>
                <a:lnTo>
                  <a:pt x="3740986" y="2984238"/>
                </a:lnTo>
                <a:lnTo>
                  <a:pt x="3512790" y="2984238"/>
                </a:lnTo>
                <a:lnTo>
                  <a:pt x="3402719" y="2984238"/>
                </a:lnTo>
                <a:lnTo>
                  <a:pt x="3109201" y="2984238"/>
                </a:lnTo>
                <a:lnTo>
                  <a:pt x="2986086" y="2984238"/>
                </a:lnTo>
                <a:lnTo>
                  <a:pt x="2802684" y="2984238"/>
                </a:lnTo>
                <a:lnTo>
                  <a:pt x="2769116" y="2984238"/>
                </a:lnTo>
                <a:lnTo>
                  <a:pt x="2713776" y="2984238"/>
                </a:lnTo>
                <a:lnTo>
                  <a:pt x="2509166" y="2984238"/>
                </a:lnTo>
                <a:lnTo>
                  <a:pt x="2475598" y="2984238"/>
                </a:lnTo>
                <a:lnTo>
                  <a:pt x="1839935" y="2984238"/>
                </a:lnTo>
                <a:lnTo>
                  <a:pt x="1716819" y="2984238"/>
                </a:lnTo>
                <a:lnTo>
                  <a:pt x="1454682" y="2984238"/>
                </a:lnTo>
                <a:lnTo>
                  <a:pt x="1444510" y="2984238"/>
                </a:lnTo>
                <a:lnTo>
                  <a:pt x="1423301" y="2984238"/>
                </a:lnTo>
                <a:lnTo>
                  <a:pt x="1239899" y="2984238"/>
                </a:lnTo>
                <a:lnTo>
                  <a:pt x="1206331" y="2984238"/>
                </a:lnTo>
                <a:lnTo>
                  <a:pt x="1150992" y="2984238"/>
                </a:lnTo>
                <a:lnTo>
                  <a:pt x="905913" y="2984238"/>
                </a:lnTo>
                <a:lnTo>
                  <a:pt x="702803" y="2984238"/>
                </a:lnTo>
                <a:lnTo>
                  <a:pt x="633605" y="2984238"/>
                </a:lnTo>
                <a:lnTo>
                  <a:pt x="633605" y="2983406"/>
                </a:lnTo>
                <a:lnTo>
                  <a:pt x="633604" y="2983406"/>
                </a:lnTo>
                <a:lnTo>
                  <a:pt x="633414" y="2983406"/>
                </a:lnTo>
                <a:lnTo>
                  <a:pt x="625287" y="2983406"/>
                </a:lnTo>
                <a:lnTo>
                  <a:pt x="600036" y="2983406"/>
                </a:lnTo>
                <a:lnTo>
                  <a:pt x="600036" y="2981671"/>
                </a:lnTo>
                <a:lnTo>
                  <a:pt x="572647" y="2980249"/>
                </a:lnTo>
                <a:lnTo>
                  <a:pt x="570293" y="2979886"/>
                </a:lnTo>
                <a:lnTo>
                  <a:pt x="568992" y="2979815"/>
                </a:lnTo>
                <a:lnTo>
                  <a:pt x="556640" y="2977788"/>
                </a:lnTo>
                <a:lnTo>
                  <a:pt x="517152" y="2971720"/>
                </a:lnTo>
                <a:lnTo>
                  <a:pt x="512609" y="2970567"/>
                </a:lnTo>
                <a:lnTo>
                  <a:pt x="509935" y="2970129"/>
                </a:lnTo>
                <a:lnTo>
                  <a:pt x="496126" y="2966380"/>
                </a:lnTo>
                <a:lnTo>
                  <a:pt x="463301" y="2958046"/>
                </a:lnTo>
                <a:lnTo>
                  <a:pt x="456659" y="2955672"/>
                </a:lnTo>
                <a:lnTo>
                  <a:pt x="452785" y="2954621"/>
                </a:lnTo>
                <a:lnTo>
                  <a:pt x="439575" y="2949567"/>
                </a:lnTo>
                <a:lnTo>
                  <a:pt x="411312" y="2939463"/>
                </a:lnTo>
                <a:lnTo>
                  <a:pt x="402737" y="2935469"/>
                </a:lnTo>
                <a:lnTo>
                  <a:pt x="397806" y="2933581"/>
                </a:lnTo>
                <a:lnTo>
                  <a:pt x="385843" y="2927598"/>
                </a:lnTo>
                <a:lnTo>
                  <a:pt x="361403" y="2916211"/>
                </a:lnTo>
                <a:lnTo>
                  <a:pt x="351085" y="2910211"/>
                </a:lnTo>
                <a:lnTo>
                  <a:pt x="345259" y="2907297"/>
                </a:lnTo>
                <a:lnTo>
                  <a:pt x="334785" y="2900733"/>
                </a:lnTo>
                <a:lnTo>
                  <a:pt x="313788" y="2888524"/>
                </a:lnTo>
                <a:lnTo>
                  <a:pt x="301951" y="2880157"/>
                </a:lnTo>
                <a:lnTo>
                  <a:pt x="295407" y="2876057"/>
                </a:lnTo>
                <a:lnTo>
                  <a:pt x="286494" y="2869231"/>
                </a:lnTo>
                <a:lnTo>
                  <a:pt x="268682" y="2856641"/>
                </a:lnTo>
                <a:lnTo>
                  <a:pt x="255577" y="2845557"/>
                </a:lnTo>
                <a:lnTo>
                  <a:pt x="248513" y="2840148"/>
                </a:lnTo>
                <a:lnTo>
                  <a:pt x="241144" y="2833351"/>
                </a:lnTo>
                <a:lnTo>
                  <a:pt x="226303" y="2820799"/>
                </a:lnTo>
                <a:lnTo>
                  <a:pt x="212206" y="2806655"/>
                </a:lnTo>
                <a:lnTo>
                  <a:pt x="204840" y="2799860"/>
                </a:lnTo>
                <a:lnTo>
                  <a:pt x="198946" y="2793352"/>
                </a:lnTo>
                <a:lnTo>
                  <a:pt x="186869" y="2781235"/>
                </a:lnTo>
                <a:lnTo>
                  <a:pt x="172075" y="2763680"/>
                </a:lnTo>
                <a:lnTo>
                  <a:pt x="164649" y="2755479"/>
                </a:lnTo>
                <a:lnTo>
                  <a:pt x="160126" y="2749501"/>
                </a:lnTo>
                <a:lnTo>
                  <a:pt x="150593" y="2738187"/>
                </a:lnTo>
                <a:lnTo>
                  <a:pt x="135413" y="2716825"/>
                </a:lnTo>
                <a:lnTo>
                  <a:pt x="128203" y="2707295"/>
                </a:lnTo>
                <a:lnTo>
                  <a:pt x="124919" y="2702060"/>
                </a:lnTo>
                <a:lnTo>
                  <a:pt x="117691" y="2691891"/>
                </a:lnTo>
                <a:lnTo>
                  <a:pt x="102434" y="2666223"/>
                </a:lnTo>
                <a:lnTo>
                  <a:pt x="95765" y="2655594"/>
                </a:lnTo>
                <a:lnTo>
                  <a:pt x="93563" y="2651301"/>
                </a:lnTo>
                <a:lnTo>
                  <a:pt x="88382" y="2642586"/>
                </a:lnTo>
                <a:lnTo>
                  <a:pt x="73321" y="2611829"/>
                </a:lnTo>
                <a:lnTo>
                  <a:pt x="67598" y="2600668"/>
                </a:lnTo>
                <a:lnTo>
                  <a:pt x="66299" y="2597490"/>
                </a:lnTo>
                <a:lnTo>
                  <a:pt x="62879" y="2590507"/>
                </a:lnTo>
                <a:lnTo>
                  <a:pt x="48163" y="2553088"/>
                </a:lnTo>
                <a:lnTo>
                  <a:pt x="43963" y="2542802"/>
                </a:lnTo>
                <a:lnTo>
                  <a:pt x="43371" y="2540899"/>
                </a:lnTo>
                <a:lnTo>
                  <a:pt x="41402" y="2535892"/>
                </a:lnTo>
                <a:lnTo>
                  <a:pt x="26628" y="2487119"/>
                </a:lnTo>
                <a:lnTo>
                  <a:pt x="25122" y="2482285"/>
                </a:lnTo>
                <a:lnTo>
                  <a:pt x="25017" y="2481798"/>
                </a:lnTo>
                <a:lnTo>
                  <a:pt x="24163" y="2478980"/>
                </a:lnTo>
                <a:cubicBezTo>
                  <a:pt x="14132" y="2440325"/>
                  <a:pt x="7072" y="2400297"/>
                  <a:pt x="3271" y="2359211"/>
                </a:cubicBezTo>
                <a:lnTo>
                  <a:pt x="3146" y="2356490"/>
                </a:lnTo>
                <a:lnTo>
                  <a:pt x="2879" y="2354448"/>
                </a:lnTo>
                <a:lnTo>
                  <a:pt x="1428" y="2320787"/>
                </a:lnTo>
                <a:lnTo>
                  <a:pt x="1" y="2320787"/>
                </a:lnTo>
                <a:lnTo>
                  <a:pt x="1" y="2288129"/>
                </a:lnTo>
                <a:lnTo>
                  <a:pt x="0" y="2288123"/>
                </a:lnTo>
                <a:lnTo>
                  <a:pt x="1" y="2288116"/>
                </a:lnTo>
                <a:lnTo>
                  <a:pt x="1" y="2287707"/>
                </a:lnTo>
                <a:lnTo>
                  <a:pt x="1" y="2281106"/>
                </a:lnTo>
                <a:lnTo>
                  <a:pt x="0" y="2281106"/>
                </a:lnTo>
                <a:lnTo>
                  <a:pt x="0" y="1857749"/>
                </a:lnTo>
                <a:lnTo>
                  <a:pt x="0" y="1857748"/>
                </a:lnTo>
                <a:lnTo>
                  <a:pt x="0" y="1857747"/>
                </a:lnTo>
                <a:lnTo>
                  <a:pt x="0" y="1829613"/>
                </a:lnTo>
                <a:lnTo>
                  <a:pt x="0" y="1822596"/>
                </a:lnTo>
                <a:lnTo>
                  <a:pt x="0" y="1584992"/>
                </a:lnTo>
                <a:lnTo>
                  <a:pt x="0" y="1399239"/>
                </a:lnTo>
                <a:lnTo>
                  <a:pt x="0" y="1399238"/>
                </a:lnTo>
                <a:lnTo>
                  <a:pt x="0" y="1399237"/>
                </a:lnTo>
                <a:lnTo>
                  <a:pt x="0" y="1154618"/>
                </a:lnTo>
                <a:lnTo>
                  <a:pt x="0" y="1126482"/>
                </a:lnTo>
                <a:lnTo>
                  <a:pt x="0" y="696108"/>
                </a:lnTo>
                <a:lnTo>
                  <a:pt x="0" y="458510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348126B6-9516-0C40-B71B-99CB74A86D9D}"/>
              </a:ext>
            </a:extLst>
          </p:cNvPr>
          <p:cNvSpPr txBox="1">
            <a:spLocks/>
          </p:cNvSpPr>
          <p:nvPr/>
        </p:nvSpPr>
        <p:spPr>
          <a:xfrm>
            <a:off x="2787350" y="4432516"/>
            <a:ext cx="7222578" cy="184665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lvl="0" algn="ctr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0" dirty="0">
                <a:solidFill>
                  <a:srgbClr val="1D3166"/>
                </a:solidFill>
                <a:latin typeface="Montserrat" pitchFamily="2" charset="77"/>
              </a:rPr>
              <a:t>TERIMA </a:t>
            </a:r>
          </a:p>
          <a:p>
            <a:pPr lvl="0" algn="ctr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0" dirty="0">
                <a:solidFill>
                  <a:srgbClr val="1D3166"/>
                </a:solidFill>
                <a:latin typeface="Montserrat" pitchFamily="2" charset="77"/>
              </a:rPr>
              <a:t>KASIH</a:t>
            </a:r>
          </a:p>
        </p:txBody>
      </p:sp>
      <p:pic>
        <p:nvPicPr>
          <p:cNvPr id="2" name="Picture 1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F35FD636-B192-A969-5EF8-E1EDBE471F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573" y="231185"/>
            <a:ext cx="2671671" cy="54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4820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pattFill prst="dotGrid">
          <a:fgClr>
            <a:srgbClr val="F6F5F8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" name="Picture Placeholder 113">
            <a:extLst>
              <a:ext uri="{FF2B5EF4-FFF2-40B4-BE49-F238E27FC236}">
                <a16:creationId xmlns:a16="http://schemas.microsoft.com/office/drawing/2014/main" id="{D3246BE7-2F99-31B8-CDE4-3B82149737D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hqprint">
            <a:alphaModFix amt="6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2855" r="22855"/>
          <a:stretch/>
        </p:blipFill>
        <p:spPr>
          <a:xfrm>
            <a:off x="5687986" y="28042"/>
            <a:ext cx="6490034" cy="6858000"/>
          </a:xfrm>
          <a:noFill/>
        </p:spPr>
      </p:pic>
      <p:sp>
        <p:nvSpPr>
          <p:cNvPr id="120" name="Rectangle 119">
            <a:extLst>
              <a:ext uri="{FF2B5EF4-FFF2-40B4-BE49-F238E27FC236}">
                <a16:creationId xmlns:a16="http://schemas.microsoft.com/office/drawing/2014/main" id="{9BE167DE-6861-2E4E-B9DA-34FBBA1E3E75}"/>
              </a:ext>
            </a:extLst>
          </p:cNvPr>
          <p:cNvSpPr/>
          <p:nvPr/>
        </p:nvSpPr>
        <p:spPr>
          <a:xfrm>
            <a:off x="1905904" y="106666"/>
            <a:ext cx="10272905" cy="599342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3CAE5164-B449-DE42-9970-3E22A3454CAD}"/>
              </a:ext>
            </a:extLst>
          </p:cNvPr>
          <p:cNvSpPr txBox="1"/>
          <p:nvPr/>
        </p:nvSpPr>
        <p:spPr>
          <a:xfrm>
            <a:off x="2219161" y="139412"/>
            <a:ext cx="86029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FUNGSI PENGAWASAN </a:t>
            </a:r>
          </a:p>
        </p:txBody>
      </p:sp>
      <p:pic>
        <p:nvPicPr>
          <p:cNvPr id="60" name="Picture 59" descr="A picture containing text&#10;&#10;Description automatically generated">
            <a:extLst>
              <a:ext uri="{FF2B5EF4-FFF2-40B4-BE49-F238E27FC236}">
                <a16:creationId xmlns:a16="http://schemas.microsoft.com/office/drawing/2014/main" id="{D7277E3F-73D9-4E40-9086-1C60395C841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0415" t="79558" r="-713" b="-4523"/>
          <a:stretch/>
        </p:blipFill>
        <p:spPr>
          <a:xfrm>
            <a:off x="9959937" y="-175826"/>
            <a:ext cx="2327077" cy="160981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251A830-7C1C-7CCA-45B1-72E61ED2D6D4}"/>
              </a:ext>
            </a:extLst>
          </p:cNvPr>
          <p:cNvSpPr/>
          <p:nvPr/>
        </p:nvSpPr>
        <p:spPr>
          <a:xfrm>
            <a:off x="5838002" y="3043411"/>
            <a:ext cx="6132325" cy="35286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  <a:sym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B2C0C89-D15C-0059-D4D3-3C5DBDE08380}"/>
              </a:ext>
            </a:extLst>
          </p:cNvPr>
          <p:cNvGrpSpPr/>
          <p:nvPr/>
        </p:nvGrpSpPr>
        <p:grpSpPr>
          <a:xfrm>
            <a:off x="6882867" y="788061"/>
            <a:ext cx="4268265" cy="1776175"/>
            <a:chOff x="7702062" y="841810"/>
            <a:chExt cx="4268265" cy="1776175"/>
          </a:xfrm>
        </p:grpSpPr>
        <p:sp>
          <p:nvSpPr>
            <p:cNvPr id="6" name="Google Shape;153;p6">
              <a:extLst>
                <a:ext uri="{FF2B5EF4-FFF2-40B4-BE49-F238E27FC236}">
                  <a16:creationId xmlns:a16="http://schemas.microsoft.com/office/drawing/2014/main" id="{398E4FC5-FE3F-0818-CAB0-CA3A01F90964}"/>
                </a:ext>
              </a:extLst>
            </p:cNvPr>
            <p:cNvSpPr/>
            <p:nvPr/>
          </p:nvSpPr>
          <p:spPr>
            <a:xfrm>
              <a:off x="8290123" y="841810"/>
              <a:ext cx="3680204" cy="1776175"/>
            </a:xfrm>
            <a:prstGeom prst="rect">
              <a:avLst/>
            </a:prstGeom>
            <a:blipFill rotWithShape="1">
              <a:blip r:embed="rId6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3F46F4B-E9BD-F90D-A151-B86AFEB831BA}"/>
                </a:ext>
              </a:extLst>
            </p:cNvPr>
            <p:cNvSpPr txBox="1"/>
            <p:nvPr/>
          </p:nvSpPr>
          <p:spPr>
            <a:xfrm>
              <a:off x="7702062" y="1532860"/>
              <a:ext cx="1531350" cy="584775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Penguatan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 </a:t>
              </a:r>
              <a:r>
                <a:rPr kumimoji="0" lang="en-US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Pengawasan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8" name="Oval 8">
            <a:extLst>
              <a:ext uri="{FF2B5EF4-FFF2-40B4-BE49-F238E27FC236}">
                <a16:creationId xmlns:a16="http://schemas.microsoft.com/office/drawing/2014/main" id="{8AE4541D-B664-5A3C-A764-D802CF6BAA4B}"/>
              </a:ext>
            </a:extLst>
          </p:cNvPr>
          <p:cNvGrpSpPr>
            <a:grpSpLocks/>
          </p:cNvGrpSpPr>
          <p:nvPr/>
        </p:nvGrpSpPr>
        <p:grpSpPr bwMode="auto">
          <a:xfrm>
            <a:off x="9017000" y="1995770"/>
            <a:ext cx="2159000" cy="2159000"/>
            <a:chOff x="5680" y="1040"/>
            <a:chExt cx="1360" cy="1360"/>
          </a:xfrm>
        </p:grpSpPr>
        <p:pic>
          <p:nvPicPr>
            <p:cNvPr id="9" name="Oval 8">
              <a:extLst>
                <a:ext uri="{FF2B5EF4-FFF2-40B4-BE49-F238E27FC236}">
                  <a16:creationId xmlns:a16="http://schemas.microsoft.com/office/drawing/2014/main" id="{FA54F2A9-FAC5-FC76-09BD-66BD36871E92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0" y="1040"/>
              <a:ext cx="1360" cy="1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 Box 4">
              <a:extLst>
                <a:ext uri="{FF2B5EF4-FFF2-40B4-BE49-F238E27FC236}">
                  <a16:creationId xmlns:a16="http://schemas.microsoft.com/office/drawing/2014/main" id="{DF828334-BCA0-8CA4-FAD1-1FBEC3ADBA9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83" y="1244"/>
              <a:ext cx="959" cy="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11" name="Oval 8">
            <a:extLst>
              <a:ext uri="{FF2B5EF4-FFF2-40B4-BE49-F238E27FC236}">
                <a16:creationId xmlns:a16="http://schemas.microsoft.com/office/drawing/2014/main" id="{CC2B007D-028B-9785-6764-6B474C41C5B4}"/>
              </a:ext>
            </a:extLst>
          </p:cNvPr>
          <p:cNvGrpSpPr>
            <a:grpSpLocks/>
          </p:cNvGrpSpPr>
          <p:nvPr/>
        </p:nvGrpSpPr>
        <p:grpSpPr bwMode="auto">
          <a:xfrm>
            <a:off x="9017000" y="1995770"/>
            <a:ext cx="2159000" cy="2159000"/>
            <a:chOff x="5680" y="1040"/>
            <a:chExt cx="1360" cy="1360"/>
          </a:xfrm>
        </p:grpSpPr>
        <p:pic>
          <p:nvPicPr>
            <p:cNvPr id="12" name="Oval 8">
              <a:extLst>
                <a:ext uri="{FF2B5EF4-FFF2-40B4-BE49-F238E27FC236}">
                  <a16:creationId xmlns:a16="http://schemas.microsoft.com/office/drawing/2014/main" id="{28B02CF7-A080-1E3E-669E-92F6E5E95F85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0" y="1040"/>
              <a:ext cx="1360" cy="1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Text Box 4">
              <a:extLst>
                <a:ext uri="{FF2B5EF4-FFF2-40B4-BE49-F238E27FC236}">
                  <a16:creationId xmlns:a16="http://schemas.microsoft.com/office/drawing/2014/main" id="{D878D534-5783-788A-C122-50A52EA06A8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83" y="1244"/>
              <a:ext cx="959" cy="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E193411E-C3CF-68A3-F56E-39E8CDD22199}"/>
              </a:ext>
            </a:extLst>
          </p:cNvPr>
          <p:cNvSpPr/>
          <p:nvPr/>
        </p:nvSpPr>
        <p:spPr>
          <a:xfrm>
            <a:off x="-599" y="1126508"/>
            <a:ext cx="6907735" cy="1522528"/>
          </a:xfrm>
          <a:prstGeom prst="parallelogram">
            <a:avLst>
              <a:gd name="adj" fmla="val 26813"/>
            </a:avLst>
          </a:prstGeom>
          <a:solidFill>
            <a:srgbClr val="4472C4">
              <a:lumMod val="5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P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Nomor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5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Tahu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2021: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ngawas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oleh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menteri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PUPR,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bupati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/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walikota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, Administrator Kawasan Ekonomi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husus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(KEK), dan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pala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Badan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ngusaha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Kawasan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rdagang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Bebas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dan Pelabuhan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Bebas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(KPBPB)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sesuai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wenang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berdasark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tentu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ratur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rundang-undanga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Arial"/>
              <a:sym typeface="Arial"/>
            </a:endParaRPr>
          </a:p>
        </p:txBody>
      </p:sp>
      <p:sp>
        <p:nvSpPr>
          <p:cNvPr id="21" name="Right Arrow 17">
            <a:extLst>
              <a:ext uri="{FF2B5EF4-FFF2-40B4-BE49-F238E27FC236}">
                <a16:creationId xmlns:a16="http://schemas.microsoft.com/office/drawing/2014/main" id="{1CBFEF82-59C4-EA06-198E-E8EC8CD1D715}"/>
              </a:ext>
            </a:extLst>
          </p:cNvPr>
          <p:cNvSpPr/>
          <p:nvPr/>
        </p:nvSpPr>
        <p:spPr>
          <a:xfrm rot="5400000">
            <a:off x="1029065" y="2730487"/>
            <a:ext cx="456511" cy="521016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Arial"/>
              <a:sym typeface="Arial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BE06A9FB-4FBA-5B99-E87B-AC5AF187DAF0}"/>
              </a:ext>
            </a:extLst>
          </p:cNvPr>
          <p:cNvSpPr/>
          <p:nvPr/>
        </p:nvSpPr>
        <p:spPr>
          <a:xfrm>
            <a:off x="462188" y="3248282"/>
            <a:ext cx="2147455" cy="592559"/>
          </a:xfrm>
          <a:prstGeom prst="roundRect">
            <a:avLst>
              <a:gd name="adj" fmla="val 9653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ngawas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Ruti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: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D5064F48-3848-364A-8F57-93E7B252729E}"/>
              </a:ext>
            </a:extLst>
          </p:cNvPr>
          <p:cNvSpPr/>
          <p:nvPr/>
        </p:nvSpPr>
        <p:spPr>
          <a:xfrm>
            <a:off x="837809" y="4093179"/>
            <a:ext cx="2364728" cy="922478"/>
          </a:xfrm>
          <a:prstGeom prst="roundRect">
            <a:avLst>
              <a:gd name="adj" fmla="val 7315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Lapor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giat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Usaha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Tahun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8E69B079-F8D4-8812-7FE9-EE0BD85A3AE0}"/>
              </a:ext>
            </a:extLst>
          </p:cNvPr>
          <p:cNvSpPr/>
          <p:nvPr/>
        </p:nvSpPr>
        <p:spPr>
          <a:xfrm>
            <a:off x="837809" y="5185097"/>
            <a:ext cx="2364728" cy="592559"/>
          </a:xfrm>
          <a:prstGeom prst="roundRect">
            <a:avLst>
              <a:gd name="adj" fmla="val 7315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ncatat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ngalama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Arial"/>
              <a:sym typeface="Arial"/>
            </a:endParaRPr>
          </a:p>
        </p:txBody>
      </p:sp>
      <p:cxnSp>
        <p:nvCxnSpPr>
          <p:cNvPr id="25" name="Elbow Connector 25">
            <a:extLst>
              <a:ext uri="{FF2B5EF4-FFF2-40B4-BE49-F238E27FC236}">
                <a16:creationId xmlns:a16="http://schemas.microsoft.com/office/drawing/2014/main" id="{D4486A80-B07A-405B-AFBC-CFC2EC87B676}"/>
              </a:ext>
            </a:extLst>
          </p:cNvPr>
          <p:cNvCxnSpPr>
            <a:cxnSpLocks/>
            <a:stCxn id="22" idx="2"/>
            <a:endCxn id="23" idx="1"/>
          </p:cNvCxnSpPr>
          <p:nvPr/>
        </p:nvCxnSpPr>
        <p:spPr>
          <a:xfrm rot="5400000">
            <a:off x="830075" y="3848576"/>
            <a:ext cx="713577" cy="698107"/>
          </a:xfrm>
          <a:prstGeom prst="bentConnector4">
            <a:avLst>
              <a:gd name="adj1" fmla="val 17681"/>
              <a:gd name="adj2" fmla="val 132746"/>
            </a:avLst>
          </a:prstGeom>
          <a:noFill/>
          <a:ln w="2857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2" name="Elbow Connector 26">
            <a:extLst>
              <a:ext uri="{FF2B5EF4-FFF2-40B4-BE49-F238E27FC236}">
                <a16:creationId xmlns:a16="http://schemas.microsoft.com/office/drawing/2014/main" id="{BBA282DD-86CB-DA33-61CF-F2693E184619}"/>
              </a:ext>
            </a:extLst>
          </p:cNvPr>
          <p:cNvCxnSpPr>
            <a:cxnSpLocks/>
            <a:stCxn id="22" idx="2"/>
            <a:endCxn id="24" idx="1"/>
          </p:cNvCxnSpPr>
          <p:nvPr/>
        </p:nvCxnSpPr>
        <p:spPr>
          <a:xfrm rot="5400000">
            <a:off x="366595" y="4312056"/>
            <a:ext cx="1640536" cy="698107"/>
          </a:xfrm>
          <a:prstGeom prst="bentConnector4">
            <a:avLst>
              <a:gd name="adj1" fmla="val 7190"/>
              <a:gd name="adj2" fmla="val 132746"/>
            </a:avLst>
          </a:prstGeom>
          <a:noFill/>
          <a:ln w="2857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35649385-45F2-D6D1-D8B0-9BDAC34AC7A4}"/>
              </a:ext>
            </a:extLst>
          </p:cNvPr>
          <p:cNvSpPr/>
          <p:nvPr/>
        </p:nvSpPr>
        <p:spPr>
          <a:xfrm>
            <a:off x="3177936" y="2849997"/>
            <a:ext cx="3258946" cy="1987899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Untuk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usaha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orang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rseorang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dan BUJK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ualifikasi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cil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:</a:t>
            </a: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data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usah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orang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rseorang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atau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badan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usaha</a:t>
            </a:r>
            <a:endParaRPr kumimoji="0" lang="en-ID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/>
              <a:ea typeface="+mn-ea"/>
              <a:cs typeface="Arial"/>
              <a:sym typeface="Arial"/>
            </a:endParaRP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data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wajib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laksana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berusah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;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45494B2-FDC2-3079-58A0-2AF516D008B0}"/>
              </a:ext>
            </a:extLst>
          </p:cNvPr>
          <p:cNvSpPr/>
          <p:nvPr/>
        </p:nvSpPr>
        <p:spPr>
          <a:xfrm>
            <a:off x="3177936" y="4941091"/>
            <a:ext cx="3258946" cy="1781471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Untuk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BUJK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ualifi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.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menengah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,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besar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, dan BUJK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spesialis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:</a:t>
            </a: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data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patuh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laksana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rizin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Berusah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;</a:t>
            </a: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data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inerj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manajeme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rusaha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;</a:t>
            </a: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data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inerj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royek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.</a:t>
            </a:r>
          </a:p>
        </p:txBody>
      </p:sp>
      <p:sp>
        <p:nvSpPr>
          <p:cNvPr id="42" name="Triangle 29">
            <a:extLst>
              <a:ext uri="{FF2B5EF4-FFF2-40B4-BE49-F238E27FC236}">
                <a16:creationId xmlns:a16="http://schemas.microsoft.com/office/drawing/2014/main" id="{A1A01B6D-3804-CDAF-AD31-A36E1CB18E60}"/>
              </a:ext>
            </a:extLst>
          </p:cNvPr>
          <p:cNvSpPr/>
          <p:nvPr/>
        </p:nvSpPr>
        <p:spPr>
          <a:xfrm rot="16200000">
            <a:off x="3057568" y="4053605"/>
            <a:ext cx="512618" cy="278783"/>
          </a:xfrm>
          <a:prstGeom prst="triangle">
            <a:avLst>
              <a:gd name="adj" fmla="val 0"/>
            </a:avLst>
          </a:prstGeom>
          <a:solidFill>
            <a:srgbClr val="4472C4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Arial"/>
              <a:sym typeface="Arial"/>
            </a:endParaRPr>
          </a:p>
        </p:txBody>
      </p:sp>
      <p:sp>
        <p:nvSpPr>
          <p:cNvPr id="44" name="Triangle 30">
            <a:extLst>
              <a:ext uri="{FF2B5EF4-FFF2-40B4-BE49-F238E27FC236}">
                <a16:creationId xmlns:a16="http://schemas.microsoft.com/office/drawing/2014/main" id="{17E360BF-5AE2-B3CC-ECE8-A49781F07513}"/>
              </a:ext>
            </a:extLst>
          </p:cNvPr>
          <p:cNvSpPr/>
          <p:nvPr/>
        </p:nvSpPr>
        <p:spPr>
          <a:xfrm rot="16200000">
            <a:off x="3125492" y="4736899"/>
            <a:ext cx="512618" cy="278783"/>
          </a:xfrm>
          <a:prstGeom prst="triangle">
            <a:avLst>
              <a:gd name="adj" fmla="val 100000"/>
            </a:avLst>
          </a:prstGeom>
          <a:solidFill>
            <a:srgbClr val="4472C4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Arial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53BE96C-6F9B-7B38-F35F-BE62AD105E26}"/>
              </a:ext>
            </a:extLst>
          </p:cNvPr>
          <p:cNvSpPr/>
          <p:nvPr/>
        </p:nvSpPr>
        <p:spPr>
          <a:xfrm>
            <a:off x="6864370" y="2673471"/>
            <a:ext cx="5105957" cy="152082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Lapor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giat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Usaha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Tahun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dilengkapi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deng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:</a:t>
            </a:r>
            <a:endParaRPr kumimoji="0" lang="en-ID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/>
              <a:ea typeface="+mn-ea"/>
              <a:cs typeface="Arial"/>
              <a:sym typeface="Arial"/>
            </a:endParaRP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menuh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standar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aman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,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selamat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,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sehat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dan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berlanjut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;</a:t>
            </a: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daftar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ngguna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tenag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rj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onstruks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dan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tenag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rj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onstruks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bersertifikat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; dan/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atau</a:t>
            </a:r>
            <a:endParaRPr kumimoji="0" lang="en-ID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/>
              <a:ea typeface="+mn-ea"/>
              <a:cs typeface="Arial"/>
              <a:sym typeface="Arial"/>
            </a:endParaRP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daftar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pengguna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tenag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kerj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asing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Arial"/>
                <a:sym typeface="Arial"/>
              </a:rPr>
              <a:t>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E018567-B4AB-92F7-95B2-A69E5009D4DF}"/>
              </a:ext>
            </a:extLst>
          </p:cNvPr>
          <p:cNvSpPr txBox="1"/>
          <p:nvPr/>
        </p:nvSpPr>
        <p:spPr>
          <a:xfrm>
            <a:off x="6501355" y="4256114"/>
            <a:ext cx="4416036" cy="203132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ENCATATAN PENGALAMAN 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nam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ake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ekerja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;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nam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enggu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jas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;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tahu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elaksana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ekerja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;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nila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ekerja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;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berit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acar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sera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terim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ekerja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; dan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kinerj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enyedi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jas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tahun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15CB8D0B-4B84-D998-E020-5D29D5E73710}"/>
              </a:ext>
            </a:extLst>
          </p:cNvPr>
          <p:cNvCxnSpPr>
            <a:cxnSpLocks/>
            <a:endCxn id="71" idx="1"/>
          </p:cNvCxnSpPr>
          <p:nvPr/>
        </p:nvCxnSpPr>
        <p:spPr>
          <a:xfrm flipV="1">
            <a:off x="9730499" y="6057648"/>
            <a:ext cx="1052936" cy="10817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itle 1">
            <a:extLst>
              <a:ext uri="{FF2B5EF4-FFF2-40B4-BE49-F238E27FC236}">
                <a16:creationId xmlns:a16="http://schemas.microsoft.com/office/drawing/2014/main" id="{3983B906-2664-F215-202F-DA3AE613BBA0}"/>
              </a:ext>
            </a:extLst>
          </p:cNvPr>
          <p:cNvSpPr txBox="1">
            <a:spLocks/>
          </p:cNvSpPr>
          <p:nvPr/>
        </p:nvSpPr>
        <p:spPr>
          <a:xfrm>
            <a:off x="10783435" y="5481376"/>
            <a:ext cx="1320848" cy="1152544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Kecuali UOP dan BUJK Kualifikasi kecil</a:t>
            </a:r>
            <a:endParaRPr kumimoji="0" lang="en-US" sz="1800" b="0" i="1" u="none" strike="noStrike" kern="1200" cap="none" spc="0" normalizeH="0" baseline="0" noProof="0" dirty="0">
              <a:ln w="0"/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Tahoma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" name="Picture 1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64E9313B-57F5-F06E-4276-4AECCF1FDF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246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1" name="Picture Placeholder 2" descr="A picture containing indoor&#10;&#10;Description automatically generated">
            <a:extLst>
              <a:ext uri="{FF2B5EF4-FFF2-40B4-BE49-F238E27FC236}">
                <a16:creationId xmlns:a16="http://schemas.microsoft.com/office/drawing/2014/main" id="{D01658B1-7682-FD4A-B4C8-B021AD40B7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8" y="0"/>
            <a:ext cx="122047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" name="Graphic 21">
            <a:extLst>
              <a:ext uri="{FF2B5EF4-FFF2-40B4-BE49-F238E27FC236}">
                <a16:creationId xmlns:a16="http://schemas.microsoft.com/office/drawing/2014/main" id="{3FD705D5-7C11-204E-B0E9-1B592636A7D8}"/>
              </a:ext>
            </a:extLst>
          </p:cNvPr>
          <p:cNvSpPr/>
          <p:nvPr/>
        </p:nvSpPr>
        <p:spPr>
          <a:xfrm>
            <a:off x="0" y="3959225"/>
            <a:ext cx="2316163" cy="2898775"/>
          </a:xfrm>
          <a:custGeom>
            <a:avLst/>
            <a:gdLst>
              <a:gd name="connsiteX0" fmla="*/ 966121 w 3087570"/>
              <a:gd name="connsiteY0" fmla="*/ 1168813 h 3865721"/>
              <a:gd name="connsiteX1" fmla="*/ 0 w 3087570"/>
              <a:gd name="connsiteY1" fmla="*/ 0 h 3865721"/>
              <a:gd name="connsiteX2" fmla="*/ 0 w 3087570"/>
              <a:gd name="connsiteY2" fmla="*/ 3865721 h 3865721"/>
              <a:gd name="connsiteX3" fmla="*/ 2580132 w 3087570"/>
              <a:gd name="connsiteY3" fmla="*/ 3865721 h 3865721"/>
              <a:gd name="connsiteX4" fmla="*/ 2762155 w 3087570"/>
              <a:gd name="connsiteY4" fmla="*/ 1512284 h 3865721"/>
              <a:gd name="connsiteX5" fmla="*/ 966121 w 3087570"/>
              <a:gd name="connsiteY5" fmla="*/ 1168813 h 386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87570" h="3865721">
                <a:moveTo>
                  <a:pt x="966121" y="1168813"/>
                </a:moveTo>
                <a:cubicBezTo>
                  <a:pt x="510635" y="966978"/>
                  <a:pt x="191072" y="427863"/>
                  <a:pt x="0" y="0"/>
                </a:cubicBezTo>
                <a:lnTo>
                  <a:pt x="0" y="3865721"/>
                </a:lnTo>
                <a:lnTo>
                  <a:pt x="2580132" y="3865721"/>
                </a:lnTo>
                <a:cubicBezTo>
                  <a:pt x="3452241" y="3246120"/>
                  <a:pt x="2982659" y="1852041"/>
                  <a:pt x="2762155" y="1512284"/>
                </a:cubicBezTo>
                <a:cubicBezTo>
                  <a:pt x="2478024" y="1074134"/>
                  <a:pt x="1767554" y="1524095"/>
                  <a:pt x="966121" y="1168813"/>
                </a:cubicBezTo>
                <a:close/>
              </a:path>
            </a:pathLst>
          </a:custGeom>
          <a:solidFill>
            <a:schemeClr val="bg2">
              <a:lumMod val="75000"/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grpSp>
        <p:nvGrpSpPr>
          <p:cNvPr id="9" name="Oval 8">
            <a:extLst>
              <a:ext uri="{FF2B5EF4-FFF2-40B4-BE49-F238E27FC236}">
                <a16:creationId xmlns:a16="http://schemas.microsoft.com/office/drawing/2014/main" id="{24C02BE8-98BE-9B43-B07A-52256DC7A7CB}"/>
              </a:ext>
            </a:extLst>
          </p:cNvPr>
          <p:cNvGrpSpPr>
            <a:grpSpLocks/>
          </p:cNvGrpSpPr>
          <p:nvPr/>
        </p:nvGrpSpPr>
        <p:grpSpPr bwMode="auto">
          <a:xfrm>
            <a:off x="9017000" y="1651000"/>
            <a:ext cx="2159000" cy="2159000"/>
            <a:chOff x="5680" y="1040"/>
            <a:chExt cx="1360" cy="1360"/>
          </a:xfrm>
        </p:grpSpPr>
        <p:pic>
          <p:nvPicPr>
            <p:cNvPr id="41007" name="Oval 8">
              <a:extLst>
                <a:ext uri="{FF2B5EF4-FFF2-40B4-BE49-F238E27FC236}">
                  <a16:creationId xmlns:a16="http://schemas.microsoft.com/office/drawing/2014/main" id="{B1E3497F-E1BA-7747-9758-20E0DD135AD6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0" y="1040"/>
              <a:ext cx="1360" cy="1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008" name="Text Box 4">
              <a:extLst>
                <a:ext uri="{FF2B5EF4-FFF2-40B4-BE49-F238E27FC236}">
                  <a16:creationId xmlns:a16="http://schemas.microsoft.com/office/drawing/2014/main" id="{B26255D6-EB71-6A4E-917B-72AAD3E22E4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83" y="1244"/>
              <a:ext cx="959" cy="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40964" name="TextBox 1">
            <a:extLst>
              <a:ext uri="{FF2B5EF4-FFF2-40B4-BE49-F238E27FC236}">
                <a16:creationId xmlns:a16="http://schemas.microsoft.com/office/drawing/2014/main" id="{87918B19-4D4C-7943-9F9A-018FF8859F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636588" y="3935413"/>
            <a:ext cx="1841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</p:txBody>
      </p:sp>
      <p:grpSp>
        <p:nvGrpSpPr>
          <p:cNvPr id="21" name="Oval 20">
            <a:extLst>
              <a:ext uri="{FF2B5EF4-FFF2-40B4-BE49-F238E27FC236}">
                <a16:creationId xmlns:a16="http://schemas.microsoft.com/office/drawing/2014/main" id="{A6F8C919-387A-E346-BF17-27186D0DEF3D}"/>
              </a:ext>
            </a:extLst>
          </p:cNvPr>
          <p:cNvGrpSpPr>
            <a:grpSpLocks/>
          </p:cNvGrpSpPr>
          <p:nvPr/>
        </p:nvGrpSpPr>
        <p:grpSpPr bwMode="auto">
          <a:xfrm>
            <a:off x="-1092200" y="-887413"/>
            <a:ext cx="4940300" cy="4724401"/>
            <a:chOff x="-1200" y="2584"/>
            <a:chExt cx="3112" cy="2976"/>
          </a:xfrm>
        </p:grpSpPr>
        <p:pic>
          <p:nvPicPr>
            <p:cNvPr id="41005" name="Oval 20">
              <a:extLst>
                <a:ext uri="{FF2B5EF4-FFF2-40B4-BE49-F238E27FC236}">
                  <a16:creationId xmlns:a16="http://schemas.microsoft.com/office/drawing/2014/main" id="{3F9203E6-C2CB-FE43-81A5-30AD5D4CB07E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00" y="2584"/>
              <a:ext cx="3112" cy="2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006" name="Text Box 3">
              <a:extLst>
                <a:ext uri="{FF2B5EF4-FFF2-40B4-BE49-F238E27FC236}">
                  <a16:creationId xmlns:a16="http://schemas.microsoft.com/office/drawing/2014/main" id="{1A0136D1-26FE-9B49-ACBF-A954E6675C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743" y="3019"/>
              <a:ext cx="2195" cy="20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65AC056-532D-494C-ADDF-3E0A5910A893}"/>
              </a:ext>
            </a:extLst>
          </p:cNvPr>
          <p:cNvSpPr/>
          <p:nvPr/>
        </p:nvSpPr>
        <p:spPr>
          <a:xfrm>
            <a:off x="398463" y="671513"/>
            <a:ext cx="11422062" cy="5773737"/>
          </a:xfrm>
          <a:prstGeom prst="roundRect">
            <a:avLst>
              <a:gd name="adj" fmla="val 1875"/>
            </a:avLst>
          </a:prstGeom>
          <a:solidFill>
            <a:schemeClr val="bg1"/>
          </a:solidFill>
          <a:ln>
            <a:noFill/>
          </a:ln>
          <a:effectLst>
            <a:outerShdw blurRad="266700" dist="508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AE70A7B9-3EE5-2541-8BCA-7A8BA9D4AE0C}"/>
              </a:ext>
            </a:extLst>
          </p:cNvPr>
          <p:cNvSpPr>
            <a:spLocks noGrp="1" noChangeArrowheads="1"/>
          </p:cNvSpPr>
          <p:nvPr>
            <p:ph type="body" sz="quarter" idx="14"/>
          </p:nvPr>
        </p:nvSpPr>
        <p:spPr>
          <a:xfrm>
            <a:off x="1379538" y="661988"/>
            <a:ext cx="9431337" cy="388937"/>
          </a:xfrm>
        </p:spPr>
        <p:txBody>
          <a:bodyPr>
            <a:normAutofit lnSpcReduction="10000"/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2000" dirty="0">
                <a:solidFill>
                  <a:srgbClr val="001647"/>
                </a:solidFill>
                <a:latin typeface="Century Gothic" panose="020B0502020202020204" pitchFamily="34" charset="0"/>
              </a:rPr>
              <a:t>KEWAJIBAN BADAN USAHA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22ED12AB-2AB1-434F-90DE-DE0460B95B5C}"/>
              </a:ext>
            </a:extLst>
          </p:cNvPr>
          <p:cNvGraphicFramePr>
            <a:graphicFrameLocks noGrp="1"/>
          </p:cNvGraphicFramePr>
          <p:nvPr/>
        </p:nvGraphicFramePr>
        <p:xfrm>
          <a:off x="223284" y="1240936"/>
          <a:ext cx="6953540" cy="3474720"/>
        </p:xfrm>
        <a:graphic>
          <a:graphicData uri="http://schemas.openxmlformats.org/drawingml/2006/table">
            <a:tbl>
              <a:tblPr firstRow="1" bandRow="1">
                <a:tableStyleId>{74C1A8A3-306A-4EB7-A6B1-4F7E0EB9C5D6}</a:tableStyleId>
              </a:tblPr>
              <a:tblGrid>
                <a:gridCol w="22896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06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87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01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3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6578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KEWAJIBAN PELAKU USAHA (UMU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Usaha Orang </a:t>
                      </a:r>
                      <a:r>
                        <a:rPr lang="en-US" sz="1600" dirty="0" err="1"/>
                        <a:t>Perseorangan</a:t>
                      </a:r>
                      <a:endParaRPr lang="en-US" sz="1600" dirty="0"/>
                    </a:p>
                    <a:p>
                      <a:pPr algn="ctr"/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BUJKN</a:t>
                      </a:r>
                    </a:p>
                    <a:p>
                      <a:pPr algn="ctr"/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KP BUJKA</a:t>
                      </a:r>
                    </a:p>
                    <a:p>
                      <a:pPr algn="ctr"/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BUJK PMA</a:t>
                      </a:r>
                    </a:p>
                    <a:p>
                      <a:pPr algn="ctr"/>
                      <a:endParaRPr lang="en-US" sz="16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8886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Lapora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egiatan</a:t>
                      </a:r>
                      <a:r>
                        <a:rPr lang="en-US" sz="1600" dirty="0"/>
                        <a:t> Usaha </a:t>
                      </a:r>
                      <a:r>
                        <a:rPr lang="en-US" sz="1600" dirty="0" err="1"/>
                        <a:t>Tahuna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7280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Pencatatan</a:t>
                      </a:r>
                      <a:r>
                        <a:rPr lang="en-US" sz="1600" baseline="0" dirty="0"/>
                        <a:t> </a:t>
                      </a:r>
                      <a:r>
                        <a:rPr lang="en-US" sz="1600" baseline="0" dirty="0" err="1"/>
                        <a:t>Pengalama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728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Penilaia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inerja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0629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Pemenuhan</a:t>
                      </a:r>
                      <a:r>
                        <a:rPr lang="en-US" sz="1600" baseline="0" dirty="0"/>
                        <a:t> </a:t>
                      </a:r>
                      <a:r>
                        <a:rPr lang="en-US" sz="1600" baseline="0" dirty="0" err="1"/>
                        <a:t>Kemampuan</a:t>
                      </a:r>
                      <a:r>
                        <a:rPr lang="en-US" sz="1600" baseline="0" dirty="0"/>
                        <a:t> </a:t>
                      </a:r>
                      <a:r>
                        <a:rPr lang="en-US" sz="1600" baseline="0" dirty="0" err="1"/>
                        <a:t>Penyediaan</a:t>
                      </a:r>
                      <a:r>
                        <a:rPr lang="en-US" sz="1600" baseline="0" dirty="0"/>
                        <a:t> </a:t>
                      </a:r>
                      <a:r>
                        <a:rPr lang="en-US" sz="1600" baseline="0" dirty="0" err="1"/>
                        <a:t>Peralata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8886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Pelaporan</a:t>
                      </a:r>
                      <a:r>
                        <a:rPr lang="en-US" sz="1600" baseline="0" dirty="0"/>
                        <a:t> </a:t>
                      </a:r>
                      <a:r>
                        <a:rPr lang="en-US" sz="1600" baseline="0" dirty="0" err="1"/>
                        <a:t>Penggantian</a:t>
                      </a:r>
                      <a:r>
                        <a:rPr lang="en-US" sz="1600" baseline="0" dirty="0"/>
                        <a:t> PJBU/PJTBU/PJSKBU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BDD9824-9B98-604D-9623-7ECE6B8ACD83}"/>
              </a:ext>
            </a:extLst>
          </p:cNvPr>
          <p:cNvSpPr/>
          <p:nvPr/>
        </p:nvSpPr>
        <p:spPr>
          <a:xfrm>
            <a:off x="7518838" y="1240936"/>
            <a:ext cx="4449878" cy="51510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just" defTabSz="4572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EWAJIBAN KHUSUS KP BUJKA:</a:t>
            </a:r>
          </a:p>
          <a:p>
            <a:pPr marL="180975" marR="0" lvl="0" indent="-180975" algn="just" defTabSz="4572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berbentuk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bad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usah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eng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ualifika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yang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etar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eng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ualifika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besar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;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marL="180975" marR="0" lvl="0" indent="-180975" algn="just" defTabSz="4572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nempatka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warga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negara Indonesia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ebagai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impina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ertinggi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; 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itchFamily="2" charset="2"/>
              </a:rPr>
              <a:t>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itchFamily="2" charset="2"/>
              </a:rPr>
              <a:t>terdapat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itchFamily="2" charset="2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itchFamily="2" charset="2"/>
              </a:rPr>
              <a:t>relaksasi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itchFamily="2" charset="2"/>
              </a:rPr>
              <a:t> (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itchFamily="2" charset="2"/>
              </a:rPr>
              <a:t>Pasal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itchFamily="2" charset="2"/>
              </a:rPr>
              <a:t> 84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marL="180975" marR="0" lvl="0" indent="-180975" algn="just" defTabSz="4572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mbentuk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KSO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eng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BUJKN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menuh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riteri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eknis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KSO;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marL="180975" marR="0" lvl="0" indent="-180975" algn="just" defTabSz="4572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ngutamak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engguna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material dan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eknolog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onstruk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alam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negeri; </a:t>
            </a:r>
          </a:p>
          <a:p>
            <a:pPr marL="180975" marR="0" lvl="0" indent="-180975" algn="just" defTabSz="4572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milik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eknolog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ingg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utakhi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efisi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berwawas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lingkung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er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mperhatik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earif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lok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;</a:t>
            </a:r>
          </a:p>
          <a:p>
            <a:pPr marL="180975" marR="0" lvl="0" indent="-180975" algn="just" defTabSz="4572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laksanak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proses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ali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eknolog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; </a:t>
            </a:r>
          </a:p>
          <a:p>
            <a:pPr marL="180975" marR="0" lvl="0" indent="-180975" algn="just" defTabSz="4572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mpekerjak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lebi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banya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enag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erj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Indonesi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aripad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enag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erj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as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; dan</a:t>
            </a:r>
          </a:p>
          <a:p>
            <a:pPr marL="180975" marR="0" lvl="0" indent="-180975" algn="just" defTabSz="4572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mpekerjak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enag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erj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Indonesi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ebaga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enag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erj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endamp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pad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bida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anajem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da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ekn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paling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renda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u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ingk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di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bawa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jabat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enag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erj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as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berdasark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lasifika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eilmu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yang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esua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.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AA8003D-3C0B-654A-843A-CF387C39C3A0}"/>
              </a:ext>
            </a:extLst>
          </p:cNvPr>
          <p:cNvSpPr/>
          <p:nvPr/>
        </p:nvSpPr>
        <p:spPr>
          <a:xfrm>
            <a:off x="223284" y="4993024"/>
            <a:ext cx="6953540" cy="139769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EWAJIBAN KHUSUS BUJK PENANAMAN MODAL ASING</a:t>
            </a:r>
          </a:p>
          <a:p>
            <a:pPr marL="180975" marR="0" lvl="0" indent="-180975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mbentuk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badan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usah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berbad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hukum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Indonesia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lalu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erj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am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modal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eng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BUJKN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ualifika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besar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; da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marL="180975" marR="0" lvl="0" indent="-180975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ngikut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etentu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truktur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ermodal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riteri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eknis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enanam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modal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</p:txBody>
      </p:sp>
      <p:pic>
        <p:nvPicPr>
          <p:cNvPr id="2" name="Picture 1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13A4EAB4-9A89-9A57-14A1-E9BDC0A585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91092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1" accel="20000" decel="8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1" accel="20000" decel="8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16721"/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9">
            <a:extLst>
              <a:ext uri="{FF2B5EF4-FFF2-40B4-BE49-F238E27FC236}">
                <a16:creationId xmlns:a16="http://schemas.microsoft.com/office/drawing/2014/main" id="{767C8CA5-405A-6E4C-9B04-ACE1B969F631}"/>
              </a:ext>
            </a:extLst>
          </p:cNvPr>
          <p:cNvSpPr txBox="1">
            <a:spLocks/>
          </p:cNvSpPr>
          <p:nvPr/>
        </p:nvSpPr>
        <p:spPr>
          <a:xfrm>
            <a:off x="229187" y="171476"/>
            <a:ext cx="9629188" cy="7820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8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j-ea"/>
                <a:cs typeface="+mj-cs"/>
              </a:rPr>
              <a:t>KEWENANGAN OPD SUBURUSAN JAKON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1D3166"/>
              </a:solidFill>
              <a:effectLst/>
              <a:uLnTx/>
              <a:uFillTx/>
              <a:latin typeface="Montserrat" pitchFamily="2" charset="77"/>
              <a:ea typeface="+mj-ea"/>
              <a:cs typeface="+mj-cs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B7ABBB0E-65CD-694E-81EB-F0B580C4C237}"/>
              </a:ext>
            </a:extLst>
          </p:cNvPr>
          <p:cNvSpPr txBox="1">
            <a:spLocks/>
          </p:cNvSpPr>
          <p:nvPr/>
        </p:nvSpPr>
        <p:spPr>
          <a:xfrm>
            <a:off x="-1485900" y="622882"/>
            <a:ext cx="11344275" cy="443061"/>
          </a:xfrm>
          <a:prstGeom prst="rect">
            <a:avLst/>
          </a:prstGeom>
        </p:spPr>
        <p:txBody>
          <a:bodyPr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UU 23 TAHUN 2014, UU 2 TAHUN 2017, PP 22 TAHUN 2020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AB0FDFD-AC54-C54F-8410-DE9057F3CF7F}"/>
              </a:ext>
            </a:extLst>
          </p:cNvPr>
          <p:cNvSpPr/>
          <p:nvPr/>
        </p:nvSpPr>
        <p:spPr>
          <a:xfrm>
            <a:off x="326681" y="1057753"/>
            <a:ext cx="3559238" cy="4327997"/>
          </a:xfrm>
          <a:prstGeom prst="roundRect">
            <a:avLst>
              <a:gd name="adj" fmla="val 0"/>
            </a:avLst>
          </a:prstGeom>
          <a:solidFill>
            <a:srgbClr val="1D316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27" name="TextBox 4">
            <a:extLst>
              <a:ext uri="{FF2B5EF4-FFF2-40B4-BE49-F238E27FC236}">
                <a16:creationId xmlns:a16="http://schemas.microsoft.com/office/drawing/2014/main" id="{18514889-1F20-DF4F-BFEE-31E5B29626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16" y="1128944"/>
            <a:ext cx="355923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ct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</a:rPr>
              <a:t>PEMERINTAH PROVINSI</a:t>
            </a:r>
            <a:endParaRPr kumimoji="0" lang="id-ID" altLang="x-non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ahoma" pitchFamily="34" charset="0"/>
              <a:cs typeface="Tahoma" pitchFamily="34" charset="0"/>
            </a:endParaRPr>
          </a:p>
        </p:txBody>
      </p:sp>
      <p:sp>
        <p:nvSpPr>
          <p:cNvPr id="28" name="Google Shape;248;p23">
            <a:extLst>
              <a:ext uri="{FF2B5EF4-FFF2-40B4-BE49-F238E27FC236}">
                <a16:creationId xmlns:a16="http://schemas.microsoft.com/office/drawing/2014/main" id="{77DC5824-8EF6-AA40-AF13-06DCDC7DD7B9}"/>
              </a:ext>
            </a:extLst>
          </p:cNvPr>
          <p:cNvSpPr txBox="1">
            <a:spLocks/>
          </p:cNvSpPr>
          <p:nvPr/>
        </p:nvSpPr>
        <p:spPr>
          <a:xfrm>
            <a:off x="378120" y="1850990"/>
            <a:ext cx="3607530" cy="2268402"/>
          </a:xfrm>
          <a:prstGeom prst="rect">
            <a:avLst/>
          </a:prstGeom>
        </p:spPr>
        <p:txBody>
          <a:bodyPr spcFirstLastPara="1" wrap="square" lIns="121884" tIns="121884" rIns="121884" bIns="12188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04762" marR="0" lvl="0" indent="-304762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P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elatihan tenaga ah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konstruks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endParaRPr kumimoji="0" lang="id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ahoma" pitchFamily="34" charset="0"/>
              <a:cs typeface="Tahoma" pitchFamily="34" charset="0"/>
              <a:sym typeface="Arial"/>
            </a:endParaRPr>
          </a:p>
          <a:p>
            <a:pPr marL="304762" marR="0" lvl="0" indent="-304762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Pengelolaan siste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informasi jasa konstruks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cakupan daerah provinsi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B45A91B-C279-BC4F-B4CF-D17AEDCA7E7C}"/>
              </a:ext>
            </a:extLst>
          </p:cNvPr>
          <p:cNvCxnSpPr/>
          <p:nvPr/>
        </p:nvCxnSpPr>
        <p:spPr>
          <a:xfrm>
            <a:off x="500978" y="1812975"/>
            <a:ext cx="31346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9">
            <a:extLst>
              <a:ext uri="{FF2B5EF4-FFF2-40B4-BE49-F238E27FC236}">
                <a16:creationId xmlns:a16="http://schemas.microsoft.com/office/drawing/2014/main" id="{BE288957-20BE-C84E-B3F7-0B43A86422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41499" y="1045228"/>
            <a:ext cx="4147461" cy="4327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A1B3A58F-7D98-2746-9E69-6DEBDA223369}"/>
              </a:ext>
            </a:extLst>
          </p:cNvPr>
          <p:cNvSpPr/>
          <p:nvPr/>
        </p:nvSpPr>
        <p:spPr>
          <a:xfrm>
            <a:off x="4245029" y="1057753"/>
            <a:ext cx="4118238" cy="4315473"/>
          </a:xfrm>
          <a:prstGeom prst="roundRect">
            <a:avLst>
              <a:gd name="adj" fmla="val 0"/>
            </a:avLst>
          </a:prstGeom>
          <a:solidFill>
            <a:srgbClr val="1D3166">
              <a:alpha val="77000"/>
            </a:srgb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32" name="TextBox 4">
            <a:extLst>
              <a:ext uri="{FF2B5EF4-FFF2-40B4-BE49-F238E27FC236}">
                <a16:creationId xmlns:a16="http://schemas.microsoft.com/office/drawing/2014/main" id="{CC22F9AF-77CF-6141-B535-71AD42EE0A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1744" y="1152492"/>
            <a:ext cx="3134677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ct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</a:rPr>
              <a:t>PEMERINTAH KABUPATEN / KOTA</a:t>
            </a:r>
            <a:endParaRPr kumimoji="0" lang="id-ID" altLang="x-non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F85BDCA-89AC-CC46-827A-A2EB954E0D30}"/>
              </a:ext>
            </a:extLst>
          </p:cNvPr>
          <p:cNvCxnSpPr/>
          <p:nvPr/>
        </p:nvCxnSpPr>
        <p:spPr>
          <a:xfrm>
            <a:off x="4529626" y="1932089"/>
            <a:ext cx="31346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Google Shape;248;p23">
            <a:extLst>
              <a:ext uri="{FF2B5EF4-FFF2-40B4-BE49-F238E27FC236}">
                <a16:creationId xmlns:a16="http://schemas.microsoft.com/office/drawing/2014/main" id="{2AC5B1FF-7016-E047-8069-3686194C2B56}"/>
              </a:ext>
            </a:extLst>
          </p:cNvPr>
          <p:cNvSpPr txBox="1">
            <a:spLocks/>
          </p:cNvSpPr>
          <p:nvPr/>
        </p:nvSpPr>
        <p:spPr>
          <a:xfrm>
            <a:off x="4446786" y="1885305"/>
            <a:ext cx="3940448" cy="3114139"/>
          </a:xfrm>
          <a:prstGeom prst="rect">
            <a:avLst/>
          </a:prstGeom>
          <a:ln>
            <a:noFill/>
          </a:ln>
        </p:spPr>
        <p:txBody>
          <a:bodyPr spcFirstLastPara="1" wrap="square" lIns="121884" tIns="121884" rIns="121884" bIns="12188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04762" marR="0" lvl="0" indent="-304762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Pelatihan tenaga terampil</a:t>
            </a:r>
          </a:p>
          <a:p>
            <a:pPr marL="304762" marR="0" lvl="0" indent="-304762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Pengelolaan sistem 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informas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jas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konstruks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cakup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Ka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/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kota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ahoma" pitchFamily="34" charset="0"/>
              <a:cs typeface="Tahoma" pitchFamily="34" charset="0"/>
              <a:sym typeface="Arial"/>
            </a:endParaRPr>
          </a:p>
          <a:p>
            <a:pPr marL="304762" marR="0" lvl="0" indent="-304762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Penerbitan Perizinan Berusaha Bidang Jasa Konstruksi*</a:t>
            </a:r>
          </a:p>
          <a:p>
            <a:pPr marL="304762" marR="0" lvl="0" indent="-304762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Pengawasan tertib usaha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, p</a:t>
            </a: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enyelenggara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, &amp;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pemanfa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jasa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konstruksi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ahoma" pitchFamily="34" charset="0"/>
              <a:cs typeface="Tahoma" pitchFamily="34" charset="0"/>
              <a:sym typeface="Arial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4BD4DF5-C0A6-8F4C-99B2-C3D17F6164D4}"/>
              </a:ext>
            </a:extLst>
          </p:cNvPr>
          <p:cNvSpPr/>
          <p:nvPr/>
        </p:nvSpPr>
        <p:spPr>
          <a:xfrm>
            <a:off x="326681" y="5413858"/>
            <a:ext cx="11659573" cy="6478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P 14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2021</a:t>
            </a: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ilaksanak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sesua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eng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NORMA, STANDAR, PROSEDUR, DAN KRITERI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yang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itetapk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oleh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emerintah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Pusat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763AD79-8C00-AB4F-BEEB-2127DE81BDE4}"/>
              </a:ext>
            </a:extLst>
          </p:cNvPr>
          <p:cNvSpPr/>
          <p:nvPr/>
        </p:nvSpPr>
        <p:spPr>
          <a:xfrm>
            <a:off x="9002943" y="2939819"/>
            <a:ext cx="3019701" cy="20896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86351" lvl="0" indent="0" algn="just" defTabSz="914309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980367" algn="l"/>
              </a:tabLst>
              <a:defRPr/>
            </a:pP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P 14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2021</a:t>
            </a:r>
          </a:p>
          <a:p>
            <a:pPr marL="0" marR="86351" lvl="0" indent="0" algn="just" defTabSz="914309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980367" algn="l"/>
              </a:tabLst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ilaksanakan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sesuai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engan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etentuan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eraturan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erundang-undangan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di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bidang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erizinan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Berusaha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berbasis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Risiko</a:t>
            </a:r>
            <a:endParaRPr kumimoji="0" lang="en-ID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Right Arrow 37">
            <a:extLst>
              <a:ext uri="{FF2B5EF4-FFF2-40B4-BE49-F238E27FC236}">
                <a16:creationId xmlns:a16="http://schemas.microsoft.com/office/drawing/2014/main" id="{2A240BF3-2D92-6D42-9BF0-D920F37AE182}"/>
              </a:ext>
            </a:extLst>
          </p:cNvPr>
          <p:cNvSpPr/>
          <p:nvPr/>
        </p:nvSpPr>
        <p:spPr>
          <a:xfrm>
            <a:off x="7800975" y="3390990"/>
            <a:ext cx="1114260" cy="728402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7688A27-CC25-E740-B436-BEFB60C903A8}"/>
              </a:ext>
            </a:extLst>
          </p:cNvPr>
          <p:cNvSpPr/>
          <p:nvPr/>
        </p:nvSpPr>
        <p:spPr>
          <a:xfrm>
            <a:off x="8744540" y="1855551"/>
            <a:ext cx="353961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</a:rPr>
              <a:t>dapat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</a:rPr>
              <a:t>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</a:rPr>
              <a:t>melibatkan</a:t>
            </a:r>
            <a:endParaRPr kumimoji="0" lang="en-ID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Tahoma" pitchFamily="34" charset="0"/>
              <a:cs typeface="Tahoma" pitchFamily="34" charset="0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</a:rPr>
              <a:t>Masyarakat Jasa </a:t>
            </a:r>
            <a:r>
              <a:rPr kumimoji="0" lang="en-ID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</a:rPr>
              <a:t>Konstruks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Kotak Teks 1">
            <a:extLst>
              <a:ext uri="{FF2B5EF4-FFF2-40B4-BE49-F238E27FC236}">
                <a16:creationId xmlns:a16="http://schemas.microsoft.com/office/drawing/2014/main" id="{B9EBF91E-B265-4BE9-96E4-4D9ABE938DF2}"/>
              </a:ext>
            </a:extLst>
          </p:cNvPr>
          <p:cNvSpPr txBox="1"/>
          <p:nvPr/>
        </p:nvSpPr>
        <p:spPr>
          <a:xfrm>
            <a:off x="376394" y="3825089"/>
            <a:ext cx="342724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ugas l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O</a:t>
            </a: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Pembina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O</a:t>
            </a: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Pengawas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O</a:t>
            </a: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Pemantauan dan Evaluasi</a:t>
            </a:r>
          </a:p>
        </p:txBody>
      </p:sp>
      <p:sp>
        <p:nvSpPr>
          <p:cNvPr id="19" name="Kotak Teks 18">
            <a:extLst>
              <a:ext uri="{FF2B5EF4-FFF2-40B4-BE49-F238E27FC236}">
                <a16:creationId xmlns:a16="http://schemas.microsoft.com/office/drawing/2014/main" id="{DDF39383-7833-4747-BB69-7C0CE3A99382}"/>
              </a:ext>
            </a:extLst>
          </p:cNvPr>
          <p:cNvSpPr txBox="1"/>
          <p:nvPr/>
        </p:nvSpPr>
        <p:spPr>
          <a:xfrm>
            <a:off x="4279176" y="4471420"/>
            <a:ext cx="41217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ugas L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O Pembina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O</a:t>
            </a: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Pemantauan dan Evaluasi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335D469-C768-6E68-965F-68953F2712BE}"/>
              </a:ext>
            </a:extLst>
          </p:cNvPr>
          <p:cNvSpPr/>
          <p:nvPr/>
        </p:nvSpPr>
        <p:spPr>
          <a:xfrm>
            <a:off x="326680" y="6153074"/>
            <a:ext cx="11659573" cy="6478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Terbit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eratura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Menteri PUPR No.1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2023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Tentang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edom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engawas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enyelenggara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Jasa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Yang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ilaksanak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emerintah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Daerah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rovin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abupate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, dan Kota</a:t>
            </a:r>
          </a:p>
        </p:txBody>
      </p:sp>
      <p:pic>
        <p:nvPicPr>
          <p:cNvPr id="4" name="Picture 3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84AE1B47-27BB-682B-16BD-7C475FE1C7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505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9455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print">
            <a:alphaModFix amt="16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BF64DD7-A6B7-0B45-A7C8-D949925A05B0}"/>
              </a:ext>
            </a:extLst>
          </p:cNvPr>
          <p:cNvSpPr/>
          <p:nvPr/>
        </p:nvSpPr>
        <p:spPr>
          <a:xfrm>
            <a:off x="8648054" y="2650210"/>
            <a:ext cx="3543945" cy="4207790"/>
          </a:xfrm>
          <a:prstGeom prst="rect">
            <a:avLst/>
          </a:prstGeom>
          <a:solidFill>
            <a:srgbClr val="1D31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6C514782-F1FB-7440-B2AA-45D4FFE64E5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105480" y="0"/>
            <a:ext cx="11086521" cy="6858000"/>
          </a:xfrm>
          <a:custGeom>
            <a:avLst/>
            <a:gdLst>
              <a:gd name="connsiteX0" fmla="*/ 6203487 w 11086521"/>
              <a:gd name="connsiteY0" fmla="*/ 0 h 6858000"/>
              <a:gd name="connsiteX1" fmla="*/ 0 w 11086521"/>
              <a:gd name="connsiteY1" fmla="*/ 0 h 6858000"/>
              <a:gd name="connsiteX2" fmla="*/ 0 w 11086521"/>
              <a:gd name="connsiteY2" fmla="*/ 3543533 h 6858000"/>
              <a:gd name="connsiteX3" fmla="*/ 2359967 w 11086521"/>
              <a:gd name="connsiteY3" fmla="*/ 6858000 h 6858000"/>
              <a:gd name="connsiteX4" fmla="*/ 11086521 w 1108652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86521" h="6858000">
                <a:moveTo>
                  <a:pt x="6203487" y="0"/>
                </a:moveTo>
                <a:lnTo>
                  <a:pt x="0" y="0"/>
                </a:lnTo>
                <a:lnTo>
                  <a:pt x="0" y="3543533"/>
                </a:lnTo>
                <a:lnTo>
                  <a:pt x="2359967" y="6858000"/>
                </a:lnTo>
                <a:lnTo>
                  <a:pt x="11086521" y="6858000"/>
                </a:lnTo>
                <a:close/>
              </a:path>
            </a:pathLst>
          </a:custGeom>
        </p:spPr>
      </p:pic>
      <p:sp>
        <p:nvSpPr>
          <p:cNvPr id="26" name="Freeform 25">
            <a:extLst>
              <a:ext uri="{FF2B5EF4-FFF2-40B4-BE49-F238E27FC236}">
                <a16:creationId xmlns:a16="http://schemas.microsoft.com/office/drawing/2014/main" id="{9A86D6CD-6CBA-F345-A439-06DA64D09BD0}"/>
              </a:ext>
            </a:extLst>
          </p:cNvPr>
          <p:cNvSpPr/>
          <p:nvPr/>
        </p:nvSpPr>
        <p:spPr>
          <a:xfrm>
            <a:off x="1012223" y="0"/>
            <a:ext cx="11321846" cy="6858000"/>
          </a:xfrm>
          <a:custGeom>
            <a:avLst/>
            <a:gdLst>
              <a:gd name="connsiteX0" fmla="*/ 4883034 w 11086521"/>
              <a:gd name="connsiteY0" fmla="*/ 0 h 6858000"/>
              <a:gd name="connsiteX1" fmla="*/ 11086521 w 11086521"/>
              <a:gd name="connsiteY1" fmla="*/ 0 h 6858000"/>
              <a:gd name="connsiteX2" fmla="*/ 11086521 w 11086521"/>
              <a:gd name="connsiteY2" fmla="*/ 3543533 h 6858000"/>
              <a:gd name="connsiteX3" fmla="*/ 8726554 w 11086521"/>
              <a:gd name="connsiteY3" fmla="*/ 6858000 h 6858000"/>
              <a:gd name="connsiteX4" fmla="*/ 0 w 1108652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86521" h="6858000">
                <a:moveTo>
                  <a:pt x="4883034" y="0"/>
                </a:moveTo>
                <a:lnTo>
                  <a:pt x="11086521" y="0"/>
                </a:lnTo>
                <a:lnTo>
                  <a:pt x="11086521" y="3543533"/>
                </a:lnTo>
                <a:lnTo>
                  <a:pt x="872655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D3166">
              <a:alpha val="9317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C9677D70-1F14-2744-B019-A1E94D55285D}"/>
              </a:ext>
            </a:extLst>
          </p:cNvPr>
          <p:cNvSpPr/>
          <p:nvPr/>
        </p:nvSpPr>
        <p:spPr>
          <a:xfrm>
            <a:off x="0" y="726573"/>
            <a:ext cx="5845094" cy="2140923"/>
          </a:xfrm>
          <a:custGeom>
            <a:avLst/>
            <a:gdLst>
              <a:gd name="connsiteX0" fmla="*/ 0 w 6282270"/>
              <a:gd name="connsiteY0" fmla="*/ 0 h 2769988"/>
              <a:gd name="connsiteX1" fmla="*/ 6282270 w 6282270"/>
              <a:gd name="connsiteY1" fmla="*/ 0 h 2769988"/>
              <a:gd name="connsiteX2" fmla="*/ 4309983 w 6282270"/>
              <a:gd name="connsiteY2" fmla="*/ 2769988 h 2769988"/>
              <a:gd name="connsiteX3" fmla="*/ 0 w 6282270"/>
              <a:gd name="connsiteY3" fmla="*/ 2769988 h 276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82270" h="2769988">
                <a:moveTo>
                  <a:pt x="0" y="0"/>
                </a:moveTo>
                <a:lnTo>
                  <a:pt x="6282270" y="0"/>
                </a:lnTo>
                <a:lnTo>
                  <a:pt x="4309983" y="2769988"/>
                </a:lnTo>
                <a:lnTo>
                  <a:pt x="0" y="2769988"/>
                </a:lnTo>
                <a:close/>
              </a:path>
            </a:pathLst>
          </a:custGeom>
          <a:solidFill>
            <a:srgbClr val="FFB912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194220E-62D0-E743-A656-16EF303E2C9A}"/>
              </a:ext>
            </a:extLst>
          </p:cNvPr>
          <p:cNvSpPr txBox="1">
            <a:spLocks/>
          </p:cNvSpPr>
          <p:nvPr/>
        </p:nvSpPr>
        <p:spPr>
          <a:xfrm>
            <a:off x="81510" y="873704"/>
            <a:ext cx="4951994" cy="184665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0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Kronologis Peraturan Menteri PUPR No.1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Tentang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edom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engawas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enyelenggara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Jasa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Konstruks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Yang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Dilaksanak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emerintah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 Daerah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rovins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,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Kabupate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,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3267"/>
                </a:solidFill>
                <a:latin typeface="Montserrat" pitchFamily="2" charset="77"/>
              </a:rPr>
              <a:t>d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an Kota</a:t>
            </a:r>
            <a:endParaRPr kumimoji="0" lang="id-ID" sz="2000" b="1" i="0" u="none" strike="noStrike" kern="1200" cap="none" spc="0" normalizeH="0" baseline="0" noProof="0" dirty="0">
              <a:ln>
                <a:noFill/>
              </a:ln>
              <a:solidFill>
                <a:srgbClr val="1E3267"/>
              </a:solidFill>
              <a:effectLst/>
              <a:uLnTx/>
              <a:uFillTx/>
              <a:latin typeface="Montserrat" pitchFamily="2" charset="77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75E0922-5977-684B-A1AF-6F3868B82A87}"/>
              </a:ext>
            </a:extLst>
          </p:cNvPr>
          <p:cNvSpPr txBox="1">
            <a:spLocks/>
          </p:cNvSpPr>
          <p:nvPr/>
        </p:nvSpPr>
        <p:spPr>
          <a:xfrm>
            <a:off x="5845096" y="277819"/>
            <a:ext cx="6265394" cy="68269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id-ID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erupakan Program Legislasi Prioritas Tahunan Kementerian Pekerjaan Umum Dan Perumahan Rakyat Tahun 2022 sesuai Keputusan Menteri PUPR Nomor NOMOR 76/KPTS/M/20222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id-ID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yusunan Konsep dan pembahasan internal oleh tim penyusunan NSPK sesuai SK Direktur Kelembagaan dan SDK (Februari – Oktober 2022)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id-ID" sz="17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Focus</a:t>
            </a:r>
            <a:r>
              <a:rPr kumimoji="0" lang="id-ID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Group </a:t>
            </a:r>
            <a:r>
              <a:rPr kumimoji="0" lang="id-ID" sz="17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sscusion</a:t>
            </a:r>
            <a:r>
              <a:rPr kumimoji="0" lang="id-ID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(FGD) Rancangan Peraturan Menteri PUPR tentang Pedoman Pengawasan Penyelenggaraan Jasa Konstruksi di beberapa provinsi dengan mengundang praktisi dan OPD Daerah via luring dan daring</a:t>
            </a:r>
          </a:p>
          <a:p>
            <a:pPr marL="377825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id-ID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njaringan Masukan Terkait Pengawasan Undangan Daerah (Juni-November 2022)</a:t>
            </a:r>
          </a:p>
          <a:p>
            <a:pPr marL="377825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id-ID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rsetujuan Lembar kendali (3 November 2022)</a:t>
            </a:r>
          </a:p>
          <a:p>
            <a:pPr marL="377825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id-ID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rmohonan pengajuan Harmonisasi Rancangan Permen PUPR tentang Pedoman Pengawasan penyelenggaraan Jasa Konstruksi yang dilaksanakan oleh Pemda kepada Kementerian Hukum dan HAM (8 November 2022)</a:t>
            </a:r>
          </a:p>
          <a:p>
            <a:pPr marL="377825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id-ID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Harmonisasi (17 – 18 November 2022)</a:t>
            </a:r>
          </a:p>
          <a:p>
            <a:pPr marL="377825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id-ID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ersetujuan Presiden (Januari 2023)</a:t>
            </a:r>
          </a:p>
          <a:p>
            <a:pPr marL="377825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lang="id-ID" sz="1700" b="1" dirty="0">
                <a:solidFill>
                  <a:prstClr val="white"/>
                </a:solidFill>
                <a:latin typeface="Montserrat" pitchFamily="2" charset="77"/>
              </a:rPr>
              <a:t>Permen PUPR No.1 Ditetapkan (9 Januari 2023)</a:t>
            </a:r>
            <a:endParaRPr kumimoji="0" lang="id-ID" sz="1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  <a:p>
            <a:pPr marL="377825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lang="id-ID" sz="1700" b="1" dirty="0">
                <a:solidFill>
                  <a:prstClr val="white"/>
                </a:solidFill>
                <a:latin typeface="Montserrat" pitchFamily="2" charset="77"/>
              </a:rPr>
              <a:t>Permen PUPR No.1 Diundangkan (13 Januari 2023)</a:t>
            </a:r>
          </a:p>
          <a:p>
            <a:pPr marL="377825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endParaRPr kumimoji="0" lang="id-ID" sz="1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5D160F0-3D45-6347-A598-A1456F293401}"/>
              </a:ext>
            </a:extLst>
          </p:cNvPr>
          <p:cNvCxnSpPr>
            <a:cxnSpLocks/>
          </p:cNvCxnSpPr>
          <p:nvPr/>
        </p:nvCxnSpPr>
        <p:spPr>
          <a:xfrm>
            <a:off x="6378959" y="246816"/>
            <a:ext cx="5813041" cy="0"/>
          </a:xfrm>
          <a:prstGeom prst="line">
            <a:avLst/>
          </a:prstGeom>
          <a:ln>
            <a:solidFill>
              <a:srgbClr val="FEB8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Text, letter&#10;&#10;Description automatically generated">
            <a:extLst>
              <a:ext uri="{FF2B5EF4-FFF2-40B4-BE49-F238E27FC236}">
                <a16:creationId xmlns:a16="http://schemas.microsoft.com/office/drawing/2014/main" id="{F3B3578D-8B94-B046-B9DD-75F713166A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547" y="2954503"/>
            <a:ext cx="2572850" cy="3816489"/>
          </a:xfrm>
          <a:prstGeom prst="rect">
            <a:avLst/>
          </a:prstGeom>
        </p:spPr>
      </p:pic>
      <p:pic>
        <p:nvPicPr>
          <p:cNvPr id="3" name="Picture 2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626C0812-A6B6-4D0F-4AC0-86B8BC7542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1411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print">
            <a:alphaModFix amt="72015"/>
            <a:lum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Freeform: Shape 66">
            <a:extLst>
              <a:ext uri="{FF2B5EF4-FFF2-40B4-BE49-F238E27FC236}">
                <a16:creationId xmlns:a16="http://schemas.microsoft.com/office/drawing/2014/main" id="{EB94FE84-CDFB-1841-B5CF-FF9769731C7D}"/>
              </a:ext>
            </a:extLst>
          </p:cNvPr>
          <p:cNvSpPr/>
          <p:nvPr/>
        </p:nvSpPr>
        <p:spPr>
          <a:xfrm>
            <a:off x="6847165" y="2074"/>
            <a:ext cx="5344835" cy="6857999"/>
          </a:xfrm>
          <a:custGeom>
            <a:avLst/>
            <a:gdLst>
              <a:gd name="connsiteX0" fmla="*/ 2080073 w 5796177"/>
              <a:gd name="connsiteY0" fmla="*/ 0 h 6857999"/>
              <a:gd name="connsiteX1" fmla="*/ 2080093 w 5796177"/>
              <a:gd name="connsiteY1" fmla="*/ 1 h 6857999"/>
              <a:gd name="connsiteX2" fmla="*/ 2177793 w 5796177"/>
              <a:gd name="connsiteY2" fmla="*/ 1 h 6857999"/>
              <a:gd name="connsiteX3" fmla="*/ 2239748 w 5796177"/>
              <a:gd name="connsiteY3" fmla="*/ 1 h 6857999"/>
              <a:gd name="connsiteX4" fmla="*/ 2240974 w 5796177"/>
              <a:gd name="connsiteY4" fmla="*/ 1 h 6857999"/>
              <a:gd name="connsiteX5" fmla="*/ 2240995 w 5796177"/>
              <a:gd name="connsiteY5" fmla="*/ 0 h 6857999"/>
              <a:gd name="connsiteX6" fmla="*/ 2241014 w 5796177"/>
              <a:gd name="connsiteY6" fmla="*/ 1 h 6857999"/>
              <a:gd name="connsiteX7" fmla="*/ 2338714 w 5796177"/>
              <a:gd name="connsiteY7" fmla="*/ 1 h 6857999"/>
              <a:gd name="connsiteX8" fmla="*/ 3548169 w 5796177"/>
              <a:gd name="connsiteY8" fmla="*/ 1 h 6857999"/>
              <a:gd name="connsiteX9" fmla="*/ 3549395 w 5796177"/>
              <a:gd name="connsiteY9" fmla="*/ 1 h 6857999"/>
              <a:gd name="connsiteX10" fmla="*/ 3549415 w 5796177"/>
              <a:gd name="connsiteY10" fmla="*/ 0 h 6857999"/>
              <a:gd name="connsiteX11" fmla="*/ 3549435 w 5796177"/>
              <a:gd name="connsiteY11" fmla="*/ 1 h 6857999"/>
              <a:gd name="connsiteX12" fmla="*/ 3647135 w 5796177"/>
              <a:gd name="connsiteY12" fmla="*/ 1 h 6857999"/>
              <a:gd name="connsiteX13" fmla="*/ 3709090 w 5796177"/>
              <a:gd name="connsiteY13" fmla="*/ 1 h 6857999"/>
              <a:gd name="connsiteX14" fmla="*/ 3710316 w 5796177"/>
              <a:gd name="connsiteY14" fmla="*/ 1 h 6857999"/>
              <a:gd name="connsiteX15" fmla="*/ 3710336 w 5796177"/>
              <a:gd name="connsiteY15" fmla="*/ 0 h 6857999"/>
              <a:gd name="connsiteX16" fmla="*/ 3710355 w 5796177"/>
              <a:gd name="connsiteY16" fmla="*/ 1 h 6857999"/>
              <a:gd name="connsiteX17" fmla="*/ 3808056 w 5796177"/>
              <a:gd name="connsiteY17" fmla="*/ 1 h 6857999"/>
              <a:gd name="connsiteX18" fmla="*/ 3808056 w 5796177"/>
              <a:gd name="connsiteY18" fmla="*/ 5124 h 6857999"/>
              <a:gd name="connsiteX19" fmla="*/ 3908760 w 5796177"/>
              <a:gd name="connsiteY19" fmla="*/ 10340 h 6857999"/>
              <a:gd name="connsiteX20" fmla="*/ 3914869 w 5796177"/>
              <a:gd name="connsiteY20" fmla="*/ 11296 h 6857999"/>
              <a:gd name="connsiteX21" fmla="*/ 3923011 w 5796177"/>
              <a:gd name="connsiteY21" fmla="*/ 11744 h 6857999"/>
              <a:gd name="connsiteX22" fmla="*/ 4281324 w 5796177"/>
              <a:gd name="connsiteY22" fmla="*/ 86772 h 6857999"/>
              <a:gd name="connsiteX23" fmla="*/ 4289754 w 5796177"/>
              <a:gd name="connsiteY23" fmla="*/ 89835 h 6857999"/>
              <a:gd name="connsiteX24" fmla="*/ 4291207 w 5796177"/>
              <a:gd name="connsiteY24" fmla="*/ 90218 h 6857999"/>
              <a:gd name="connsiteX25" fmla="*/ 4305668 w 5796177"/>
              <a:gd name="connsiteY25" fmla="*/ 95624 h 6857999"/>
              <a:gd name="connsiteX26" fmla="*/ 4451587 w 5796177"/>
              <a:gd name="connsiteY26" fmla="*/ 148675 h 6857999"/>
              <a:gd name="connsiteX27" fmla="*/ 4466565 w 5796177"/>
              <a:gd name="connsiteY27" fmla="*/ 155745 h 6857999"/>
              <a:gd name="connsiteX28" fmla="*/ 4472257 w 5796177"/>
              <a:gd name="connsiteY28" fmla="*/ 157873 h 6857999"/>
              <a:gd name="connsiteX29" fmla="*/ 4503028 w 5796177"/>
              <a:gd name="connsiteY29" fmla="*/ 172962 h 6857999"/>
              <a:gd name="connsiteX30" fmla="*/ 4614973 w 5796177"/>
              <a:gd name="connsiteY30" fmla="*/ 225806 h 6857999"/>
              <a:gd name="connsiteX31" fmla="*/ 4635867 w 5796177"/>
              <a:gd name="connsiteY31" fmla="*/ 238086 h 6857999"/>
              <a:gd name="connsiteX32" fmla="*/ 4645375 w 5796177"/>
              <a:gd name="connsiteY32" fmla="*/ 242747 h 6857999"/>
              <a:gd name="connsiteX33" fmla="*/ 4678765 w 5796177"/>
              <a:gd name="connsiteY33" fmla="*/ 263301 h 6857999"/>
              <a:gd name="connsiteX34" fmla="*/ 4770777 w 5796177"/>
              <a:gd name="connsiteY34" fmla="*/ 317386 h 6857999"/>
              <a:gd name="connsiteX35" fmla="*/ 4796851 w 5796177"/>
              <a:gd name="connsiteY35" fmla="*/ 335993 h 6857999"/>
              <a:gd name="connsiteX36" fmla="*/ 4809700 w 5796177"/>
              <a:gd name="connsiteY36" fmla="*/ 343899 h 6857999"/>
              <a:gd name="connsiteX37" fmla="*/ 4841495 w 5796177"/>
              <a:gd name="connsiteY37" fmla="*/ 367846 h 6857999"/>
              <a:gd name="connsiteX38" fmla="*/ 4918283 w 5796177"/>
              <a:gd name="connsiteY38" fmla="*/ 422639 h 6857999"/>
              <a:gd name="connsiteX39" fmla="*/ 4948709 w 5796177"/>
              <a:gd name="connsiteY39" fmla="*/ 448596 h 6857999"/>
              <a:gd name="connsiteX40" fmla="*/ 4964370 w 5796177"/>
              <a:gd name="connsiteY40" fmla="*/ 460387 h 6857999"/>
              <a:gd name="connsiteX41" fmla="*/ 4992883 w 5796177"/>
              <a:gd name="connsiteY41" fmla="*/ 486277 h 6857999"/>
              <a:gd name="connsiteX42" fmla="*/ 5056787 w 5796177"/>
              <a:gd name="connsiteY42" fmla="*/ 540788 h 6857999"/>
              <a:gd name="connsiteX43" fmla="*/ 5090635 w 5796177"/>
              <a:gd name="connsiteY43" fmla="*/ 575028 h 6857999"/>
              <a:gd name="connsiteX44" fmla="*/ 5108521 w 5796177"/>
              <a:gd name="connsiteY44" fmla="*/ 591265 h 6857999"/>
              <a:gd name="connsiteX45" fmla="*/ 5133053 w 5796177"/>
              <a:gd name="connsiteY45" fmla="*/ 617935 h 6857999"/>
              <a:gd name="connsiteX46" fmla="*/ 5185575 w 5796177"/>
              <a:gd name="connsiteY46" fmla="*/ 671059 h 6857999"/>
              <a:gd name="connsiteX47" fmla="*/ 5221827 w 5796177"/>
              <a:gd name="connsiteY47" fmla="*/ 714434 h 6857999"/>
              <a:gd name="connsiteX48" fmla="*/ 5241294 w 5796177"/>
              <a:gd name="connsiteY48" fmla="*/ 735595 h 6857999"/>
              <a:gd name="connsiteX49" fmla="*/ 5261625 w 5796177"/>
              <a:gd name="connsiteY49" fmla="*/ 762051 h 6857999"/>
              <a:gd name="connsiteX50" fmla="*/ 5303937 w 5796177"/>
              <a:gd name="connsiteY50" fmla="*/ 812675 h 6857999"/>
              <a:gd name="connsiteX51" fmla="*/ 5341488 w 5796177"/>
              <a:gd name="connsiteY51" fmla="*/ 865969 h 6857999"/>
              <a:gd name="connsiteX52" fmla="*/ 5361825 w 5796177"/>
              <a:gd name="connsiteY52" fmla="*/ 892430 h 6857999"/>
              <a:gd name="connsiteX53" fmla="*/ 5378007 w 5796177"/>
              <a:gd name="connsiteY53" fmla="*/ 917799 h 6857999"/>
              <a:gd name="connsiteX54" fmla="*/ 5411167 w 5796177"/>
              <a:gd name="connsiteY54" fmla="*/ 964858 h 6857999"/>
              <a:gd name="connsiteX55" fmla="*/ 5448833 w 5796177"/>
              <a:gd name="connsiteY55" fmla="*/ 1028823 h 6857999"/>
              <a:gd name="connsiteX56" fmla="*/ 5469251 w 5796177"/>
              <a:gd name="connsiteY56" fmla="*/ 1060829 h 6857999"/>
              <a:gd name="connsiteX57" fmla="*/ 5481521 w 5796177"/>
              <a:gd name="connsiteY57" fmla="*/ 1084329 h 6857999"/>
              <a:gd name="connsiteX58" fmla="*/ 5506551 w 5796177"/>
              <a:gd name="connsiteY58" fmla="*/ 1126834 h 6857999"/>
              <a:gd name="connsiteX59" fmla="*/ 5543075 w 5796177"/>
              <a:gd name="connsiteY59" fmla="*/ 1202240 h 6857999"/>
              <a:gd name="connsiteX60" fmla="*/ 5562713 w 5796177"/>
              <a:gd name="connsiteY60" fmla="*/ 1239851 h 6857999"/>
              <a:gd name="connsiteX61" fmla="*/ 5571431 w 5796177"/>
              <a:gd name="connsiteY61" fmla="*/ 1260776 h 6857999"/>
              <a:gd name="connsiteX62" fmla="*/ 5589381 w 5796177"/>
              <a:gd name="connsiteY62" fmla="*/ 1297825 h 6857999"/>
              <a:gd name="connsiteX63" fmla="*/ 5623445 w 5796177"/>
              <a:gd name="connsiteY63" fmla="*/ 1385594 h 6857999"/>
              <a:gd name="connsiteX64" fmla="*/ 5641349 w 5796177"/>
              <a:gd name="connsiteY64" fmla="*/ 1428552 h 6857999"/>
              <a:gd name="connsiteX65" fmla="*/ 5646993 w 5796177"/>
              <a:gd name="connsiteY65" fmla="*/ 1446259 h 6857999"/>
              <a:gd name="connsiteX66" fmla="*/ 5658947 w 5796177"/>
              <a:gd name="connsiteY66" fmla="*/ 1477056 h 6857999"/>
              <a:gd name="connsiteX67" fmla="*/ 5689167 w 5796177"/>
              <a:gd name="connsiteY67" fmla="*/ 1578547 h 6857999"/>
              <a:gd name="connsiteX68" fmla="*/ 5704291 w 5796177"/>
              <a:gd name="connsiteY68" fmla="*/ 1625988 h 6857999"/>
              <a:gd name="connsiteX69" fmla="*/ 5707437 w 5796177"/>
              <a:gd name="connsiteY69" fmla="*/ 1639903 h 6857999"/>
              <a:gd name="connsiteX70" fmla="*/ 5714539 w 5796177"/>
              <a:gd name="connsiteY70" fmla="*/ 1663750 h 6857999"/>
              <a:gd name="connsiteX71" fmla="*/ 5739474 w 5796177"/>
              <a:gd name="connsiteY71" fmla="*/ 1781628 h 6857999"/>
              <a:gd name="connsiteX72" fmla="*/ 5739965 w 5796177"/>
              <a:gd name="connsiteY72" fmla="*/ 1783799 h 6857999"/>
              <a:gd name="connsiteX73" fmla="*/ 5743249 w 5796177"/>
              <a:gd name="connsiteY73" fmla="*/ 1783799 h 6857999"/>
              <a:gd name="connsiteX74" fmla="*/ 5753967 w 5796177"/>
              <a:gd name="connsiteY74" fmla="*/ 1841893 h 6857999"/>
              <a:gd name="connsiteX75" fmla="*/ 5755279 w 5796177"/>
              <a:gd name="connsiteY75" fmla="*/ 1853662 h 6857999"/>
              <a:gd name="connsiteX76" fmla="*/ 5758729 w 5796177"/>
              <a:gd name="connsiteY76" fmla="*/ 1873642 h 6857999"/>
              <a:gd name="connsiteX77" fmla="*/ 5776884 w 5796177"/>
              <a:gd name="connsiteY77" fmla="*/ 2047377 h 6857999"/>
              <a:gd name="connsiteX78" fmla="*/ 5782945 w 5796177"/>
              <a:gd name="connsiteY78" fmla="*/ 2101723 h 6857999"/>
              <a:gd name="connsiteX79" fmla="*/ 5783159 w 5796177"/>
              <a:gd name="connsiteY79" fmla="*/ 2107442 h 6857999"/>
              <a:gd name="connsiteX80" fmla="*/ 5784244 w 5796177"/>
              <a:gd name="connsiteY80" fmla="*/ 2117804 h 6857999"/>
              <a:gd name="connsiteX81" fmla="*/ 5788502 w 5796177"/>
              <a:gd name="connsiteY81" fmla="*/ 2238302 h 6857999"/>
              <a:gd name="connsiteX82" fmla="*/ 5793692 w 5796177"/>
              <a:gd name="connsiteY82" fmla="*/ 2238302 h 6857999"/>
              <a:gd name="connsiteX83" fmla="*/ 5793692 w 5796177"/>
              <a:gd name="connsiteY83" fmla="*/ 2349393 h 6857999"/>
              <a:gd name="connsiteX84" fmla="*/ 5793692 w 5796177"/>
              <a:gd name="connsiteY84" fmla="*/ 2385154 h 6857999"/>
              <a:gd name="connsiteX85" fmla="*/ 5793692 w 5796177"/>
              <a:gd name="connsiteY85" fmla="*/ 2385988 h 6857999"/>
              <a:gd name="connsiteX86" fmla="*/ 5793692 w 5796177"/>
              <a:gd name="connsiteY86" fmla="*/ 2385990 h 6857999"/>
              <a:gd name="connsiteX87" fmla="*/ 5796177 w 5796177"/>
              <a:gd name="connsiteY87" fmla="*/ 2385990 h 6857999"/>
              <a:gd name="connsiteX88" fmla="*/ 5796177 w 5796177"/>
              <a:gd name="connsiteY88" fmla="*/ 2593053 h 6857999"/>
              <a:gd name="connsiteX89" fmla="*/ 5796177 w 5796177"/>
              <a:gd name="connsiteY89" fmla="*/ 2919746 h 6857999"/>
              <a:gd name="connsiteX90" fmla="*/ 5796177 w 5796177"/>
              <a:gd name="connsiteY90" fmla="*/ 3136018 h 6857999"/>
              <a:gd name="connsiteX91" fmla="*/ 5796177 w 5796177"/>
              <a:gd name="connsiteY91" fmla="*/ 4037278 h 6857999"/>
              <a:gd name="connsiteX92" fmla="*/ 5796177 w 5796177"/>
              <a:gd name="connsiteY92" fmla="*/ 4087449 h 6857999"/>
              <a:gd name="connsiteX93" fmla="*/ 5796177 w 5796177"/>
              <a:gd name="connsiteY93" fmla="*/ 4272831 h 6857999"/>
              <a:gd name="connsiteX94" fmla="*/ 5796177 w 5796177"/>
              <a:gd name="connsiteY94" fmla="*/ 4323868 h 6857999"/>
              <a:gd name="connsiteX95" fmla="*/ 5796177 w 5796177"/>
              <a:gd name="connsiteY95" fmla="*/ 4455720 h 6857999"/>
              <a:gd name="connsiteX96" fmla="*/ 5796177 w 5796177"/>
              <a:gd name="connsiteY96" fmla="*/ 4568191 h 6857999"/>
              <a:gd name="connsiteX97" fmla="*/ 5796177 w 5796177"/>
              <a:gd name="connsiteY97" fmla="*/ 4698493 h 6857999"/>
              <a:gd name="connsiteX98" fmla="*/ 5796177 w 5796177"/>
              <a:gd name="connsiteY98" fmla="*/ 4812903 h 6857999"/>
              <a:gd name="connsiteX99" fmla="*/ 5793717 w 5796177"/>
              <a:gd name="connsiteY99" fmla="*/ 4812903 h 6857999"/>
              <a:gd name="connsiteX100" fmla="*/ 5793717 w 5796177"/>
              <a:gd name="connsiteY100" fmla="*/ 6578599 h 6857999"/>
              <a:gd name="connsiteX101" fmla="*/ 5793717 w 5796177"/>
              <a:gd name="connsiteY101" fmla="*/ 6857998 h 6857999"/>
              <a:gd name="connsiteX102" fmla="*/ 5654017 w 5796177"/>
              <a:gd name="connsiteY102" fmla="*/ 6857998 h 6857999"/>
              <a:gd name="connsiteX103" fmla="*/ 4324375 w 5796177"/>
              <a:gd name="connsiteY103" fmla="*/ 6857998 h 6857999"/>
              <a:gd name="connsiteX104" fmla="*/ 4184676 w 5796177"/>
              <a:gd name="connsiteY104" fmla="*/ 6857998 h 6857999"/>
              <a:gd name="connsiteX105" fmla="*/ 3714890 w 5796177"/>
              <a:gd name="connsiteY105" fmla="*/ 6857998 h 6857999"/>
              <a:gd name="connsiteX106" fmla="*/ 3713663 w 5796177"/>
              <a:gd name="connsiteY106" fmla="*/ 6857998 h 6857999"/>
              <a:gd name="connsiteX107" fmla="*/ 3713644 w 5796177"/>
              <a:gd name="connsiteY107" fmla="*/ 6857999 h 6857999"/>
              <a:gd name="connsiteX108" fmla="*/ 3713623 w 5796177"/>
              <a:gd name="connsiteY108" fmla="*/ 6857998 h 6857999"/>
              <a:gd name="connsiteX109" fmla="*/ 3615923 w 5796177"/>
              <a:gd name="connsiteY109" fmla="*/ 6857998 h 6857999"/>
              <a:gd name="connsiteX110" fmla="*/ 3575191 w 5796177"/>
              <a:gd name="connsiteY110" fmla="*/ 6857998 h 6857999"/>
              <a:gd name="connsiteX111" fmla="*/ 3573964 w 5796177"/>
              <a:gd name="connsiteY111" fmla="*/ 6857998 h 6857999"/>
              <a:gd name="connsiteX112" fmla="*/ 3573945 w 5796177"/>
              <a:gd name="connsiteY112" fmla="*/ 6857999 h 6857999"/>
              <a:gd name="connsiteX113" fmla="*/ 3573924 w 5796177"/>
              <a:gd name="connsiteY113" fmla="*/ 6857998 h 6857999"/>
              <a:gd name="connsiteX114" fmla="*/ 3476224 w 5796177"/>
              <a:gd name="connsiteY114" fmla="*/ 6857998 h 6857999"/>
              <a:gd name="connsiteX115" fmla="*/ 2245549 w 5796177"/>
              <a:gd name="connsiteY115" fmla="*/ 6857998 h 6857999"/>
              <a:gd name="connsiteX116" fmla="*/ 2244321 w 5796177"/>
              <a:gd name="connsiteY116" fmla="*/ 6857998 h 6857999"/>
              <a:gd name="connsiteX117" fmla="*/ 2244302 w 5796177"/>
              <a:gd name="connsiteY117" fmla="*/ 6857999 h 6857999"/>
              <a:gd name="connsiteX118" fmla="*/ 2244282 w 5796177"/>
              <a:gd name="connsiteY118" fmla="*/ 6857998 h 6857999"/>
              <a:gd name="connsiteX119" fmla="*/ 2146582 w 5796177"/>
              <a:gd name="connsiteY119" fmla="*/ 6857998 h 6857999"/>
              <a:gd name="connsiteX120" fmla="*/ 2105849 w 5796177"/>
              <a:gd name="connsiteY120" fmla="*/ 6857998 h 6857999"/>
              <a:gd name="connsiteX121" fmla="*/ 2104623 w 5796177"/>
              <a:gd name="connsiteY121" fmla="*/ 6857998 h 6857999"/>
              <a:gd name="connsiteX122" fmla="*/ 2104603 w 5796177"/>
              <a:gd name="connsiteY122" fmla="*/ 6857999 h 6857999"/>
              <a:gd name="connsiteX123" fmla="*/ 2104583 w 5796177"/>
              <a:gd name="connsiteY123" fmla="*/ 6857998 h 6857999"/>
              <a:gd name="connsiteX124" fmla="*/ 2006883 w 5796177"/>
              <a:gd name="connsiteY124" fmla="*/ 6857998 h 6857999"/>
              <a:gd name="connsiteX125" fmla="*/ 2006883 w 5796177"/>
              <a:gd name="connsiteY125" fmla="*/ 6853136 h 6857999"/>
              <a:gd name="connsiteX126" fmla="*/ 1906178 w 5796177"/>
              <a:gd name="connsiteY126" fmla="*/ 6848186 h 6857999"/>
              <a:gd name="connsiteX127" fmla="*/ 1900067 w 5796177"/>
              <a:gd name="connsiteY127" fmla="*/ 6847279 h 6857999"/>
              <a:gd name="connsiteX128" fmla="*/ 1891929 w 5796177"/>
              <a:gd name="connsiteY128" fmla="*/ 6846854 h 6857999"/>
              <a:gd name="connsiteX129" fmla="*/ 1533615 w 5796177"/>
              <a:gd name="connsiteY129" fmla="*/ 6775647 h 6857999"/>
              <a:gd name="connsiteX130" fmla="*/ 1525186 w 5796177"/>
              <a:gd name="connsiteY130" fmla="*/ 6772737 h 6857999"/>
              <a:gd name="connsiteX131" fmla="*/ 1523733 w 5796177"/>
              <a:gd name="connsiteY131" fmla="*/ 6772374 h 6857999"/>
              <a:gd name="connsiteX132" fmla="*/ 1509271 w 5796177"/>
              <a:gd name="connsiteY132" fmla="*/ 6767244 h 6857999"/>
              <a:gd name="connsiteX133" fmla="*/ 1363351 w 5796177"/>
              <a:gd name="connsiteY133" fmla="*/ 6716894 h 6857999"/>
              <a:gd name="connsiteX134" fmla="*/ 1348375 w 5796177"/>
              <a:gd name="connsiteY134" fmla="*/ 6710182 h 6857999"/>
              <a:gd name="connsiteX135" fmla="*/ 1342682 w 5796177"/>
              <a:gd name="connsiteY135" fmla="*/ 6708164 h 6857999"/>
              <a:gd name="connsiteX136" fmla="*/ 1311909 w 5796177"/>
              <a:gd name="connsiteY136" fmla="*/ 6693845 h 6857999"/>
              <a:gd name="connsiteX137" fmla="*/ 1199964 w 5796177"/>
              <a:gd name="connsiteY137" fmla="*/ 6643690 h 6857999"/>
              <a:gd name="connsiteX138" fmla="*/ 1179072 w 5796177"/>
              <a:gd name="connsiteY138" fmla="*/ 6632034 h 6857999"/>
              <a:gd name="connsiteX139" fmla="*/ 1169562 w 5796177"/>
              <a:gd name="connsiteY139" fmla="*/ 6627609 h 6857999"/>
              <a:gd name="connsiteX140" fmla="*/ 1136174 w 5796177"/>
              <a:gd name="connsiteY140" fmla="*/ 6608101 h 6857999"/>
              <a:gd name="connsiteX141" fmla="*/ 1044163 w 5796177"/>
              <a:gd name="connsiteY141" fmla="*/ 6556770 h 6857999"/>
              <a:gd name="connsiteX142" fmla="*/ 1018086 w 5796177"/>
              <a:gd name="connsiteY142" fmla="*/ 6539110 h 6857999"/>
              <a:gd name="connsiteX143" fmla="*/ 1005238 w 5796177"/>
              <a:gd name="connsiteY143" fmla="*/ 6531606 h 6857999"/>
              <a:gd name="connsiteX144" fmla="*/ 973444 w 5796177"/>
              <a:gd name="connsiteY144" fmla="*/ 6508878 h 6857999"/>
              <a:gd name="connsiteX145" fmla="*/ 896655 w 5796177"/>
              <a:gd name="connsiteY145" fmla="*/ 6456874 h 6857999"/>
              <a:gd name="connsiteX146" fmla="*/ 866229 w 5796177"/>
              <a:gd name="connsiteY146" fmla="*/ 6432241 h 6857999"/>
              <a:gd name="connsiteX147" fmla="*/ 850569 w 5796177"/>
              <a:gd name="connsiteY147" fmla="*/ 6421048 h 6857999"/>
              <a:gd name="connsiteX148" fmla="*/ 822056 w 5796177"/>
              <a:gd name="connsiteY148" fmla="*/ 6396477 h 6857999"/>
              <a:gd name="connsiteX149" fmla="*/ 758152 w 5796177"/>
              <a:gd name="connsiteY149" fmla="*/ 6344738 h 6857999"/>
              <a:gd name="connsiteX150" fmla="*/ 724303 w 5796177"/>
              <a:gd name="connsiteY150" fmla="*/ 6312242 h 6857999"/>
              <a:gd name="connsiteX151" fmla="*/ 706417 w 5796177"/>
              <a:gd name="connsiteY151" fmla="*/ 6296830 h 6857999"/>
              <a:gd name="connsiteX152" fmla="*/ 681884 w 5796177"/>
              <a:gd name="connsiteY152" fmla="*/ 6271519 h 6857999"/>
              <a:gd name="connsiteX153" fmla="*/ 629363 w 5796177"/>
              <a:gd name="connsiteY153" fmla="*/ 6221099 h 6857999"/>
              <a:gd name="connsiteX154" fmla="*/ 593111 w 5796177"/>
              <a:gd name="connsiteY154" fmla="*/ 6179932 h 6857999"/>
              <a:gd name="connsiteX155" fmla="*/ 573644 w 5796177"/>
              <a:gd name="connsiteY155" fmla="*/ 6159848 h 6857999"/>
              <a:gd name="connsiteX156" fmla="*/ 553314 w 5796177"/>
              <a:gd name="connsiteY156" fmla="*/ 6134738 h 6857999"/>
              <a:gd name="connsiteX157" fmla="*/ 511002 w 5796177"/>
              <a:gd name="connsiteY157" fmla="*/ 6086690 h 6857999"/>
              <a:gd name="connsiteX158" fmla="*/ 473450 w 5796177"/>
              <a:gd name="connsiteY158" fmla="*/ 6036108 h 6857999"/>
              <a:gd name="connsiteX159" fmla="*/ 453114 w 5796177"/>
              <a:gd name="connsiteY159" fmla="*/ 6010996 h 6857999"/>
              <a:gd name="connsiteX160" fmla="*/ 436931 w 5796177"/>
              <a:gd name="connsiteY160" fmla="*/ 5986917 h 6857999"/>
              <a:gd name="connsiteX161" fmla="*/ 403773 w 5796177"/>
              <a:gd name="connsiteY161" fmla="*/ 5942254 h 6857999"/>
              <a:gd name="connsiteX162" fmla="*/ 366106 w 5796177"/>
              <a:gd name="connsiteY162" fmla="*/ 5881545 h 6857999"/>
              <a:gd name="connsiteX163" fmla="*/ 345687 w 5796177"/>
              <a:gd name="connsiteY163" fmla="*/ 5851167 h 6857999"/>
              <a:gd name="connsiteX164" fmla="*/ 333419 w 5796177"/>
              <a:gd name="connsiteY164" fmla="*/ 5828864 h 6857999"/>
              <a:gd name="connsiteX165" fmla="*/ 308389 w 5796177"/>
              <a:gd name="connsiteY165" fmla="*/ 5788522 h 6857999"/>
              <a:gd name="connsiteX166" fmla="*/ 271864 w 5796177"/>
              <a:gd name="connsiteY166" fmla="*/ 5716955 h 6857999"/>
              <a:gd name="connsiteX167" fmla="*/ 252227 w 5796177"/>
              <a:gd name="connsiteY167" fmla="*/ 5681258 h 6857999"/>
              <a:gd name="connsiteX168" fmla="*/ 243508 w 5796177"/>
              <a:gd name="connsiteY168" fmla="*/ 5661399 h 6857999"/>
              <a:gd name="connsiteX169" fmla="*/ 225559 w 5796177"/>
              <a:gd name="connsiteY169" fmla="*/ 5626234 h 6857999"/>
              <a:gd name="connsiteX170" fmla="*/ 191493 w 5796177"/>
              <a:gd name="connsiteY170" fmla="*/ 5542933 h 6857999"/>
              <a:gd name="connsiteX171" fmla="*/ 173591 w 5796177"/>
              <a:gd name="connsiteY171" fmla="*/ 5502163 h 6857999"/>
              <a:gd name="connsiteX172" fmla="*/ 167947 w 5796177"/>
              <a:gd name="connsiteY172" fmla="*/ 5485357 h 6857999"/>
              <a:gd name="connsiteX173" fmla="*/ 155993 w 5796177"/>
              <a:gd name="connsiteY173" fmla="*/ 5456126 h 6857999"/>
              <a:gd name="connsiteX174" fmla="*/ 125772 w 5796177"/>
              <a:gd name="connsiteY174" fmla="*/ 5359803 h 6857999"/>
              <a:gd name="connsiteX175" fmla="*/ 110648 w 5796177"/>
              <a:gd name="connsiteY175" fmla="*/ 5314777 h 6857999"/>
              <a:gd name="connsiteX176" fmla="*/ 107502 w 5796177"/>
              <a:gd name="connsiteY176" fmla="*/ 5301567 h 6857999"/>
              <a:gd name="connsiteX177" fmla="*/ 100402 w 5796177"/>
              <a:gd name="connsiteY177" fmla="*/ 5278935 h 6857999"/>
              <a:gd name="connsiteX178" fmla="*/ 75465 w 5796177"/>
              <a:gd name="connsiteY178" fmla="*/ 5167059 h 6857999"/>
              <a:gd name="connsiteX179" fmla="*/ 64256 w 5796177"/>
              <a:gd name="connsiteY179" fmla="*/ 5119993 h 6857999"/>
              <a:gd name="connsiteX180" fmla="*/ 62943 w 5796177"/>
              <a:gd name="connsiteY180" fmla="*/ 5110876 h 6857999"/>
              <a:gd name="connsiteX181" fmla="*/ 59494 w 5796177"/>
              <a:gd name="connsiteY181" fmla="*/ 5095397 h 6857999"/>
              <a:gd name="connsiteX182" fmla="*/ 41339 w 5796177"/>
              <a:gd name="connsiteY182" fmla="*/ 4960809 h 6857999"/>
              <a:gd name="connsiteX183" fmla="*/ 35278 w 5796177"/>
              <a:gd name="connsiteY183" fmla="*/ 4918708 h 6857999"/>
              <a:gd name="connsiteX184" fmla="*/ 35061 w 5796177"/>
              <a:gd name="connsiteY184" fmla="*/ 4914275 h 6857999"/>
              <a:gd name="connsiteX185" fmla="*/ 33978 w 5796177"/>
              <a:gd name="connsiteY185" fmla="*/ 4906249 h 6857999"/>
              <a:gd name="connsiteX186" fmla="*/ 29721 w 5796177"/>
              <a:gd name="connsiteY186" fmla="*/ 4812903 h 6857999"/>
              <a:gd name="connsiteX187" fmla="*/ 24529 w 5796177"/>
              <a:gd name="connsiteY187" fmla="*/ 4812903 h 6857999"/>
              <a:gd name="connsiteX188" fmla="*/ 24529 w 5796177"/>
              <a:gd name="connsiteY188" fmla="*/ 4745743 h 6857999"/>
              <a:gd name="connsiteX189" fmla="*/ 20116 w 5796177"/>
              <a:gd name="connsiteY189" fmla="*/ 4713588 h 6857999"/>
              <a:gd name="connsiteX190" fmla="*/ 14055 w 5796177"/>
              <a:gd name="connsiteY190" fmla="*/ 4672200 h 6857999"/>
              <a:gd name="connsiteX191" fmla="*/ 13839 w 5796177"/>
              <a:gd name="connsiteY191" fmla="*/ 4667843 h 6857999"/>
              <a:gd name="connsiteX192" fmla="*/ 12755 w 5796177"/>
              <a:gd name="connsiteY192" fmla="*/ 4659953 h 6857999"/>
              <a:gd name="connsiteX193" fmla="*/ 8498 w 5796177"/>
              <a:gd name="connsiteY193" fmla="*/ 4568191 h 6857999"/>
              <a:gd name="connsiteX194" fmla="*/ 3306 w 5796177"/>
              <a:gd name="connsiteY194" fmla="*/ 4568191 h 6857999"/>
              <a:gd name="connsiteX195" fmla="*/ 3306 w 5796177"/>
              <a:gd name="connsiteY195" fmla="*/ 4483588 h 6857999"/>
              <a:gd name="connsiteX196" fmla="*/ 3306 w 5796177"/>
              <a:gd name="connsiteY196" fmla="*/ 4456355 h 6857999"/>
              <a:gd name="connsiteX197" fmla="*/ 3306 w 5796177"/>
              <a:gd name="connsiteY197" fmla="*/ 4455720 h 6857999"/>
              <a:gd name="connsiteX198" fmla="*/ 821 w 5796177"/>
              <a:gd name="connsiteY198" fmla="*/ 4455720 h 6857999"/>
              <a:gd name="connsiteX199" fmla="*/ 821 w 5796177"/>
              <a:gd name="connsiteY199" fmla="*/ 4087449 h 6857999"/>
              <a:gd name="connsiteX200" fmla="*/ 821 w 5796177"/>
              <a:gd name="connsiteY200" fmla="*/ 4037278 h 6857999"/>
              <a:gd name="connsiteX201" fmla="*/ 821 w 5796177"/>
              <a:gd name="connsiteY201" fmla="*/ 2919746 h 6857999"/>
              <a:gd name="connsiteX202" fmla="*/ 821 w 5796177"/>
              <a:gd name="connsiteY202" fmla="*/ 2385988 h 6857999"/>
              <a:gd name="connsiteX203" fmla="*/ 821 w 5796177"/>
              <a:gd name="connsiteY203" fmla="*/ 2238302 h 6857999"/>
              <a:gd name="connsiteX204" fmla="*/ 3283 w 5796177"/>
              <a:gd name="connsiteY204" fmla="*/ 2238302 h 6857999"/>
              <a:gd name="connsiteX205" fmla="*/ 3283 w 5796177"/>
              <a:gd name="connsiteY205" fmla="*/ 1783799 h 6857999"/>
              <a:gd name="connsiteX206" fmla="*/ 0 w 5796177"/>
              <a:gd name="connsiteY206" fmla="*/ 1783799 h 6857999"/>
              <a:gd name="connsiteX207" fmla="*/ 0 w 5796177"/>
              <a:gd name="connsiteY207" fmla="*/ 1 h 6857999"/>
              <a:gd name="connsiteX208" fmla="*/ 160921 w 5796177"/>
              <a:gd name="connsiteY208" fmla="*/ 1 h 6857999"/>
              <a:gd name="connsiteX209" fmla="*/ 1469342 w 5796177"/>
              <a:gd name="connsiteY209" fmla="*/ 1 h 6857999"/>
              <a:gd name="connsiteX210" fmla="*/ 1630263 w 5796177"/>
              <a:gd name="connsiteY210" fmla="*/ 1 h 6857999"/>
              <a:gd name="connsiteX211" fmla="*/ 2078827 w 5796177"/>
              <a:gd name="connsiteY211" fmla="*/ 1 h 6857999"/>
              <a:gd name="connsiteX212" fmla="*/ 2080053 w 5796177"/>
              <a:gd name="connsiteY212" fmla="*/ 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796177" h="6857999">
                <a:moveTo>
                  <a:pt x="2080073" y="0"/>
                </a:moveTo>
                <a:lnTo>
                  <a:pt x="2080093" y="1"/>
                </a:lnTo>
                <a:lnTo>
                  <a:pt x="2177793" y="1"/>
                </a:lnTo>
                <a:lnTo>
                  <a:pt x="2239748" y="1"/>
                </a:lnTo>
                <a:lnTo>
                  <a:pt x="2240974" y="1"/>
                </a:lnTo>
                <a:lnTo>
                  <a:pt x="2240995" y="0"/>
                </a:lnTo>
                <a:lnTo>
                  <a:pt x="2241014" y="1"/>
                </a:lnTo>
                <a:lnTo>
                  <a:pt x="2338714" y="1"/>
                </a:lnTo>
                <a:lnTo>
                  <a:pt x="3548169" y="1"/>
                </a:lnTo>
                <a:lnTo>
                  <a:pt x="3549395" y="1"/>
                </a:lnTo>
                <a:lnTo>
                  <a:pt x="3549415" y="0"/>
                </a:lnTo>
                <a:lnTo>
                  <a:pt x="3549435" y="1"/>
                </a:lnTo>
                <a:lnTo>
                  <a:pt x="3647135" y="1"/>
                </a:lnTo>
                <a:lnTo>
                  <a:pt x="3709090" y="1"/>
                </a:lnTo>
                <a:lnTo>
                  <a:pt x="3710316" y="1"/>
                </a:lnTo>
                <a:lnTo>
                  <a:pt x="3710336" y="0"/>
                </a:lnTo>
                <a:lnTo>
                  <a:pt x="3710355" y="1"/>
                </a:lnTo>
                <a:lnTo>
                  <a:pt x="3808056" y="1"/>
                </a:lnTo>
                <a:lnTo>
                  <a:pt x="3808056" y="5124"/>
                </a:lnTo>
                <a:lnTo>
                  <a:pt x="3908760" y="10340"/>
                </a:lnTo>
                <a:lnTo>
                  <a:pt x="3914869" y="11296"/>
                </a:lnTo>
                <a:lnTo>
                  <a:pt x="3923011" y="11744"/>
                </a:lnTo>
                <a:cubicBezTo>
                  <a:pt x="4045928" y="25396"/>
                  <a:pt x="4165680" y="50749"/>
                  <a:pt x="4281324" y="86772"/>
                </a:cubicBezTo>
                <a:lnTo>
                  <a:pt x="4289754" y="89835"/>
                </a:lnTo>
                <a:lnTo>
                  <a:pt x="4291207" y="90218"/>
                </a:lnTo>
                <a:lnTo>
                  <a:pt x="4305668" y="95624"/>
                </a:lnTo>
                <a:lnTo>
                  <a:pt x="4451587" y="148675"/>
                </a:lnTo>
                <a:lnTo>
                  <a:pt x="4466565" y="155745"/>
                </a:lnTo>
                <a:lnTo>
                  <a:pt x="4472257" y="157873"/>
                </a:lnTo>
                <a:lnTo>
                  <a:pt x="4503028" y="172962"/>
                </a:lnTo>
                <a:lnTo>
                  <a:pt x="4614973" y="225806"/>
                </a:lnTo>
                <a:lnTo>
                  <a:pt x="4635867" y="238086"/>
                </a:lnTo>
                <a:lnTo>
                  <a:pt x="4645375" y="242747"/>
                </a:lnTo>
                <a:lnTo>
                  <a:pt x="4678765" y="263301"/>
                </a:lnTo>
                <a:lnTo>
                  <a:pt x="4770777" y="317386"/>
                </a:lnTo>
                <a:lnTo>
                  <a:pt x="4796851" y="335993"/>
                </a:lnTo>
                <a:lnTo>
                  <a:pt x="4809700" y="343899"/>
                </a:lnTo>
                <a:lnTo>
                  <a:pt x="4841495" y="367846"/>
                </a:lnTo>
                <a:lnTo>
                  <a:pt x="4918283" y="422639"/>
                </a:lnTo>
                <a:lnTo>
                  <a:pt x="4948709" y="448596"/>
                </a:lnTo>
                <a:lnTo>
                  <a:pt x="4964370" y="460387"/>
                </a:lnTo>
                <a:lnTo>
                  <a:pt x="4992883" y="486277"/>
                </a:lnTo>
                <a:lnTo>
                  <a:pt x="5056787" y="540788"/>
                </a:lnTo>
                <a:lnTo>
                  <a:pt x="5090635" y="575028"/>
                </a:lnTo>
                <a:lnTo>
                  <a:pt x="5108521" y="591265"/>
                </a:lnTo>
                <a:lnTo>
                  <a:pt x="5133053" y="617935"/>
                </a:lnTo>
                <a:lnTo>
                  <a:pt x="5185575" y="671059"/>
                </a:lnTo>
                <a:lnTo>
                  <a:pt x="5221827" y="714434"/>
                </a:lnTo>
                <a:lnTo>
                  <a:pt x="5241294" y="735595"/>
                </a:lnTo>
                <a:lnTo>
                  <a:pt x="5261625" y="762051"/>
                </a:lnTo>
                <a:lnTo>
                  <a:pt x="5303937" y="812675"/>
                </a:lnTo>
                <a:lnTo>
                  <a:pt x="5341488" y="865969"/>
                </a:lnTo>
                <a:lnTo>
                  <a:pt x="5361825" y="892430"/>
                </a:lnTo>
                <a:lnTo>
                  <a:pt x="5378007" y="917799"/>
                </a:lnTo>
                <a:lnTo>
                  <a:pt x="5411167" y="964858"/>
                </a:lnTo>
                <a:lnTo>
                  <a:pt x="5448833" y="1028823"/>
                </a:lnTo>
                <a:lnTo>
                  <a:pt x="5469251" y="1060829"/>
                </a:lnTo>
                <a:lnTo>
                  <a:pt x="5481521" y="1084329"/>
                </a:lnTo>
                <a:lnTo>
                  <a:pt x="5506551" y="1126834"/>
                </a:lnTo>
                <a:lnTo>
                  <a:pt x="5543075" y="1202240"/>
                </a:lnTo>
                <a:lnTo>
                  <a:pt x="5562713" y="1239851"/>
                </a:lnTo>
                <a:lnTo>
                  <a:pt x="5571431" y="1260776"/>
                </a:lnTo>
                <a:lnTo>
                  <a:pt x="5589381" y="1297825"/>
                </a:lnTo>
                <a:lnTo>
                  <a:pt x="5623445" y="1385594"/>
                </a:lnTo>
                <a:lnTo>
                  <a:pt x="5641349" y="1428552"/>
                </a:lnTo>
                <a:lnTo>
                  <a:pt x="5646993" y="1446259"/>
                </a:lnTo>
                <a:lnTo>
                  <a:pt x="5658947" y="1477056"/>
                </a:lnTo>
                <a:lnTo>
                  <a:pt x="5689167" y="1578547"/>
                </a:lnTo>
                <a:lnTo>
                  <a:pt x="5704291" y="1625988"/>
                </a:lnTo>
                <a:lnTo>
                  <a:pt x="5707437" y="1639903"/>
                </a:lnTo>
                <a:lnTo>
                  <a:pt x="5714539" y="1663750"/>
                </a:lnTo>
                <a:lnTo>
                  <a:pt x="5739474" y="1781628"/>
                </a:lnTo>
                <a:lnTo>
                  <a:pt x="5739965" y="1783799"/>
                </a:lnTo>
                <a:lnTo>
                  <a:pt x="5743249" y="1783799"/>
                </a:lnTo>
                <a:lnTo>
                  <a:pt x="5753967" y="1841893"/>
                </a:lnTo>
                <a:lnTo>
                  <a:pt x="5755279" y="1853662"/>
                </a:lnTo>
                <a:lnTo>
                  <a:pt x="5758729" y="1873642"/>
                </a:lnTo>
                <a:lnTo>
                  <a:pt x="5776884" y="2047377"/>
                </a:lnTo>
                <a:lnTo>
                  <a:pt x="5782945" y="2101723"/>
                </a:lnTo>
                <a:lnTo>
                  <a:pt x="5783159" y="2107442"/>
                </a:lnTo>
                <a:lnTo>
                  <a:pt x="5784244" y="2117804"/>
                </a:lnTo>
                <a:lnTo>
                  <a:pt x="5788502" y="2238302"/>
                </a:lnTo>
                <a:lnTo>
                  <a:pt x="5793692" y="2238302"/>
                </a:lnTo>
                <a:lnTo>
                  <a:pt x="5793692" y="2349393"/>
                </a:lnTo>
                <a:lnTo>
                  <a:pt x="5793692" y="2385154"/>
                </a:lnTo>
                <a:lnTo>
                  <a:pt x="5793692" y="2385988"/>
                </a:lnTo>
                <a:lnTo>
                  <a:pt x="5793692" y="2385990"/>
                </a:lnTo>
                <a:lnTo>
                  <a:pt x="5796177" y="2385990"/>
                </a:lnTo>
                <a:lnTo>
                  <a:pt x="5796177" y="2593053"/>
                </a:lnTo>
                <a:lnTo>
                  <a:pt x="5796177" y="2919746"/>
                </a:lnTo>
                <a:lnTo>
                  <a:pt x="5796177" y="3136018"/>
                </a:lnTo>
                <a:lnTo>
                  <a:pt x="5796177" y="4037278"/>
                </a:lnTo>
                <a:lnTo>
                  <a:pt x="5796177" y="4087449"/>
                </a:lnTo>
                <a:lnTo>
                  <a:pt x="5796177" y="4272831"/>
                </a:lnTo>
                <a:lnTo>
                  <a:pt x="5796177" y="4323868"/>
                </a:lnTo>
                <a:lnTo>
                  <a:pt x="5796177" y="4455720"/>
                </a:lnTo>
                <a:lnTo>
                  <a:pt x="5796177" y="4568191"/>
                </a:lnTo>
                <a:lnTo>
                  <a:pt x="5796177" y="4698493"/>
                </a:lnTo>
                <a:lnTo>
                  <a:pt x="5796177" y="4812903"/>
                </a:lnTo>
                <a:lnTo>
                  <a:pt x="5793717" y="4812903"/>
                </a:lnTo>
                <a:lnTo>
                  <a:pt x="5793717" y="6578599"/>
                </a:lnTo>
                <a:lnTo>
                  <a:pt x="5793717" y="6857998"/>
                </a:lnTo>
                <a:lnTo>
                  <a:pt x="5654017" y="6857998"/>
                </a:lnTo>
                <a:lnTo>
                  <a:pt x="4324375" y="6857998"/>
                </a:lnTo>
                <a:lnTo>
                  <a:pt x="4184676" y="6857998"/>
                </a:lnTo>
                <a:lnTo>
                  <a:pt x="3714890" y="6857998"/>
                </a:lnTo>
                <a:lnTo>
                  <a:pt x="3713663" y="6857998"/>
                </a:lnTo>
                <a:lnTo>
                  <a:pt x="3713644" y="6857999"/>
                </a:lnTo>
                <a:lnTo>
                  <a:pt x="3713623" y="6857998"/>
                </a:lnTo>
                <a:lnTo>
                  <a:pt x="3615923" y="6857998"/>
                </a:lnTo>
                <a:lnTo>
                  <a:pt x="3575191" y="6857998"/>
                </a:lnTo>
                <a:lnTo>
                  <a:pt x="3573964" y="6857998"/>
                </a:lnTo>
                <a:lnTo>
                  <a:pt x="3573945" y="6857999"/>
                </a:lnTo>
                <a:lnTo>
                  <a:pt x="3573924" y="6857998"/>
                </a:lnTo>
                <a:lnTo>
                  <a:pt x="3476224" y="6857998"/>
                </a:lnTo>
                <a:lnTo>
                  <a:pt x="2245549" y="6857998"/>
                </a:lnTo>
                <a:lnTo>
                  <a:pt x="2244321" y="6857998"/>
                </a:lnTo>
                <a:lnTo>
                  <a:pt x="2244302" y="6857999"/>
                </a:lnTo>
                <a:lnTo>
                  <a:pt x="2244282" y="6857998"/>
                </a:lnTo>
                <a:lnTo>
                  <a:pt x="2146582" y="6857998"/>
                </a:lnTo>
                <a:lnTo>
                  <a:pt x="2105849" y="6857998"/>
                </a:lnTo>
                <a:lnTo>
                  <a:pt x="2104623" y="6857998"/>
                </a:lnTo>
                <a:lnTo>
                  <a:pt x="2104603" y="6857999"/>
                </a:lnTo>
                <a:lnTo>
                  <a:pt x="2104583" y="6857998"/>
                </a:lnTo>
                <a:lnTo>
                  <a:pt x="2006883" y="6857998"/>
                </a:lnTo>
                <a:lnTo>
                  <a:pt x="2006883" y="6853136"/>
                </a:lnTo>
                <a:lnTo>
                  <a:pt x="1906178" y="6848186"/>
                </a:lnTo>
                <a:lnTo>
                  <a:pt x="1900067" y="6847279"/>
                </a:lnTo>
                <a:lnTo>
                  <a:pt x="1891929" y="6846854"/>
                </a:lnTo>
                <a:cubicBezTo>
                  <a:pt x="1769011" y="6833897"/>
                  <a:pt x="1649259" y="6809834"/>
                  <a:pt x="1533615" y="6775647"/>
                </a:cubicBezTo>
                <a:lnTo>
                  <a:pt x="1525186" y="6772737"/>
                </a:lnTo>
                <a:lnTo>
                  <a:pt x="1523733" y="6772374"/>
                </a:lnTo>
                <a:lnTo>
                  <a:pt x="1509271" y="6767244"/>
                </a:lnTo>
                <a:lnTo>
                  <a:pt x="1363351" y="6716894"/>
                </a:lnTo>
                <a:lnTo>
                  <a:pt x="1348375" y="6710182"/>
                </a:lnTo>
                <a:lnTo>
                  <a:pt x="1342682" y="6708164"/>
                </a:lnTo>
                <a:lnTo>
                  <a:pt x="1311909" y="6693845"/>
                </a:lnTo>
                <a:lnTo>
                  <a:pt x="1199964" y="6643690"/>
                </a:lnTo>
                <a:lnTo>
                  <a:pt x="1179072" y="6632034"/>
                </a:lnTo>
                <a:lnTo>
                  <a:pt x="1169562" y="6627609"/>
                </a:lnTo>
                <a:lnTo>
                  <a:pt x="1136174" y="6608101"/>
                </a:lnTo>
                <a:lnTo>
                  <a:pt x="1044163" y="6556770"/>
                </a:lnTo>
                <a:lnTo>
                  <a:pt x="1018086" y="6539110"/>
                </a:lnTo>
                <a:lnTo>
                  <a:pt x="1005238" y="6531606"/>
                </a:lnTo>
                <a:lnTo>
                  <a:pt x="973444" y="6508878"/>
                </a:lnTo>
                <a:lnTo>
                  <a:pt x="896655" y="6456874"/>
                </a:lnTo>
                <a:lnTo>
                  <a:pt x="866229" y="6432241"/>
                </a:lnTo>
                <a:lnTo>
                  <a:pt x="850569" y="6421048"/>
                </a:lnTo>
                <a:lnTo>
                  <a:pt x="822056" y="6396477"/>
                </a:lnTo>
                <a:lnTo>
                  <a:pt x="758152" y="6344738"/>
                </a:lnTo>
                <a:lnTo>
                  <a:pt x="724303" y="6312242"/>
                </a:lnTo>
                <a:lnTo>
                  <a:pt x="706417" y="6296830"/>
                </a:lnTo>
                <a:lnTo>
                  <a:pt x="681884" y="6271519"/>
                </a:lnTo>
                <a:lnTo>
                  <a:pt x="629363" y="6221099"/>
                </a:lnTo>
                <a:lnTo>
                  <a:pt x="593111" y="6179932"/>
                </a:lnTo>
                <a:lnTo>
                  <a:pt x="573644" y="6159848"/>
                </a:lnTo>
                <a:lnTo>
                  <a:pt x="553314" y="6134738"/>
                </a:lnTo>
                <a:lnTo>
                  <a:pt x="511002" y="6086690"/>
                </a:lnTo>
                <a:lnTo>
                  <a:pt x="473450" y="6036108"/>
                </a:lnTo>
                <a:lnTo>
                  <a:pt x="453114" y="6010996"/>
                </a:lnTo>
                <a:lnTo>
                  <a:pt x="436931" y="5986917"/>
                </a:lnTo>
                <a:lnTo>
                  <a:pt x="403773" y="5942254"/>
                </a:lnTo>
                <a:lnTo>
                  <a:pt x="366106" y="5881545"/>
                </a:lnTo>
                <a:lnTo>
                  <a:pt x="345687" y="5851167"/>
                </a:lnTo>
                <a:lnTo>
                  <a:pt x="333419" y="5828864"/>
                </a:lnTo>
                <a:lnTo>
                  <a:pt x="308389" y="5788522"/>
                </a:lnTo>
                <a:lnTo>
                  <a:pt x="271864" y="5716955"/>
                </a:lnTo>
                <a:lnTo>
                  <a:pt x="252227" y="5681258"/>
                </a:lnTo>
                <a:lnTo>
                  <a:pt x="243508" y="5661399"/>
                </a:lnTo>
                <a:lnTo>
                  <a:pt x="225559" y="5626234"/>
                </a:lnTo>
                <a:lnTo>
                  <a:pt x="191493" y="5542933"/>
                </a:lnTo>
                <a:lnTo>
                  <a:pt x="173591" y="5502163"/>
                </a:lnTo>
                <a:lnTo>
                  <a:pt x="167947" y="5485357"/>
                </a:lnTo>
                <a:lnTo>
                  <a:pt x="155993" y="5456126"/>
                </a:lnTo>
                <a:lnTo>
                  <a:pt x="125772" y="5359803"/>
                </a:lnTo>
                <a:lnTo>
                  <a:pt x="110648" y="5314777"/>
                </a:lnTo>
                <a:lnTo>
                  <a:pt x="107502" y="5301567"/>
                </a:lnTo>
                <a:lnTo>
                  <a:pt x="100402" y="5278935"/>
                </a:lnTo>
                <a:lnTo>
                  <a:pt x="75465" y="5167059"/>
                </a:lnTo>
                <a:lnTo>
                  <a:pt x="64256" y="5119993"/>
                </a:lnTo>
                <a:lnTo>
                  <a:pt x="62943" y="5110876"/>
                </a:lnTo>
                <a:lnTo>
                  <a:pt x="59494" y="5095397"/>
                </a:lnTo>
                <a:lnTo>
                  <a:pt x="41339" y="4960809"/>
                </a:lnTo>
                <a:lnTo>
                  <a:pt x="35278" y="4918708"/>
                </a:lnTo>
                <a:lnTo>
                  <a:pt x="35061" y="4914275"/>
                </a:lnTo>
                <a:lnTo>
                  <a:pt x="33978" y="4906249"/>
                </a:lnTo>
                <a:lnTo>
                  <a:pt x="29721" y="4812903"/>
                </a:lnTo>
                <a:lnTo>
                  <a:pt x="24529" y="4812903"/>
                </a:lnTo>
                <a:lnTo>
                  <a:pt x="24529" y="4745743"/>
                </a:lnTo>
                <a:lnTo>
                  <a:pt x="20116" y="4713588"/>
                </a:lnTo>
                <a:lnTo>
                  <a:pt x="14055" y="4672200"/>
                </a:lnTo>
                <a:lnTo>
                  <a:pt x="13839" y="4667843"/>
                </a:lnTo>
                <a:lnTo>
                  <a:pt x="12755" y="4659953"/>
                </a:lnTo>
                <a:lnTo>
                  <a:pt x="8498" y="4568191"/>
                </a:lnTo>
                <a:lnTo>
                  <a:pt x="3306" y="4568191"/>
                </a:lnTo>
                <a:lnTo>
                  <a:pt x="3306" y="4483588"/>
                </a:lnTo>
                <a:lnTo>
                  <a:pt x="3306" y="4456355"/>
                </a:lnTo>
                <a:lnTo>
                  <a:pt x="3306" y="4455720"/>
                </a:lnTo>
                <a:lnTo>
                  <a:pt x="821" y="4455720"/>
                </a:lnTo>
                <a:lnTo>
                  <a:pt x="821" y="4087449"/>
                </a:lnTo>
                <a:lnTo>
                  <a:pt x="821" y="4037278"/>
                </a:lnTo>
                <a:lnTo>
                  <a:pt x="821" y="2919746"/>
                </a:lnTo>
                <a:lnTo>
                  <a:pt x="821" y="2385988"/>
                </a:lnTo>
                <a:lnTo>
                  <a:pt x="821" y="2238302"/>
                </a:lnTo>
                <a:lnTo>
                  <a:pt x="3283" y="2238302"/>
                </a:lnTo>
                <a:lnTo>
                  <a:pt x="3283" y="1783799"/>
                </a:lnTo>
                <a:lnTo>
                  <a:pt x="0" y="1783799"/>
                </a:lnTo>
                <a:lnTo>
                  <a:pt x="0" y="1"/>
                </a:lnTo>
                <a:lnTo>
                  <a:pt x="160921" y="1"/>
                </a:lnTo>
                <a:lnTo>
                  <a:pt x="1469342" y="1"/>
                </a:lnTo>
                <a:lnTo>
                  <a:pt x="1630263" y="1"/>
                </a:lnTo>
                <a:lnTo>
                  <a:pt x="2078827" y="1"/>
                </a:lnTo>
                <a:lnTo>
                  <a:pt x="2080053" y="1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1" name="Picture Placeholder 9" descr="A picture containing sky, outdoor, factory, sunset&#10;&#10;Description automatically generated">
            <a:extLst>
              <a:ext uri="{FF2B5EF4-FFF2-40B4-BE49-F238E27FC236}">
                <a16:creationId xmlns:a16="http://schemas.microsoft.com/office/drawing/2014/main" id="{91C8586B-9A6E-2D43-8EEB-154CB6679B7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058202" y="492611"/>
            <a:ext cx="4892675" cy="5751512"/>
          </a:xfrm>
          <a:custGeom>
            <a:avLst/>
            <a:gdLst>
              <a:gd name="connsiteX0" fmla="*/ 0 w 4891380"/>
              <a:gd name="connsiteY0" fmla="*/ 0 h 5751788"/>
              <a:gd name="connsiteX1" fmla="*/ 1471669 w 4891380"/>
              <a:gd name="connsiteY1" fmla="*/ 0 h 5751788"/>
              <a:gd name="connsiteX2" fmla="*/ 1960808 w 4891380"/>
              <a:gd name="connsiteY2" fmla="*/ 0 h 5751788"/>
              <a:gd name="connsiteX3" fmla="*/ 2930558 w 4891380"/>
              <a:gd name="connsiteY3" fmla="*/ 0 h 5751788"/>
              <a:gd name="connsiteX4" fmla="*/ 3419696 w 4891380"/>
              <a:gd name="connsiteY4" fmla="*/ 0 h 5751788"/>
              <a:gd name="connsiteX5" fmla="*/ 3458648 w 4891380"/>
              <a:gd name="connsiteY5" fmla="*/ 0 h 5751788"/>
              <a:gd name="connsiteX6" fmla="*/ 3458648 w 4891380"/>
              <a:gd name="connsiteY6" fmla="*/ 1 h 5751788"/>
              <a:gd name="connsiteX7" fmla="*/ 3488752 w 4891380"/>
              <a:gd name="connsiteY7" fmla="*/ 1 h 5751788"/>
              <a:gd name="connsiteX8" fmla="*/ 3488752 w 4891380"/>
              <a:gd name="connsiteY8" fmla="*/ 3335 h 5751788"/>
              <a:gd name="connsiteX9" fmla="*/ 3559916 w 4891380"/>
              <a:gd name="connsiteY9" fmla="*/ 6728 h 5751788"/>
              <a:gd name="connsiteX10" fmla="*/ 3564234 w 4891380"/>
              <a:gd name="connsiteY10" fmla="*/ 7350 h 5751788"/>
              <a:gd name="connsiteX11" fmla="*/ 3569987 w 4891380"/>
              <a:gd name="connsiteY11" fmla="*/ 7641 h 5751788"/>
              <a:gd name="connsiteX12" fmla="*/ 3823196 w 4891380"/>
              <a:gd name="connsiteY12" fmla="*/ 56454 h 5751788"/>
              <a:gd name="connsiteX13" fmla="*/ 3829154 w 4891380"/>
              <a:gd name="connsiteY13" fmla="*/ 58447 h 5751788"/>
              <a:gd name="connsiteX14" fmla="*/ 3830180 w 4891380"/>
              <a:gd name="connsiteY14" fmla="*/ 58696 h 5751788"/>
              <a:gd name="connsiteX15" fmla="*/ 3840400 w 4891380"/>
              <a:gd name="connsiteY15" fmla="*/ 62213 h 5751788"/>
              <a:gd name="connsiteX16" fmla="*/ 3943517 w 4891380"/>
              <a:gd name="connsiteY16" fmla="*/ 96729 h 5751788"/>
              <a:gd name="connsiteX17" fmla="*/ 3954101 w 4891380"/>
              <a:gd name="connsiteY17" fmla="*/ 101328 h 5751788"/>
              <a:gd name="connsiteX18" fmla="*/ 3958123 w 4891380"/>
              <a:gd name="connsiteY18" fmla="*/ 102713 h 5751788"/>
              <a:gd name="connsiteX19" fmla="*/ 3979869 w 4891380"/>
              <a:gd name="connsiteY19" fmla="*/ 112529 h 5751788"/>
              <a:gd name="connsiteX20" fmla="*/ 4058977 w 4891380"/>
              <a:gd name="connsiteY20" fmla="*/ 146909 h 5751788"/>
              <a:gd name="connsiteX21" fmla="*/ 4073742 w 4891380"/>
              <a:gd name="connsiteY21" fmla="*/ 154899 h 5751788"/>
              <a:gd name="connsiteX22" fmla="*/ 4080462 w 4891380"/>
              <a:gd name="connsiteY22" fmla="*/ 157932 h 5751788"/>
              <a:gd name="connsiteX23" fmla="*/ 4104058 w 4891380"/>
              <a:gd name="connsiteY23" fmla="*/ 171305 h 5751788"/>
              <a:gd name="connsiteX24" fmla="*/ 4169078 w 4891380"/>
              <a:gd name="connsiteY24" fmla="*/ 206492 h 5751788"/>
              <a:gd name="connsiteX25" fmla="*/ 4187505 w 4891380"/>
              <a:gd name="connsiteY25" fmla="*/ 218597 h 5751788"/>
              <a:gd name="connsiteX26" fmla="*/ 4196586 w 4891380"/>
              <a:gd name="connsiteY26" fmla="*/ 223742 h 5751788"/>
              <a:gd name="connsiteX27" fmla="*/ 4219053 w 4891380"/>
              <a:gd name="connsiteY27" fmla="*/ 239321 h 5751788"/>
              <a:gd name="connsiteX28" fmla="*/ 4273318 w 4891380"/>
              <a:gd name="connsiteY28" fmla="*/ 274969 h 5751788"/>
              <a:gd name="connsiteX29" fmla="*/ 4294820 w 4891380"/>
              <a:gd name="connsiteY29" fmla="*/ 291856 h 5751788"/>
              <a:gd name="connsiteX30" fmla="*/ 4305886 w 4891380"/>
              <a:gd name="connsiteY30" fmla="*/ 299528 h 5751788"/>
              <a:gd name="connsiteX31" fmla="*/ 4326035 w 4891380"/>
              <a:gd name="connsiteY31" fmla="*/ 316371 h 5751788"/>
              <a:gd name="connsiteX32" fmla="*/ 4371194 w 4891380"/>
              <a:gd name="connsiteY32" fmla="*/ 351838 h 5751788"/>
              <a:gd name="connsiteX33" fmla="*/ 4395115 w 4891380"/>
              <a:gd name="connsiteY33" fmla="*/ 374115 h 5751788"/>
              <a:gd name="connsiteX34" fmla="*/ 4407752 w 4891380"/>
              <a:gd name="connsiteY34" fmla="*/ 384678 h 5751788"/>
              <a:gd name="connsiteX35" fmla="*/ 4425090 w 4891380"/>
              <a:gd name="connsiteY35" fmla="*/ 402029 h 5751788"/>
              <a:gd name="connsiteX36" fmla="*/ 4462206 w 4891380"/>
              <a:gd name="connsiteY36" fmla="*/ 436592 h 5751788"/>
              <a:gd name="connsiteX37" fmla="*/ 4487824 w 4891380"/>
              <a:gd name="connsiteY37" fmla="*/ 464813 h 5751788"/>
              <a:gd name="connsiteX38" fmla="*/ 4501580 w 4891380"/>
              <a:gd name="connsiteY38" fmla="*/ 478579 h 5751788"/>
              <a:gd name="connsiteX39" fmla="*/ 4515948 w 4891380"/>
              <a:gd name="connsiteY39" fmla="*/ 495792 h 5751788"/>
              <a:gd name="connsiteX40" fmla="*/ 4545848 w 4891380"/>
              <a:gd name="connsiteY40" fmla="*/ 528727 h 5751788"/>
              <a:gd name="connsiteX41" fmla="*/ 4572386 w 4891380"/>
              <a:gd name="connsiteY41" fmla="*/ 563402 h 5751788"/>
              <a:gd name="connsiteX42" fmla="*/ 4586756 w 4891380"/>
              <a:gd name="connsiteY42" fmla="*/ 580617 h 5751788"/>
              <a:gd name="connsiteX43" fmla="*/ 4598192 w 4891380"/>
              <a:gd name="connsiteY43" fmla="*/ 597122 h 5751788"/>
              <a:gd name="connsiteX44" fmla="*/ 4621624 w 4891380"/>
              <a:gd name="connsiteY44" fmla="*/ 627739 h 5751788"/>
              <a:gd name="connsiteX45" fmla="*/ 4648242 w 4891380"/>
              <a:gd name="connsiteY45" fmla="*/ 669353 h 5751788"/>
              <a:gd name="connsiteX46" fmla="*/ 4662670 w 4891380"/>
              <a:gd name="connsiteY46" fmla="*/ 690177 h 5751788"/>
              <a:gd name="connsiteX47" fmla="*/ 4671340 w 4891380"/>
              <a:gd name="connsiteY47" fmla="*/ 705466 h 5751788"/>
              <a:gd name="connsiteX48" fmla="*/ 4689030 w 4891380"/>
              <a:gd name="connsiteY48" fmla="*/ 733120 h 5751788"/>
              <a:gd name="connsiteX49" fmla="*/ 4714840 w 4891380"/>
              <a:gd name="connsiteY49" fmla="*/ 782179 h 5751788"/>
              <a:gd name="connsiteX50" fmla="*/ 4728718 w 4891380"/>
              <a:gd name="connsiteY50" fmla="*/ 806649 h 5751788"/>
              <a:gd name="connsiteX51" fmla="*/ 4734878 w 4891380"/>
              <a:gd name="connsiteY51" fmla="*/ 820262 h 5751788"/>
              <a:gd name="connsiteX52" fmla="*/ 4747562 w 4891380"/>
              <a:gd name="connsiteY52" fmla="*/ 844366 h 5751788"/>
              <a:gd name="connsiteX53" fmla="*/ 4771636 w 4891380"/>
              <a:gd name="connsiteY53" fmla="*/ 901470 h 5751788"/>
              <a:gd name="connsiteX54" fmla="*/ 4784286 w 4891380"/>
              <a:gd name="connsiteY54" fmla="*/ 929419 h 5751788"/>
              <a:gd name="connsiteX55" fmla="*/ 4788276 w 4891380"/>
              <a:gd name="connsiteY55" fmla="*/ 940938 h 5751788"/>
              <a:gd name="connsiteX56" fmla="*/ 4796723 w 4891380"/>
              <a:gd name="connsiteY56" fmla="*/ 960976 h 5751788"/>
              <a:gd name="connsiteX57" fmla="*/ 4818080 w 4891380"/>
              <a:gd name="connsiteY57" fmla="*/ 1027005 h 5751788"/>
              <a:gd name="connsiteX58" fmla="*/ 4828768 w 4891380"/>
              <a:gd name="connsiteY58" fmla="*/ 1057869 h 5751788"/>
              <a:gd name="connsiteX59" fmla="*/ 4830991 w 4891380"/>
              <a:gd name="connsiteY59" fmla="*/ 1066923 h 5751788"/>
              <a:gd name="connsiteX60" fmla="*/ 4836008 w 4891380"/>
              <a:gd name="connsiteY60" fmla="*/ 1082438 h 5751788"/>
              <a:gd name="connsiteX61" fmla="*/ 4853630 w 4891380"/>
              <a:gd name="connsiteY61" fmla="*/ 1159131 h 5751788"/>
              <a:gd name="connsiteX62" fmla="*/ 4861552 w 4891380"/>
              <a:gd name="connsiteY62" fmla="*/ 1191393 h 5751788"/>
              <a:gd name="connsiteX63" fmla="*/ 4862478 w 4891380"/>
              <a:gd name="connsiteY63" fmla="*/ 1197643 h 5751788"/>
              <a:gd name="connsiteX64" fmla="*/ 4864917 w 4891380"/>
              <a:gd name="connsiteY64" fmla="*/ 1208252 h 5751788"/>
              <a:gd name="connsiteX65" fmla="*/ 4877746 w 4891380"/>
              <a:gd name="connsiteY65" fmla="*/ 1300513 h 5751788"/>
              <a:gd name="connsiteX66" fmla="*/ 4882030 w 4891380"/>
              <a:gd name="connsiteY66" fmla="*/ 1329371 h 5751788"/>
              <a:gd name="connsiteX67" fmla="*/ 4882182 w 4891380"/>
              <a:gd name="connsiteY67" fmla="*/ 1332410 h 5751788"/>
              <a:gd name="connsiteX68" fmla="*/ 4882946 w 4891380"/>
              <a:gd name="connsiteY68" fmla="*/ 1337912 h 5751788"/>
              <a:gd name="connsiteX69" fmla="*/ 4885957 w 4891380"/>
              <a:gd name="connsiteY69" fmla="*/ 1401901 h 5751788"/>
              <a:gd name="connsiteX70" fmla="*/ 4889624 w 4891380"/>
              <a:gd name="connsiteY70" fmla="*/ 1401901 h 5751788"/>
              <a:gd name="connsiteX71" fmla="*/ 4889624 w 4891380"/>
              <a:gd name="connsiteY71" fmla="*/ 1460895 h 5751788"/>
              <a:gd name="connsiteX72" fmla="*/ 4889624 w 4891380"/>
              <a:gd name="connsiteY72" fmla="*/ 1479885 h 5751788"/>
              <a:gd name="connsiteX73" fmla="*/ 4889624 w 4891380"/>
              <a:gd name="connsiteY73" fmla="*/ 1480329 h 5751788"/>
              <a:gd name="connsiteX74" fmla="*/ 4891380 w 4891380"/>
              <a:gd name="connsiteY74" fmla="*/ 1480329 h 5751788"/>
              <a:gd name="connsiteX75" fmla="*/ 4891380 w 4891380"/>
              <a:gd name="connsiteY75" fmla="*/ 1630791 h 5751788"/>
              <a:gd name="connsiteX76" fmla="*/ 3458648 w 4891380"/>
              <a:gd name="connsiteY76" fmla="*/ 1630791 h 5751788"/>
              <a:gd name="connsiteX77" fmla="*/ 3458648 w 4891380"/>
              <a:gd name="connsiteY77" fmla="*/ 1630792 h 5751788"/>
              <a:gd name="connsiteX78" fmla="*/ 3488751 w 4891380"/>
              <a:gd name="connsiteY78" fmla="*/ 1630792 h 5751788"/>
              <a:gd name="connsiteX79" fmla="*/ 3488751 w 4891380"/>
              <a:gd name="connsiteY79" fmla="*/ 1634126 h 5751788"/>
              <a:gd name="connsiteX80" fmla="*/ 3559916 w 4891380"/>
              <a:gd name="connsiteY80" fmla="*/ 1637518 h 5751788"/>
              <a:gd name="connsiteX81" fmla="*/ 3564234 w 4891380"/>
              <a:gd name="connsiteY81" fmla="*/ 1638140 h 5751788"/>
              <a:gd name="connsiteX82" fmla="*/ 3569986 w 4891380"/>
              <a:gd name="connsiteY82" fmla="*/ 1638433 h 5751788"/>
              <a:gd name="connsiteX83" fmla="*/ 3823196 w 4891380"/>
              <a:gd name="connsiteY83" fmla="*/ 1687245 h 5751788"/>
              <a:gd name="connsiteX84" fmla="*/ 3829153 w 4891380"/>
              <a:gd name="connsiteY84" fmla="*/ 1689237 h 5751788"/>
              <a:gd name="connsiteX85" fmla="*/ 3830180 w 4891380"/>
              <a:gd name="connsiteY85" fmla="*/ 1689487 h 5751788"/>
              <a:gd name="connsiteX86" fmla="*/ 3840400 w 4891380"/>
              <a:gd name="connsiteY86" fmla="*/ 1693004 h 5751788"/>
              <a:gd name="connsiteX87" fmla="*/ 3943516 w 4891380"/>
              <a:gd name="connsiteY87" fmla="*/ 1727519 h 5751788"/>
              <a:gd name="connsiteX88" fmla="*/ 3954100 w 4891380"/>
              <a:gd name="connsiteY88" fmla="*/ 1732119 h 5751788"/>
              <a:gd name="connsiteX89" fmla="*/ 3958122 w 4891380"/>
              <a:gd name="connsiteY89" fmla="*/ 1733503 h 5751788"/>
              <a:gd name="connsiteX90" fmla="*/ 3979868 w 4891380"/>
              <a:gd name="connsiteY90" fmla="*/ 1743320 h 5751788"/>
              <a:gd name="connsiteX91" fmla="*/ 4058976 w 4891380"/>
              <a:gd name="connsiteY91" fmla="*/ 1777700 h 5751788"/>
              <a:gd name="connsiteX92" fmla="*/ 4073741 w 4891380"/>
              <a:gd name="connsiteY92" fmla="*/ 1785690 h 5751788"/>
              <a:gd name="connsiteX93" fmla="*/ 4080461 w 4891380"/>
              <a:gd name="connsiteY93" fmla="*/ 1788723 h 5751788"/>
              <a:gd name="connsiteX94" fmla="*/ 4104057 w 4891380"/>
              <a:gd name="connsiteY94" fmla="*/ 1802096 h 5751788"/>
              <a:gd name="connsiteX95" fmla="*/ 4169078 w 4891380"/>
              <a:gd name="connsiteY95" fmla="*/ 1837283 h 5751788"/>
              <a:gd name="connsiteX96" fmla="*/ 4187505 w 4891380"/>
              <a:gd name="connsiteY96" fmla="*/ 1849388 h 5751788"/>
              <a:gd name="connsiteX97" fmla="*/ 4196584 w 4891380"/>
              <a:gd name="connsiteY97" fmla="*/ 1854532 h 5751788"/>
              <a:gd name="connsiteX98" fmla="*/ 4219053 w 4891380"/>
              <a:gd name="connsiteY98" fmla="*/ 1870112 h 5751788"/>
              <a:gd name="connsiteX99" fmla="*/ 4273316 w 4891380"/>
              <a:gd name="connsiteY99" fmla="*/ 1905760 h 5751788"/>
              <a:gd name="connsiteX100" fmla="*/ 4294820 w 4891380"/>
              <a:gd name="connsiteY100" fmla="*/ 1922647 h 5751788"/>
              <a:gd name="connsiteX101" fmla="*/ 4305884 w 4891380"/>
              <a:gd name="connsiteY101" fmla="*/ 1930319 h 5751788"/>
              <a:gd name="connsiteX102" fmla="*/ 4326034 w 4891380"/>
              <a:gd name="connsiteY102" fmla="*/ 1947163 h 5751788"/>
              <a:gd name="connsiteX103" fmla="*/ 4371194 w 4891380"/>
              <a:gd name="connsiteY103" fmla="*/ 1982629 h 5751788"/>
              <a:gd name="connsiteX104" fmla="*/ 4395114 w 4891380"/>
              <a:gd name="connsiteY104" fmla="*/ 2004906 h 5751788"/>
              <a:gd name="connsiteX105" fmla="*/ 4407752 w 4891380"/>
              <a:gd name="connsiteY105" fmla="*/ 2015469 h 5751788"/>
              <a:gd name="connsiteX106" fmla="*/ 4425088 w 4891380"/>
              <a:gd name="connsiteY106" fmla="*/ 2032820 h 5751788"/>
              <a:gd name="connsiteX107" fmla="*/ 4462204 w 4891380"/>
              <a:gd name="connsiteY107" fmla="*/ 2067383 h 5751788"/>
              <a:gd name="connsiteX108" fmla="*/ 4487823 w 4891380"/>
              <a:gd name="connsiteY108" fmla="*/ 2095602 h 5751788"/>
              <a:gd name="connsiteX109" fmla="*/ 4501580 w 4891380"/>
              <a:gd name="connsiteY109" fmla="*/ 2109370 h 5751788"/>
              <a:gd name="connsiteX110" fmla="*/ 4515948 w 4891380"/>
              <a:gd name="connsiteY110" fmla="*/ 2126583 h 5751788"/>
              <a:gd name="connsiteX111" fmla="*/ 4545846 w 4891380"/>
              <a:gd name="connsiteY111" fmla="*/ 2159517 h 5751788"/>
              <a:gd name="connsiteX112" fmla="*/ 4572383 w 4891380"/>
              <a:gd name="connsiteY112" fmla="*/ 2194191 h 5751788"/>
              <a:gd name="connsiteX113" fmla="*/ 4586756 w 4891380"/>
              <a:gd name="connsiteY113" fmla="*/ 2211408 h 5751788"/>
              <a:gd name="connsiteX114" fmla="*/ 4598190 w 4891380"/>
              <a:gd name="connsiteY114" fmla="*/ 2227912 h 5751788"/>
              <a:gd name="connsiteX115" fmla="*/ 4621623 w 4891380"/>
              <a:gd name="connsiteY115" fmla="*/ 2258530 h 5751788"/>
              <a:gd name="connsiteX116" fmla="*/ 4648242 w 4891380"/>
              <a:gd name="connsiteY116" fmla="*/ 2300144 h 5751788"/>
              <a:gd name="connsiteX117" fmla="*/ 4662670 w 4891380"/>
              <a:gd name="connsiteY117" fmla="*/ 2320968 h 5751788"/>
              <a:gd name="connsiteX118" fmla="*/ 4671340 w 4891380"/>
              <a:gd name="connsiteY118" fmla="*/ 2336257 h 5751788"/>
              <a:gd name="connsiteX119" fmla="*/ 4689028 w 4891380"/>
              <a:gd name="connsiteY119" fmla="*/ 2363911 h 5751788"/>
              <a:gd name="connsiteX120" fmla="*/ 4714840 w 4891380"/>
              <a:gd name="connsiteY120" fmla="*/ 2412970 h 5751788"/>
              <a:gd name="connsiteX121" fmla="*/ 4728716 w 4891380"/>
              <a:gd name="connsiteY121" fmla="*/ 2437439 h 5751788"/>
              <a:gd name="connsiteX122" fmla="*/ 4734877 w 4891380"/>
              <a:gd name="connsiteY122" fmla="*/ 2451053 h 5751788"/>
              <a:gd name="connsiteX123" fmla="*/ 4747562 w 4891380"/>
              <a:gd name="connsiteY123" fmla="*/ 2475157 h 5751788"/>
              <a:gd name="connsiteX124" fmla="*/ 4771636 w 4891380"/>
              <a:gd name="connsiteY124" fmla="*/ 2532261 h 5751788"/>
              <a:gd name="connsiteX125" fmla="*/ 4784286 w 4891380"/>
              <a:gd name="connsiteY125" fmla="*/ 2560208 h 5751788"/>
              <a:gd name="connsiteX126" fmla="*/ 4788274 w 4891380"/>
              <a:gd name="connsiteY126" fmla="*/ 2571729 h 5751788"/>
              <a:gd name="connsiteX127" fmla="*/ 4796723 w 4891380"/>
              <a:gd name="connsiteY127" fmla="*/ 2591766 h 5751788"/>
              <a:gd name="connsiteX128" fmla="*/ 4818078 w 4891380"/>
              <a:gd name="connsiteY128" fmla="*/ 2657796 h 5751788"/>
              <a:gd name="connsiteX129" fmla="*/ 4828766 w 4891380"/>
              <a:gd name="connsiteY129" fmla="*/ 2688660 h 5751788"/>
              <a:gd name="connsiteX130" fmla="*/ 4830988 w 4891380"/>
              <a:gd name="connsiteY130" fmla="*/ 2697714 h 5751788"/>
              <a:gd name="connsiteX131" fmla="*/ 4836008 w 4891380"/>
              <a:gd name="connsiteY131" fmla="*/ 2713229 h 5751788"/>
              <a:gd name="connsiteX132" fmla="*/ 4853629 w 4891380"/>
              <a:gd name="connsiteY132" fmla="*/ 2789921 h 5751788"/>
              <a:gd name="connsiteX133" fmla="*/ 4861550 w 4891380"/>
              <a:gd name="connsiteY133" fmla="*/ 2822183 h 5751788"/>
              <a:gd name="connsiteX134" fmla="*/ 4862477 w 4891380"/>
              <a:gd name="connsiteY134" fmla="*/ 2828433 h 5751788"/>
              <a:gd name="connsiteX135" fmla="*/ 4864917 w 4891380"/>
              <a:gd name="connsiteY135" fmla="*/ 2839043 h 5751788"/>
              <a:gd name="connsiteX136" fmla="*/ 4877746 w 4891380"/>
              <a:gd name="connsiteY136" fmla="*/ 2931303 h 5751788"/>
              <a:gd name="connsiteX137" fmla="*/ 4882029 w 4891380"/>
              <a:gd name="connsiteY137" fmla="*/ 2960161 h 5751788"/>
              <a:gd name="connsiteX138" fmla="*/ 4882180 w 4891380"/>
              <a:gd name="connsiteY138" fmla="*/ 2963200 h 5751788"/>
              <a:gd name="connsiteX139" fmla="*/ 4882946 w 4891380"/>
              <a:gd name="connsiteY139" fmla="*/ 2968703 h 5751788"/>
              <a:gd name="connsiteX140" fmla="*/ 4885956 w 4891380"/>
              <a:gd name="connsiteY140" fmla="*/ 3032692 h 5751788"/>
              <a:gd name="connsiteX141" fmla="*/ 4889624 w 4891380"/>
              <a:gd name="connsiteY141" fmla="*/ 3032692 h 5751788"/>
              <a:gd name="connsiteX142" fmla="*/ 4889624 w 4891380"/>
              <a:gd name="connsiteY142" fmla="*/ 3091686 h 5751788"/>
              <a:gd name="connsiteX143" fmla="*/ 4889624 w 4891380"/>
              <a:gd name="connsiteY143" fmla="*/ 3110675 h 5751788"/>
              <a:gd name="connsiteX144" fmla="*/ 4889624 w 4891380"/>
              <a:gd name="connsiteY144" fmla="*/ 3111118 h 5751788"/>
              <a:gd name="connsiteX145" fmla="*/ 4891379 w 4891380"/>
              <a:gd name="connsiteY145" fmla="*/ 3111118 h 5751788"/>
              <a:gd name="connsiteX146" fmla="*/ 4891379 w 4891380"/>
              <a:gd name="connsiteY146" fmla="*/ 3394564 h 5751788"/>
              <a:gd name="connsiteX147" fmla="*/ 4891379 w 4891380"/>
              <a:gd name="connsiteY147" fmla="*/ 3988016 h 5751788"/>
              <a:gd name="connsiteX148" fmla="*/ 4891379 w 4891380"/>
              <a:gd name="connsiteY148" fmla="*/ 4271461 h 5751788"/>
              <a:gd name="connsiteX149" fmla="*/ 4891379 w 4891380"/>
              <a:gd name="connsiteY149" fmla="*/ 4349890 h 5751788"/>
              <a:gd name="connsiteX150" fmla="*/ 4889640 w 4891380"/>
              <a:gd name="connsiteY150" fmla="*/ 4349890 h 5751788"/>
              <a:gd name="connsiteX151" fmla="*/ 4889640 w 4891380"/>
              <a:gd name="connsiteY151" fmla="*/ 5751787 h 5751788"/>
              <a:gd name="connsiteX152" fmla="*/ 4400501 w 4891380"/>
              <a:gd name="connsiteY152" fmla="*/ 5751787 h 5751788"/>
              <a:gd name="connsiteX153" fmla="*/ 3430753 w 4891380"/>
              <a:gd name="connsiteY153" fmla="*/ 5751787 h 5751788"/>
              <a:gd name="connsiteX154" fmla="*/ 3420593 w 4891380"/>
              <a:gd name="connsiteY154" fmla="*/ 5751787 h 5751788"/>
              <a:gd name="connsiteX155" fmla="*/ 3419727 w 4891380"/>
              <a:gd name="connsiteY155" fmla="*/ 5751787 h 5751788"/>
              <a:gd name="connsiteX156" fmla="*/ 3419712 w 4891380"/>
              <a:gd name="connsiteY156" fmla="*/ 5751788 h 5751788"/>
              <a:gd name="connsiteX157" fmla="*/ 3419699 w 4891380"/>
              <a:gd name="connsiteY157" fmla="*/ 5751787 h 5751788"/>
              <a:gd name="connsiteX158" fmla="*/ 3350656 w 4891380"/>
              <a:gd name="connsiteY158" fmla="*/ 5751787 h 5751788"/>
              <a:gd name="connsiteX159" fmla="*/ 2941613 w 4891380"/>
              <a:gd name="connsiteY159" fmla="*/ 5751787 h 5751788"/>
              <a:gd name="connsiteX160" fmla="*/ 2931453 w 4891380"/>
              <a:gd name="connsiteY160" fmla="*/ 5751787 h 5751788"/>
              <a:gd name="connsiteX161" fmla="*/ 2930587 w 4891380"/>
              <a:gd name="connsiteY161" fmla="*/ 5751787 h 5751788"/>
              <a:gd name="connsiteX162" fmla="*/ 2930574 w 4891380"/>
              <a:gd name="connsiteY162" fmla="*/ 5751788 h 5751788"/>
              <a:gd name="connsiteX163" fmla="*/ 2930558 w 4891380"/>
              <a:gd name="connsiteY163" fmla="*/ 5751787 h 5751788"/>
              <a:gd name="connsiteX164" fmla="*/ 2861517 w 4891380"/>
              <a:gd name="connsiteY164" fmla="*/ 5751787 h 5751788"/>
              <a:gd name="connsiteX165" fmla="*/ 1961706 w 4891380"/>
              <a:gd name="connsiteY165" fmla="*/ 5751787 h 5751788"/>
              <a:gd name="connsiteX166" fmla="*/ 1960839 w 4891380"/>
              <a:gd name="connsiteY166" fmla="*/ 5751787 h 5751788"/>
              <a:gd name="connsiteX167" fmla="*/ 1960824 w 4891380"/>
              <a:gd name="connsiteY167" fmla="*/ 5751788 h 5751788"/>
              <a:gd name="connsiteX168" fmla="*/ 1960810 w 4891380"/>
              <a:gd name="connsiteY168" fmla="*/ 5751787 h 5751788"/>
              <a:gd name="connsiteX169" fmla="*/ 1891768 w 4891380"/>
              <a:gd name="connsiteY169" fmla="*/ 5751787 h 5751788"/>
              <a:gd name="connsiteX170" fmla="*/ 1472566 w 4891380"/>
              <a:gd name="connsiteY170" fmla="*/ 5751787 h 5751788"/>
              <a:gd name="connsiteX171" fmla="*/ 1471699 w 4891380"/>
              <a:gd name="connsiteY171" fmla="*/ 5751787 h 5751788"/>
              <a:gd name="connsiteX172" fmla="*/ 1471686 w 4891380"/>
              <a:gd name="connsiteY172" fmla="*/ 5751788 h 5751788"/>
              <a:gd name="connsiteX173" fmla="*/ 1471671 w 4891380"/>
              <a:gd name="connsiteY173" fmla="*/ 5751787 h 5751788"/>
              <a:gd name="connsiteX174" fmla="*/ 1402630 w 4891380"/>
              <a:gd name="connsiteY174" fmla="*/ 5751787 h 5751788"/>
              <a:gd name="connsiteX175" fmla="*/ 1402630 w 4891380"/>
              <a:gd name="connsiteY175" fmla="*/ 5748454 h 5751788"/>
              <a:gd name="connsiteX176" fmla="*/ 1331464 w 4891380"/>
              <a:gd name="connsiteY176" fmla="*/ 5745061 h 5751788"/>
              <a:gd name="connsiteX177" fmla="*/ 1327146 w 4891380"/>
              <a:gd name="connsiteY177" fmla="*/ 5744440 h 5751788"/>
              <a:gd name="connsiteX178" fmla="*/ 1321394 w 4891380"/>
              <a:gd name="connsiteY178" fmla="*/ 5744149 h 5751788"/>
              <a:gd name="connsiteX179" fmla="*/ 1068185 w 4891380"/>
              <a:gd name="connsiteY179" fmla="*/ 5695337 h 5751788"/>
              <a:gd name="connsiteX180" fmla="*/ 1062227 w 4891380"/>
              <a:gd name="connsiteY180" fmla="*/ 5693342 h 5751788"/>
              <a:gd name="connsiteX181" fmla="*/ 1061200 w 4891380"/>
              <a:gd name="connsiteY181" fmla="*/ 5693093 h 5751788"/>
              <a:gd name="connsiteX182" fmla="*/ 1050981 w 4891380"/>
              <a:gd name="connsiteY182" fmla="*/ 5689577 h 5751788"/>
              <a:gd name="connsiteX183" fmla="*/ 947864 w 4891380"/>
              <a:gd name="connsiteY183" fmla="*/ 5655061 h 5751788"/>
              <a:gd name="connsiteX184" fmla="*/ 937281 w 4891380"/>
              <a:gd name="connsiteY184" fmla="*/ 5650461 h 5751788"/>
              <a:gd name="connsiteX185" fmla="*/ 933258 w 4891380"/>
              <a:gd name="connsiteY185" fmla="*/ 5649077 h 5751788"/>
              <a:gd name="connsiteX186" fmla="*/ 911512 w 4891380"/>
              <a:gd name="connsiteY186" fmla="*/ 5639261 h 5751788"/>
              <a:gd name="connsiteX187" fmla="*/ 832403 w 4891380"/>
              <a:gd name="connsiteY187" fmla="*/ 5604881 h 5751788"/>
              <a:gd name="connsiteX188" fmla="*/ 817638 w 4891380"/>
              <a:gd name="connsiteY188" fmla="*/ 5596891 h 5751788"/>
              <a:gd name="connsiteX189" fmla="*/ 810920 w 4891380"/>
              <a:gd name="connsiteY189" fmla="*/ 5593857 h 5751788"/>
              <a:gd name="connsiteX190" fmla="*/ 787324 w 4891380"/>
              <a:gd name="connsiteY190" fmla="*/ 5580484 h 5751788"/>
              <a:gd name="connsiteX191" fmla="*/ 722302 w 4891380"/>
              <a:gd name="connsiteY191" fmla="*/ 5545298 h 5751788"/>
              <a:gd name="connsiteX192" fmla="*/ 703875 w 4891380"/>
              <a:gd name="connsiteY192" fmla="*/ 5533192 h 5751788"/>
              <a:gd name="connsiteX193" fmla="*/ 694796 w 4891380"/>
              <a:gd name="connsiteY193" fmla="*/ 5528048 h 5751788"/>
              <a:gd name="connsiteX194" fmla="*/ 672327 w 4891380"/>
              <a:gd name="connsiteY194" fmla="*/ 5512468 h 5751788"/>
              <a:gd name="connsiteX195" fmla="*/ 618064 w 4891380"/>
              <a:gd name="connsiteY195" fmla="*/ 5476820 h 5751788"/>
              <a:gd name="connsiteX196" fmla="*/ 596562 w 4891380"/>
              <a:gd name="connsiteY196" fmla="*/ 5459933 h 5751788"/>
              <a:gd name="connsiteX197" fmla="*/ 585496 w 4891380"/>
              <a:gd name="connsiteY197" fmla="*/ 5452261 h 5751788"/>
              <a:gd name="connsiteX198" fmla="*/ 565345 w 4891380"/>
              <a:gd name="connsiteY198" fmla="*/ 5435418 h 5751788"/>
              <a:gd name="connsiteX199" fmla="*/ 520187 w 4891380"/>
              <a:gd name="connsiteY199" fmla="*/ 5399950 h 5751788"/>
              <a:gd name="connsiteX200" fmla="*/ 496267 w 4891380"/>
              <a:gd name="connsiteY200" fmla="*/ 5377676 h 5751788"/>
              <a:gd name="connsiteX201" fmla="*/ 483628 w 4891380"/>
              <a:gd name="connsiteY201" fmla="*/ 5367110 h 5751788"/>
              <a:gd name="connsiteX202" fmla="*/ 466291 w 4891380"/>
              <a:gd name="connsiteY202" fmla="*/ 5349761 h 5751788"/>
              <a:gd name="connsiteX203" fmla="*/ 429176 w 4891380"/>
              <a:gd name="connsiteY203" fmla="*/ 5315197 h 5751788"/>
              <a:gd name="connsiteX204" fmla="*/ 403557 w 4891380"/>
              <a:gd name="connsiteY204" fmla="*/ 5286978 h 5751788"/>
              <a:gd name="connsiteX205" fmla="*/ 389801 w 4891380"/>
              <a:gd name="connsiteY205" fmla="*/ 5273210 h 5751788"/>
              <a:gd name="connsiteX206" fmla="*/ 375432 w 4891380"/>
              <a:gd name="connsiteY206" fmla="*/ 5255998 h 5751788"/>
              <a:gd name="connsiteX207" fmla="*/ 345533 w 4891380"/>
              <a:gd name="connsiteY207" fmla="*/ 5223062 h 5751788"/>
              <a:gd name="connsiteX208" fmla="*/ 318997 w 4891380"/>
              <a:gd name="connsiteY208" fmla="*/ 5188388 h 5751788"/>
              <a:gd name="connsiteX209" fmla="*/ 304626 w 4891380"/>
              <a:gd name="connsiteY209" fmla="*/ 5171174 h 5751788"/>
              <a:gd name="connsiteX210" fmla="*/ 293189 w 4891380"/>
              <a:gd name="connsiteY210" fmla="*/ 5154668 h 5751788"/>
              <a:gd name="connsiteX211" fmla="*/ 269757 w 4891380"/>
              <a:gd name="connsiteY211" fmla="*/ 5124051 h 5751788"/>
              <a:gd name="connsiteX212" fmla="*/ 243139 w 4891380"/>
              <a:gd name="connsiteY212" fmla="*/ 5082435 h 5751788"/>
              <a:gd name="connsiteX213" fmla="*/ 228710 w 4891380"/>
              <a:gd name="connsiteY213" fmla="*/ 5061612 h 5751788"/>
              <a:gd name="connsiteX214" fmla="*/ 220040 w 4891380"/>
              <a:gd name="connsiteY214" fmla="*/ 5046323 h 5751788"/>
              <a:gd name="connsiteX215" fmla="*/ 202353 w 4891380"/>
              <a:gd name="connsiteY215" fmla="*/ 5018669 h 5751788"/>
              <a:gd name="connsiteX216" fmla="*/ 176540 w 4891380"/>
              <a:gd name="connsiteY216" fmla="*/ 4969611 h 5751788"/>
              <a:gd name="connsiteX217" fmla="*/ 162664 w 4891380"/>
              <a:gd name="connsiteY217" fmla="*/ 4945140 h 5751788"/>
              <a:gd name="connsiteX218" fmla="*/ 156502 w 4891380"/>
              <a:gd name="connsiteY218" fmla="*/ 4931527 h 5751788"/>
              <a:gd name="connsiteX219" fmla="*/ 143819 w 4891380"/>
              <a:gd name="connsiteY219" fmla="*/ 4907422 h 5751788"/>
              <a:gd name="connsiteX220" fmla="*/ 119746 w 4891380"/>
              <a:gd name="connsiteY220" fmla="*/ 4850319 h 5751788"/>
              <a:gd name="connsiteX221" fmla="*/ 107095 w 4891380"/>
              <a:gd name="connsiteY221" fmla="*/ 4822372 h 5751788"/>
              <a:gd name="connsiteX222" fmla="*/ 103107 w 4891380"/>
              <a:gd name="connsiteY222" fmla="*/ 4810852 h 5751788"/>
              <a:gd name="connsiteX223" fmla="*/ 94658 w 4891380"/>
              <a:gd name="connsiteY223" fmla="*/ 4790814 h 5751788"/>
              <a:gd name="connsiteX224" fmla="*/ 73303 w 4891380"/>
              <a:gd name="connsiteY224" fmla="*/ 4724785 h 5751788"/>
              <a:gd name="connsiteX225" fmla="*/ 62615 w 4891380"/>
              <a:gd name="connsiteY225" fmla="*/ 4693921 h 5751788"/>
              <a:gd name="connsiteX226" fmla="*/ 60392 w 4891380"/>
              <a:gd name="connsiteY226" fmla="*/ 4684865 h 5751788"/>
              <a:gd name="connsiteX227" fmla="*/ 55373 w 4891380"/>
              <a:gd name="connsiteY227" fmla="*/ 4669350 h 5751788"/>
              <a:gd name="connsiteX228" fmla="*/ 37752 w 4891380"/>
              <a:gd name="connsiteY228" fmla="*/ 4592660 h 5751788"/>
              <a:gd name="connsiteX229" fmla="*/ 29830 w 4891380"/>
              <a:gd name="connsiteY229" fmla="*/ 4560396 h 5751788"/>
              <a:gd name="connsiteX230" fmla="*/ 28902 w 4891380"/>
              <a:gd name="connsiteY230" fmla="*/ 4554148 h 5751788"/>
              <a:gd name="connsiteX231" fmla="*/ 26465 w 4891380"/>
              <a:gd name="connsiteY231" fmla="*/ 4543536 h 5751788"/>
              <a:gd name="connsiteX232" fmla="*/ 13636 w 4891380"/>
              <a:gd name="connsiteY232" fmla="*/ 4451278 h 5751788"/>
              <a:gd name="connsiteX233" fmla="*/ 9352 w 4891380"/>
              <a:gd name="connsiteY233" fmla="*/ 4422418 h 5751788"/>
              <a:gd name="connsiteX234" fmla="*/ 9200 w 4891380"/>
              <a:gd name="connsiteY234" fmla="*/ 4419380 h 5751788"/>
              <a:gd name="connsiteX235" fmla="*/ 8434 w 4891380"/>
              <a:gd name="connsiteY235" fmla="*/ 4413877 h 5751788"/>
              <a:gd name="connsiteX236" fmla="*/ 5426 w 4891380"/>
              <a:gd name="connsiteY236" fmla="*/ 4349890 h 5751788"/>
              <a:gd name="connsiteX237" fmla="*/ 1757 w 4891380"/>
              <a:gd name="connsiteY237" fmla="*/ 4349890 h 5751788"/>
              <a:gd name="connsiteX238" fmla="*/ 1757 w 4891380"/>
              <a:gd name="connsiteY238" fmla="*/ 4290894 h 5751788"/>
              <a:gd name="connsiteX239" fmla="*/ 1757 w 4891380"/>
              <a:gd name="connsiteY239" fmla="*/ 4271904 h 5751788"/>
              <a:gd name="connsiteX240" fmla="*/ 1757 w 4891380"/>
              <a:gd name="connsiteY240" fmla="*/ 4271461 h 5751788"/>
              <a:gd name="connsiteX241" fmla="*/ 0 w 4891380"/>
              <a:gd name="connsiteY241" fmla="*/ 4271461 h 5751788"/>
              <a:gd name="connsiteX242" fmla="*/ 0 w 4891380"/>
              <a:gd name="connsiteY242" fmla="*/ 3988016 h 5751788"/>
              <a:gd name="connsiteX243" fmla="*/ 0 w 4891380"/>
              <a:gd name="connsiteY243" fmla="*/ 3394564 h 5751788"/>
              <a:gd name="connsiteX244" fmla="*/ 0 w 4891380"/>
              <a:gd name="connsiteY244" fmla="*/ 3111118 h 5751788"/>
              <a:gd name="connsiteX245" fmla="*/ 0 w 4891380"/>
              <a:gd name="connsiteY245" fmla="*/ 3032692 h 5751788"/>
              <a:gd name="connsiteX246" fmla="*/ 1740 w 4891380"/>
              <a:gd name="connsiteY246" fmla="*/ 3032692 h 5751788"/>
              <a:gd name="connsiteX247" fmla="*/ 1740 w 4891380"/>
              <a:gd name="connsiteY247" fmla="*/ 3022121 h 5751788"/>
              <a:gd name="connsiteX248" fmla="*/ 0 w 4891380"/>
              <a:gd name="connsiteY248" fmla="*/ 3022121 h 575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4891380" h="5751788">
                <a:moveTo>
                  <a:pt x="0" y="0"/>
                </a:moveTo>
                <a:lnTo>
                  <a:pt x="1471669" y="0"/>
                </a:lnTo>
                <a:lnTo>
                  <a:pt x="1960808" y="0"/>
                </a:lnTo>
                <a:lnTo>
                  <a:pt x="2930558" y="0"/>
                </a:lnTo>
                <a:lnTo>
                  <a:pt x="3419696" y="0"/>
                </a:lnTo>
                <a:lnTo>
                  <a:pt x="3458648" y="0"/>
                </a:lnTo>
                <a:lnTo>
                  <a:pt x="3458648" y="1"/>
                </a:lnTo>
                <a:lnTo>
                  <a:pt x="3488752" y="1"/>
                </a:lnTo>
                <a:lnTo>
                  <a:pt x="3488752" y="3335"/>
                </a:lnTo>
                <a:lnTo>
                  <a:pt x="3559916" y="6728"/>
                </a:lnTo>
                <a:lnTo>
                  <a:pt x="3564234" y="7350"/>
                </a:lnTo>
                <a:lnTo>
                  <a:pt x="3569987" y="7641"/>
                </a:lnTo>
                <a:cubicBezTo>
                  <a:pt x="3656849" y="16522"/>
                  <a:pt x="3741475" y="33018"/>
                  <a:pt x="3823196" y="56454"/>
                </a:cubicBezTo>
                <a:lnTo>
                  <a:pt x="3829154" y="58447"/>
                </a:lnTo>
                <a:lnTo>
                  <a:pt x="3830180" y="58696"/>
                </a:lnTo>
                <a:lnTo>
                  <a:pt x="3840400" y="62213"/>
                </a:lnTo>
                <a:lnTo>
                  <a:pt x="3943517" y="96729"/>
                </a:lnTo>
                <a:lnTo>
                  <a:pt x="3954101" y="101328"/>
                </a:lnTo>
                <a:lnTo>
                  <a:pt x="3958123" y="102713"/>
                </a:lnTo>
                <a:lnTo>
                  <a:pt x="3979869" y="112529"/>
                </a:lnTo>
                <a:lnTo>
                  <a:pt x="4058977" y="146909"/>
                </a:lnTo>
                <a:lnTo>
                  <a:pt x="4073742" y="154899"/>
                </a:lnTo>
                <a:lnTo>
                  <a:pt x="4080462" y="157932"/>
                </a:lnTo>
                <a:lnTo>
                  <a:pt x="4104058" y="171305"/>
                </a:lnTo>
                <a:lnTo>
                  <a:pt x="4169078" y="206492"/>
                </a:lnTo>
                <a:lnTo>
                  <a:pt x="4187505" y="218597"/>
                </a:lnTo>
                <a:lnTo>
                  <a:pt x="4196586" y="223742"/>
                </a:lnTo>
                <a:lnTo>
                  <a:pt x="4219053" y="239321"/>
                </a:lnTo>
                <a:lnTo>
                  <a:pt x="4273318" y="274969"/>
                </a:lnTo>
                <a:lnTo>
                  <a:pt x="4294820" y="291856"/>
                </a:lnTo>
                <a:lnTo>
                  <a:pt x="4305886" y="299528"/>
                </a:lnTo>
                <a:lnTo>
                  <a:pt x="4326035" y="316371"/>
                </a:lnTo>
                <a:lnTo>
                  <a:pt x="4371194" y="351838"/>
                </a:lnTo>
                <a:lnTo>
                  <a:pt x="4395115" y="374115"/>
                </a:lnTo>
                <a:lnTo>
                  <a:pt x="4407752" y="384678"/>
                </a:lnTo>
                <a:lnTo>
                  <a:pt x="4425090" y="402029"/>
                </a:lnTo>
                <a:lnTo>
                  <a:pt x="4462206" y="436592"/>
                </a:lnTo>
                <a:lnTo>
                  <a:pt x="4487824" y="464813"/>
                </a:lnTo>
                <a:lnTo>
                  <a:pt x="4501580" y="478579"/>
                </a:lnTo>
                <a:lnTo>
                  <a:pt x="4515948" y="495792"/>
                </a:lnTo>
                <a:lnTo>
                  <a:pt x="4545848" y="528727"/>
                </a:lnTo>
                <a:lnTo>
                  <a:pt x="4572386" y="563402"/>
                </a:lnTo>
                <a:lnTo>
                  <a:pt x="4586756" y="580617"/>
                </a:lnTo>
                <a:lnTo>
                  <a:pt x="4598192" y="597122"/>
                </a:lnTo>
                <a:lnTo>
                  <a:pt x="4621624" y="627739"/>
                </a:lnTo>
                <a:lnTo>
                  <a:pt x="4648242" y="669353"/>
                </a:lnTo>
                <a:lnTo>
                  <a:pt x="4662670" y="690177"/>
                </a:lnTo>
                <a:lnTo>
                  <a:pt x="4671340" y="705466"/>
                </a:lnTo>
                <a:lnTo>
                  <a:pt x="4689030" y="733120"/>
                </a:lnTo>
                <a:lnTo>
                  <a:pt x="4714840" y="782179"/>
                </a:lnTo>
                <a:lnTo>
                  <a:pt x="4728718" y="806649"/>
                </a:lnTo>
                <a:lnTo>
                  <a:pt x="4734878" y="820262"/>
                </a:lnTo>
                <a:lnTo>
                  <a:pt x="4747562" y="844366"/>
                </a:lnTo>
                <a:lnTo>
                  <a:pt x="4771636" y="901470"/>
                </a:lnTo>
                <a:lnTo>
                  <a:pt x="4784286" y="929419"/>
                </a:lnTo>
                <a:lnTo>
                  <a:pt x="4788276" y="940938"/>
                </a:lnTo>
                <a:lnTo>
                  <a:pt x="4796723" y="960976"/>
                </a:lnTo>
                <a:lnTo>
                  <a:pt x="4818080" y="1027005"/>
                </a:lnTo>
                <a:lnTo>
                  <a:pt x="4828768" y="1057869"/>
                </a:lnTo>
                <a:lnTo>
                  <a:pt x="4830991" y="1066923"/>
                </a:lnTo>
                <a:lnTo>
                  <a:pt x="4836008" y="1082438"/>
                </a:lnTo>
                <a:lnTo>
                  <a:pt x="4853630" y="1159131"/>
                </a:lnTo>
                <a:lnTo>
                  <a:pt x="4861552" y="1191393"/>
                </a:lnTo>
                <a:lnTo>
                  <a:pt x="4862478" y="1197643"/>
                </a:lnTo>
                <a:lnTo>
                  <a:pt x="4864917" y="1208252"/>
                </a:lnTo>
                <a:lnTo>
                  <a:pt x="4877746" y="1300513"/>
                </a:lnTo>
                <a:lnTo>
                  <a:pt x="4882030" y="1329371"/>
                </a:lnTo>
                <a:lnTo>
                  <a:pt x="4882182" y="1332410"/>
                </a:lnTo>
                <a:lnTo>
                  <a:pt x="4882946" y="1337912"/>
                </a:lnTo>
                <a:lnTo>
                  <a:pt x="4885957" y="1401901"/>
                </a:lnTo>
                <a:lnTo>
                  <a:pt x="4889624" y="1401901"/>
                </a:lnTo>
                <a:lnTo>
                  <a:pt x="4889624" y="1460895"/>
                </a:lnTo>
                <a:lnTo>
                  <a:pt x="4889624" y="1479885"/>
                </a:lnTo>
                <a:lnTo>
                  <a:pt x="4889624" y="1480329"/>
                </a:lnTo>
                <a:lnTo>
                  <a:pt x="4891380" y="1480329"/>
                </a:lnTo>
                <a:lnTo>
                  <a:pt x="4891380" y="1630791"/>
                </a:lnTo>
                <a:lnTo>
                  <a:pt x="3458648" y="1630791"/>
                </a:lnTo>
                <a:lnTo>
                  <a:pt x="3458648" y="1630792"/>
                </a:lnTo>
                <a:lnTo>
                  <a:pt x="3488751" y="1630792"/>
                </a:lnTo>
                <a:lnTo>
                  <a:pt x="3488751" y="1634126"/>
                </a:lnTo>
                <a:lnTo>
                  <a:pt x="3559916" y="1637518"/>
                </a:lnTo>
                <a:lnTo>
                  <a:pt x="3564234" y="1638140"/>
                </a:lnTo>
                <a:lnTo>
                  <a:pt x="3569986" y="1638433"/>
                </a:lnTo>
                <a:cubicBezTo>
                  <a:pt x="3656848" y="1647313"/>
                  <a:pt x="3741475" y="1663807"/>
                  <a:pt x="3823196" y="1687245"/>
                </a:cubicBezTo>
                <a:lnTo>
                  <a:pt x="3829153" y="1689237"/>
                </a:lnTo>
                <a:lnTo>
                  <a:pt x="3830180" y="1689487"/>
                </a:lnTo>
                <a:lnTo>
                  <a:pt x="3840400" y="1693004"/>
                </a:lnTo>
                <a:lnTo>
                  <a:pt x="3943516" y="1727519"/>
                </a:lnTo>
                <a:lnTo>
                  <a:pt x="3954100" y="1732119"/>
                </a:lnTo>
                <a:lnTo>
                  <a:pt x="3958122" y="1733503"/>
                </a:lnTo>
                <a:lnTo>
                  <a:pt x="3979868" y="1743320"/>
                </a:lnTo>
                <a:lnTo>
                  <a:pt x="4058976" y="1777700"/>
                </a:lnTo>
                <a:lnTo>
                  <a:pt x="4073741" y="1785690"/>
                </a:lnTo>
                <a:lnTo>
                  <a:pt x="4080461" y="1788723"/>
                </a:lnTo>
                <a:lnTo>
                  <a:pt x="4104057" y="1802096"/>
                </a:lnTo>
                <a:lnTo>
                  <a:pt x="4169078" y="1837283"/>
                </a:lnTo>
                <a:lnTo>
                  <a:pt x="4187505" y="1849388"/>
                </a:lnTo>
                <a:lnTo>
                  <a:pt x="4196584" y="1854532"/>
                </a:lnTo>
                <a:lnTo>
                  <a:pt x="4219053" y="1870112"/>
                </a:lnTo>
                <a:lnTo>
                  <a:pt x="4273316" y="1905760"/>
                </a:lnTo>
                <a:lnTo>
                  <a:pt x="4294820" y="1922647"/>
                </a:lnTo>
                <a:lnTo>
                  <a:pt x="4305884" y="1930319"/>
                </a:lnTo>
                <a:lnTo>
                  <a:pt x="4326034" y="1947163"/>
                </a:lnTo>
                <a:lnTo>
                  <a:pt x="4371194" y="1982629"/>
                </a:lnTo>
                <a:lnTo>
                  <a:pt x="4395114" y="2004906"/>
                </a:lnTo>
                <a:lnTo>
                  <a:pt x="4407752" y="2015469"/>
                </a:lnTo>
                <a:lnTo>
                  <a:pt x="4425088" y="2032820"/>
                </a:lnTo>
                <a:lnTo>
                  <a:pt x="4462204" y="2067383"/>
                </a:lnTo>
                <a:lnTo>
                  <a:pt x="4487823" y="2095602"/>
                </a:lnTo>
                <a:lnTo>
                  <a:pt x="4501580" y="2109370"/>
                </a:lnTo>
                <a:lnTo>
                  <a:pt x="4515948" y="2126583"/>
                </a:lnTo>
                <a:lnTo>
                  <a:pt x="4545846" y="2159517"/>
                </a:lnTo>
                <a:lnTo>
                  <a:pt x="4572383" y="2194191"/>
                </a:lnTo>
                <a:lnTo>
                  <a:pt x="4586756" y="2211408"/>
                </a:lnTo>
                <a:lnTo>
                  <a:pt x="4598190" y="2227912"/>
                </a:lnTo>
                <a:lnTo>
                  <a:pt x="4621623" y="2258530"/>
                </a:lnTo>
                <a:lnTo>
                  <a:pt x="4648242" y="2300144"/>
                </a:lnTo>
                <a:lnTo>
                  <a:pt x="4662670" y="2320968"/>
                </a:lnTo>
                <a:lnTo>
                  <a:pt x="4671340" y="2336257"/>
                </a:lnTo>
                <a:lnTo>
                  <a:pt x="4689028" y="2363911"/>
                </a:lnTo>
                <a:lnTo>
                  <a:pt x="4714840" y="2412970"/>
                </a:lnTo>
                <a:lnTo>
                  <a:pt x="4728716" y="2437439"/>
                </a:lnTo>
                <a:lnTo>
                  <a:pt x="4734877" y="2451053"/>
                </a:lnTo>
                <a:lnTo>
                  <a:pt x="4747562" y="2475157"/>
                </a:lnTo>
                <a:lnTo>
                  <a:pt x="4771636" y="2532261"/>
                </a:lnTo>
                <a:lnTo>
                  <a:pt x="4784286" y="2560208"/>
                </a:lnTo>
                <a:lnTo>
                  <a:pt x="4788274" y="2571729"/>
                </a:lnTo>
                <a:lnTo>
                  <a:pt x="4796723" y="2591766"/>
                </a:lnTo>
                <a:lnTo>
                  <a:pt x="4818078" y="2657796"/>
                </a:lnTo>
                <a:lnTo>
                  <a:pt x="4828766" y="2688660"/>
                </a:lnTo>
                <a:lnTo>
                  <a:pt x="4830988" y="2697714"/>
                </a:lnTo>
                <a:lnTo>
                  <a:pt x="4836008" y="2713229"/>
                </a:lnTo>
                <a:lnTo>
                  <a:pt x="4853629" y="2789921"/>
                </a:lnTo>
                <a:lnTo>
                  <a:pt x="4861550" y="2822183"/>
                </a:lnTo>
                <a:lnTo>
                  <a:pt x="4862477" y="2828433"/>
                </a:lnTo>
                <a:lnTo>
                  <a:pt x="4864917" y="2839043"/>
                </a:lnTo>
                <a:lnTo>
                  <a:pt x="4877746" y="2931303"/>
                </a:lnTo>
                <a:lnTo>
                  <a:pt x="4882029" y="2960161"/>
                </a:lnTo>
                <a:lnTo>
                  <a:pt x="4882180" y="2963200"/>
                </a:lnTo>
                <a:lnTo>
                  <a:pt x="4882946" y="2968703"/>
                </a:lnTo>
                <a:lnTo>
                  <a:pt x="4885956" y="3032692"/>
                </a:lnTo>
                <a:lnTo>
                  <a:pt x="4889624" y="3032692"/>
                </a:lnTo>
                <a:lnTo>
                  <a:pt x="4889624" y="3091686"/>
                </a:lnTo>
                <a:lnTo>
                  <a:pt x="4889624" y="3110675"/>
                </a:lnTo>
                <a:lnTo>
                  <a:pt x="4889624" y="3111118"/>
                </a:lnTo>
                <a:lnTo>
                  <a:pt x="4891379" y="3111118"/>
                </a:lnTo>
                <a:lnTo>
                  <a:pt x="4891379" y="3394564"/>
                </a:lnTo>
                <a:lnTo>
                  <a:pt x="4891379" y="3988016"/>
                </a:lnTo>
                <a:lnTo>
                  <a:pt x="4891379" y="4271461"/>
                </a:lnTo>
                <a:lnTo>
                  <a:pt x="4891379" y="4349890"/>
                </a:lnTo>
                <a:lnTo>
                  <a:pt x="4889640" y="4349890"/>
                </a:lnTo>
                <a:lnTo>
                  <a:pt x="4889640" y="5751787"/>
                </a:lnTo>
                <a:lnTo>
                  <a:pt x="4400501" y="5751787"/>
                </a:lnTo>
                <a:lnTo>
                  <a:pt x="3430753" y="5751787"/>
                </a:lnTo>
                <a:lnTo>
                  <a:pt x="3420593" y="5751787"/>
                </a:lnTo>
                <a:lnTo>
                  <a:pt x="3419727" y="5751787"/>
                </a:lnTo>
                <a:lnTo>
                  <a:pt x="3419712" y="5751788"/>
                </a:lnTo>
                <a:lnTo>
                  <a:pt x="3419699" y="5751787"/>
                </a:lnTo>
                <a:lnTo>
                  <a:pt x="3350656" y="5751787"/>
                </a:lnTo>
                <a:lnTo>
                  <a:pt x="2941613" y="5751787"/>
                </a:lnTo>
                <a:lnTo>
                  <a:pt x="2931453" y="5751787"/>
                </a:lnTo>
                <a:lnTo>
                  <a:pt x="2930587" y="5751787"/>
                </a:lnTo>
                <a:lnTo>
                  <a:pt x="2930574" y="5751788"/>
                </a:lnTo>
                <a:lnTo>
                  <a:pt x="2930558" y="5751787"/>
                </a:lnTo>
                <a:lnTo>
                  <a:pt x="2861517" y="5751787"/>
                </a:lnTo>
                <a:lnTo>
                  <a:pt x="1961706" y="5751787"/>
                </a:lnTo>
                <a:lnTo>
                  <a:pt x="1960839" y="5751787"/>
                </a:lnTo>
                <a:lnTo>
                  <a:pt x="1960824" y="5751788"/>
                </a:lnTo>
                <a:lnTo>
                  <a:pt x="1960810" y="5751787"/>
                </a:lnTo>
                <a:lnTo>
                  <a:pt x="1891768" y="5751787"/>
                </a:lnTo>
                <a:lnTo>
                  <a:pt x="1472566" y="5751787"/>
                </a:lnTo>
                <a:lnTo>
                  <a:pt x="1471699" y="5751787"/>
                </a:lnTo>
                <a:lnTo>
                  <a:pt x="1471686" y="5751788"/>
                </a:lnTo>
                <a:lnTo>
                  <a:pt x="1471671" y="5751787"/>
                </a:lnTo>
                <a:lnTo>
                  <a:pt x="1402630" y="5751787"/>
                </a:lnTo>
                <a:lnTo>
                  <a:pt x="1402630" y="5748454"/>
                </a:lnTo>
                <a:lnTo>
                  <a:pt x="1331464" y="5745061"/>
                </a:lnTo>
                <a:lnTo>
                  <a:pt x="1327146" y="5744440"/>
                </a:lnTo>
                <a:lnTo>
                  <a:pt x="1321394" y="5744149"/>
                </a:lnTo>
                <a:cubicBezTo>
                  <a:pt x="1234532" y="5735266"/>
                  <a:pt x="1149908" y="5718772"/>
                  <a:pt x="1068185" y="5695337"/>
                </a:cubicBezTo>
                <a:lnTo>
                  <a:pt x="1062227" y="5693342"/>
                </a:lnTo>
                <a:lnTo>
                  <a:pt x="1061200" y="5693093"/>
                </a:lnTo>
                <a:lnTo>
                  <a:pt x="1050981" y="5689577"/>
                </a:lnTo>
                <a:lnTo>
                  <a:pt x="947864" y="5655061"/>
                </a:lnTo>
                <a:lnTo>
                  <a:pt x="937281" y="5650461"/>
                </a:lnTo>
                <a:lnTo>
                  <a:pt x="933258" y="5649077"/>
                </a:lnTo>
                <a:lnTo>
                  <a:pt x="911512" y="5639261"/>
                </a:lnTo>
                <a:lnTo>
                  <a:pt x="832403" y="5604881"/>
                </a:lnTo>
                <a:lnTo>
                  <a:pt x="817638" y="5596891"/>
                </a:lnTo>
                <a:lnTo>
                  <a:pt x="810920" y="5593857"/>
                </a:lnTo>
                <a:lnTo>
                  <a:pt x="787324" y="5580484"/>
                </a:lnTo>
                <a:lnTo>
                  <a:pt x="722302" y="5545298"/>
                </a:lnTo>
                <a:lnTo>
                  <a:pt x="703875" y="5533192"/>
                </a:lnTo>
                <a:lnTo>
                  <a:pt x="694796" y="5528048"/>
                </a:lnTo>
                <a:lnTo>
                  <a:pt x="672327" y="5512468"/>
                </a:lnTo>
                <a:lnTo>
                  <a:pt x="618064" y="5476820"/>
                </a:lnTo>
                <a:lnTo>
                  <a:pt x="596562" y="5459933"/>
                </a:lnTo>
                <a:lnTo>
                  <a:pt x="585496" y="5452261"/>
                </a:lnTo>
                <a:lnTo>
                  <a:pt x="565345" y="5435418"/>
                </a:lnTo>
                <a:lnTo>
                  <a:pt x="520187" y="5399950"/>
                </a:lnTo>
                <a:lnTo>
                  <a:pt x="496267" y="5377676"/>
                </a:lnTo>
                <a:lnTo>
                  <a:pt x="483628" y="5367110"/>
                </a:lnTo>
                <a:lnTo>
                  <a:pt x="466291" y="5349761"/>
                </a:lnTo>
                <a:lnTo>
                  <a:pt x="429176" y="5315197"/>
                </a:lnTo>
                <a:lnTo>
                  <a:pt x="403557" y="5286978"/>
                </a:lnTo>
                <a:lnTo>
                  <a:pt x="389801" y="5273210"/>
                </a:lnTo>
                <a:lnTo>
                  <a:pt x="375432" y="5255998"/>
                </a:lnTo>
                <a:lnTo>
                  <a:pt x="345533" y="5223062"/>
                </a:lnTo>
                <a:lnTo>
                  <a:pt x="318997" y="5188388"/>
                </a:lnTo>
                <a:lnTo>
                  <a:pt x="304626" y="5171174"/>
                </a:lnTo>
                <a:lnTo>
                  <a:pt x="293189" y="5154668"/>
                </a:lnTo>
                <a:lnTo>
                  <a:pt x="269757" y="5124051"/>
                </a:lnTo>
                <a:lnTo>
                  <a:pt x="243139" y="5082435"/>
                </a:lnTo>
                <a:lnTo>
                  <a:pt x="228710" y="5061612"/>
                </a:lnTo>
                <a:lnTo>
                  <a:pt x="220040" y="5046323"/>
                </a:lnTo>
                <a:lnTo>
                  <a:pt x="202353" y="5018669"/>
                </a:lnTo>
                <a:lnTo>
                  <a:pt x="176540" y="4969611"/>
                </a:lnTo>
                <a:lnTo>
                  <a:pt x="162664" y="4945140"/>
                </a:lnTo>
                <a:lnTo>
                  <a:pt x="156502" y="4931527"/>
                </a:lnTo>
                <a:lnTo>
                  <a:pt x="143819" y="4907422"/>
                </a:lnTo>
                <a:lnTo>
                  <a:pt x="119746" y="4850319"/>
                </a:lnTo>
                <a:lnTo>
                  <a:pt x="107095" y="4822372"/>
                </a:lnTo>
                <a:lnTo>
                  <a:pt x="103107" y="4810852"/>
                </a:lnTo>
                <a:lnTo>
                  <a:pt x="94658" y="4790814"/>
                </a:lnTo>
                <a:lnTo>
                  <a:pt x="73303" y="4724785"/>
                </a:lnTo>
                <a:lnTo>
                  <a:pt x="62615" y="4693921"/>
                </a:lnTo>
                <a:lnTo>
                  <a:pt x="60392" y="4684865"/>
                </a:lnTo>
                <a:lnTo>
                  <a:pt x="55373" y="4669350"/>
                </a:lnTo>
                <a:lnTo>
                  <a:pt x="37752" y="4592660"/>
                </a:lnTo>
                <a:lnTo>
                  <a:pt x="29830" y="4560396"/>
                </a:lnTo>
                <a:lnTo>
                  <a:pt x="28902" y="4554148"/>
                </a:lnTo>
                <a:lnTo>
                  <a:pt x="26465" y="4543536"/>
                </a:lnTo>
                <a:lnTo>
                  <a:pt x="13636" y="4451278"/>
                </a:lnTo>
                <a:lnTo>
                  <a:pt x="9352" y="4422418"/>
                </a:lnTo>
                <a:lnTo>
                  <a:pt x="9200" y="4419380"/>
                </a:lnTo>
                <a:lnTo>
                  <a:pt x="8434" y="4413877"/>
                </a:lnTo>
                <a:lnTo>
                  <a:pt x="5426" y="4349890"/>
                </a:lnTo>
                <a:lnTo>
                  <a:pt x="1757" y="4349890"/>
                </a:lnTo>
                <a:lnTo>
                  <a:pt x="1757" y="4290894"/>
                </a:lnTo>
                <a:lnTo>
                  <a:pt x="1757" y="4271904"/>
                </a:lnTo>
                <a:lnTo>
                  <a:pt x="1757" y="4271461"/>
                </a:lnTo>
                <a:lnTo>
                  <a:pt x="0" y="4271461"/>
                </a:lnTo>
                <a:lnTo>
                  <a:pt x="0" y="3988016"/>
                </a:lnTo>
                <a:lnTo>
                  <a:pt x="0" y="3394564"/>
                </a:lnTo>
                <a:lnTo>
                  <a:pt x="0" y="3111118"/>
                </a:lnTo>
                <a:lnTo>
                  <a:pt x="0" y="3032692"/>
                </a:lnTo>
                <a:lnTo>
                  <a:pt x="1740" y="3032692"/>
                </a:lnTo>
                <a:lnTo>
                  <a:pt x="1740" y="3022121"/>
                </a:lnTo>
                <a:lnTo>
                  <a:pt x="0" y="3022121"/>
                </a:lnTo>
                <a:close/>
              </a:path>
            </a:pathLst>
          </a:custGeom>
        </p:spPr>
      </p:pic>
      <p:sp>
        <p:nvSpPr>
          <p:cNvPr id="202" name="Freeform: Shape 55">
            <a:extLst>
              <a:ext uri="{FF2B5EF4-FFF2-40B4-BE49-F238E27FC236}">
                <a16:creationId xmlns:a16="http://schemas.microsoft.com/office/drawing/2014/main" id="{9AAB7EBC-DC18-4A46-BC92-2CADE06CA2C2}"/>
              </a:ext>
            </a:extLst>
          </p:cNvPr>
          <p:cNvSpPr/>
          <p:nvPr/>
        </p:nvSpPr>
        <p:spPr>
          <a:xfrm>
            <a:off x="114301" y="128587"/>
            <a:ext cx="6620970" cy="6586537"/>
          </a:xfrm>
          <a:custGeom>
            <a:avLst/>
            <a:gdLst>
              <a:gd name="connsiteX0" fmla="*/ 1830971 w 5902658"/>
              <a:gd name="connsiteY0" fmla="*/ 0 h 5865494"/>
              <a:gd name="connsiteX1" fmla="*/ 1830989 w 5902658"/>
              <a:gd name="connsiteY1" fmla="*/ 1 h 5865494"/>
              <a:gd name="connsiteX2" fmla="*/ 1916935 w 5902658"/>
              <a:gd name="connsiteY2" fmla="*/ 1 h 5865494"/>
              <a:gd name="connsiteX3" fmla="*/ 2237900 w 5902658"/>
              <a:gd name="connsiteY3" fmla="*/ 1 h 5865494"/>
              <a:gd name="connsiteX4" fmla="*/ 2774065 w 5902658"/>
              <a:gd name="connsiteY4" fmla="*/ 1 h 5865494"/>
              <a:gd name="connsiteX5" fmla="*/ 2775144 w 5902658"/>
              <a:gd name="connsiteY5" fmla="*/ 1 h 5865494"/>
              <a:gd name="connsiteX6" fmla="*/ 2775161 w 5902658"/>
              <a:gd name="connsiteY6" fmla="*/ 0 h 5865494"/>
              <a:gd name="connsiteX7" fmla="*/ 2775179 w 5902658"/>
              <a:gd name="connsiteY7" fmla="*/ 1 h 5865494"/>
              <a:gd name="connsiteX8" fmla="*/ 2861125 w 5902658"/>
              <a:gd name="connsiteY8" fmla="*/ 1 h 5865494"/>
              <a:gd name="connsiteX9" fmla="*/ 3122456 w 5902658"/>
              <a:gd name="connsiteY9" fmla="*/ 1 h 5865494"/>
              <a:gd name="connsiteX10" fmla="*/ 3123534 w 5902658"/>
              <a:gd name="connsiteY10" fmla="*/ 1 h 5865494"/>
              <a:gd name="connsiteX11" fmla="*/ 3123552 w 5902658"/>
              <a:gd name="connsiteY11" fmla="*/ 0 h 5865494"/>
              <a:gd name="connsiteX12" fmla="*/ 3123569 w 5902658"/>
              <a:gd name="connsiteY12" fmla="*/ 1 h 5865494"/>
              <a:gd name="connsiteX13" fmla="*/ 3209516 w 5902658"/>
              <a:gd name="connsiteY13" fmla="*/ 1 h 5865494"/>
              <a:gd name="connsiteX14" fmla="*/ 4066646 w 5902658"/>
              <a:gd name="connsiteY14" fmla="*/ 1 h 5865494"/>
              <a:gd name="connsiteX15" fmla="*/ 4067724 w 5902658"/>
              <a:gd name="connsiteY15" fmla="*/ 1 h 5865494"/>
              <a:gd name="connsiteX16" fmla="*/ 4067742 w 5902658"/>
              <a:gd name="connsiteY16" fmla="*/ 0 h 5865494"/>
              <a:gd name="connsiteX17" fmla="*/ 4067759 w 5902658"/>
              <a:gd name="connsiteY17" fmla="*/ 1 h 5865494"/>
              <a:gd name="connsiteX18" fmla="*/ 4153706 w 5902658"/>
              <a:gd name="connsiteY18" fmla="*/ 1 h 5865494"/>
              <a:gd name="connsiteX19" fmla="*/ 4153706 w 5902658"/>
              <a:gd name="connsiteY19" fmla="*/ 4569 h 5865494"/>
              <a:gd name="connsiteX20" fmla="*/ 4242296 w 5902658"/>
              <a:gd name="connsiteY20" fmla="*/ 9219 h 5865494"/>
              <a:gd name="connsiteX21" fmla="*/ 4247670 w 5902658"/>
              <a:gd name="connsiteY21" fmla="*/ 10072 h 5865494"/>
              <a:gd name="connsiteX22" fmla="*/ 4254833 w 5902658"/>
              <a:gd name="connsiteY22" fmla="*/ 10471 h 5865494"/>
              <a:gd name="connsiteX23" fmla="*/ 4570041 w 5902658"/>
              <a:gd name="connsiteY23" fmla="*/ 77366 h 5865494"/>
              <a:gd name="connsiteX24" fmla="*/ 4577457 w 5902658"/>
              <a:gd name="connsiteY24" fmla="*/ 80097 h 5865494"/>
              <a:gd name="connsiteX25" fmla="*/ 4578735 w 5902658"/>
              <a:gd name="connsiteY25" fmla="*/ 80439 h 5865494"/>
              <a:gd name="connsiteX26" fmla="*/ 4591456 w 5902658"/>
              <a:gd name="connsiteY26" fmla="*/ 85258 h 5865494"/>
              <a:gd name="connsiteX27" fmla="*/ 4719821 w 5902658"/>
              <a:gd name="connsiteY27" fmla="*/ 132559 h 5865494"/>
              <a:gd name="connsiteX28" fmla="*/ 4732997 w 5902658"/>
              <a:gd name="connsiteY28" fmla="*/ 138863 h 5865494"/>
              <a:gd name="connsiteX29" fmla="*/ 4738004 w 5902658"/>
              <a:gd name="connsiteY29" fmla="*/ 140760 h 5865494"/>
              <a:gd name="connsiteX30" fmla="*/ 4765074 w 5902658"/>
              <a:gd name="connsiteY30" fmla="*/ 154214 h 5865494"/>
              <a:gd name="connsiteX31" fmla="*/ 4863552 w 5902658"/>
              <a:gd name="connsiteY31" fmla="*/ 201329 h 5865494"/>
              <a:gd name="connsiteX32" fmla="*/ 4881932 w 5902658"/>
              <a:gd name="connsiteY32" fmla="*/ 212278 h 5865494"/>
              <a:gd name="connsiteX33" fmla="*/ 4890297 w 5902658"/>
              <a:gd name="connsiteY33" fmla="*/ 216434 h 5865494"/>
              <a:gd name="connsiteX34" fmla="*/ 4919669 w 5902658"/>
              <a:gd name="connsiteY34" fmla="*/ 234760 h 5865494"/>
              <a:gd name="connsiteX35" fmla="*/ 5000612 w 5902658"/>
              <a:gd name="connsiteY35" fmla="*/ 282982 h 5865494"/>
              <a:gd name="connsiteX36" fmla="*/ 5023551 w 5902658"/>
              <a:gd name="connsiteY36" fmla="*/ 299572 h 5865494"/>
              <a:gd name="connsiteX37" fmla="*/ 5034853 w 5902658"/>
              <a:gd name="connsiteY37" fmla="*/ 306621 h 5865494"/>
              <a:gd name="connsiteX38" fmla="*/ 5062823 w 5902658"/>
              <a:gd name="connsiteY38" fmla="*/ 327972 h 5865494"/>
              <a:gd name="connsiteX39" fmla="*/ 5130374 w 5902658"/>
              <a:gd name="connsiteY39" fmla="*/ 376826 h 5865494"/>
              <a:gd name="connsiteX40" fmla="*/ 5157140 w 5902658"/>
              <a:gd name="connsiteY40" fmla="*/ 399969 h 5865494"/>
              <a:gd name="connsiteX41" fmla="*/ 5170917 w 5902658"/>
              <a:gd name="connsiteY41" fmla="*/ 410482 h 5865494"/>
              <a:gd name="connsiteX42" fmla="*/ 5196000 w 5902658"/>
              <a:gd name="connsiteY42" fmla="*/ 433566 h 5865494"/>
              <a:gd name="connsiteX43" fmla="*/ 5252216 w 5902658"/>
              <a:gd name="connsiteY43" fmla="*/ 482168 h 5865494"/>
              <a:gd name="connsiteX44" fmla="*/ 5281993 w 5902658"/>
              <a:gd name="connsiteY44" fmla="*/ 512696 h 5865494"/>
              <a:gd name="connsiteX45" fmla="*/ 5297726 w 5902658"/>
              <a:gd name="connsiteY45" fmla="*/ 527173 h 5865494"/>
              <a:gd name="connsiteX46" fmla="*/ 5319308 w 5902658"/>
              <a:gd name="connsiteY46" fmla="*/ 550952 h 5865494"/>
              <a:gd name="connsiteX47" fmla="*/ 5365510 w 5902658"/>
              <a:gd name="connsiteY47" fmla="*/ 598318 h 5865494"/>
              <a:gd name="connsiteX48" fmla="*/ 5397402 w 5902658"/>
              <a:gd name="connsiteY48" fmla="*/ 636991 h 5865494"/>
              <a:gd name="connsiteX49" fmla="*/ 5414527 w 5902658"/>
              <a:gd name="connsiteY49" fmla="*/ 655858 h 5865494"/>
              <a:gd name="connsiteX50" fmla="*/ 5432412 w 5902658"/>
              <a:gd name="connsiteY50" fmla="*/ 679446 h 5865494"/>
              <a:gd name="connsiteX51" fmla="*/ 5469634 w 5902658"/>
              <a:gd name="connsiteY51" fmla="*/ 724583 h 5865494"/>
              <a:gd name="connsiteX52" fmla="*/ 5502668 w 5902658"/>
              <a:gd name="connsiteY52" fmla="*/ 772100 h 5865494"/>
              <a:gd name="connsiteX53" fmla="*/ 5520558 w 5902658"/>
              <a:gd name="connsiteY53" fmla="*/ 795692 h 5865494"/>
              <a:gd name="connsiteX54" fmla="*/ 5534793 w 5902658"/>
              <a:gd name="connsiteY54" fmla="*/ 818312 h 5865494"/>
              <a:gd name="connsiteX55" fmla="*/ 5563964 w 5902658"/>
              <a:gd name="connsiteY55" fmla="*/ 860270 h 5865494"/>
              <a:gd name="connsiteX56" fmla="*/ 5597100 w 5902658"/>
              <a:gd name="connsiteY56" fmla="*/ 917301 h 5865494"/>
              <a:gd name="connsiteX57" fmla="*/ 5615060 w 5902658"/>
              <a:gd name="connsiteY57" fmla="*/ 945838 h 5865494"/>
              <a:gd name="connsiteX58" fmla="*/ 5625854 w 5902658"/>
              <a:gd name="connsiteY58" fmla="*/ 966790 h 5865494"/>
              <a:gd name="connsiteX59" fmla="*/ 5647873 w 5902658"/>
              <a:gd name="connsiteY59" fmla="*/ 1004688 h 5865494"/>
              <a:gd name="connsiteX60" fmla="*/ 5680004 w 5902658"/>
              <a:gd name="connsiteY60" fmla="*/ 1071919 h 5865494"/>
              <a:gd name="connsiteX61" fmla="*/ 5697279 w 5902658"/>
              <a:gd name="connsiteY61" fmla="*/ 1105454 h 5865494"/>
              <a:gd name="connsiteX62" fmla="*/ 5704948 w 5902658"/>
              <a:gd name="connsiteY62" fmla="*/ 1124110 h 5865494"/>
              <a:gd name="connsiteX63" fmla="*/ 5720739 w 5902658"/>
              <a:gd name="connsiteY63" fmla="*/ 1157143 h 5865494"/>
              <a:gd name="connsiteX64" fmla="*/ 5750706 w 5902658"/>
              <a:gd name="connsiteY64" fmla="*/ 1235399 h 5865494"/>
              <a:gd name="connsiteX65" fmla="*/ 5766455 w 5902658"/>
              <a:gd name="connsiteY65" fmla="*/ 1273700 h 5865494"/>
              <a:gd name="connsiteX66" fmla="*/ 5771421 w 5902658"/>
              <a:gd name="connsiteY66" fmla="*/ 1289488 h 5865494"/>
              <a:gd name="connsiteX67" fmla="*/ 5781936 w 5902658"/>
              <a:gd name="connsiteY67" fmla="*/ 1316946 h 5865494"/>
              <a:gd name="connsiteX68" fmla="*/ 5808521 w 5902658"/>
              <a:gd name="connsiteY68" fmla="*/ 1407436 h 5865494"/>
              <a:gd name="connsiteX69" fmla="*/ 5821825 w 5902658"/>
              <a:gd name="connsiteY69" fmla="*/ 1449734 h 5865494"/>
              <a:gd name="connsiteX70" fmla="*/ 5824593 w 5902658"/>
              <a:gd name="connsiteY70" fmla="*/ 1462141 h 5865494"/>
              <a:gd name="connsiteX71" fmla="*/ 5830840 w 5902658"/>
              <a:gd name="connsiteY71" fmla="*/ 1483403 h 5865494"/>
              <a:gd name="connsiteX72" fmla="*/ 5852776 w 5902658"/>
              <a:gd name="connsiteY72" fmla="*/ 1588504 h 5865494"/>
              <a:gd name="connsiteX73" fmla="*/ 5853208 w 5902658"/>
              <a:gd name="connsiteY73" fmla="*/ 1590439 h 5865494"/>
              <a:gd name="connsiteX74" fmla="*/ 5856096 w 5902658"/>
              <a:gd name="connsiteY74" fmla="*/ 1590439 h 5865494"/>
              <a:gd name="connsiteX75" fmla="*/ 5865525 w 5902658"/>
              <a:gd name="connsiteY75" fmla="*/ 1642236 h 5865494"/>
              <a:gd name="connsiteX76" fmla="*/ 5866680 w 5902658"/>
              <a:gd name="connsiteY76" fmla="*/ 1652729 h 5865494"/>
              <a:gd name="connsiteX77" fmla="*/ 5869714 w 5902658"/>
              <a:gd name="connsiteY77" fmla="*/ 1670544 h 5865494"/>
              <a:gd name="connsiteX78" fmla="*/ 5885686 w 5902658"/>
              <a:gd name="connsiteY78" fmla="*/ 1825445 h 5865494"/>
              <a:gd name="connsiteX79" fmla="*/ 5891017 w 5902658"/>
              <a:gd name="connsiteY79" fmla="*/ 1873900 h 5865494"/>
              <a:gd name="connsiteX80" fmla="*/ 5891206 w 5902658"/>
              <a:gd name="connsiteY80" fmla="*/ 1879000 h 5865494"/>
              <a:gd name="connsiteX81" fmla="*/ 5892160 w 5902658"/>
              <a:gd name="connsiteY81" fmla="*/ 1888239 h 5865494"/>
              <a:gd name="connsiteX82" fmla="*/ 5895906 w 5902658"/>
              <a:gd name="connsiteY82" fmla="*/ 1995675 h 5865494"/>
              <a:gd name="connsiteX83" fmla="*/ 5900472 w 5902658"/>
              <a:gd name="connsiteY83" fmla="*/ 1995675 h 5865494"/>
              <a:gd name="connsiteX84" fmla="*/ 5900472 w 5902658"/>
              <a:gd name="connsiteY84" fmla="*/ 2094724 h 5865494"/>
              <a:gd name="connsiteX85" fmla="*/ 5900472 w 5902658"/>
              <a:gd name="connsiteY85" fmla="*/ 2126608 h 5865494"/>
              <a:gd name="connsiteX86" fmla="*/ 5900472 w 5902658"/>
              <a:gd name="connsiteY86" fmla="*/ 2127352 h 5865494"/>
              <a:gd name="connsiteX87" fmla="*/ 5900472 w 5902658"/>
              <a:gd name="connsiteY87" fmla="*/ 2127354 h 5865494"/>
              <a:gd name="connsiteX88" fmla="*/ 5902658 w 5902658"/>
              <a:gd name="connsiteY88" fmla="*/ 2127354 h 5865494"/>
              <a:gd name="connsiteX89" fmla="*/ 5902658 w 5902658"/>
              <a:gd name="connsiteY89" fmla="*/ 2603252 h 5865494"/>
              <a:gd name="connsiteX90" fmla="*/ 5902658 w 5902658"/>
              <a:gd name="connsiteY90" fmla="*/ 3599646 h 5865494"/>
              <a:gd name="connsiteX91" fmla="*/ 5902658 w 5902658"/>
              <a:gd name="connsiteY91" fmla="*/ 3644379 h 5865494"/>
              <a:gd name="connsiteX92" fmla="*/ 5902658 w 5902658"/>
              <a:gd name="connsiteY92" fmla="*/ 3972730 h 5865494"/>
              <a:gd name="connsiteX93" fmla="*/ 5902658 w 5902658"/>
              <a:gd name="connsiteY93" fmla="*/ 4073009 h 5865494"/>
              <a:gd name="connsiteX94" fmla="*/ 5900493 w 5902658"/>
              <a:gd name="connsiteY94" fmla="*/ 4073009 h 5865494"/>
              <a:gd name="connsiteX95" fmla="*/ 5900493 w 5902658"/>
              <a:gd name="connsiteY95" fmla="*/ 5865493 h 5865494"/>
              <a:gd name="connsiteX96" fmla="*/ 4956304 w 5902658"/>
              <a:gd name="connsiteY96" fmla="*/ 5865493 h 5865494"/>
              <a:gd name="connsiteX97" fmla="*/ 4607912 w 5902658"/>
              <a:gd name="connsiteY97" fmla="*/ 5865493 h 5865494"/>
              <a:gd name="connsiteX98" fmla="*/ 4195055 w 5902658"/>
              <a:gd name="connsiteY98" fmla="*/ 5865493 h 5865494"/>
              <a:gd name="connsiteX99" fmla="*/ 4195055 w 5902658"/>
              <a:gd name="connsiteY99" fmla="*/ 5865494 h 5865494"/>
              <a:gd name="connsiteX100" fmla="*/ 4070652 w 5902658"/>
              <a:gd name="connsiteY100" fmla="*/ 5865494 h 5865494"/>
              <a:gd name="connsiteX101" fmla="*/ 3126462 w 5902658"/>
              <a:gd name="connsiteY101" fmla="*/ 5865494 h 5865494"/>
              <a:gd name="connsiteX102" fmla="*/ 2778071 w 5902658"/>
              <a:gd name="connsiteY102" fmla="*/ 5865494 h 5865494"/>
              <a:gd name="connsiteX103" fmla="*/ 1833881 w 5902658"/>
              <a:gd name="connsiteY103" fmla="*/ 5865494 h 5865494"/>
              <a:gd name="connsiteX104" fmla="*/ 0 w 5902658"/>
              <a:gd name="connsiteY104" fmla="*/ 5865494 h 5865494"/>
              <a:gd name="connsiteX105" fmla="*/ 0 w 5902658"/>
              <a:gd name="connsiteY105" fmla="*/ 175039 h 5865494"/>
              <a:gd name="connsiteX106" fmla="*/ 1129 w 5902658"/>
              <a:gd name="connsiteY106" fmla="*/ 175039 h 5865494"/>
              <a:gd name="connsiteX107" fmla="*/ 1129 w 5902658"/>
              <a:gd name="connsiteY107" fmla="*/ 1 h 5865494"/>
              <a:gd name="connsiteX108" fmla="*/ 945319 w 5902658"/>
              <a:gd name="connsiteY108" fmla="*/ 1 h 5865494"/>
              <a:gd name="connsiteX109" fmla="*/ 1293710 w 5902658"/>
              <a:gd name="connsiteY109" fmla="*/ 1 h 5865494"/>
              <a:gd name="connsiteX110" fmla="*/ 1829875 w 5902658"/>
              <a:gd name="connsiteY110" fmla="*/ 1 h 5865494"/>
              <a:gd name="connsiteX111" fmla="*/ 1830954 w 5902658"/>
              <a:gd name="connsiteY111" fmla="*/ 1 h 5865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5902658" h="5865494">
                <a:moveTo>
                  <a:pt x="1830971" y="0"/>
                </a:moveTo>
                <a:lnTo>
                  <a:pt x="1830989" y="1"/>
                </a:lnTo>
                <a:lnTo>
                  <a:pt x="1916935" y="1"/>
                </a:lnTo>
                <a:lnTo>
                  <a:pt x="2237900" y="1"/>
                </a:lnTo>
                <a:lnTo>
                  <a:pt x="2774065" y="1"/>
                </a:lnTo>
                <a:lnTo>
                  <a:pt x="2775144" y="1"/>
                </a:lnTo>
                <a:lnTo>
                  <a:pt x="2775161" y="0"/>
                </a:lnTo>
                <a:lnTo>
                  <a:pt x="2775179" y="1"/>
                </a:lnTo>
                <a:lnTo>
                  <a:pt x="2861125" y="1"/>
                </a:lnTo>
                <a:lnTo>
                  <a:pt x="3122456" y="1"/>
                </a:lnTo>
                <a:lnTo>
                  <a:pt x="3123534" y="1"/>
                </a:lnTo>
                <a:lnTo>
                  <a:pt x="3123552" y="0"/>
                </a:lnTo>
                <a:lnTo>
                  <a:pt x="3123569" y="1"/>
                </a:lnTo>
                <a:lnTo>
                  <a:pt x="3209516" y="1"/>
                </a:lnTo>
                <a:lnTo>
                  <a:pt x="4066646" y="1"/>
                </a:lnTo>
                <a:lnTo>
                  <a:pt x="4067724" y="1"/>
                </a:lnTo>
                <a:lnTo>
                  <a:pt x="4067742" y="0"/>
                </a:lnTo>
                <a:lnTo>
                  <a:pt x="4067759" y="1"/>
                </a:lnTo>
                <a:lnTo>
                  <a:pt x="4153706" y="1"/>
                </a:lnTo>
                <a:lnTo>
                  <a:pt x="4153706" y="4569"/>
                </a:lnTo>
                <a:lnTo>
                  <a:pt x="4242296" y="9219"/>
                </a:lnTo>
                <a:lnTo>
                  <a:pt x="4247670" y="10072"/>
                </a:lnTo>
                <a:lnTo>
                  <a:pt x="4254833" y="10471"/>
                </a:lnTo>
                <a:cubicBezTo>
                  <a:pt x="4362962" y="22643"/>
                  <a:pt x="4468309" y="45248"/>
                  <a:pt x="4570041" y="77366"/>
                </a:cubicBezTo>
                <a:lnTo>
                  <a:pt x="4577457" y="80097"/>
                </a:lnTo>
                <a:lnTo>
                  <a:pt x="4578735" y="80439"/>
                </a:lnTo>
                <a:lnTo>
                  <a:pt x="4591456" y="85258"/>
                </a:lnTo>
                <a:lnTo>
                  <a:pt x="4719821" y="132559"/>
                </a:lnTo>
                <a:lnTo>
                  <a:pt x="4732997" y="138863"/>
                </a:lnTo>
                <a:lnTo>
                  <a:pt x="4738004" y="140760"/>
                </a:lnTo>
                <a:lnTo>
                  <a:pt x="4765074" y="154214"/>
                </a:lnTo>
                <a:lnTo>
                  <a:pt x="4863552" y="201329"/>
                </a:lnTo>
                <a:lnTo>
                  <a:pt x="4881932" y="212278"/>
                </a:lnTo>
                <a:lnTo>
                  <a:pt x="4890297" y="216434"/>
                </a:lnTo>
                <a:lnTo>
                  <a:pt x="4919669" y="234760"/>
                </a:lnTo>
                <a:lnTo>
                  <a:pt x="5000612" y="282982"/>
                </a:lnTo>
                <a:lnTo>
                  <a:pt x="5023551" y="299572"/>
                </a:lnTo>
                <a:lnTo>
                  <a:pt x="5034853" y="306621"/>
                </a:lnTo>
                <a:lnTo>
                  <a:pt x="5062823" y="327972"/>
                </a:lnTo>
                <a:lnTo>
                  <a:pt x="5130374" y="376826"/>
                </a:lnTo>
                <a:lnTo>
                  <a:pt x="5157140" y="399969"/>
                </a:lnTo>
                <a:lnTo>
                  <a:pt x="5170917" y="410482"/>
                </a:lnTo>
                <a:lnTo>
                  <a:pt x="5196000" y="433566"/>
                </a:lnTo>
                <a:lnTo>
                  <a:pt x="5252216" y="482168"/>
                </a:lnTo>
                <a:lnTo>
                  <a:pt x="5281993" y="512696"/>
                </a:lnTo>
                <a:lnTo>
                  <a:pt x="5297726" y="527173"/>
                </a:lnTo>
                <a:lnTo>
                  <a:pt x="5319308" y="550952"/>
                </a:lnTo>
                <a:lnTo>
                  <a:pt x="5365510" y="598318"/>
                </a:lnTo>
                <a:lnTo>
                  <a:pt x="5397402" y="636991"/>
                </a:lnTo>
                <a:lnTo>
                  <a:pt x="5414527" y="655858"/>
                </a:lnTo>
                <a:lnTo>
                  <a:pt x="5432412" y="679446"/>
                </a:lnTo>
                <a:lnTo>
                  <a:pt x="5469634" y="724583"/>
                </a:lnTo>
                <a:lnTo>
                  <a:pt x="5502668" y="772100"/>
                </a:lnTo>
                <a:lnTo>
                  <a:pt x="5520558" y="795692"/>
                </a:lnTo>
                <a:lnTo>
                  <a:pt x="5534793" y="818312"/>
                </a:lnTo>
                <a:lnTo>
                  <a:pt x="5563964" y="860270"/>
                </a:lnTo>
                <a:lnTo>
                  <a:pt x="5597100" y="917301"/>
                </a:lnTo>
                <a:lnTo>
                  <a:pt x="5615060" y="945838"/>
                </a:lnTo>
                <a:lnTo>
                  <a:pt x="5625854" y="966790"/>
                </a:lnTo>
                <a:lnTo>
                  <a:pt x="5647873" y="1004688"/>
                </a:lnTo>
                <a:lnTo>
                  <a:pt x="5680004" y="1071919"/>
                </a:lnTo>
                <a:lnTo>
                  <a:pt x="5697279" y="1105454"/>
                </a:lnTo>
                <a:lnTo>
                  <a:pt x="5704948" y="1124110"/>
                </a:lnTo>
                <a:lnTo>
                  <a:pt x="5720739" y="1157143"/>
                </a:lnTo>
                <a:lnTo>
                  <a:pt x="5750706" y="1235399"/>
                </a:lnTo>
                <a:lnTo>
                  <a:pt x="5766455" y="1273700"/>
                </a:lnTo>
                <a:lnTo>
                  <a:pt x="5771421" y="1289488"/>
                </a:lnTo>
                <a:lnTo>
                  <a:pt x="5781936" y="1316946"/>
                </a:lnTo>
                <a:lnTo>
                  <a:pt x="5808521" y="1407436"/>
                </a:lnTo>
                <a:lnTo>
                  <a:pt x="5821825" y="1449734"/>
                </a:lnTo>
                <a:lnTo>
                  <a:pt x="5824593" y="1462141"/>
                </a:lnTo>
                <a:lnTo>
                  <a:pt x="5830840" y="1483403"/>
                </a:lnTo>
                <a:lnTo>
                  <a:pt x="5852776" y="1588504"/>
                </a:lnTo>
                <a:lnTo>
                  <a:pt x="5853208" y="1590439"/>
                </a:lnTo>
                <a:lnTo>
                  <a:pt x="5856096" y="1590439"/>
                </a:lnTo>
                <a:lnTo>
                  <a:pt x="5865525" y="1642236"/>
                </a:lnTo>
                <a:lnTo>
                  <a:pt x="5866680" y="1652729"/>
                </a:lnTo>
                <a:lnTo>
                  <a:pt x="5869714" y="1670544"/>
                </a:lnTo>
                <a:lnTo>
                  <a:pt x="5885686" y="1825445"/>
                </a:lnTo>
                <a:lnTo>
                  <a:pt x="5891017" y="1873900"/>
                </a:lnTo>
                <a:lnTo>
                  <a:pt x="5891206" y="1879000"/>
                </a:lnTo>
                <a:lnTo>
                  <a:pt x="5892160" y="1888239"/>
                </a:lnTo>
                <a:lnTo>
                  <a:pt x="5895906" y="1995675"/>
                </a:lnTo>
                <a:lnTo>
                  <a:pt x="5900472" y="1995675"/>
                </a:lnTo>
                <a:lnTo>
                  <a:pt x="5900472" y="2094724"/>
                </a:lnTo>
                <a:lnTo>
                  <a:pt x="5900472" y="2126608"/>
                </a:lnTo>
                <a:lnTo>
                  <a:pt x="5900472" y="2127352"/>
                </a:lnTo>
                <a:lnTo>
                  <a:pt x="5900472" y="2127354"/>
                </a:lnTo>
                <a:lnTo>
                  <a:pt x="5902658" y="2127354"/>
                </a:lnTo>
                <a:lnTo>
                  <a:pt x="5902658" y="2603252"/>
                </a:lnTo>
                <a:lnTo>
                  <a:pt x="5902658" y="3599646"/>
                </a:lnTo>
                <a:lnTo>
                  <a:pt x="5902658" y="3644379"/>
                </a:lnTo>
                <a:lnTo>
                  <a:pt x="5902658" y="3972730"/>
                </a:lnTo>
                <a:lnTo>
                  <a:pt x="5902658" y="4073009"/>
                </a:lnTo>
                <a:lnTo>
                  <a:pt x="5900493" y="4073009"/>
                </a:lnTo>
                <a:lnTo>
                  <a:pt x="5900493" y="5865493"/>
                </a:lnTo>
                <a:lnTo>
                  <a:pt x="4956304" y="5865493"/>
                </a:lnTo>
                <a:lnTo>
                  <a:pt x="4607912" y="5865493"/>
                </a:lnTo>
                <a:lnTo>
                  <a:pt x="4195055" y="5865493"/>
                </a:lnTo>
                <a:lnTo>
                  <a:pt x="4195055" y="5865494"/>
                </a:lnTo>
                <a:lnTo>
                  <a:pt x="4070652" y="5865494"/>
                </a:lnTo>
                <a:lnTo>
                  <a:pt x="3126462" y="5865494"/>
                </a:lnTo>
                <a:lnTo>
                  <a:pt x="2778071" y="5865494"/>
                </a:lnTo>
                <a:lnTo>
                  <a:pt x="1833881" y="5865494"/>
                </a:lnTo>
                <a:lnTo>
                  <a:pt x="0" y="5865494"/>
                </a:lnTo>
                <a:lnTo>
                  <a:pt x="0" y="175039"/>
                </a:lnTo>
                <a:lnTo>
                  <a:pt x="1129" y="175039"/>
                </a:lnTo>
                <a:lnTo>
                  <a:pt x="1129" y="1"/>
                </a:lnTo>
                <a:lnTo>
                  <a:pt x="945319" y="1"/>
                </a:lnTo>
                <a:lnTo>
                  <a:pt x="1293710" y="1"/>
                </a:lnTo>
                <a:lnTo>
                  <a:pt x="1829875" y="1"/>
                </a:lnTo>
                <a:lnTo>
                  <a:pt x="1830954" y="1"/>
                </a:lnTo>
                <a:close/>
              </a:path>
            </a:pathLst>
          </a:custGeom>
          <a:solidFill>
            <a:srgbClr val="1D3166">
              <a:alpha val="86396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: Shape 70">
            <a:extLst>
              <a:ext uri="{FF2B5EF4-FFF2-40B4-BE49-F238E27FC236}">
                <a16:creationId xmlns:a16="http://schemas.microsoft.com/office/drawing/2014/main" id="{01CBD37B-EE21-CD49-82D2-9E430A9780B3}"/>
              </a:ext>
            </a:extLst>
          </p:cNvPr>
          <p:cNvSpPr/>
          <p:nvPr/>
        </p:nvSpPr>
        <p:spPr>
          <a:xfrm>
            <a:off x="7059497" y="492335"/>
            <a:ext cx="4891380" cy="5751788"/>
          </a:xfrm>
          <a:custGeom>
            <a:avLst/>
            <a:gdLst>
              <a:gd name="connsiteX0" fmla="*/ 0 w 4891380"/>
              <a:gd name="connsiteY0" fmla="*/ 0 h 5751788"/>
              <a:gd name="connsiteX1" fmla="*/ 1471669 w 4891380"/>
              <a:gd name="connsiteY1" fmla="*/ 0 h 5751788"/>
              <a:gd name="connsiteX2" fmla="*/ 1960808 w 4891380"/>
              <a:gd name="connsiteY2" fmla="*/ 0 h 5751788"/>
              <a:gd name="connsiteX3" fmla="*/ 2930558 w 4891380"/>
              <a:gd name="connsiteY3" fmla="*/ 0 h 5751788"/>
              <a:gd name="connsiteX4" fmla="*/ 3419696 w 4891380"/>
              <a:gd name="connsiteY4" fmla="*/ 0 h 5751788"/>
              <a:gd name="connsiteX5" fmla="*/ 3458648 w 4891380"/>
              <a:gd name="connsiteY5" fmla="*/ 0 h 5751788"/>
              <a:gd name="connsiteX6" fmla="*/ 3458648 w 4891380"/>
              <a:gd name="connsiteY6" fmla="*/ 1 h 5751788"/>
              <a:gd name="connsiteX7" fmla="*/ 3488752 w 4891380"/>
              <a:gd name="connsiteY7" fmla="*/ 1 h 5751788"/>
              <a:gd name="connsiteX8" fmla="*/ 3488752 w 4891380"/>
              <a:gd name="connsiteY8" fmla="*/ 3335 h 5751788"/>
              <a:gd name="connsiteX9" fmla="*/ 3559916 w 4891380"/>
              <a:gd name="connsiteY9" fmla="*/ 6728 h 5751788"/>
              <a:gd name="connsiteX10" fmla="*/ 3564234 w 4891380"/>
              <a:gd name="connsiteY10" fmla="*/ 7350 h 5751788"/>
              <a:gd name="connsiteX11" fmla="*/ 3569987 w 4891380"/>
              <a:gd name="connsiteY11" fmla="*/ 7641 h 5751788"/>
              <a:gd name="connsiteX12" fmla="*/ 3823196 w 4891380"/>
              <a:gd name="connsiteY12" fmla="*/ 56454 h 5751788"/>
              <a:gd name="connsiteX13" fmla="*/ 3829154 w 4891380"/>
              <a:gd name="connsiteY13" fmla="*/ 58447 h 5751788"/>
              <a:gd name="connsiteX14" fmla="*/ 3830180 w 4891380"/>
              <a:gd name="connsiteY14" fmla="*/ 58696 h 5751788"/>
              <a:gd name="connsiteX15" fmla="*/ 3840400 w 4891380"/>
              <a:gd name="connsiteY15" fmla="*/ 62213 h 5751788"/>
              <a:gd name="connsiteX16" fmla="*/ 3943517 w 4891380"/>
              <a:gd name="connsiteY16" fmla="*/ 96729 h 5751788"/>
              <a:gd name="connsiteX17" fmla="*/ 3954101 w 4891380"/>
              <a:gd name="connsiteY17" fmla="*/ 101328 h 5751788"/>
              <a:gd name="connsiteX18" fmla="*/ 3958123 w 4891380"/>
              <a:gd name="connsiteY18" fmla="*/ 102713 h 5751788"/>
              <a:gd name="connsiteX19" fmla="*/ 3979869 w 4891380"/>
              <a:gd name="connsiteY19" fmla="*/ 112529 h 5751788"/>
              <a:gd name="connsiteX20" fmla="*/ 4058977 w 4891380"/>
              <a:gd name="connsiteY20" fmla="*/ 146909 h 5751788"/>
              <a:gd name="connsiteX21" fmla="*/ 4073742 w 4891380"/>
              <a:gd name="connsiteY21" fmla="*/ 154899 h 5751788"/>
              <a:gd name="connsiteX22" fmla="*/ 4080462 w 4891380"/>
              <a:gd name="connsiteY22" fmla="*/ 157932 h 5751788"/>
              <a:gd name="connsiteX23" fmla="*/ 4104058 w 4891380"/>
              <a:gd name="connsiteY23" fmla="*/ 171305 h 5751788"/>
              <a:gd name="connsiteX24" fmla="*/ 4169078 w 4891380"/>
              <a:gd name="connsiteY24" fmla="*/ 206492 h 5751788"/>
              <a:gd name="connsiteX25" fmla="*/ 4187505 w 4891380"/>
              <a:gd name="connsiteY25" fmla="*/ 218597 h 5751788"/>
              <a:gd name="connsiteX26" fmla="*/ 4196586 w 4891380"/>
              <a:gd name="connsiteY26" fmla="*/ 223742 h 5751788"/>
              <a:gd name="connsiteX27" fmla="*/ 4219053 w 4891380"/>
              <a:gd name="connsiteY27" fmla="*/ 239321 h 5751788"/>
              <a:gd name="connsiteX28" fmla="*/ 4273318 w 4891380"/>
              <a:gd name="connsiteY28" fmla="*/ 274969 h 5751788"/>
              <a:gd name="connsiteX29" fmla="*/ 4294820 w 4891380"/>
              <a:gd name="connsiteY29" fmla="*/ 291856 h 5751788"/>
              <a:gd name="connsiteX30" fmla="*/ 4305886 w 4891380"/>
              <a:gd name="connsiteY30" fmla="*/ 299528 h 5751788"/>
              <a:gd name="connsiteX31" fmla="*/ 4326035 w 4891380"/>
              <a:gd name="connsiteY31" fmla="*/ 316371 h 5751788"/>
              <a:gd name="connsiteX32" fmla="*/ 4371194 w 4891380"/>
              <a:gd name="connsiteY32" fmla="*/ 351838 h 5751788"/>
              <a:gd name="connsiteX33" fmla="*/ 4395115 w 4891380"/>
              <a:gd name="connsiteY33" fmla="*/ 374115 h 5751788"/>
              <a:gd name="connsiteX34" fmla="*/ 4407752 w 4891380"/>
              <a:gd name="connsiteY34" fmla="*/ 384678 h 5751788"/>
              <a:gd name="connsiteX35" fmla="*/ 4425090 w 4891380"/>
              <a:gd name="connsiteY35" fmla="*/ 402029 h 5751788"/>
              <a:gd name="connsiteX36" fmla="*/ 4462206 w 4891380"/>
              <a:gd name="connsiteY36" fmla="*/ 436592 h 5751788"/>
              <a:gd name="connsiteX37" fmla="*/ 4487824 w 4891380"/>
              <a:gd name="connsiteY37" fmla="*/ 464813 h 5751788"/>
              <a:gd name="connsiteX38" fmla="*/ 4501580 w 4891380"/>
              <a:gd name="connsiteY38" fmla="*/ 478579 h 5751788"/>
              <a:gd name="connsiteX39" fmla="*/ 4515948 w 4891380"/>
              <a:gd name="connsiteY39" fmla="*/ 495792 h 5751788"/>
              <a:gd name="connsiteX40" fmla="*/ 4545848 w 4891380"/>
              <a:gd name="connsiteY40" fmla="*/ 528727 h 5751788"/>
              <a:gd name="connsiteX41" fmla="*/ 4572386 w 4891380"/>
              <a:gd name="connsiteY41" fmla="*/ 563402 h 5751788"/>
              <a:gd name="connsiteX42" fmla="*/ 4586756 w 4891380"/>
              <a:gd name="connsiteY42" fmla="*/ 580617 h 5751788"/>
              <a:gd name="connsiteX43" fmla="*/ 4598192 w 4891380"/>
              <a:gd name="connsiteY43" fmla="*/ 597122 h 5751788"/>
              <a:gd name="connsiteX44" fmla="*/ 4621624 w 4891380"/>
              <a:gd name="connsiteY44" fmla="*/ 627739 h 5751788"/>
              <a:gd name="connsiteX45" fmla="*/ 4648242 w 4891380"/>
              <a:gd name="connsiteY45" fmla="*/ 669353 h 5751788"/>
              <a:gd name="connsiteX46" fmla="*/ 4662670 w 4891380"/>
              <a:gd name="connsiteY46" fmla="*/ 690177 h 5751788"/>
              <a:gd name="connsiteX47" fmla="*/ 4671340 w 4891380"/>
              <a:gd name="connsiteY47" fmla="*/ 705466 h 5751788"/>
              <a:gd name="connsiteX48" fmla="*/ 4689030 w 4891380"/>
              <a:gd name="connsiteY48" fmla="*/ 733120 h 5751788"/>
              <a:gd name="connsiteX49" fmla="*/ 4714840 w 4891380"/>
              <a:gd name="connsiteY49" fmla="*/ 782179 h 5751788"/>
              <a:gd name="connsiteX50" fmla="*/ 4728718 w 4891380"/>
              <a:gd name="connsiteY50" fmla="*/ 806649 h 5751788"/>
              <a:gd name="connsiteX51" fmla="*/ 4734878 w 4891380"/>
              <a:gd name="connsiteY51" fmla="*/ 820262 h 5751788"/>
              <a:gd name="connsiteX52" fmla="*/ 4747562 w 4891380"/>
              <a:gd name="connsiteY52" fmla="*/ 844366 h 5751788"/>
              <a:gd name="connsiteX53" fmla="*/ 4771636 w 4891380"/>
              <a:gd name="connsiteY53" fmla="*/ 901470 h 5751788"/>
              <a:gd name="connsiteX54" fmla="*/ 4784286 w 4891380"/>
              <a:gd name="connsiteY54" fmla="*/ 929419 h 5751788"/>
              <a:gd name="connsiteX55" fmla="*/ 4788276 w 4891380"/>
              <a:gd name="connsiteY55" fmla="*/ 940938 h 5751788"/>
              <a:gd name="connsiteX56" fmla="*/ 4796723 w 4891380"/>
              <a:gd name="connsiteY56" fmla="*/ 960976 h 5751788"/>
              <a:gd name="connsiteX57" fmla="*/ 4818080 w 4891380"/>
              <a:gd name="connsiteY57" fmla="*/ 1027005 h 5751788"/>
              <a:gd name="connsiteX58" fmla="*/ 4828768 w 4891380"/>
              <a:gd name="connsiteY58" fmla="*/ 1057869 h 5751788"/>
              <a:gd name="connsiteX59" fmla="*/ 4830991 w 4891380"/>
              <a:gd name="connsiteY59" fmla="*/ 1066923 h 5751788"/>
              <a:gd name="connsiteX60" fmla="*/ 4836008 w 4891380"/>
              <a:gd name="connsiteY60" fmla="*/ 1082438 h 5751788"/>
              <a:gd name="connsiteX61" fmla="*/ 4853630 w 4891380"/>
              <a:gd name="connsiteY61" fmla="*/ 1159131 h 5751788"/>
              <a:gd name="connsiteX62" fmla="*/ 4861552 w 4891380"/>
              <a:gd name="connsiteY62" fmla="*/ 1191393 h 5751788"/>
              <a:gd name="connsiteX63" fmla="*/ 4862478 w 4891380"/>
              <a:gd name="connsiteY63" fmla="*/ 1197643 h 5751788"/>
              <a:gd name="connsiteX64" fmla="*/ 4864917 w 4891380"/>
              <a:gd name="connsiteY64" fmla="*/ 1208252 h 5751788"/>
              <a:gd name="connsiteX65" fmla="*/ 4877746 w 4891380"/>
              <a:gd name="connsiteY65" fmla="*/ 1300513 h 5751788"/>
              <a:gd name="connsiteX66" fmla="*/ 4882030 w 4891380"/>
              <a:gd name="connsiteY66" fmla="*/ 1329371 h 5751788"/>
              <a:gd name="connsiteX67" fmla="*/ 4882182 w 4891380"/>
              <a:gd name="connsiteY67" fmla="*/ 1332410 h 5751788"/>
              <a:gd name="connsiteX68" fmla="*/ 4882946 w 4891380"/>
              <a:gd name="connsiteY68" fmla="*/ 1337912 h 5751788"/>
              <a:gd name="connsiteX69" fmla="*/ 4885957 w 4891380"/>
              <a:gd name="connsiteY69" fmla="*/ 1401901 h 5751788"/>
              <a:gd name="connsiteX70" fmla="*/ 4889624 w 4891380"/>
              <a:gd name="connsiteY70" fmla="*/ 1401901 h 5751788"/>
              <a:gd name="connsiteX71" fmla="*/ 4889624 w 4891380"/>
              <a:gd name="connsiteY71" fmla="*/ 1460895 h 5751788"/>
              <a:gd name="connsiteX72" fmla="*/ 4889624 w 4891380"/>
              <a:gd name="connsiteY72" fmla="*/ 1479885 h 5751788"/>
              <a:gd name="connsiteX73" fmla="*/ 4889624 w 4891380"/>
              <a:gd name="connsiteY73" fmla="*/ 1480329 h 5751788"/>
              <a:gd name="connsiteX74" fmla="*/ 4891380 w 4891380"/>
              <a:gd name="connsiteY74" fmla="*/ 1480329 h 5751788"/>
              <a:gd name="connsiteX75" fmla="*/ 4891380 w 4891380"/>
              <a:gd name="connsiteY75" fmla="*/ 1630791 h 5751788"/>
              <a:gd name="connsiteX76" fmla="*/ 3458648 w 4891380"/>
              <a:gd name="connsiteY76" fmla="*/ 1630791 h 5751788"/>
              <a:gd name="connsiteX77" fmla="*/ 3458648 w 4891380"/>
              <a:gd name="connsiteY77" fmla="*/ 1630792 h 5751788"/>
              <a:gd name="connsiteX78" fmla="*/ 3488751 w 4891380"/>
              <a:gd name="connsiteY78" fmla="*/ 1630792 h 5751788"/>
              <a:gd name="connsiteX79" fmla="*/ 3488751 w 4891380"/>
              <a:gd name="connsiteY79" fmla="*/ 1634126 h 5751788"/>
              <a:gd name="connsiteX80" fmla="*/ 3559916 w 4891380"/>
              <a:gd name="connsiteY80" fmla="*/ 1637518 h 5751788"/>
              <a:gd name="connsiteX81" fmla="*/ 3564234 w 4891380"/>
              <a:gd name="connsiteY81" fmla="*/ 1638140 h 5751788"/>
              <a:gd name="connsiteX82" fmla="*/ 3569986 w 4891380"/>
              <a:gd name="connsiteY82" fmla="*/ 1638433 h 5751788"/>
              <a:gd name="connsiteX83" fmla="*/ 3823196 w 4891380"/>
              <a:gd name="connsiteY83" fmla="*/ 1687245 h 5751788"/>
              <a:gd name="connsiteX84" fmla="*/ 3829153 w 4891380"/>
              <a:gd name="connsiteY84" fmla="*/ 1689237 h 5751788"/>
              <a:gd name="connsiteX85" fmla="*/ 3830180 w 4891380"/>
              <a:gd name="connsiteY85" fmla="*/ 1689487 h 5751788"/>
              <a:gd name="connsiteX86" fmla="*/ 3840400 w 4891380"/>
              <a:gd name="connsiteY86" fmla="*/ 1693004 h 5751788"/>
              <a:gd name="connsiteX87" fmla="*/ 3943516 w 4891380"/>
              <a:gd name="connsiteY87" fmla="*/ 1727519 h 5751788"/>
              <a:gd name="connsiteX88" fmla="*/ 3954100 w 4891380"/>
              <a:gd name="connsiteY88" fmla="*/ 1732119 h 5751788"/>
              <a:gd name="connsiteX89" fmla="*/ 3958122 w 4891380"/>
              <a:gd name="connsiteY89" fmla="*/ 1733503 h 5751788"/>
              <a:gd name="connsiteX90" fmla="*/ 3979868 w 4891380"/>
              <a:gd name="connsiteY90" fmla="*/ 1743320 h 5751788"/>
              <a:gd name="connsiteX91" fmla="*/ 4058976 w 4891380"/>
              <a:gd name="connsiteY91" fmla="*/ 1777700 h 5751788"/>
              <a:gd name="connsiteX92" fmla="*/ 4073741 w 4891380"/>
              <a:gd name="connsiteY92" fmla="*/ 1785690 h 5751788"/>
              <a:gd name="connsiteX93" fmla="*/ 4080461 w 4891380"/>
              <a:gd name="connsiteY93" fmla="*/ 1788723 h 5751788"/>
              <a:gd name="connsiteX94" fmla="*/ 4104057 w 4891380"/>
              <a:gd name="connsiteY94" fmla="*/ 1802096 h 5751788"/>
              <a:gd name="connsiteX95" fmla="*/ 4169078 w 4891380"/>
              <a:gd name="connsiteY95" fmla="*/ 1837283 h 5751788"/>
              <a:gd name="connsiteX96" fmla="*/ 4187505 w 4891380"/>
              <a:gd name="connsiteY96" fmla="*/ 1849388 h 5751788"/>
              <a:gd name="connsiteX97" fmla="*/ 4196584 w 4891380"/>
              <a:gd name="connsiteY97" fmla="*/ 1854532 h 5751788"/>
              <a:gd name="connsiteX98" fmla="*/ 4219053 w 4891380"/>
              <a:gd name="connsiteY98" fmla="*/ 1870112 h 5751788"/>
              <a:gd name="connsiteX99" fmla="*/ 4273316 w 4891380"/>
              <a:gd name="connsiteY99" fmla="*/ 1905760 h 5751788"/>
              <a:gd name="connsiteX100" fmla="*/ 4294820 w 4891380"/>
              <a:gd name="connsiteY100" fmla="*/ 1922647 h 5751788"/>
              <a:gd name="connsiteX101" fmla="*/ 4305884 w 4891380"/>
              <a:gd name="connsiteY101" fmla="*/ 1930319 h 5751788"/>
              <a:gd name="connsiteX102" fmla="*/ 4326034 w 4891380"/>
              <a:gd name="connsiteY102" fmla="*/ 1947163 h 5751788"/>
              <a:gd name="connsiteX103" fmla="*/ 4371194 w 4891380"/>
              <a:gd name="connsiteY103" fmla="*/ 1982629 h 5751788"/>
              <a:gd name="connsiteX104" fmla="*/ 4395114 w 4891380"/>
              <a:gd name="connsiteY104" fmla="*/ 2004906 h 5751788"/>
              <a:gd name="connsiteX105" fmla="*/ 4407752 w 4891380"/>
              <a:gd name="connsiteY105" fmla="*/ 2015469 h 5751788"/>
              <a:gd name="connsiteX106" fmla="*/ 4425088 w 4891380"/>
              <a:gd name="connsiteY106" fmla="*/ 2032820 h 5751788"/>
              <a:gd name="connsiteX107" fmla="*/ 4462204 w 4891380"/>
              <a:gd name="connsiteY107" fmla="*/ 2067383 h 5751788"/>
              <a:gd name="connsiteX108" fmla="*/ 4487823 w 4891380"/>
              <a:gd name="connsiteY108" fmla="*/ 2095602 h 5751788"/>
              <a:gd name="connsiteX109" fmla="*/ 4501580 w 4891380"/>
              <a:gd name="connsiteY109" fmla="*/ 2109370 h 5751788"/>
              <a:gd name="connsiteX110" fmla="*/ 4515948 w 4891380"/>
              <a:gd name="connsiteY110" fmla="*/ 2126583 h 5751788"/>
              <a:gd name="connsiteX111" fmla="*/ 4545846 w 4891380"/>
              <a:gd name="connsiteY111" fmla="*/ 2159517 h 5751788"/>
              <a:gd name="connsiteX112" fmla="*/ 4572383 w 4891380"/>
              <a:gd name="connsiteY112" fmla="*/ 2194191 h 5751788"/>
              <a:gd name="connsiteX113" fmla="*/ 4586756 w 4891380"/>
              <a:gd name="connsiteY113" fmla="*/ 2211408 h 5751788"/>
              <a:gd name="connsiteX114" fmla="*/ 4598190 w 4891380"/>
              <a:gd name="connsiteY114" fmla="*/ 2227912 h 5751788"/>
              <a:gd name="connsiteX115" fmla="*/ 4621623 w 4891380"/>
              <a:gd name="connsiteY115" fmla="*/ 2258530 h 5751788"/>
              <a:gd name="connsiteX116" fmla="*/ 4648242 w 4891380"/>
              <a:gd name="connsiteY116" fmla="*/ 2300144 h 5751788"/>
              <a:gd name="connsiteX117" fmla="*/ 4662670 w 4891380"/>
              <a:gd name="connsiteY117" fmla="*/ 2320968 h 5751788"/>
              <a:gd name="connsiteX118" fmla="*/ 4671340 w 4891380"/>
              <a:gd name="connsiteY118" fmla="*/ 2336257 h 5751788"/>
              <a:gd name="connsiteX119" fmla="*/ 4689028 w 4891380"/>
              <a:gd name="connsiteY119" fmla="*/ 2363911 h 5751788"/>
              <a:gd name="connsiteX120" fmla="*/ 4714840 w 4891380"/>
              <a:gd name="connsiteY120" fmla="*/ 2412970 h 5751788"/>
              <a:gd name="connsiteX121" fmla="*/ 4728716 w 4891380"/>
              <a:gd name="connsiteY121" fmla="*/ 2437439 h 5751788"/>
              <a:gd name="connsiteX122" fmla="*/ 4734877 w 4891380"/>
              <a:gd name="connsiteY122" fmla="*/ 2451053 h 5751788"/>
              <a:gd name="connsiteX123" fmla="*/ 4747562 w 4891380"/>
              <a:gd name="connsiteY123" fmla="*/ 2475157 h 5751788"/>
              <a:gd name="connsiteX124" fmla="*/ 4771636 w 4891380"/>
              <a:gd name="connsiteY124" fmla="*/ 2532261 h 5751788"/>
              <a:gd name="connsiteX125" fmla="*/ 4784286 w 4891380"/>
              <a:gd name="connsiteY125" fmla="*/ 2560208 h 5751788"/>
              <a:gd name="connsiteX126" fmla="*/ 4788274 w 4891380"/>
              <a:gd name="connsiteY126" fmla="*/ 2571729 h 5751788"/>
              <a:gd name="connsiteX127" fmla="*/ 4796723 w 4891380"/>
              <a:gd name="connsiteY127" fmla="*/ 2591766 h 5751788"/>
              <a:gd name="connsiteX128" fmla="*/ 4818078 w 4891380"/>
              <a:gd name="connsiteY128" fmla="*/ 2657796 h 5751788"/>
              <a:gd name="connsiteX129" fmla="*/ 4828766 w 4891380"/>
              <a:gd name="connsiteY129" fmla="*/ 2688660 h 5751788"/>
              <a:gd name="connsiteX130" fmla="*/ 4830988 w 4891380"/>
              <a:gd name="connsiteY130" fmla="*/ 2697714 h 5751788"/>
              <a:gd name="connsiteX131" fmla="*/ 4836008 w 4891380"/>
              <a:gd name="connsiteY131" fmla="*/ 2713229 h 5751788"/>
              <a:gd name="connsiteX132" fmla="*/ 4853629 w 4891380"/>
              <a:gd name="connsiteY132" fmla="*/ 2789921 h 5751788"/>
              <a:gd name="connsiteX133" fmla="*/ 4861550 w 4891380"/>
              <a:gd name="connsiteY133" fmla="*/ 2822183 h 5751788"/>
              <a:gd name="connsiteX134" fmla="*/ 4862477 w 4891380"/>
              <a:gd name="connsiteY134" fmla="*/ 2828433 h 5751788"/>
              <a:gd name="connsiteX135" fmla="*/ 4864917 w 4891380"/>
              <a:gd name="connsiteY135" fmla="*/ 2839043 h 5751788"/>
              <a:gd name="connsiteX136" fmla="*/ 4877746 w 4891380"/>
              <a:gd name="connsiteY136" fmla="*/ 2931303 h 5751788"/>
              <a:gd name="connsiteX137" fmla="*/ 4882029 w 4891380"/>
              <a:gd name="connsiteY137" fmla="*/ 2960161 h 5751788"/>
              <a:gd name="connsiteX138" fmla="*/ 4882180 w 4891380"/>
              <a:gd name="connsiteY138" fmla="*/ 2963200 h 5751788"/>
              <a:gd name="connsiteX139" fmla="*/ 4882946 w 4891380"/>
              <a:gd name="connsiteY139" fmla="*/ 2968703 h 5751788"/>
              <a:gd name="connsiteX140" fmla="*/ 4885956 w 4891380"/>
              <a:gd name="connsiteY140" fmla="*/ 3032692 h 5751788"/>
              <a:gd name="connsiteX141" fmla="*/ 4889624 w 4891380"/>
              <a:gd name="connsiteY141" fmla="*/ 3032692 h 5751788"/>
              <a:gd name="connsiteX142" fmla="*/ 4889624 w 4891380"/>
              <a:gd name="connsiteY142" fmla="*/ 3091686 h 5751788"/>
              <a:gd name="connsiteX143" fmla="*/ 4889624 w 4891380"/>
              <a:gd name="connsiteY143" fmla="*/ 3110675 h 5751788"/>
              <a:gd name="connsiteX144" fmla="*/ 4889624 w 4891380"/>
              <a:gd name="connsiteY144" fmla="*/ 3111118 h 5751788"/>
              <a:gd name="connsiteX145" fmla="*/ 4891379 w 4891380"/>
              <a:gd name="connsiteY145" fmla="*/ 3111118 h 5751788"/>
              <a:gd name="connsiteX146" fmla="*/ 4891379 w 4891380"/>
              <a:gd name="connsiteY146" fmla="*/ 3394564 h 5751788"/>
              <a:gd name="connsiteX147" fmla="*/ 4891379 w 4891380"/>
              <a:gd name="connsiteY147" fmla="*/ 3988016 h 5751788"/>
              <a:gd name="connsiteX148" fmla="*/ 4891379 w 4891380"/>
              <a:gd name="connsiteY148" fmla="*/ 4271461 h 5751788"/>
              <a:gd name="connsiteX149" fmla="*/ 4891379 w 4891380"/>
              <a:gd name="connsiteY149" fmla="*/ 4349890 h 5751788"/>
              <a:gd name="connsiteX150" fmla="*/ 4889640 w 4891380"/>
              <a:gd name="connsiteY150" fmla="*/ 4349890 h 5751788"/>
              <a:gd name="connsiteX151" fmla="*/ 4889640 w 4891380"/>
              <a:gd name="connsiteY151" fmla="*/ 5751787 h 5751788"/>
              <a:gd name="connsiteX152" fmla="*/ 4400501 w 4891380"/>
              <a:gd name="connsiteY152" fmla="*/ 5751787 h 5751788"/>
              <a:gd name="connsiteX153" fmla="*/ 3430753 w 4891380"/>
              <a:gd name="connsiteY153" fmla="*/ 5751787 h 5751788"/>
              <a:gd name="connsiteX154" fmla="*/ 3420593 w 4891380"/>
              <a:gd name="connsiteY154" fmla="*/ 5751787 h 5751788"/>
              <a:gd name="connsiteX155" fmla="*/ 3419727 w 4891380"/>
              <a:gd name="connsiteY155" fmla="*/ 5751787 h 5751788"/>
              <a:gd name="connsiteX156" fmla="*/ 3419712 w 4891380"/>
              <a:gd name="connsiteY156" fmla="*/ 5751788 h 5751788"/>
              <a:gd name="connsiteX157" fmla="*/ 3419699 w 4891380"/>
              <a:gd name="connsiteY157" fmla="*/ 5751787 h 5751788"/>
              <a:gd name="connsiteX158" fmla="*/ 3350656 w 4891380"/>
              <a:gd name="connsiteY158" fmla="*/ 5751787 h 5751788"/>
              <a:gd name="connsiteX159" fmla="*/ 2941613 w 4891380"/>
              <a:gd name="connsiteY159" fmla="*/ 5751787 h 5751788"/>
              <a:gd name="connsiteX160" fmla="*/ 2931453 w 4891380"/>
              <a:gd name="connsiteY160" fmla="*/ 5751787 h 5751788"/>
              <a:gd name="connsiteX161" fmla="*/ 2930587 w 4891380"/>
              <a:gd name="connsiteY161" fmla="*/ 5751787 h 5751788"/>
              <a:gd name="connsiteX162" fmla="*/ 2930574 w 4891380"/>
              <a:gd name="connsiteY162" fmla="*/ 5751788 h 5751788"/>
              <a:gd name="connsiteX163" fmla="*/ 2930558 w 4891380"/>
              <a:gd name="connsiteY163" fmla="*/ 5751787 h 5751788"/>
              <a:gd name="connsiteX164" fmla="*/ 2861517 w 4891380"/>
              <a:gd name="connsiteY164" fmla="*/ 5751787 h 5751788"/>
              <a:gd name="connsiteX165" fmla="*/ 1961706 w 4891380"/>
              <a:gd name="connsiteY165" fmla="*/ 5751787 h 5751788"/>
              <a:gd name="connsiteX166" fmla="*/ 1960839 w 4891380"/>
              <a:gd name="connsiteY166" fmla="*/ 5751787 h 5751788"/>
              <a:gd name="connsiteX167" fmla="*/ 1960824 w 4891380"/>
              <a:gd name="connsiteY167" fmla="*/ 5751788 h 5751788"/>
              <a:gd name="connsiteX168" fmla="*/ 1960810 w 4891380"/>
              <a:gd name="connsiteY168" fmla="*/ 5751787 h 5751788"/>
              <a:gd name="connsiteX169" fmla="*/ 1891768 w 4891380"/>
              <a:gd name="connsiteY169" fmla="*/ 5751787 h 5751788"/>
              <a:gd name="connsiteX170" fmla="*/ 1472566 w 4891380"/>
              <a:gd name="connsiteY170" fmla="*/ 5751787 h 5751788"/>
              <a:gd name="connsiteX171" fmla="*/ 1471699 w 4891380"/>
              <a:gd name="connsiteY171" fmla="*/ 5751787 h 5751788"/>
              <a:gd name="connsiteX172" fmla="*/ 1471686 w 4891380"/>
              <a:gd name="connsiteY172" fmla="*/ 5751788 h 5751788"/>
              <a:gd name="connsiteX173" fmla="*/ 1471671 w 4891380"/>
              <a:gd name="connsiteY173" fmla="*/ 5751787 h 5751788"/>
              <a:gd name="connsiteX174" fmla="*/ 1402630 w 4891380"/>
              <a:gd name="connsiteY174" fmla="*/ 5751787 h 5751788"/>
              <a:gd name="connsiteX175" fmla="*/ 1402630 w 4891380"/>
              <a:gd name="connsiteY175" fmla="*/ 5748454 h 5751788"/>
              <a:gd name="connsiteX176" fmla="*/ 1331464 w 4891380"/>
              <a:gd name="connsiteY176" fmla="*/ 5745061 h 5751788"/>
              <a:gd name="connsiteX177" fmla="*/ 1327146 w 4891380"/>
              <a:gd name="connsiteY177" fmla="*/ 5744440 h 5751788"/>
              <a:gd name="connsiteX178" fmla="*/ 1321394 w 4891380"/>
              <a:gd name="connsiteY178" fmla="*/ 5744149 h 5751788"/>
              <a:gd name="connsiteX179" fmla="*/ 1068185 w 4891380"/>
              <a:gd name="connsiteY179" fmla="*/ 5695337 h 5751788"/>
              <a:gd name="connsiteX180" fmla="*/ 1062227 w 4891380"/>
              <a:gd name="connsiteY180" fmla="*/ 5693342 h 5751788"/>
              <a:gd name="connsiteX181" fmla="*/ 1061200 w 4891380"/>
              <a:gd name="connsiteY181" fmla="*/ 5693093 h 5751788"/>
              <a:gd name="connsiteX182" fmla="*/ 1050981 w 4891380"/>
              <a:gd name="connsiteY182" fmla="*/ 5689577 h 5751788"/>
              <a:gd name="connsiteX183" fmla="*/ 947864 w 4891380"/>
              <a:gd name="connsiteY183" fmla="*/ 5655061 h 5751788"/>
              <a:gd name="connsiteX184" fmla="*/ 937281 w 4891380"/>
              <a:gd name="connsiteY184" fmla="*/ 5650461 h 5751788"/>
              <a:gd name="connsiteX185" fmla="*/ 933258 w 4891380"/>
              <a:gd name="connsiteY185" fmla="*/ 5649077 h 5751788"/>
              <a:gd name="connsiteX186" fmla="*/ 911512 w 4891380"/>
              <a:gd name="connsiteY186" fmla="*/ 5639261 h 5751788"/>
              <a:gd name="connsiteX187" fmla="*/ 832403 w 4891380"/>
              <a:gd name="connsiteY187" fmla="*/ 5604881 h 5751788"/>
              <a:gd name="connsiteX188" fmla="*/ 817638 w 4891380"/>
              <a:gd name="connsiteY188" fmla="*/ 5596891 h 5751788"/>
              <a:gd name="connsiteX189" fmla="*/ 810920 w 4891380"/>
              <a:gd name="connsiteY189" fmla="*/ 5593857 h 5751788"/>
              <a:gd name="connsiteX190" fmla="*/ 787324 w 4891380"/>
              <a:gd name="connsiteY190" fmla="*/ 5580484 h 5751788"/>
              <a:gd name="connsiteX191" fmla="*/ 722302 w 4891380"/>
              <a:gd name="connsiteY191" fmla="*/ 5545298 h 5751788"/>
              <a:gd name="connsiteX192" fmla="*/ 703875 w 4891380"/>
              <a:gd name="connsiteY192" fmla="*/ 5533192 h 5751788"/>
              <a:gd name="connsiteX193" fmla="*/ 694796 w 4891380"/>
              <a:gd name="connsiteY193" fmla="*/ 5528048 h 5751788"/>
              <a:gd name="connsiteX194" fmla="*/ 672327 w 4891380"/>
              <a:gd name="connsiteY194" fmla="*/ 5512468 h 5751788"/>
              <a:gd name="connsiteX195" fmla="*/ 618064 w 4891380"/>
              <a:gd name="connsiteY195" fmla="*/ 5476820 h 5751788"/>
              <a:gd name="connsiteX196" fmla="*/ 596562 w 4891380"/>
              <a:gd name="connsiteY196" fmla="*/ 5459933 h 5751788"/>
              <a:gd name="connsiteX197" fmla="*/ 585496 w 4891380"/>
              <a:gd name="connsiteY197" fmla="*/ 5452261 h 5751788"/>
              <a:gd name="connsiteX198" fmla="*/ 565345 w 4891380"/>
              <a:gd name="connsiteY198" fmla="*/ 5435418 h 5751788"/>
              <a:gd name="connsiteX199" fmla="*/ 520187 w 4891380"/>
              <a:gd name="connsiteY199" fmla="*/ 5399950 h 5751788"/>
              <a:gd name="connsiteX200" fmla="*/ 496267 w 4891380"/>
              <a:gd name="connsiteY200" fmla="*/ 5377676 h 5751788"/>
              <a:gd name="connsiteX201" fmla="*/ 483628 w 4891380"/>
              <a:gd name="connsiteY201" fmla="*/ 5367110 h 5751788"/>
              <a:gd name="connsiteX202" fmla="*/ 466291 w 4891380"/>
              <a:gd name="connsiteY202" fmla="*/ 5349761 h 5751788"/>
              <a:gd name="connsiteX203" fmla="*/ 429176 w 4891380"/>
              <a:gd name="connsiteY203" fmla="*/ 5315197 h 5751788"/>
              <a:gd name="connsiteX204" fmla="*/ 403557 w 4891380"/>
              <a:gd name="connsiteY204" fmla="*/ 5286978 h 5751788"/>
              <a:gd name="connsiteX205" fmla="*/ 389801 w 4891380"/>
              <a:gd name="connsiteY205" fmla="*/ 5273210 h 5751788"/>
              <a:gd name="connsiteX206" fmla="*/ 375432 w 4891380"/>
              <a:gd name="connsiteY206" fmla="*/ 5255998 h 5751788"/>
              <a:gd name="connsiteX207" fmla="*/ 345533 w 4891380"/>
              <a:gd name="connsiteY207" fmla="*/ 5223062 h 5751788"/>
              <a:gd name="connsiteX208" fmla="*/ 318997 w 4891380"/>
              <a:gd name="connsiteY208" fmla="*/ 5188388 h 5751788"/>
              <a:gd name="connsiteX209" fmla="*/ 304626 w 4891380"/>
              <a:gd name="connsiteY209" fmla="*/ 5171174 h 5751788"/>
              <a:gd name="connsiteX210" fmla="*/ 293189 w 4891380"/>
              <a:gd name="connsiteY210" fmla="*/ 5154668 h 5751788"/>
              <a:gd name="connsiteX211" fmla="*/ 269757 w 4891380"/>
              <a:gd name="connsiteY211" fmla="*/ 5124051 h 5751788"/>
              <a:gd name="connsiteX212" fmla="*/ 243139 w 4891380"/>
              <a:gd name="connsiteY212" fmla="*/ 5082435 h 5751788"/>
              <a:gd name="connsiteX213" fmla="*/ 228710 w 4891380"/>
              <a:gd name="connsiteY213" fmla="*/ 5061612 h 5751788"/>
              <a:gd name="connsiteX214" fmla="*/ 220040 w 4891380"/>
              <a:gd name="connsiteY214" fmla="*/ 5046323 h 5751788"/>
              <a:gd name="connsiteX215" fmla="*/ 202353 w 4891380"/>
              <a:gd name="connsiteY215" fmla="*/ 5018669 h 5751788"/>
              <a:gd name="connsiteX216" fmla="*/ 176540 w 4891380"/>
              <a:gd name="connsiteY216" fmla="*/ 4969611 h 5751788"/>
              <a:gd name="connsiteX217" fmla="*/ 162664 w 4891380"/>
              <a:gd name="connsiteY217" fmla="*/ 4945140 h 5751788"/>
              <a:gd name="connsiteX218" fmla="*/ 156502 w 4891380"/>
              <a:gd name="connsiteY218" fmla="*/ 4931527 h 5751788"/>
              <a:gd name="connsiteX219" fmla="*/ 143819 w 4891380"/>
              <a:gd name="connsiteY219" fmla="*/ 4907422 h 5751788"/>
              <a:gd name="connsiteX220" fmla="*/ 119746 w 4891380"/>
              <a:gd name="connsiteY220" fmla="*/ 4850319 h 5751788"/>
              <a:gd name="connsiteX221" fmla="*/ 107095 w 4891380"/>
              <a:gd name="connsiteY221" fmla="*/ 4822372 h 5751788"/>
              <a:gd name="connsiteX222" fmla="*/ 103107 w 4891380"/>
              <a:gd name="connsiteY222" fmla="*/ 4810852 h 5751788"/>
              <a:gd name="connsiteX223" fmla="*/ 94658 w 4891380"/>
              <a:gd name="connsiteY223" fmla="*/ 4790814 h 5751788"/>
              <a:gd name="connsiteX224" fmla="*/ 73303 w 4891380"/>
              <a:gd name="connsiteY224" fmla="*/ 4724785 h 5751788"/>
              <a:gd name="connsiteX225" fmla="*/ 62615 w 4891380"/>
              <a:gd name="connsiteY225" fmla="*/ 4693921 h 5751788"/>
              <a:gd name="connsiteX226" fmla="*/ 60392 w 4891380"/>
              <a:gd name="connsiteY226" fmla="*/ 4684865 h 5751788"/>
              <a:gd name="connsiteX227" fmla="*/ 55373 w 4891380"/>
              <a:gd name="connsiteY227" fmla="*/ 4669350 h 5751788"/>
              <a:gd name="connsiteX228" fmla="*/ 37752 w 4891380"/>
              <a:gd name="connsiteY228" fmla="*/ 4592660 h 5751788"/>
              <a:gd name="connsiteX229" fmla="*/ 29830 w 4891380"/>
              <a:gd name="connsiteY229" fmla="*/ 4560396 h 5751788"/>
              <a:gd name="connsiteX230" fmla="*/ 28902 w 4891380"/>
              <a:gd name="connsiteY230" fmla="*/ 4554148 h 5751788"/>
              <a:gd name="connsiteX231" fmla="*/ 26465 w 4891380"/>
              <a:gd name="connsiteY231" fmla="*/ 4543536 h 5751788"/>
              <a:gd name="connsiteX232" fmla="*/ 13636 w 4891380"/>
              <a:gd name="connsiteY232" fmla="*/ 4451278 h 5751788"/>
              <a:gd name="connsiteX233" fmla="*/ 9352 w 4891380"/>
              <a:gd name="connsiteY233" fmla="*/ 4422418 h 5751788"/>
              <a:gd name="connsiteX234" fmla="*/ 9200 w 4891380"/>
              <a:gd name="connsiteY234" fmla="*/ 4419380 h 5751788"/>
              <a:gd name="connsiteX235" fmla="*/ 8434 w 4891380"/>
              <a:gd name="connsiteY235" fmla="*/ 4413877 h 5751788"/>
              <a:gd name="connsiteX236" fmla="*/ 5426 w 4891380"/>
              <a:gd name="connsiteY236" fmla="*/ 4349890 h 5751788"/>
              <a:gd name="connsiteX237" fmla="*/ 1757 w 4891380"/>
              <a:gd name="connsiteY237" fmla="*/ 4349890 h 5751788"/>
              <a:gd name="connsiteX238" fmla="*/ 1757 w 4891380"/>
              <a:gd name="connsiteY238" fmla="*/ 4290894 h 5751788"/>
              <a:gd name="connsiteX239" fmla="*/ 1757 w 4891380"/>
              <a:gd name="connsiteY239" fmla="*/ 4271904 h 5751788"/>
              <a:gd name="connsiteX240" fmla="*/ 1757 w 4891380"/>
              <a:gd name="connsiteY240" fmla="*/ 4271461 h 5751788"/>
              <a:gd name="connsiteX241" fmla="*/ 0 w 4891380"/>
              <a:gd name="connsiteY241" fmla="*/ 4271461 h 5751788"/>
              <a:gd name="connsiteX242" fmla="*/ 0 w 4891380"/>
              <a:gd name="connsiteY242" fmla="*/ 3988016 h 5751788"/>
              <a:gd name="connsiteX243" fmla="*/ 0 w 4891380"/>
              <a:gd name="connsiteY243" fmla="*/ 3394564 h 5751788"/>
              <a:gd name="connsiteX244" fmla="*/ 0 w 4891380"/>
              <a:gd name="connsiteY244" fmla="*/ 3111118 h 5751788"/>
              <a:gd name="connsiteX245" fmla="*/ 0 w 4891380"/>
              <a:gd name="connsiteY245" fmla="*/ 3032692 h 5751788"/>
              <a:gd name="connsiteX246" fmla="*/ 1740 w 4891380"/>
              <a:gd name="connsiteY246" fmla="*/ 3032692 h 5751788"/>
              <a:gd name="connsiteX247" fmla="*/ 1740 w 4891380"/>
              <a:gd name="connsiteY247" fmla="*/ 3022121 h 5751788"/>
              <a:gd name="connsiteX248" fmla="*/ 0 w 4891380"/>
              <a:gd name="connsiteY248" fmla="*/ 3022121 h 575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4891380" h="5751788">
                <a:moveTo>
                  <a:pt x="0" y="0"/>
                </a:moveTo>
                <a:lnTo>
                  <a:pt x="1471669" y="0"/>
                </a:lnTo>
                <a:lnTo>
                  <a:pt x="1960808" y="0"/>
                </a:lnTo>
                <a:lnTo>
                  <a:pt x="2930558" y="0"/>
                </a:lnTo>
                <a:lnTo>
                  <a:pt x="3419696" y="0"/>
                </a:lnTo>
                <a:lnTo>
                  <a:pt x="3458648" y="0"/>
                </a:lnTo>
                <a:lnTo>
                  <a:pt x="3458648" y="1"/>
                </a:lnTo>
                <a:lnTo>
                  <a:pt x="3488752" y="1"/>
                </a:lnTo>
                <a:lnTo>
                  <a:pt x="3488752" y="3335"/>
                </a:lnTo>
                <a:lnTo>
                  <a:pt x="3559916" y="6728"/>
                </a:lnTo>
                <a:lnTo>
                  <a:pt x="3564234" y="7350"/>
                </a:lnTo>
                <a:lnTo>
                  <a:pt x="3569987" y="7641"/>
                </a:lnTo>
                <a:cubicBezTo>
                  <a:pt x="3656849" y="16522"/>
                  <a:pt x="3741475" y="33018"/>
                  <a:pt x="3823196" y="56454"/>
                </a:cubicBezTo>
                <a:lnTo>
                  <a:pt x="3829154" y="58447"/>
                </a:lnTo>
                <a:lnTo>
                  <a:pt x="3830180" y="58696"/>
                </a:lnTo>
                <a:lnTo>
                  <a:pt x="3840400" y="62213"/>
                </a:lnTo>
                <a:lnTo>
                  <a:pt x="3943517" y="96729"/>
                </a:lnTo>
                <a:lnTo>
                  <a:pt x="3954101" y="101328"/>
                </a:lnTo>
                <a:lnTo>
                  <a:pt x="3958123" y="102713"/>
                </a:lnTo>
                <a:lnTo>
                  <a:pt x="3979869" y="112529"/>
                </a:lnTo>
                <a:lnTo>
                  <a:pt x="4058977" y="146909"/>
                </a:lnTo>
                <a:lnTo>
                  <a:pt x="4073742" y="154899"/>
                </a:lnTo>
                <a:lnTo>
                  <a:pt x="4080462" y="157932"/>
                </a:lnTo>
                <a:lnTo>
                  <a:pt x="4104058" y="171305"/>
                </a:lnTo>
                <a:lnTo>
                  <a:pt x="4169078" y="206492"/>
                </a:lnTo>
                <a:lnTo>
                  <a:pt x="4187505" y="218597"/>
                </a:lnTo>
                <a:lnTo>
                  <a:pt x="4196586" y="223742"/>
                </a:lnTo>
                <a:lnTo>
                  <a:pt x="4219053" y="239321"/>
                </a:lnTo>
                <a:lnTo>
                  <a:pt x="4273318" y="274969"/>
                </a:lnTo>
                <a:lnTo>
                  <a:pt x="4294820" y="291856"/>
                </a:lnTo>
                <a:lnTo>
                  <a:pt x="4305886" y="299528"/>
                </a:lnTo>
                <a:lnTo>
                  <a:pt x="4326035" y="316371"/>
                </a:lnTo>
                <a:lnTo>
                  <a:pt x="4371194" y="351838"/>
                </a:lnTo>
                <a:lnTo>
                  <a:pt x="4395115" y="374115"/>
                </a:lnTo>
                <a:lnTo>
                  <a:pt x="4407752" y="384678"/>
                </a:lnTo>
                <a:lnTo>
                  <a:pt x="4425090" y="402029"/>
                </a:lnTo>
                <a:lnTo>
                  <a:pt x="4462206" y="436592"/>
                </a:lnTo>
                <a:lnTo>
                  <a:pt x="4487824" y="464813"/>
                </a:lnTo>
                <a:lnTo>
                  <a:pt x="4501580" y="478579"/>
                </a:lnTo>
                <a:lnTo>
                  <a:pt x="4515948" y="495792"/>
                </a:lnTo>
                <a:lnTo>
                  <a:pt x="4545848" y="528727"/>
                </a:lnTo>
                <a:lnTo>
                  <a:pt x="4572386" y="563402"/>
                </a:lnTo>
                <a:lnTo>
                  <a:pt x="4586756" y="580617"/>
                </a:lnTo>
                <a:lnTo>
                  <a:pt x="4598192" y="597122"/>
                </a:lnTo>
                <a:lnTo>
                  <a:pt x="4621624" y="627739"/>
                </a:lnTo>
                <a:lnTo>
                  <a:pt x="4648242" y="669353"/>
                </a:lnTo>
                <a:lnTo>
                  <a:pt x="4662670" y="690177"/>
                </a:lnTo>
                <a:lnTo>
                  <a:pt x="4671340" y="705466"/>
                </a:lnTo>
                <a:lnTo>
                  <a:pt x="4689030" y="733120"/>
                </a:lnTo>
                <a:lnTo>
                  <a:pt x="4714840" y="782179"/>
                </a:lnTo>
                <a:lnTo>
                  <a:pt x="4728718" y="806649"/>
                </a:lnTo>
                <a:lnTo>
                  <a:pt x="4734878" y="820262"/>
                </a:lnTo>
                <a:lnTo>
                  <a:pt x="4747562" y="844366"/>
                </a:lnTo>
                <a:lnTo>
                  <a:pt x="4771636" y="901470"/>
                </a:lnTo>
                <a:lnTo>
                  <a:pt x="4784286" y="929419"/>
                </a:lnTo>
                <a:lnTo>
                  <a:pt x="4788276" y="940938"/>
                </a:lnTo>
                <a:lnTo>
                  <a:pt x="4796723" y="960976"/>
                </a:lnTo>
                <a:lnTo>
                  <a:pt x="4818080" y="1027005"/>
                </a:lnTo>
                <a:lnTo>
                  <a:pt x="4828768" y="1057869"/>
                </a:lnTo>
                <a:lnTo>
                  <a:pt x="4830991" y="1066923"/>
                </a:lnTo>
                <a:lnTo>
                  <a:pt x="4836008" y="1082438"/>
                </a:lnTo>
                <a:lnTo>
                  <a:pt x="4853630" y="1159131"/>
                </a:lnTo>
                <a:lnTo>
                  <a:pt x="4861552" y="1191393"/>
                </a:lnTo>
                <a:lnTo>
                  <a:pt x="4862478" y="1197643"/>
                </a:lnTo>
                <a:lnTo>
                  <a:pt x="4864917" y="1208252"/>
                </a:lnTo>
                <a:lnTo>
                  <a:pt x="4877746" y="1300513"/>
                </a:lnTo>
                <a:lnTo>
                  <a:pt x="4882030" y="1329371"/>
                </a:lnTo>
                <a:lnTo>
                  <a:pt x="4882182" y="1332410"/>
                </a:lnTo>
                <a:lnTo>
                  <a:pt x="4882946" y="1337912"/>
                </a:lnTo>
                <a:lnTo>
                  <a:pt x="4885957" y="1401901"/>
                </a:lnTo>
                <a:lnTo>
                  <a:pt x="4889624" y="1401901"/>
                </a:lnTo>
                <a:lnTo>
                  <a:pt x="4889624" y="1460895"/>
                </a:lnTo>
                <a:lnTo>
                  <a:pt x="4889624" y="1479885"/>
                </a:lnTo>
                <a:lnTo>
                  <a:pt x="4889624" y="1480329"/>
                </a:lnTo>
                <a:lnTo>
                  <a:pt x="4891380" y="1480329"/>
                </a:lnTo>
                <a:lnTo>
                  <a:pt x="4891380" y="1630791"/>
                </a:lnTo>
                <a:lnTo>
                  <a:pt x="3458648" y="1630791"/>
                </a:lnTo>
                <a:lnTo>
                  <a:pt x="3458648" y="1630792"/>
                </a:lnTo>
                <a:lnTo>
                  <a:pt x="3488751" y="1630792"/>
                </a:lnTo>
                <a:lnTo>
                  <a:pt x="3488751" y="1634126"/>
                </a:lnTo>
                <a:lnTo>
                  <a:pt x="3559916" y="1637518"/>
                </a:lnTo>
                <a:lnTo>
                  <a:pt x="3564234" y="1638140"/>
                </a:lnTo>
                <a:lnTo>
                  <a:pt x="3569986" y="1638433"/>
                </a:lnTo>
                <a:cubicBezTo>
                  <a:pt x="3656848" y="1647313"/>
                  <a:pt x="3741475" y="1663807"/>
                  <a:pt x="3823196" y="1687245"/>
                </a:cubicBezTo>
                <a:lnTo>
                  <a:pt x="3829153" y="1689237"/>
                </a:lnTo>
                <a:lnTo>
                  <a:pt x="3830180" y="1689487"/>
                </a:lnTo>
                <a:lnTo>
                  <a:pt x="3840400" y="1693004"/>
                </a:lnTo>
                <a:lnTo>
                  <a:pt x="3943516" y="1727519"/>
                </a:lnTo>
                <a:lnTo>
                  <a:pt x="3954100" y="1732119"/>
                </a:lnTo>
                <a:lnTo>
                  <a:pt x="3958122" y="1733503"/>
                </a:lnTo>
                <a:lnTo>
                  <a:pt x="3979868" y="1743320"/>
                </a:lnTo>
                <a:lnTo>
                  <a:pt x="4058976" y="1777700"/>
                </a:lnTo>
                <a:lnTo>
                  <a:pt x="4073741" y="1785690"/>
                </a:lnTo>
                <a:lnTo>
                  <a:pt x="4080461" y="1788723"/>
                </a:lnTo>
                <a:lnTo>
                  <a:pt x="4104057" y="1802096"/>
                </a:lnTo>
                <a:lnTo>
                  <a:pt x="4169078" y="1837283"/>
                </a:lnTo>
                <a:lnTo>
                  <a:pt x="4187505" y="1849388"/>
                </a:lnTo>
                <a:lnTo>
                  <a:pt x="4196584" y="1854532"/>
                </a:lnTo>
                <a:lnTo>
                  <a:pt x="4219053" y="1870112"/>
                </a:lnTo>
                <a:lnTo>
                  <a:pt x="4273316" y="1905760"/>
                </a:lnTo>
                <a:lnTo>
                  <a:pt x="4294820" y="1922647"/>
                </a:lnTo>
                <a:lnTo>
                  <a:pt x="4305884" y="1930319"/>
                </a:lnTo>
                <a:lnTo>
                  <a:pt x="4326034" y="1947163"/>
                </a:lnTo>
                <a:lnTo>
                  <a:pt x="4371194" y="1982629"/>
                </a:lnTo>
                <a:lnTo>
                  <a:pt x="4395114" y="2004906"/>
                </a:lnTo>
                <a:lnTo>
                  <a:pt x="4407752" y="2015469"/>
                </a:lnTo>
                <a:lnTo>
                  <a:pt x="4425088" y="2032820"/>
                </a:lnTo>
                <a:lnTo>
                  <a:pt x="4462204" y="2067383"/>
                </a:lnTo>
                <a:lnTo>
                  <a:pt x="4487823" y="2095602"/>
                </a:lnTo>
                <a:lnTo>
                  <a:pt x="4501580" y="2109370"/>
                </a:lnTo>
                <a:lnTo>
                  <a:pt x="4515948" y="2126583"/>
                </a:lnTo>
                <a:lnTo>
                  <a:pt x="4545846" y="2159517"/>
                </a:lnTo>
                <a:lnTo>
                  <a:pt x="4572383" y="2194191"/>
                </a:lnTo>
                <a:lnTo>
                  <a:pt x="4586756" y="2211408"/>
                </a:lnTo>
                <a:lnTo>
                  <a:pt x="4598190" y="2227912"/>
                </a:lnTo>
                <a:lnTo>
                  <a:pt x="4621623" y="2258530"/>
                </a:lnTo>
                <a:lnTo>
                  <a:pt x="4648242" y="2300144"/>
                </a:lnTo>
                <a:lnTo>
                  <a:pt x="4662670" y="2320968"/>
                </a:lnTo>
                <a:lnTo>
                  <a:pt x="4671340" y="2336257"/>
                </a:lnTo>
                <a:lnTo>
                  <a:pt x="4689028" y="2363911"/>
                </a:lnTo>
                <a:lnTo>
                  <a:pt x="4714840" y="2412970"/>
                </a:lnTo>
                <a:lnTo>
                  <a:pt x="4728716" y="2437439"/>
                </a:lnTo>
                <a:lnTo>
                  <a:pt x="4734877" y="2451053"/>
                </a:lnTo>
                <a:lnTo>
                  <a:pt x="4747562" y="2475157"/>
                </a:lnTo>
                <a:lnTo>
                  <a:pt x="4771636" y="2532261"/>
                </a:lnTo>
                <a:lnTo>
                  <a:pt x="4784286" y="2560208"/>
                </a:lnTo>
                <a:lnTo>
                  <a:pt x="4788274" y="2571729"/>
                </a:lnTo>
                <a:lnTo>
                  <a:pt x="4796723" y="2591766"/>
                </a:lnTo>
                <a:lnTo>
                  <a:pt x="4818078" y="2657796"/>
                </a:lnTo>
                <a:lnTo>
                  <a:pt x="4828766" y="2688660"/>
                </a:lnTo>
                <a:lnTo>
                  <a:pt x="4830988" y="2697714"/>
                </a:lnTo>
                <a:lnTo>
                  <a:pt x="4836008" y="2713229"/>
                </a:lnTo>
                <a:lnTo>
                  <a:pt x="4853629" y="2789921"/>
                </a:lnTo>
                <a:lnTo>
                  <a:pt x="4861550" y="2822183"/>
                </a:lnTo>
                <a:lnTo>
                  <a:pt x="4862477" y="2828433"/>
                </a:lnTo>
                <a:lnTo>
                  <a:pt x="4864917" y="2839043"/>
                </a:lnTo>
                <a:lnTo>
                  <a:pt x="4877746" y="2931303"/>
                </a:lnTo>
                <a:lnTo>
                  <a:pt x="4882029" y="2960161"/>
                </a:lnTo>
                <a:lnTo>
                  <a:pt x="4882180" y="2963200"/>
                </a:lnTo>
                <a:lnTo>
                  <a:pt x="4882946" y="2968703"/>
                </a:lnTo>
                <a:lnTo>
                  <a:pt x="4885956" y="3032692"/>
                </a:lnTo>
                <a:lnTo>
                  <a:pt x="4889624" y="3032692"/>
                </a:lnTo>
                <a:lnTo>
                  <a:pt x="4889624" y="3091686"/>
                </a:lnTo>
                <a:lnTo>
                  <a:pt x="4889624" y="3110675"/>
                </a:lnTo>
                <a:lnTo>
                  <a:pt x="4889624" y="3111118"/>
                </a:lnTo>
                <a:lnTo>
                  <a:pt x="4891379" y="3111118"/>
                </a:lnTo>
                <a:lnTo>
                  <a:pt x="4891379" y="3394564"/>
                </a:lnTo>
                <a:lnTo>
                  <a:pt x="4891379" y="3988016"/>
                </a:lnTo>
                <a:lnTo>
                  <a:pt x="4891379" y="4271461"/>
                </a:lnTo>
                <a:lnTo>
                  <a:pt x="4891379" y="4349890"/>
                </a:lnTo>
                <a:lnTo>
                  <a:pt x="4889640" y="4349890"/>
                </a:lnTo>
                <a:lnTo>
                  <a:pt x="4889640" y="5751787"/>
                </a:lnTo>
                <a:lnTo>
                  <a:pt x="4400501" y="5751787"/>
                </a:lnTo>
                <a:lnTo>
                  <a:pt x="3430753" y="5751787"/>
                </a:lnTo>
                <a:lnTo>
                  <a:pt x="3420593" y="5751787"/>
                </a:lnTo>
                <a:lnTo>
                  <a:pt x="3419727" y="5751787"/>
                </a:lnTo>
                <a:lnTo>
                  <a:pt x="3419712" y="5751788"/>
                </a:lnTo>
                <a:lnTo>
                  <a:pt x="3419699" y="5751787"/>
                </a:lnTo>
                <a:lnTo>
                  <a:pt x="3350656" y="5751787"/>
                </a:lnTo>
                <a:lnTo>
                  <a:pt x="2941613" y="5751787"/>
                </a:lnTo>
                <a:lnTo>
                  <a:pt x="2931453" y="5751787"/>
                </a:lnTo>
                <a:lnTo>
                  <a:pt x="2930587" y="5751787"/>
                </a:lnTo>
                <a:lnTo>
                  <a:pt x="2930574" y="5751788"/>
                </a:lnTo>
                <a:lnTo>
                  <a:pt x="2930558" y="5751787"/>
                </a:lnTo>
                <a:lnTo>
                  <a:pt x="2861517" y="5751787"/>
                </a:lnTo>
                <a:lnTo>
                  <a:pt x="1961706" y="5751787"/>
                </a:lnTo>
                <a:lnTo>
                  <a:pt x="1960839" y="5751787"/>
                </a:lnTo>
                <a:lnTo>
                  <a:pt x="1960824" y="5751788"/>
                </a:lnTo>
                <a:lnTo>
                  <a:pt x="1960810" y="5751787"/>
                </a:lnTo>
                <a:lnTo>
                  <a:pt x="1891768" y="5751787"/>
                </a:lnTo>
                <a:lnTo>
                  <a:pt x="1472566" y="5751787"/>
                </a:lnTo>
                <a:lnTo>
                  <a:pt x="1471699" y="5751787"/>
                </a:lnTo>
                <a:lnTo>
                  <a:pt x="1471686" y="5751788"/>
                </a:lnTo>
                <a:lnTo>
                  <a:pt x="1471671" y="5751787"/>
                </a:lnTo>
                <a:lnTo>
                  <a:pt x="1402630" y="5751787"/>
                </a:lnTo>
                <a:lnTo>
                  <a:pt x="1402630" y="5748454"/>
                </a:lnTo>
                <a:lnTo>
                  <a:pt x="1331464" y="5745061"/>
                </a:lnTo>
                <a:lnTo>
                  <a:pt x="1327146" y="5744440"/>
                </a:lnTo>
                <a:lnTo>
                  <a:pt x="1321394" y="5744149"/>
                </a:lnTo>
                <a:cubicBezTo>
                  <a:pt x="1234532" y="5735266"/>
                  <a:pt x="1149908" y="5718772"/>
                  <a:pt x="1068185" y="5695337"/>
                </a:cubicBezTo>
                <a:lnTo>
                  <a:pt x="1062227" y="5693342"/>
                </a:lnTo>
                <a:lnTo>
                  <a:pt x="1061200" y="5693093"/>
                </a:lnTo>
                <a:lnTo>
                  <a:pt x="1050981" y="5689577"/>
                </a:lnTo>
                <a:lnTo>
                  <a:pt x="947864" y="5655061"/>
                </a:lnTo>
                <a:lnTo>
                  <a:pt x="937281" y="5650461"/>
                </a:lnTo>
                <a:lnTo>
                  <a:pt x="933258" y="5649077"/>
                </a:lnTo>
                <a:lnTo>
                  <a:pt x="911512" y="5639261"/>
                </a:lnTo>
                <a:lnTo>
                  <a:pt x="832403" y="5604881"/>
                </a:lnTo>
                <a:lnTo>
                  <a:pt x="817638" y="5596891"/>
                </a:lnTo>
                <a:lnTo>
                  <a:pt x="810920" y="5593857"/>
                </a:lnTo>
                <a:lnTo>
                  <a:pt x="787324" y="5580484"/>
                </a:lnTo>
                <a:lnTo>
                  <a:pt x="722302" y="5545298"/>
                </a:lnTo>
                <a:lnTo>
                  <a:pt x="703875" y="5533192"/>
                </a:lnTo>
                <a:lnTo>
                  <a:pt x="694796" y="5528048"/>
                </a:lnTo>
                <a:lnTo>
                  <a:pt x="672327" y="5512468"/>
                </a:lnTo>
                <a:lnTo>
                  <a:pt x="618064" y="5476820"/>
                </a:lnTo>
                <a:lnTo>
                  <a:pt x="596562" y="5459933"/>
                </a:lnTo>
                <a:lnTo>
                  <a:pt x="585496" y="5452261"/>
                </a:lnTo>
                <a:lnTo>
                  <a:pt x="565345" y="5435418"/>
                </a:lnTo>
                <a:lnTo>
                  <a:pt x="520187" y="5399950"/>
                </a:lnTo>
                <a:lnTo>
                  <a:pt x="496267" y="5377676"/>
                </a:lnTo>
                <a:lnTo>
                  <a:pt x="483628" y="5367110"/>
                </a:lnTo>
                <a:lnTo>
                  <a:pt x="466291" y="5349761"/>
                </a:lnTo>
                <a:lnTo>
                  <a:pt x="429176" y="5315197"/>
                </a:lnTo>
                <a:lnTo>
                  <a:pt x="403557" y="5286978"/>
                </a:lnTo>
                <a:lnTo>
                  <a:pt x="389801" y="5273210"/>
                </a:lnTo>
                <a:lnTo>
                  <a:pt x="375432" y="5255998"/>
                </a:lnTo>
                <a:lnTo>
                  <a:pt x="345533" y="5223062"/>
                </a:lnTo>
                <a:lnTo>
                  <a:pt x="318997" y="5188388"/>
                </a:lnTo>
                <a:lnTo>
                  <a:pt x="304626" y="5171174"/>
                </a:lnTo>
                <a:lnTo>
                  <a:pt x="293189" y="5154668"/>
                </a:lnTo>
                <a:lnTo>
                  <a:pt x="269757" y="5124051"/>
                </a:lnTo>
                <a:lnTo>
                  <a:pt x="243139" y="5082435"/>
                </a:lnTo>
                <a:lnTo>
                  <a:pt x="228710" y="5061612"/>
                </a:lnTo>
                <a:lnTo>
                  <a:pt x="220040" y="5046323"/>
                </a:lnTo>
                <a:lnTo>
                  <a:pt x="202353" y="5018669"/>
                </a:lnTo>
                <a:lnTo>
                  <a:pt x="176540" y="4969611"/>
                </a:lnTo>
                <a:lnTo>
                  <a:pt x="162664" y="4945140"/>
                </a:lnTo>
                <a:lnTo>
                  <a:pt x="156502" y="4931527"/>
                </a:lnTo>
                <a:lnTo>
                  <a:pt x="143819" y="4907422"/>
                </a:lnTo>
                <a:lnTo>
                  <a:pt x="119746" y="4850319"/>
                </a:lnTo>
                <a:lnTo>
                  <a:pt x="107095" y="4822372"/>
                </a:lnTo>
                <a:lnTo>
                  <a:pt x="103107" y="4810852"/>
                </a:lnTo>
                <a:lnTo>
                  <a:pt x="94658" y="4790814"/>
                </a:lnTo>
                <a:lnTo>
                  <a:pt x="73303" y="4724785"/>
                </a:lnTo>
                <a:lnTo>
                  <a:pt x="62615" y="4693921"/>
                </a:lnTo>
                <a:lnTo>
                  <a:pt x="60392" y="4684865"/>
                </a:lnTo>
                <a:lnTo>
                  <a:pt x="55373" y="4669350"/>
                </a:lnTo>
                <a:lnTo>
                  <a:pt x="37752" y="4592660"/>
                </a:lnTo>
                <a:lnTo>
                  <a:pt x="29830" y="4560396"/>
                </a:lnTo>
                <a:lnTo>
                  <a:pt x="28902" y="4554148"/>
                </a:lnTo>
                <a:lnTo>
                  <a:pt x="26465" y="4543536"/>
                </a:lnTo>
                <a:lnTo>
                  <a:pt x="13636" y="4451278"/>
                </a:lnTo>
                <a:lnTo>
                  <a:pt x="9352" y="4422418"/>
                </a:lnTo>
                <a:lnTo>
                  <a:pt x="9200" y="4419380"/>
                </a:lnTo>
                <a:lnTo>
                  <a:pt x="8434" y="4413877"/>
                </a:lnTo>
                <a:lnTo>
                  <a:pt x="5426" y="4349890"/>
                </a:lnTo>
                <a:lnTo>
                  <a:pt x="1757" y="4349890"/>
                </a:lnTo>
                <a:lnTo>
                  <a:pt x="1757" y="4290894"/>
                </a:lnTo>
                <a:lnTo>
                  <a:pt x="1757" y="4271904"/>
                </a:lnTo>
                <a:lnTo>
                  <a:pt x="1757" y="4271461"/>
                </a:lnTo>
                <a:lnTo>
                  <a:pt x="0" y="4271461"/>
                </a:lnTo>
                <a:lnTo>
                  <a:pt x="0" y="3988016"/>
                </a:lnTo>
                <a:lnTo>
                  <a:pt x="0" y="3394564"/>
                </a:lnTo>
                <a:lnTo>
                  <a:pt x="0" y="3111118"/>
                </a:lnTo>
                <a:lnTo>
                  <a:pt x="0" y="3032692"/>
                </a:lnTo>
                <a:lnTo>
                  <a:pt x="1740" y="3032692"/>
                </a:lnTo>
                <a:lnTo>
                  <a:pt x="1740" y="3022121"/>
                </a:lnTo>
                <a:lnTo>
                  <a:pt x="0" y="3022121"/>
                </a:lnTo>
                <a:close/>
              </a:path>
            </a:pathLst>
          </a:custGeom>
          <a:solidFill>
            <a:srgbClr val="1D3166">
              <a:alpha val="68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Title 1">
            <a:extLst>
              <a:ext uri="{FF2B5EF4-FFF2-40B4-BE49-F238E27FC236}">
                <a16:creationId xmlns:a16="http://schemas.microsoft.com/office/drawing/2014/main" id="{3CD68BE4-9D88-4043-A772-DD9877173A18}"/>
              </a:ext>
            </a:extLst>
          </p:cNvPr>
          <p:cNvSpPr txBox="1">
            <a:spLocks/>
          </p:cNvSpPr>
          <p:nvPr/>
        </p:nvSpPr>
        <p:spPr>
          <a:xfrm>
            <a:off x="7381131" y="1207494"/>
            <a:ext cx="4246815" cy="33239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OUTLIN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PERMEN PUPR TENTANG PEDOMAN PENGAWASAN PENYELENGGARAAN JASA KONSTRUKSI YANG DILAKSANAKAN PEMERINTAH DAERAH PROVINSI, KABUPATEN, DAN KOTA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</a:b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j-ea"/>
              <a:cs typeface="Segoe UI" panose="020B0502040204020203" pitchFamily="34" charset="0"/>
            </a:endParaRPr>
          </a:p>
        </p:txBody>
      </p: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1A163368-7700-304E-92FF-C3A6E23EDE79}"/>
              </a:ext>
            </a:extLst>
          </p:cNvPr>
          <p:cNvGrpSpPr/>
          <p:nvPr/>
        </p:nvGrpSpPr>
        <p:grpSpPr>
          <a:xfrm>
            <a:off x="10798122" y="5034928"/>
            <a:ext cx="1022446" cy="1022446"/>
            <a:chOff x="3398838" y="2171701"/>
            <a:chExt cx="346075" cy="346075"/>
          </a:xfrm>
        </p:grpSpPr>
        <p:sp>
          <p:nvSpPr>
            <p:cNvPr id="206" name="Freeform 244">
              <a:extLst>
                <a:ext uri="{FF2B5EF4-FFF2-40B4-BE49-F238E27FC236}">
                  <a16:creationId xmlns:a16="http://schemas.microsoft.com/office/drawing/2014/main" id="{7608EB3F-BBE3-0C48-9883-5EDC4C670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2352676"/>
              <a:ext cx="165100" cy="165100"/>
            </a:xfrm>
            <a:custGeom>
              <a:avLst/>
              <a:gdLst>
                <a:gd name="T0" fmla="*/ 33 w 104"/>
                <a:gd name="T1" fmla="*/ 95 h 104"/>
                <a:gd name="T2" fmla="*/ 0 w 104"/>
                <a:gd name="T3" fmla="*/ 104 h 104"/>
                <a:gd name="T4" fmla="*/ 9 w 104"/>
                <a:gd name="T5" fmla="*/ 71 h 104"/>
                <a:gd name="T6" fmla="*/ 80 w 104"/>
                <a:gd name="T7" fmla="*/ 0 h 104"/>
                <a:gd name="T8" fmla="*/ 104 w 104"/>
                <a:gd name="T9" fmla="*/ 23 h 104"/>
                <a:gd name="T10" fmla="*/ 33 w 104"/>
                <a:gd name="T11" fmla="*/ 9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04">
                  <a:moveTo>
                    <a:pt x="33" y="95"/>
                  </a:moveTo>
                  <a:lnTo>
                    <a:pt x="0" y="104"/>
                  </a:lnTo>
                  <a:lnTo>
                    <a:pt x="9" y="71"/>
                  </a:lnTo>
                  <a:lnTo>
                    <a:pt x="80" y="0"/>
                  </a:lnTo>
                  <a:lnTo>
                    <a:pt x="104" y="23"/>
                  </a:lnTo>
                  <a:lnTo>
                    <a:pt x="33" y="95"/>
                  </a:lnTo>
                  <a:close/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07" name="Line 245">
              <a:extLst>
                <a:ext uri="{FF2B5EF4-FFF2-40B4-BE49-F238E27FC236}">
                  <a16:creationId xmlns:a16="http://schemas.microsoft.com/office/drawing/2014/main" id="{A7DF7299-DE88-8E48-9BF0-FF190BA1B7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6650" y="2382838"/>
              <a:ext cx="38100" cy="36513"/>
            </a:xfrm>
            <a:prstGeom prst="line">
              <a:avLst/>
            </a:pr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08" name="Line 246">
              <a:extLst>
                <a:ext uri="{FF2B5EF4-FFF2-40B4-BE49-F238E27FC236}">
                  <a16:creationId xmlns:a16="http://schemas.microsoft.com/office/drawing/2014/main" id="{72E61DBF-4177-8340-A373-EA6BA956B3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4100" y="2465388"/>
              <a:ext cx="38100" cy="3810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09" name="Rectangle 247">
              <a:extLst>
                <a:ext uri="{FF2B5EF4-FFF2-40B4-BE49-F238E27FC236}">
                  <a16:creationId xmlns:a16="http://schemas.microsoft.com/office/drawing/2014/main" id="{4191FBBA-395F-DA4E-84A8-62B251028D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276476"/>
              <a:ext cx="74613" cy="46038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0" name="Rectangle 248">
              <a:extLst>
                <a:ext uri="{FF2B5EF4-FFF2-40B4-BE49-F238E27FC236}">
                  <a16:creationId xmlns:a16="http://schemas.microsoft.com/office/drawing/2014/main" id="{CF5DDCC1-7B83-0542-814C-8D18114FC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352676"/>
              <a:ext cx="74613" cy="44450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1" name="Rectangle 249">
              <a:extLst>
                <a:ext uri="{FF2B5EF4-FFF2-40B4-BE49-F238E27FC236}">
                  <a16:creationId xmlns:a16="http://schemas.microsoft.com/office/drawing/2014/main" id="{665F44F7-1B97-2E4A-947C-70FB4E7D0F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427288"/>
              <a:ext cx="74613" cy="46038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2" name="Freeform 250">
              <a:extLst>
                <a:ext uri="{FF2B5EF4-FFF2-40B4-BE49-F238E27FC236}">
                  <a16:creationId xmlns:a16="http://schemas.microsoft.com/office/drawing/2014/main" id="{FB43092B-B379-D34A-9994-CBA86E332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171701"/>
              <a:ext cx="255588" cy="346075"/>
            </a:xfrm>
            <a:custGeom>
              <a:avLst/>
              <a:gdLst>
                <a:gd name="T0" fmla="*/ 90 w 161"/>
                <a:gd name="T1" fmla="*/ 218 h 218"/>
                <a:gd name="T2" fmla="*/ 0 w 161"/>
                <a:gd name="T3" fmla="*/ 218 h 218"/>
                <a:gd name="T4" fmla="*/ 0 w 161"/>
                <a:gd name="T5" fmla="*/ 0 h 218"/>
                <a:gd name="T6" fmla="*/ 104 w 161"/>
                <a:gd name="T7" fmla="*/ 0 h 218"/>
                <a:gd name="T8" fmla="*/ 161 w 161"/>
                <a:gd name="T9" fmla="*/ 57 h 218"/>
                <a:gd name="T10" fmla="*/ 161 w 161"/>
                <a:gd name="T11" fmla="*/ 1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218">
                  <a:moveTo>
                    <a:pt x="90" y="218"/>
                  </a:moveTo>
                  <a:lnTo>
                    <a:pt x="0" y="218"/>
                  </a:lnTo>
                  <a:lnTo>
                    <a:pt x="0" y="0"/>
                  </a:lnTo>
                  <a:lnTo>
                    <a:pt x="104" y="0"/>
                  </a:lnTo>
                  <a:lnTo>
                    <a:pt x="161" y="57"/>
                  </a:lnTo>
                  <a:lnTo>
                    <a:pt x="161" y="118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3" name="Freeform 251">
              <a:extLst>
                <a:ext uri="{FF2B5EF4-FFF2-40B4-BE49-F238E27FC236}">
                  <a16:creationId xmlns:a16="http://schemas.microsoft.com/office/drawing/2014/main" id="{F2C3D31B-5644-8246-BF0B-A3D2C560E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3938" y="2171701"/>
              <a:ext cx="90488" cy="90488"/>
            </a:xfrm>
            <a:custGeom>
              <a:avLst/>
              <a:gdLst>
                <a:gd name="T0" fmla="*/ 0 w 57"/>
                <a:gd name="T1" fmla="*/ 0 h 57"/>
                <a:gd name="T2" fmla="*/ 0 w 57"/>
                <a:gd name="T3" fmla="*/ 57 h 57"/>
                <a:gd name="T4" fmla="*/ 57 w 57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57">
                  <a:moveTo>
                    <a:pt x="0" y="0"/>
                  </a:moveTo>
                  <a:lnTo>
                    <a:pt x="0" y="57"/>
                  </a:lnTo>
                  <a:lnTo>
                    <a:pt x="57" y="57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4" name="Freeform 252">
              <a:extLst>
                <a:ext uri="{FF2B5EF4-FFF2-40B4-BE49-F238E27FC236}">
                  <a16:creationId xmlns:a16="http://schemas.microsoft.com/office/drawing/2014/main" id="{43DC79C0-9F11-A54F-9ED2-E9D2FA812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9488" y="2292351"/>
              <a:ext cx="44450" cy="150813"/>
            </a:xfrm>
            <a:custGeom>
              <a:avLst/>
              <a:gdLst>
                <a:gd name="T0" fmla="*/ 0 w 28"/>
                <a:gd name="T1" fmla="*/ 0 h 95"/>
                <a:gd name="T2" fmla="*/ 28 w 28"/>
                <a:gd name="T3" fmla="*/ 0 h 95"/>
                <a:gd name="T4" fmla="*/ 28 w 28"/>
                <a:gd name="T5" fmla="*/ 95 h 95"/>
                <a:gd name="T6" fmla="*/ 0 w 28"/>
                <a:gd name="T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95">
                  <a:moveTo>
                    <a:pt x="0" y="0"/>
                  </a:moveTo>
                  <a:lnTo>
                    <a:pt x="28" y="0"/>
                  </a:lnTo>
                  <a:lnTo>
                    <a:pt x="28" y="95"/>
                  </a:lnTo>
                  <a:lnTo>
                    <a:pt x="0" y="95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5" name="Line 253">
              <a:extLst>
                <a:ext uri="{FF2B5EF4-FFF2-40B4-BE49-F238E27FC236}">
                  <a16:creationId xmlns:a16="http://schemas.microsoft.com/office/drawing/2014/main" id="{C3531518-C0AD-DE48-BA9B-439A20A0EC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3938" y="2366963"/>
              <a:ext cx="381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</p:grpSp>
      <p:sp>
        <p:nvSpPr>
          <p:cNvPr id="20" name="Title 1">
            <a:extLst>
              <a:ext uri="{FF2B5EF4-FFF2-40B4-BE49-F238E27FC236}">
                <a16:creationId xmlns:a16="http://schemas.microsoft.com/office/drawing/2014/main" id="{AC0765D5-7869-6540-B3B4-18E9764EC3DA}"/>
              </a:ext>
            </a:extLst>
          </p:cNvPr>
          <p:cNvSpPr txBox="1">
            <a:spLocks/>
          </p:cNvSpPr>
          <p:nvPr/>
        </p:nvSpPr>
        <p:spPr>
          <a:xfrm>
            <a:off x="8245430" y="5047553"/>
            <a:ext cx="2559410" cy="9971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11 BA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DA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j-ea"/>
                <a:cs typeface="Segoe UI" panose="020B0502040204020203" pitchFamily="34" charset="0"/>
              </a:rPr>
              <a:t>76 PASA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8FF6DB7-7FD6-3544-AA8D-B129B01A901C}"/>
              </a:ext>
            </a:extLst>
          </p:cNvPr>
          <p:cNvSpPr/>
          <p:nvPr/>
        </p:nvSpPr>
        <p:spPr>
          <a:xfrm>
            <a:off x="175332" y="142876"/>
            <a:ext cx="6658485" cy="652742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BAB I KETENTUAN UMU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BAB II KEWENANG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BAB III JENIS PENGAWAS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BAB IV PELAKSANA PENGAWAS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BAB V TATA CARA PENGAWAS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   </a:t>
            </a:r>
            <a:r>
              <a:rPr kumimoji="0" lang="en-ID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Bagian </a:t>
            </a:r>
            <a:r>
              <a:rPr kumimoji="0" lang="en-ID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Kesatu</a:t>
            </a:r>
            <a:r>
              <a:rPr lang="en-ID" sz="1400" dirty="0">
                <a:solidFill>
                  <a:schemeClr val="bg1"/>
                </a:solidFill>
                <a:latin typeface="Montserrat" pitchFamily="2" charset="77"/>
                <a:cs typeface="Segoe UI" panose="020B0502040204020203" pitchFamily="34" charset="0"/>
              </a:rPr>
              <a:t> </a:t>
            </a:r>
            <a:r>
              <a:rPr kumimoji="0" lang="en-ID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Umum</a:t>
            </a:r>
            <a:endParaRPr kumimoji="0" lang="en-ID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</a:endParaRPr>
          </a:p>
          <a:p>
            <a:pPr>
              <a:spcAft>
                <a:spcPts val="100"/>
              </a:spcAft>
              <a:defRPr/>
            </a:pPr>
            <a:r>
              <a:rPr kumimoji="0" lang="en-ID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   Bagian </a:t>
            </a:r>
            <a:r>
              <a:rPr kumimoji="0" lang="en-ID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Kedua</a:t>
            </a:r>
            <a:r>
              <a:rPr kumimoji="0" lang="en-ID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 Tata Cara </a:t>
            </a:r>
            <a:r>
              <a:rPr kumimoji="0" lang="en-ID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Pengawasan</a:t>
            </a:r>
            <a:r>
              <a:rPr kumimoji="0" lang="en-ID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Tertib</a:t>
            </a:r>
            <a:r>
              <a:rPr kumimoji="0" lang="en-ID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Usaha Jasa </a:t>
            </a:r>
            <a:r>
              <a:rPr kumimoji="0" lang="en-ID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Konstruksi</a:t>
            </a:r>
            <a:endParaRPr kumimoji="0" lang="en-ID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</a:endParaRPr>
          </a:p>
          <a:p>
            <a:pPr>
              <a:spcAft>
                <a:spcPts val="100"/>
              </a:spcAft>
              <a:defRPr/>
            </a:pPr>
            <a:r>
              <a:rPr kumimoji="0" lang="en-ID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   Bagian </a:t>
            </a:r>
            <a:r>
              <a:rPr kumimoji="0" lang="en-ID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Ketiga</a:t>
            </a:r>
            <a:r>
              <a:rPr lang="en-ID" sz="1400" dirty="0">
                <a:solidFill>
                  <a:schemeClr val="bg1"/>
                </a:solidFill>
                <a:latin typeface="Montserrat" pitchFamily="2" charset="77"/>
                <a:cs typeface="Segoe UI" panose="020B0502040204020203" pitchFamily="34" charset="0"/>
              </a:rPr>
              <a:t> </a:t>
            </a:r>
            <a:r>
              <a:rPr kumimoji="0" lang="en-ID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Tertib</a:t>
            </a:r>
            <a:r>
              <a:rPr kumimoji="0" lang="en-ID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Penyelenggaraan</a:t>
            </a:r>
            <a:r>
              <a:rPr kumimoji="0" lang="en-ID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Jasa </a:t>
            </a:r>
            <a:r>
              <a:rPr kumimoji="0" lang="en-ID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Konstruksi</a:t>
            </a:r>
            <a:endParaRPr lang="en-ID" sz="1400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100"/>
              </a:spcAft>
              <a:defRPr/>
            </a:pPr>
            <a:r>
              <a:rPr lang="en-ID" sz="1400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    </a:t>
            </a:r>
            <a:r>
              <a:rPr lang="en-ID" sz="1400" dirty="0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Bagian </a:t>
            </a:r>
            <a:r>
              <a:rPr lang="en-ID" sz="1400" dirty="0" err="1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Keempat</a:t>
            </a:r>
            <a:r>
              <a:rPr lang="en-ID" sz="1400" dirty="0">
                <a:solidFill>
                  <a:schemeClr val="bg1"/>
                </a:solidFill>
                <a:latin typeface="Montserrat" pitchFamily="2" charset="77"/>
                <a:ea typeface="Times New Roman" panose="02020603050405020304" pitchFamily="18" charset="0"/>
              </a:rPr>
              <a:t> </a:t>
            </a:r>
            <a:r>
              <a:rPr lang="en-ID" sz="1400" dirty="0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Tata Cara </a:t>
            </a:r>
            <a:r>
              <a:rPr lang="en-ID" sz="1400" dirty="0" err="1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Pengawasan</a:t>
            </a:r>
            <a:r>
              <a:rPr lang="en-ID" sz="1400" dirty="0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Tertib</a:t>
            </a:r>
            <a:r>
              <a:rPr lang="en-ID" sz="1400" dirty="0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Pemanfaatan</a:t>
            </a:r>
            <a:r>
              <a:rPr lang="en-ID" sz="1400" dirty="0">
                <a:solidFill>
                  <a:schemeClr val="bg1"/>
                </a:solidFill>
                <a:latin typeface="Montserrat" pitchFamily="2" charset="77"/>
                <a:ea typeface="Times New Roman" panose="02020603050405020304" pitchFamily="18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Produk</a:t>
            </a:r>
            <a:r>
              <a:rPr lang="en-ID" sz="1400" dirty="0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  	                    Jasa </a:t>
            </a:r>
            <a:r>
              <a:rPr lang="en-ID" sz="1400" dirty="0" err="1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Konstruksi</a:t>
            </a:r>
            <a:endParaRPr lang="en-ID" sz="1400" dirty="0">
              <a:solidFill>
                <a:schemeClr val="bg1"/>
              </a:solidFill>
              <a:latin typeface="Montserrat" pitchFamily="2" charset="77"/>
              <a:ea typeface="Times New Roman" panose="02020603050405020304" pitchFamily="18" charset="0"/>
            </a:endParaRPr>
          </a:p>
          <a:p>
            <a:pPr>
              <a:spcAft>
                <a:spcPts val="100"/>
              </a:spcAft>
              <a:defRPr/>
            </a:pPr>
            <a:r>
              <a:rPr lang="en-ID" sz="1400" dirty="0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    Bagian </a:t>
            </a:r>
            <a:r>
              <a:rPr lang="en-ID" sz="1400" dirty="0" err="1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Kelima</a:t>
            </a:r>
            <a:r>
              <a:rPr lang="en-ID" sz="1400" dirty="0">
                <a:solidFill>
                  <a:schemeClr val="bg1"/>
                </a:solidFill>
                <a:latin typeface="Montserrat" pitchFamily="2" charset="77"/>
                <a:ea typeface="Times New Roman" panose="02020603050405020304" pitchFamily="18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Instrumen</a:t>
            </a:r>
            <a:r>
              <a:rPr lang="en-ID" sz="1400" dirty="0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effectLst/>
                <a:latin typeface="Montserrat" pitchFamily="2" charset="77"/>
                <a:ea typeface="Times New Roman" panose="02020603050405020304" pitchFamily="18" charset="0"/>
              </a:rPr>
              <a:t>Pemeriksaan</a:t>
            </a:r>
            <a:endParaRPr kumimoji="0" lang="en-ID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BAB VI PELAPORAN, TINDAK LANJUT, DAN REKOMENDASI PENGAWAS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   Bagian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Kesatu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Pelapor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Pengawasan</a:t>
            </a: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   Bagian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Kedu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Tindak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Lanjut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Rekomenda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400" dirty="0">
                <a:solidFill>
                  <a:schemeClr val="bg1"/>
                </a:solidFill>
                <a:latin typeface="Montserrat" pitchFamily="2" charset="77"/>
                <a:cs typeface="Segoe UI" panose="020B0502040204020203" pitchFamily="34" charset="0"/>
              </a:rPr>
              <a:t>                    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Pengawasan</a:t>
            </a: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BAB VII PEMBINAAN PENGAWASA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     Bagian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Kesatu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Pembina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     Bagian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Kedu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Pemantau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dan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Evaluasi</a:t>
            </a: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BAB VIII PENDANA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BAB IX SANKSI DAN TATA CARA PENGENAAN SANKSI ADMINISTRATIF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     Bagian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Kesatu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Sank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Administratif</a:t>
            </a: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     Bagian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Kedu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Tata Cara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Pengena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Sank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400" dirty="0">
                <a:solidFill>
                  <a:schemeClr val="bg1"/>
                </a:solidFill>
                <a:latin typeface="Montserrat" pitchFamily="2" charset="77"/>
                <a:cs typeface="Segoe UI" panose="020B0502040204020203" pitchFamily="34" charset="0"/>
              </a:rPr>
              <a:t>     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Administratif</a:t>
            </a: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77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BAB X KETENTUAN PERALIHAN</a:t>
            </a:r>
          </a:p>
          <a:p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Segoe UI" panose="020B0502040204020203" pitchFamily="34" charset="0"/>
              </a:rPr>
              <a:t>BAB XI KETENTUAN PENUTUP</a:t>
            </a:r>
          </a:p>
        </p:txBody>
      </p:sp>
    </p:spTree>
    <p:extLst>
      <p:ext uri="{BB962C8B-B14F-4D97-AF65-F5344CB8AC3E}">
        <p14:creationId xmlns:p14="http://schemas.microsoft.com/office/powerpoint/2010/main" val="16781697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alphaModFix amt="16721"/>
            <a:lum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" name="Google Shape;642;p21">
            <a:extLst>
              <a:ext uri="{FF2B5EF4-FFF2-40B4-BE49-F238E27FC236}">
                <a16:creationId xmlns:a16="http://schemas.microsoft.com/office/drawing/2014/main" id="{B53510E3-F1FC-754A-BA38-73668CB2CAC4}"/>
              </a:ext>
            </a:extLst>
          </p:cNvPr>
          <p:cNvSpPr txBox="1">
            <a:spLocks/>
          </p:cNvSpPr>
          <p:nvPr/>
        </p:nvSpPr>
        <p:spPr>
          <a:xfrm>
            <a:off x="1684591" y="137345"/>
            <a:ext cx="9117139" cy="519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6594" tIns="116594" rIns="116594" bIns="116594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Arvo"/>
              <a:buChar char="●"/>
              <a:defRPr sz="18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●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●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Arvo"/>
              <a:buChar char="○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400"/>
              <a:buFont typeface="Arvo"/>
              <a:buChar char="■"/>
              <a:defRPr sz="1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pPr marL="0" marR="0" lvl="0" indent="0" algn="ctr" defTabSz="116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Arvo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Century Gothic" charset="0"/>
                <a:cs typeface="Century Gothic" charset="0"/>
                <a:sym typeface="Arvo"/>
              </a:rPr>
              <a:t>KEWENANGAN PENGAWASAN  </a:t>
            </a:r>
          </a:p>
        </p:txBody>
      </p:sp>
      <p:sp>
        <p:nvSpPr>
          <p:cNvPr id="358" name="Freeform: Shape 46">
            <a:extLst>
              <a:ext uri="{FF2B5EF4-FFF2-40B4-BE49-F238E27FC236}">
                <a16:creationId xmlns:a16="http://schemas.microsoft.com/office/drawing/2014/main" id="{A72DCC20-54A7-3C4D-B0A5-F71AF1788066}"/>
              </a:ext>
            </a:extLst>
          </p:cNvPr>
          <p:cNvSpPr/>
          <p:nvPr/>
        </p:nvSpPr>
        <p:spPr>
          <a:xfrm rot="10800000" flipH="1">
            <a:off x="309354" y="1099101"/>
            <a:ext cx="5746861" cy="4702069"/>
          </a:xfrm>
          <a:custGeom>
            <a:avLst/>
            <a:gdLst>
              <a:gd name="connsiteX0" fmla="*/ 0 w 5431992"/>
              <a:gd name="connsiteY0" fmla="*/ 3727301 h 3727301"/>
              <a:gd name="connsiteX1" fmla="*/ 844165 w 5431992"/>
              <a:gd name="connsiteY1" fmla="*/ 3727301 h 3727301"/>
              <a:gd name="connsiteX2" fmla="*/ 891390 w 5431992"/>
              <a:gd name="connsiteY2" fmla="*/ 3727301 h 3727301"/>
              <a:gd name="connsiteX3" fmla="*/ 2371823 w 5431992"/>
              <a:gd name="connsiteY3" fmla="*/ 3727301 h 3727301"/>
              <a:gd name="connsiteX4" fmla="*/ 2754923 w 5431992"/>
              <a:gd name="connsiteY4" fmla="*/ 3727301 h 3727301"/>
              <a:gd name="connsiteX5" fmla="*/ 4157501 w 5431992"/>
              <a:gd name="connsiteY5" fmla="*/ 3727301 h 3727301"/>
              <a:gd name="connsiteX6" fmla="*/ 4540601 w 5431992"/>
              <a:gd name="connsiteY6" fmla="*/ 3727301 h 3727301"/>
              <a:gd name="connsiteX7" fmla="*/ 4540601 w 5431992"/>
              <a:gd name="connsiteY7" fmla="*/ 3726212 h 3727301"/>
              <a:gd name="connsiteX8" fmla="*/ 4540602 w 5431992"/>
              <a:gd name="connsiteY8" fmla="*/ 3726212 h 3727301"/>
              <a:gd name="connsiteX9" fmla="*/ 4540868 w 5431992"/>
              <a:gd name="connsiteY9" fmla="*/ 3726212 h 3727301"/>
              <a:gd name="connsiteX10" fmla="*/ 4552303 w 5431992"/>
              <a:gd name="connsiteY10" fmla="*/ 3726212 h 3727301"/>
              <a:gd name="connsiteX11" fmla="*/ 4587827 w 5431992"/>
              <a:gd name="connsiteY11" fmla="*/ 3726212 h 3727301"/>
              <a:gd name="connsiteX12" fmla="*/ 4587827 w 5431992"/>
              <a:gd name="connsiteY12" fmla="*/ 3723939 h 3727301"/>
              <a:gd name="connsiteX13" fmla="*/ 4626359 w 5431992"/>
              <a:gd name="connsiteY13" fmla="*/ 3722075 h 3727301"/>
              <a:gd name="connsiteX14" fmla="*/ 4629673 w 5431992"/>
              <a:gd name="connsiteY14" fmla="*/ 3721600 h 3727301"/>
              <a:gd name="connsiteX15" fmla="*/ 4631501 w 5431992"/>
              <a:gd name="connsiteY15" fmla="*/ 3721506 h 3727301"/>
              <a:gd name="connsiteX16" fmla="*/ 4648879 w 5431992"/>
              <a:gd name="connsiteY16" fmla="*/ 3718852 h 3727301"/>
              <a:gd name="connsiteX17" fmla="*/ 4704433 w 5431992"/>
              <a:gd name="connsiteY17" fmla="*/ 3710902 h 3727301"/>
              <a:gd name="connsiteX18" fmla="*/ 4710823 w 5431992"/>
              <a:gd name="connsiteY18" fmla="*/ 3709391 h 3727301"/>
              <a:gd name="connsiteX19" fmla="*/ 4714586 w 5431992"/>
              <a:gd name="connsiteY19" fmla="*/ 3708817 h 3727301"/>
              <a:gd name="connsiteX20" fmla="*/ 4734014 w 5431992"/>
              <a:gd name="connsiteY20" fmla="*/ 3703907 h 3727301"/>
              <a:gd name="connsiteX21" fmla="*/ 4780194 w 5431992"/>
              <a:gd name="connsiteY21" fmla="*/ 3692988 h 3727301"/>
              <a:gd name="connsiteX22" fmla="*/ 4789537 w 5431992"/>
              <a:gd name="connsiteY22" fmla="*/ 3689878 h 3727301"/>
              <a:gd name="connsiteX23" fmla="*/ 4794988 w 5431992"/>
              <a:gd name="connsiteY23" fmla="*/ 3688501 h 3727301"/>
              <a:gd name="connsiteX24" fmla="*/ 4813574 w 5431992"/>
              <a:gd name="connsiteY24" fmla="*/ 3681879 h 3727301"/>
              <a:gd name="connsiteX25" fmla="*/ 4853335 w 5431992"/>
              <a:gd name="connsiteY25" fmla="*/ 3668644 h 3727301"/>
              <a:gd name="connsiteX26" fmla="*/ 4865400 w 5431992"/>
              <a:gd name="connsiteY26" fmla="*/ 3663410 h 3727301"/>
              <a:gd name="connsiteX27" fmla="*/ 4872337 w 5431992"/>
              <a:gd name="connsiteY27" fmla="*/ 3660937 h 3727301"/>
              <a:gd name="connsiteX28" fmla="*/ 4889166 w 5431992"/>
              <a:gd name="connsiteY28" fmla="*/ 3653099 h 3727301"/>
              <a:gd name="connsiteX29" fmla="*/ 4923551 w 5431992"/>
              <a:gd name="connsiteY29" fmla="*/ 3638182 h 3727301"/>
              <a:gd name="connsiteX30" fmla="*/ 4938066 w 5431992"/>
              <a:gd name="connsiteY30" fmla="*/ 3630322 h 3727301"/>
              <a:gd name="connsiteX31" fmla="*/ 4946263 w 5431992"/>
              <a:gd name="connsiteY31" fmla="*/ 3626504 h 3727301"/>
              <a:gd name="connsiteX32" fmla="*/ 4960997 w 5431992"/>
              <a:gd name="connsiteY32" fmla="*/ 3617905 h 3727301"/>
              <a:gd name="connsiteX33" fmla="*/ 4990539 w 5431992"/>
              <a:gd name="connsiteY33" fmla="*/ 3601910 h 3727301"/>
              <a:gd name="connsiteX34" fmla="*/ 5007191 w 5431992"/>
              <a:gd name="connsiteY34" fmla="*/ 3590949 h 3727301"/>
              <a:gd name="connsiteX35" fmla="*/ 5016397 w 5431992"/>
              <a:gd name="connsiteY35" fmla="*/ 3585577 h 3727301"/>
              <a:gd name="connsiteX36" fmla="*/ 5028936 w 5431992"/>
              <a:gd name="connsiteY36" fmla="*/ 3576636 h 3727301"/>
              <a:gd name="connsiteX37" fmla="*/ 5053995 w 5431992"/>
              <a:gd name="connsiteY37" fmla="*/ 3560142 h 3727301"/>
              <a:gd name="connsiteX38" fmla="*/ 5072432 w 5431992"/>
              <a:gd name="connsiteY38" fmla="*/ 3545621 h 3727301"/>
              <a:gd name="connsiteX39" fmla="*/ 5082370 w 5431992"/>
              <a:gd name="connsiteY39" fmla="*/ 3538535 h 3727301"/>
              <a:gd name="connsiteX40" fmla="*/ 5092737 w 5431992"/>
              <a:gd name="connsiteY40" fmla="*/ 3529630 h 3727301"/>
              <a:gd name="connsiteX41" fmla="*/ 5113615 w 5431992"/>
              <a:gd name="connsiteY41" fmla="*/ 3513186 h 3727301"/>
              <a:gd name="connsiteX42" fmla="*/ 5133448 w 5431992"/>
              <a:gd name="connsiteY42" fmla="*/ 3494657 h 3727301"/>
              <a:gd name="connsiteX43" fmla="*/ 5143812 w 5431992"/>
              <a:gd name="connsiteY43" fmla="*/ 3485754 h 3727301"/>
              <a:gd name="connsiteX44" fmla="*/ 5152102 w 5431992"/>
              <a:gd name="connsiteY44" fmla="*/ 3477230 h 3727301"/>
              <a:gd name="connsiteX45" fmla="*/ 5169095 w 5431992"/>
              <a:gd name="connsiteY45" fmla="*/ 3461355 h 3727301"/>
              <a:gd name="connsiteX46" fmla="*/ 5189909 w 5431992"/>
              <a:gd name="connsiteY46" fmla="*/ 3438356 h 3727301"/>
              <a:gd name="connsiteX47" fmla="*/ 5200355 w 5431992"/>
              <a:gd name="connsiteY47" fmla="*/ 3427614 h 3727301"/>
              <a:gd name="connsiteX48" fmla="*/ 5206717 w 5431992"/>
              <a:gd name="connsiteY48" fmla="*/ 3419781 h 3727301"/>
              <a:gd name="connsiteX49" fmla="*/ 5220131 w 5431992"/>
              <a:gd name="connsiteY49" fmla="*/ 3404959 h 3727301"/>
              <a:gd name="connsiteX50" fmla="*/ 5241486 w 5431992"/>
              <a:gd name="connsiteY50" fmla="*/ 3376975 h 3727301"/>
              <a:gd name="connsiteX51" fmla="*/ 5251629 w 5431992"/>
              <a:gd name="connsiteY51" fmla="*/ 3364490 h 3727301"/>
              <a:gd name="connsiteX52" fmla="*/ 5256249 w 5431992"/>
              <a:gd name="connsiteY52" fmla="*/ 3357632 h 3727301"/>
              <a:gd name="connsiteX53" fmla="*/ 5266418 w 5431992"/>
              <a:gd name="connsiteY53" fmla="*/ 3344309 h 3727301"/>
              <a:gd name="connsiteX54" fmla="*/ 5287884 w 5431992"/>
              <a:gd name="connsiteY54" fmla="*/ 3310683 h 3727301"/>
              <a:gd name="connsiteX55" fmla="*/ 5297265 w 5431992"/>
              <a:gd name="connsiteY55" fmla="*/ 3296759 h 3727301"/>
              <a:gd name="connsiteX56" fmla="*/ 5300364 w 5431992"/>
              <a:gd name="connsiteY56" fmla="*/ 3291135 h 3727301"/>
              <a:gd name="connsiteX57" fmla="*/ 5307652 w 5431992"/>
              <a:gd name="connsiteY57" fmla="*/ 3279716 h 3727301"/>
              <a:gd name="connsiteX58" fmla="*/ 5328841 w 5431992"/>
              <a:gd name="connsiteY58" fmla="*/ 3239424 h 3727301"/>
              <a:gd name="connsiteX59" fmla="*/ 5336893 w 5431992"/>
              <a:gd name="connsiteY59" fmla="*/ 3224802 h 3727301"/>
              <a:gd name="connsiteX60" fmla="*/ 5338719 w 5431992"/>
              <a:gd name="connsiteY60" fmla="*/ 3220638 h 3727301"/>
              <a:gd name="connsiteX61" fmla="*/ 5343530 w 5431992"/>
              <a:gd name="connsiteY61" fmla="*/ 3211490 h 3727301"/>
              <a:gd name="connsiteX62" fmla="*/ 5364233 w 5431992"/>
              <a:gd name="connsiteY62" fmla="*/ 3162469 h 3727301"/>
              <a:gd name="connsiteX63" fmla="*/ 5370144 w 5431992"/>
              <a:gd name="connsiteY63" fmla="*/ 3148994 h 3727301"/>
              <a:gd name="connsiteX64" fmla="*/ 5370977 w 5431992"/>
              <a:gd name="connsiteY64" fmla="*/ 3146500 h 3727301"/>
              <a:gd name="connsiteX65" fmla="*/ 5373748 w 5431992"/>
              <a:gd name="connsiteY65" fmla="*/ 3139941 h 3727301"/>
              <a:gd name="connsiteX66" fmla="*/ 5394531 w 5431992"/>
              <a:gd name="connsiteY66" fmla="*/ 3076045 h 3727301"/>
              <a:gd name="connsiteX67" fmla="*/ 5396648 w 5431992"/>
              <a:gd name="connsiteY67" fmla="*/ 3069712 h 3727301"/>
              <a:gd name="connsiteX68" fmla="*/ 5396798 w 5431992"/>
              <a:gd name="connsiteY68" fmla="*/ 3069075 h 3727301"/>
              <a:gd name="connsiteX69" fmla="*/ 5397999 w 5431992"/>
              <a:gd name="connsiteY69" fmla="*/ 3065384 h 3727301"/>
              <a:gd name="connsiteX70" fmla="*/ 5427392 w 5431992"/>
              <a:gd name="connsiteY70" fmla="*/ 2908479 h 3727301"/>
              <a:gd name="connsiteX71" fmla="*/ 5427567 w 5431992"/>
              <a:gd name="connsiteY71" fmla="*/ 2904915 h 3727301"/>
              <a:gd name="connsiteX72" fmla="*/ 5427942 w 5431992"/>
              <a:gd name="connsiteY72" fmla="*/ 2902239 h 3727301"/>
              <a:gd name="connsiteX73" fmla="*/ 5429984 w 5431992"/>
              <a:gd name="connsiteY73" fmla="*/ 2858141 h 3727301"/>
              <a:gd name="connsiteX74" fmla="*/ 5431992 w 5431992"/>
              <a:gd name="connsiteY74" fmla="*/ 2858141 h 3727301"/>
              <a:gd name="connsiteX75" fmla="*/ 5431992 w 5431992"/>
              <a:gd name="connsiteY75" fmla="*/ 2815358 h 3727301"/>
              <a:gd name="connsiteX76" fmla="*/ 5431992 w 5431992"/>
              <a:gd name="connsiteY76" fmla="*/ 2815349 h 3727301"/>
              <a:gd name="connsiteX77" fmla="*/ 5431992 w 5431992"/>
              <a:gd name="connsiteY77" fmla="*/ 2815340 h 3727301"/>
              <a:gd name="connsiteX78" fmla="*/ 5431992 w 5431992"/>
              <a:gd name="connsiteY78" fmla="*/ 2814803 h 3727301"/>
              <a:gd name="connsiteX79" fmla="*/ 5431992 w 5431992"/>
              <a:gd name="connsiteY79" fmla="*/ 2806157 h 3727301"/>
              <a:gd name="connsiteX80" fmla="*/ 5431992 w 5431992"/>
              <a:gd name="connsiteY80" fmla="*/ 2439693 h 3727301"/>
              <a:gd name="connsiteX81" fmla="*/ 5431992 w 5431992"/>
              <a:gd name="connsiteY81" fmla="*/ 2396910 h 3727301"/>
              <a:gd name="connsiteX82" fmla="*/ 5431992 w 5431992"/>
              <a:gd name="connsiteY82" fmla="*/ 2396901 h 3727301"/>
              <a:gd name="connsiteX83" fmla="*/ 5431992 w 5431992"/>
              <a:gd name="connsiteY83" fmla="*/ 2396892 h 3727301"/>
              <a:gd name="connsiteX84" fmla="*/ 5431992 w 5431992"/>
              <a:gd name="connsiteY84" fmla="*/ 2396355 h 3727301"/>
              <a:gd name="connsiteX85" fmla="*/ 5431992 w 5431992"/>
              <a:gd name="connsiteY85" fmla="*/ 2387709 h 3727301"/>
              <a:gd name="connsiteX86" fmla="*/ 5431992 w 5431992"/>
              <a:gd name="connsiteY86" fmla="*/ 2251532 h 3727301"/>
              <a:gd name="connsiteX87" fmla="*/ 5431992 w 5431992"/>
              <a:gd name="connsiteY87" fmla="*/ 1894207 h 3727301"/>
              <a:gd name="connsiteX88" fmla="*/ 5431992 w 5431992"/>
              <a:gd name="connsiteY88" fmla="*/ 1833084 h 3727301"/>
              <a:gd name="connsiteX89" fmla="*/ 5431992 w 5431992"/>
              <a:gd name="connsiteY89" fmla="*/ 1475759 h 3727301"/>
              <a:gd name="connsiteX90" fmla="*/ 5431992 w 5431992"/>
              <a:gd name="connsiteY90" fmla="*/ 1330390 h 3727301"/>
              <a:gd name="connsiteX91" fmla="*/ 5431992 w 5431992"/>
              <a:gd name="connsiteY91" fmla="*/ 911942 h 3727301"/>
              <a:gd name="connsiteX92" fmla="*/ 5431992 w 5431992"/>
              <a:gd name="connsiteY92" fmla="*/ 418448 h 3727301"/>
              <a:gd name="connsiteX93" fmla="*/ 5431992 w 5431992"/>
              <a:gd name="connsiteY93" fmla="*/ 0 h 3727301"/>
              <a:gd name="connsiteX94" fmla="*/ 4587827 w 5431992"/>
              <a:gd name="connsiteY94" fmla="*/ 0 h 3727301"/>
              <a:gd name="connsiteX95" fmla="*/ 4540602 w 5431992"/>
              <a:gd name="connsiteY95" fmla="*/ 0 h 3727301"/>
              <a:gd name="connsiteX96" fmla="*/ 3646314 w 5431992"/>
              <a:gd name="connsiteY96" fmla="*/ 0 h 3727301"/>
              <a:gd name="connsiteX97" fmla="*/ 3060170 w 5431992"/>
              <a:gd name="connsiteY97" fmla="*/ 0 h 3727301"/>
              <a:gd name="connsiteX98" fmla="*/ 2802149 w 5431992"/>
              <a:gd name="connsiteY98" fmla="*/ 0 h 3727301"/>
              <a:gd name="connsiteX99" fmla="*/ 2754924 w 5431992"/>
              <a:gd name="connsiteY99" fmla="*/ 0 h 3727301"/>
              <a:gd name="connsiteX100" fmla="*/ 2677069 w 5431992"/>
              <a:gd name="connsiteY100" fmla="*/ 0 h 3727301"/>
              <a:gd name="connsiteX101" fmla="*/ 1274492 w 5431992"/>
              <a:gd name="connsiteY101" fmla="*/ 0 h 3727301"/>
              <a:gd name="connsiteX102" fmla="*/ 891391 w 5431992"/>
              <a:gd name="connsiteY102" fmla="*/ 0 h 3727301"/>
              <a:gd name="connsiteX103" fmla="*/ 891391 w 5431992"/>
              <a:gd name="connsiteY103" fmla="*/ 1089 h 3727301"/>
              <a:gd name="connsiteX104" fmla="*/ 891390 w 5431992"/>
              <a:gd name="connsiteY104" fmla="*/ 1089 h 3727301"/>
              <a:gd name="connsiteX105" fmla="*/ 891124 w 5431992"/>
              <a:gd name="connsiteY105" fmla="*/ 1089 h 3727301"/>
              <a:gd name="connsiteX106" fmla="*/ 879689 w 5431992"/>
              <a:gd name="connsiteY106" fmla="*/ 1089 h 3727301"/>
              <a:gd name="connsiteX107" fmla="*/ 844165 w 5431992"/>
              <a:gd name="connsiteY107" fmla="*/ 1089 h 3727301"/>
              <a:gd name="connsiteX108" fmla="*/ 844165 w 5431992"/>
              <a:gd name="connsiteY108" fmla="*/ 3362 h 3727301"/>
              <a:gd name="connsiteX109" fmla="*/ 805634 w 5431992"/>
              <a:gd name="connsiteY109" fmla="*/ 5226 h 3727301"/>
              <a:gd name="connsiteX110" fmla="*/ 802321 w 5431992"/>
              <a:gd name="connsiteY110" fmla="*/ 5701 h 3727301"/>
              <a:gd name="connsiteX111" fmla="*/ 800491 w 5431992"/>
              <a:gd name="connsiteY111" fmla="*/ 5795 h 3727301"/>
              <a:gd name="connsiteX112" fmla="*/ 783113 w 5431992"/>
              <a:gd name="connsiteY112" fmla="*/ 8449 h 3727301"/>
              <a:gd name="connsiteX113" fmla="*/ 727559 w 5431992"/>
              <a:gd name="connsiteY113" fmla="*/ 16399 h 3727301"/>
              <a:gd name="connsiteX114" fmla="*/ 721169 w 5431992"/>
              <a:gd name="connsiteY114" fmla="*/ 17910 h 3727301"/>
              <a:gd name="connsiteX115" fmla="*/ 717406 w 5431992"/>
              <a:gd name="connsiteY115" fmla="*/ 18484 h 3727301"/>
              <a:gd name="connsiteX116" fmla="*/ 697980 w 5431992"/>
              <a:gd name="connsiteY116" fmla="*/ 23394 h 3727301"/>
              <a:gd name="connsiteX117" fmla="*/ 651798 w 5431992"/>
              <a:gd name="connsiteY117" fmla="*/ 34313 h 3727301"/>
              <a:gd name="connsiteX118" fmla="*/ 642455 w 5431992"/>
              <a:gd name="connsiteY118" fmla="*/ 37423 h 3727301"/>
              <a:gd name="connsiteX119" fmla="*/ 637004 w 5431992"/>
              <a:gd name="connsiteY119" fmla="*/ 38800 h 3727301"/>
              <a:gd name="connsiteX120" fmla="*/ 618418 w 5431992"/>
              <a:gd name="connsiteY120" fmla="*/ 45422 h 3727301"/>
              <a:gd name="connsiteX121" fmla="*/ 578659 w 5431992"/>
              <a:gd name="connsiteY121" fmla="*/ 58657 h 3727301"/>
              <a:gd name="connsiteX122" fmla="*/ 566594 w 5431992"/>
              <a:gd name="connsiteY122" fmla="*/ 63891 h 3727301"/>
              <a:gd name="connsiteX123" fmla="*/ 559656 w 5431992"/>
              <a:gd name="connsiteY123" fmla="*/ 66364 h 3727301"/>
              <a:gd name="connsiteX124" fmla="*/ 542827 w 5431992"/>
              <a:gd name="connsiteY124" fmla="*/ 74202 h 3727301"/>
              <a:gd name="connsiteX125" fmla="*/ 508443 w 5431992"/>
              <a:gd name="connsiteY125" fmla="*/ 89119 h 3727301"/>
              <a:gd name="connsiteX126" fmla="*/ 493927 w 5431992"/>
              <a:gd name="connsiteY126" fmla="*/ 96979 h 3727301"/>
              <a:gd name="connsiteX127" fmla="*/ 485730 w 5431992"/>
              <a:gd name="connsiteY127" fmla="*/ 100797 h 3727301"/>
              <a:gd name="connsiteX128" fmla="*/ 470995 w 5431992"/>
              <a:gd name="connsiteY128" fmla="*/ 109396 h 3727301"/>
              <a:gd name="connsiteX129" fmla="*/ 441454 w 5431992"/>
              <a:gd name="connsiteY129" fmla="*/ 125391 h 3727301"/>
              <a:gd name="connsiteX130" fmla="*/ 424802 w 5431992"/>
              <a:gd name="connsiteY130" fmla="*/ 136352 h 3727301"/>
              <a:gd name="connsiteX131" fmla="*/ 415596 w 5431992"/>
              <a:gd name="connsiteY131" fmla="*/ 141724 h 3727301"/>
              <a:gd name="connsiteX132" fmla="*/ 403056 w 5431992"/>
              <a:gd name="connsiteY132" fmla="*/ 150665 h 3727301"/>
              <a:gd name="connsiteX133" fmla="*/ 377997 w 5431992"/>
              <a:gd name="connsiteY133" fmla="*/ 167159 h 3727301"/>
              <a:gd name="connsiteX134" fmla="*/ 359561 w 5431992"/>
              <a:gd name="connsiteY134" fmla="*/ 181680 h 3727301"/>
              <a:gd name="connsiteX135" fmla="*/ 349622 w 5431992"/>
              <a:gd name="connsiteY135" fmla="*/ 188766 h 3727301"/>
              <a:gd name="connsiteX136" fmla="*/ 339257 w 5431992"/>
              <a:gd name="connsiteY136" fmla="*/ 197671 h 3727301"/>
              <a:gd name="connsiteX137" fmla="*/ 318377 w 5431992"/>
              <a:gd name="connsiteY137" fmla="*/ 214115 h 3727301"/>
              <a:gd name="connsiteX138" fmla="*/ 298544 w 5431992"/>
              <a:gd name="connsiteY138" fmla="*/ 232644 h 3727301"/>
              <a:gd name="connsiteX139" fmla="*/ 288180 w 5431992"/>
              <a:gd name="connsiteY139" fmla="*/ 241547 h 3727301"/>
              <a:gd name="connsiteX140" fmla="*/ 279890 w 5431992"/>
              <a:gd name="connsiteY140" fmla="*/ 250071 h 3727301"/>
              <a:gd name="connsiteX141" fmla="*/ 262898 w 5431992"/>
              <a:gd name="connsiteY141" fmla="*/ 265946 h 3727301"/>
              <a:gd name="connsiteX142" fmla="*/ 242085 w 5431992"/>
              <a:gd name="connsiteY142" fmla="*/ 288944 h 3727301"/>
              <a:gd name="connsiteX143" fmla="*/ 231637 w 5431992"/>
              <a:gd name="connsiteY143" fmla="*/ 299687 h 3727301"/>
              <a:gd name="connsiteX144" fmla="*/ 225275 w 5431992"/>
              <a:gd name="connsiteY144" fmla="*/ 307520 h 3727301"/>
              <a:gd name="connsiteX145" fmla="*/ 211862 w 5431992"/>
              <a:gd name="connsiteY145" fmla="*/ 322342 h 3727301"/>
              <a:gd name="connsiteX146" fmla="*/ 190506 w 5431992"/>
              <a:gd name="connsiteY146" fmla="*/ 350326 h 3727301"/>
              <a:gd name="connsiteX147" fmla="*/ 180363 w 5431992"/>
              <a:gd name="connsiteY147" fmla="*/ 362811 h 3727301"/>
              <a:gd name="connsiteX148" fmla="*/ 175743 w 5431992"/>
              <a:gd name="connsiteY148" fmla="*/ 369669 h 3727301"/>
              <a:gd name="connsiteX149" fmla="*/ 165574 w 5431992"/>
              <a:gd name="connsiteY149" fmla="*/ 382992 h 3727301"/>
              <a:gd name="connsiteX150" fmla="*/ 144110 w 5431992"/>
              <a:gd name="connsiteY150" fmla="*/ 416618 h 3727301"/>
              <a:gd name="connsiteX151" fmla="*/ 134728 w 5431992"/>
              <a:gd name="connsiteY151" fmla="*/ 430542 h 3727301"/>
              <a:gd name="connsiteX152" fmla="*/ 131630 w 5431992"/>
              <a:gd name="connsiteY152" fmla="*/ 436167 h 3727301"/>
              <a:gd name="connsiteX153" fmla="*/ 124340 w 5431992"/>
              <a:gd name="connsiteY153" fmla="*/ 447585 h 3727301"/>
              <a:gd name="connsiteX154" fmla="*/ 103153 w 5431992"/>
              <a:gd name="connsiteY154" fmla="*/ 487877 h 3727301"/>
              <a:gd name="connsiteX155" fmla="*/ 95100 w 5431992"/>
              <a:gd name="connsiteY155" fmla="*/ 502499 h 3727301"/>
              <a:gd name="connsiteX156" fmla="*/ 93274 w 5431992"/>
              <a:gd name="connsiteY156" fmla="*/ 506663 h 3727301"/>
              <a:gd name="connsiteX157" fmla="*/ 88463 w 5431992"/>
              <a:gd name="connsiteY157" fmla="*/ 515811 h 3727301"/>
              <a:gd name="connsiteX158" fmla="*/ 67759 w 5431992"/>
              <a:gd name="connsiteY158" fmla="*/ 564832 h 3727301"/>
              <a:gd name="connsiteX159" fmla="*/ 61850 w 5431992"/>
              <a:gd name="connsiteY159" fmla="*/ 578307 h 3727301"/>
              <a:gd name="connsiteX160" fmla="*/ 61016 w 5431992"/>
              <a:gd name="connsiteY160" fmla="*/ 580801 h 3727301"/>
              <a:gd name="connsiteX161" fmla="*/ 58246 w 5431992"/>
              <a:gd name="connsiteY161" fmla="*/ 587360 h 3727301"/>
              <a:gd name="connsiteX162" fmla="*/ 37462 w 5431992"/>
              <a:gd name="connsiteY162" fmla="*/ 651256 h 3727301"/>
              <a:gd name="connsiteX163" fmla="*/ 35344 w 5431992"/>
              <a:gd name="connsiteY163" fmla="*/ 657589 h 3727301"/>
              <a:gd name="connsiteX164" fmla="*/ 35195 w 5431992"/>
              <a:gd name="connsiteY164" fmla="*/ 658226 h 3727301"/>
              <a:gd name="connsiteX165" fmla="*/ 33994 w 5431992"/>
              <a:gd name="connsiteY165" fmla="*/ 661917 h 3727301"/>
              <a:gd name="connsiteX166" fmla="*/ 4602 w 5431992"/>
              <a:gd name="connsiteY166" fmla="*/ 818822 h 3727301"/>
              <a:gd name="connsiteX167" fmla="*/ 4426 w 5431992"/>
              <a:gd name="connsiteY167" fmla="*/ 822387 h 3727301"/>
              <a:gd name="connsiteX168" fmla="*/ 4051 w 5431992"/>
              <a:gd name="connsiteY168" fmla="*/ 825062 h 3727301"/>
              <a:gd name="connsiteX169" fmla="*/ 2008 w 5431992"/>
              <a:gd name="connsiteY169" fmla="*/ 869160 h 3727301"/>
              <a:gd name="connsiteX170" fmla="*/ 1 w 5431992"/>
              <a:gd name="connsiteY170" fmla="*/ 869160 h 3727301"/>
              <a:gd name="connsiteX171" fmla="*/ 1 w 5431992"/>
              <a:gd name="connsiteY171" fmla="*/ 911944 h 3727301"/>
              <a:gd name="connsiteX172" fmla="*/ 0 w 5431992"/>
              <a:gd name="connsiteY172" fmla="*/ 911952 h 3727301"/>
              <a:gd name="connsiteX173" fmla="*/ 1 w 5431992"/>
              <a:gd name="connsiteY173" fmla="*/ 911961 h 3727301"/>
              <a:gd name="connsiteX174" fmla="*/ 1 w 5431992"/>
              <a:gd name="connsiteY174" fmla="*/ 912498 h 3727301"/>
              <a:gd name="connsiteX175" fmla="*/ 1 w 5431992"/>
              <a:gd name="connsiteY175" fmla="*/ 921144 h 3727301"/>
              <a:gd name="connsiteX176" fmla="*/ 0 w 5431992"/>
              <a:gd name="connsiteY176" fmla="*/ 921144 h 3727301"/>
              <a:gd name="connsiteX177" fmla="*/ 0 w 5431992"/>
              <a:gd name="connsiteY177" fmla="*/ 1330400 h 3727301"/>
              <a:gd name="connsiteX178" fmla="*/ 0 w 5431992"/>
              <a:gd name="connsiteY178" fmla="*/ 1339592 h 3727301"/>
              <a:gd name="connsiteX179" fmla="*/ 0 w 5431992"/>
              <a:gd name="connsiteY179" fmla="*/ 1475768 h 3727301"/>
              <a:gd name="connsiteX180" fmla="*/ 0 w 5431992"/>
              <a:gd name="connsiteY180" fmla="*/ 1475769 h 3727301"/>
              <a:gd name="connsiteX181" fmla="*/ 0 w 5431992"/>
              <a:gd name="connsiteY181" fmla="*/ 1475770 h 3727301"/>
              <a:gd name="connsiteX182" fmla="*/ 0 w 5431992"/>
              <a:gd name="connsiteY182" fmla="*/ 1833095 h 3727301"/>
              <a:gd name="connsiteX183" fmla="*/ 0 w 5431992"/>
              <a:gd name="connsiteY183" fmla="*/ 1894216 h 3727301"/>
              <a:gd name="connsiteX184" fmla="*/ 0 w 5431992"/>
              <a:gd name="connsiteY184" fmla="*/ 1894217 h 3727301"/>
              <a:gd name="connsiteX185" fmla="*/ 0 w 5431992"/>
              <a:gd name="connsiteY185" fmla="*/ 1894218 h 3727301"/>
              <a:gd name="connsiteX186" fmla="*/ 0 w 5431992"/>
              <a:gd name="connsiteY186" fmla="*/ 2251543 h 3727301"/>
              <a:gd name="connsiteX187" fmla="*/ 0 w 5431992"/>
              <a:gd name="connsiteY187" fmla="*/ 2396911 h 3727301"/>
              <a:gd name="connsiteX188" fmla="*/ 0 w 5431992"/>
              <a:gd name="connsiteY188" fmla="*/ 2815359 h 3727301"/>
              <a:gd name="connsiteX189" fmla="*/ 0 w 5431992"/>
              <a:gd name="connsiteY189" fmla="*/ 3308853 h 3727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431992" h="3727301">
                <a:moveTo>
                  <a:pt x="0" y="3727301"/>
                </a:moveTo>
                <a:lnTo>
                  <a:pt x="844165" y="3727301"/>
                </a:lnTo>
                <a:lnTo>
                  <a:pt x="891390" y="3727301"/>
                </a:lnTo>
                <a:lnTo>
                  <a:pt x="2371823" y="3727301"/>
                </a:lnTo>
                <a:lnTo>
                  <a:pt x="2754923" y="3727301"/>
                </a:lnTo>
                <a:lnTo>
                  <a:pt x="4157501" y="3727301"/>
                </a:lnTo>
                <a:lnTo>
                  <a:pt x="4540601" y="3727301"/>
                </a:lnTo>
                <a:lnTo>
                  <a:pt x="4540601" y="3726212"/>
                </a:lnTo>
                <a:lnTo>
                  <a:pt x="4540602" y="3726212"/>
                </a:lnTo>
                <a:lnTo>
                  <a:pt x="4540868" y="3726212"/>
                </a:lnTo>
                <a:lnTo>
                  <a:pt x="4552303" y="3726212"/>
                </a:lnTo>
                <a:lnTo>
                  <a:pt x="4587827" y="3726212"/>
                </a:lnTo>
                <a:lnTo>
                  <a:pt x="4587827" y="3723939"/>
                </a:lnTo>
                <a:lnTo>
                  <a:pt x="4626359" y="3722075"/>
                </a:lnTo>
                <a:lnTo>
                  <a:pt x="4629673" y="3721600"/>
                </a:lnTo>
                <a:lnTo>
                  <a:pt x="4631501" y="3721506"/>
                </a:lnTo>
                <a:lnTo>
                  <a:pt x="4648879" y="3718852"/>
                </a:lnTo>
                <a:lnTo>
                  <a:pt x="4704433" y="3710902"/>
                </a:lnTo>
                <a:lnTo>
                  <a:pt x="4710823" y="3709391"/>
                </a:lnTo>
                <a:lnTo>
                  <a:pt x="4714586" y="3708817"/>
                </a:lnTo>
                <a:lnTo>
                  <a:pt x="4734014" y="3703907"/>
                </a:lnTo>
                <a:lnTo>
                  <a:pt x="4780194" y="3692988"/>
                </a:lnTo>
                <a:lnTo>
                  <a:pt x="4789537" y="3689878"/>
                </a:lnTo>
                <a:lnTo>
                  <a:pt x="4794988" y="3688501"/>
                </a:lnTo>
                <a:lnTo>
                  <a:pt x="4813574" y="3681879"/>
                </a:lnTo>
                <a:lnTo>
                  <a:pt x="4853335" y="3668644"/>
                </a:lnTo>
                <a:lnTo>
                  <a:pt x="4865400" y="3663410"/>
                </a:lnTo>
                <a:lnTo>
                  <a:pt x="4872337" y="3660937"/>
                </a:lnTo>
                <a:lnTo>
                  <a:pt x="4889166" y="3653099"/>
                </a:lnTo>
                <a:lnTo>
                  <a:pt x="4923551" y="3638182"/>
                </a:lnTo>
                <a:lnTo>
                  <a:pt x="4938066" y="3630322"/>
                </a:lnTo>
                <a:lnTo>
                  <a:pt x="4946263" y="3626504"/>
                </a:lnTo>
                <a:lnTo>
                  <a:pt x="4960997" y="3617905"/>
                </a:lnTo>
                <a:lnTo>
                  <a:pt x="4990539" y="3601910"/>
                </a:lnTo>
                <a:lnTo>
                  <a:pt x="5007191" y="3590949"/>
                </a:lnTo>
                <a:lnTo>
                  <a:pt x="5016397" y="3585577"/>
                </a:lnTo>
                <a:lnTo>
                  <a:pt x="5028936" y="3576636"/>
                </a:lnTo>
                <a:lnTo>
                  <a:pt x="5053995" y="3560142"/>
                </a:lnTo>
                <a:lnTo>
                  <a:pt x="5072432" y="3545621"/>
                </a:lnTo>
                <a:lnTo>
                  <a:pt x="5082370" y="3538535"/>
                </a:lnTo>
                <a:lnTo>
                  <a:pt x="5092737" y="3529630"/>
                </a:lnTo>
                <a:lnTo>
                  <a:pt x="5113615" y="3513186"/>
                </a:lnTo>
                <a:lnTo>
                  <a:pt x="5133448" y="3494657"/>
                </a:lnTo>
                <a:lnTo>
                  <a:pt x="5143812" y="3485754"/>
                </a:lnTo>
                <a:lnTo>
                  <a:pt x="5152102" y="3477230"/>
                </a:lnTo>
                <a:lnTo>
                  <a:pt x="5169095" y="3461355"/>
                </a:lnTo>
                <a:lnTo>
                  <a:pt x="5189909" y="3438356"/>
                </a:lnTo>
                <a:lnTo>
                  <a:pt x="5200355" y="3427614"/>
                </a:lnTo>
                <a:lnTo>
                  <a:pt x="5206717" y="3419781"/>
                </a:lnTo>
                <a:lnTo>
                  <a:pt x="5220131" y="3404959"/>
                </a:lnTo>
                <a:lnTo>
                  <a:pt x="5241486" y="3376975"/>
                </a:lnTo>
                <a:lnTo>
                  <a:pt x="5251629" y="3364490"/>
                </a:lnTo>
                <a:lnTo>
                  <a:pt x="5256249" y="3357632"/>
                </a:lnTo>
                <a:lnTo>
                  <a:pt x="5266418" y="3344309"/>
                </a:lnTo>
                <a:lnTo>
                  <a:pt x="5287884" y="3310683"/>
                </a:lnTo>
                <a:lnTo>
                  <a:pt x="5297265" y="3296759"/>
                </a:lnTo>
                <a:lnTo>
                  <a:pt x="5300364" y="3291135"/>
                </a:lnTo>
                <a:lnTo>
                  <a:pt x="5307652" y="3279716"/>
                </a:lnTo>
                <a:lnTo>
                  <a:pt x="5328841" y="3239424"/>
                </a:lnTo>
                <a:lnTo>
                  <a:pt x="5336893" y="3224802"/>
                </a:lnTo>
                <a:lnTo>
                  <a:pt x="5338719" y="3220638"/>
                </a:lnTo>
                <a:lnTo>
                  <a:pt x="5343530" y="3211490"/>
                </a:lnTo>
                <a:lnTo>
                  <a:pt x="5364233" y="3162469"/>
                </a:lnTo>
                <a:lnTo>
                  <a:pt x="5370144" y="3148994"/>
                </a:lnTo>
                <a:lnTo>
                  <a:pt x="5370977" y="3146500"/>
                </a:lnTo>
                <a:lnTo>
                  <a:pt x="5373748" y="3139941"/>
                </a:lnTo>
                <a:lnTo>
                  <a:pt x="5394531" y="3076045"/>
                </a:lnTo>
                <a:lnTo>
                  <a:pt x="5396648" y="3069712"/>
                </a:lnTo>
                <a:lnTo>
                  <a:pt x="5396798" y="3069075"/>
                </a:lnTo>
                <a:lnTo>
                  <a:pt x="5397999" y="3065384"/>
                </a:lnTo>
                <a:cubicBezTo>
                  <a:pt x="5412111" y="3014743"/>
                  <a:pt x="5422044" y="2962304"/>
                  <a:pt x="5427392" y="2908479"/>
                </a:cubicBezTo>
                <a:lnTo>
                  <a:pt x="5427567" y="2904915"/>
                </a:lnTo>
                <a:lnTo>
                  <a:pt x="5427942" y="2902239"/>
                </a:lnTo>
                <a:lnTo>
                  <a:pt x="5429984" y="2858141"/>
                </a:lnTo>
                <a:lnTo>
                  <a:pt x="5431992" y="2858141"/>
                </a:lnTo>
                <a:lnTo>
                  <a:pt x="5431992" y="2815358"/>
                </a:lnTo>
                <a:lnTo>
                  <a:pt x="5431992" y="2815349"/>
                </a:lnTo>
                <a:lnTo>
                  <a:pt x="5431992" y="2815340"/>
                </a:lnTo>
                <a:lnTo>
                  <a:pt x="5431992" y="2814803"/>
                </a:lnTo>
                <a:lnTo>
                  <a:pt x="5431992" y="2806157"/>
                </a:lnTo>
                <a:lnTo>
                  <a:pt x="5431992" y="2439693"/>
                </a:lnTo>
                <a:lnTo>
                  <a:pt x="5431992" y="2396910"/>
                </a:lnTo>
                <a:lnTo>
                  <a:pt x="5431992" y="2396901"/>
                </a:lnTo>
                <a:lnTo>
                  <a:pt x="5431992" y="2396892"/>
                </a:lnTo>
                <a:lnTo>
                  <a:pt x="5431992" y="2396355"/>
                </a:lnTo>
                <a:lnTo>
                  <a:pt x="5431992" y="2387709"/>
                </a:lnTo>
                <a:lnTo>
                  <a:pt x="5431992" y="2251532"/>
                </a:lnTo>
                <a:lnTo>
                  <a:pt x="5431992" y="1894207"/>
                </a:lnTo>
                <a:lnTo>
                  <a:pt x="5431992" y="1833084"/>
                </a:lnTo>
                <a:lnTo>
                  <a:pt x="5431992" y="1475759"/>
                </a:lnTo>
                <a:lnTo>
                  <a:pt x="5431992" y="1330390"/>
                </a:lnTo>
                <a:lnTo>
                  <a:pt x="5431992" y="911942"/>
                </a:lnTo>
                <a:lnTo>
                  <a:pt x="5431992" y="418448"/>
                </a:lnTo>
                <a:lnTo>
                  <a:pt x="5431992" y="0"/>
                </a:lnTo>
                <a:lnTo>
                  <a:pt x="4587827" y="0"/>
                </a:lnTo>
                <a:lnTo>
                  <a:pt x="4540602" y="0"/>
                </a:lnTo>
                <a:lnTo>
                  <a:pt x="3646314" y="0"/>
                </a:lnTo>
                <a:lnTo>
                  <a:pt x="3060170" y="0"/>
                </a:lnTo>
                <a:lnTo>
                  <a:pt x="2802149" y="0"/>
                </a:lnTo>
                <a:lnTo>
                  <a:pt x="2754924" y="0"/>
                </a:lnTo>
                <a:lnTo>
                  <a:pt x="2677069" y="0"/>
                </a:lnTo>
                <a:lnTo>
                  <a:pt x="1274492" y="0"/>
                </a:lnTo>
                <a:lnTo>
                  <a:pt x="891391" y="0"/>
                </a:lnTo>
                <a:lnTo>
                  <a:pt x="891391" y="1089"/>
                </a:lnTo>
                <a:lnTo>
                  <a:pt x="891390" y="1089"/>
                </a:lnTo>
                <a:lnTo>
                  <a:pt x="891124" y="1089"/>
                </a:lnTo>
                <a:lnTo>
                  <a:pt x="879689" y="1089"/>
                </a:lnTo>
                <a:lnTo>
                  <a:pt x="844165" y="1089"/>
                </a:lnTo>
                <a:lnTo>
                  <a:pt x="844165" y="3362"/>
                </a:lnTo>
                <a:lnTo>
                  <a:pt x="805634" y="5226"/>
                </a:lnTo>
                <a:lnTo>
                  <a:pt x="802321" y="5701"/>
                </a:lnTo>
                <a:lnTo>
                  <a:pt x="800491" y="5795"/>
                </a:lnTo>
                <a:lnTo>
                  <a:pt x="783113" y="8449"/>
                </a:lnTo>
                <a:lnTo>
                  <a:pt x="727559" y="16399"/>
                </a:lnTo>
                <a:lnTo>
                  <a:pt x="721169" y="17910"/>
                </a:lnTo>
                <a:lnTo>
                  <a:pt x="717406" y="18484"/>
                </a:lnTo>
                <a:lnTo>
                  <a:pt x="697980" y="23394"/>
                </a:lnTo>
                <a:lnTo>
                  <a:pt x="651798" y="34313"/>
                </a:lnTo>
                <a:lnTo>
                  <a:pt x="642455" y="37423"/>
                </a:lnTo>
                <a:lnTo>
                  <a:pt x="637004" y="38800"/>
                </a:lnTo>
                <a:lnTo>
                  <a:pt x="618418" y="45422"/>
                </a:lnTo>
                <a:lnTo>
                  <a:pt x="578659" y="58657"/>
                </a:lnTo>
                <a:lnTo>
                  <a:pt x="566594" y="63891"/>
                </a:lnTo>
                <a:lnTo>
                  <a:pt x="559656" y="66364"/>
                </a:lnTo>
                <a:lnTo>
                  <a:pt x="542827" y="74202"/>
                </a:lnTo>
                <a:lnTo>
                  <a:pt x="508443" y="89119"/>
                </a:lnTo>
                <a:lnTo>
                  <a:pt x="493927" y="96979"/>
                </a:lnTo>
                <a:lnTo>
                  <a:pt x="485730" y="100797"/>
                </a:lnTo>
                <a:lnTo>
                  <a:pt x="470995" y="109396"/>
                </a:lnTo>
                <a:lnTo>
                  <a:pt x="441454" y="125391"/>
                </a:lnTo>
                <a:lnTo>
                  <a:pt x="424802" y="136352"/>
                </a:lnTo>
                <a:lnTo>
                  <a:pt x="415596" y="141724"/>
                </a:lnTo>
                <a:lnTo>
                  <a:pt x="403056" y="150665"/>
                </a:lnTo>
                <a:lnTo>
                  <a:pt x="377997" y="167159"/>
                </a:lnTo>
                <a:lnTo>
                  <a:pt x="359561" y="181680"/>
                </a:lnTo>
                <a:lnTo>
                  <a:pt x="349622" y="188766"/>
                </a:lnTo>
                <a:lnTo>
                  <a:pt x="339257" y="197671"/>
                </a:lnTo>
                <a:lnTo>
                  <a:pt x="318377" y="214115"/>
                </a:lnTo>
                <a:lnTo>
                  <a:pt x="298544" y="232644"/>
                </a:lnTo>
                <a:lnTo>
                  <a:pt x="288180" y="241547"/>
                </a:lnTo>
                <a:lnTo>
                  <a:pt x="279890" y="250071"/>
                </a:lnTo>
                <a:lnTo>
                  <a:pt x="262898" y="265946"/>
                </a:lnTo>
                <a:lnTo>
                  <a:pt x="242085" y="288944"/>
                </a:lnTo>
                <a:lnTo>
                  <a:pt x="231637" y="299687"/>
                </a:lnTo>
                <a:lnTo>
                  <a:pt x="225275" y="307520"/>
                </a:lnTo>
                <a:lnTo>
                  <a:pt x="211862" y="322342"/>
                </a:lnTo>
                <a:lnTo>
                  <a:pt x="190506" y="350326"/>
                </a:lnTo>
                <a:lnTo>
                  <a:pt x="180363" y="362811"/>
                </a:lnTo>
                <a:lnTo>
                  <a:pt x="175743" y="369669"/>
                </a:lnTo>
                <a:lnTo>
                  <a:pt x="165574" y="382992"/>
                </a:lnTo>
                <a:lnTo>
                  <a:pt x="144110" y="416618"/>
                </a:lnTo>
                <a:lnTo>
                  <a:pt x="134728" y="430542"/>
                </a:lnTo>
                <a:lnTo>
                  <a:pt x="131630" y="436167"/>
                </a:lnTo>
                <a:lnTo>
                  <a:pt x="124340" y="447585"/>
                </a:lnTo>
                <a:lnTo>
                  <a:pt x="103153" y="487877"/>
                </a:lnTo>
                <a:lnTo>
                  <a:pt x="95100" y="502499"/>
                </a:lnTo>
                <a:lnTo>
                  <a:pt x="93274" y="506663"/>
                </a:lnTo>
                <a:lnTo>
                  <a:pt x="88463" y="515811"/>
                </a:lnTo>
                <a:lnTo>
                  <a:pt x="67759" y="564832"/>
                </a:lnTo>
                <a:lnTo>
                  <a:pt x="61850" y="578307"/>
                </a:lnTo>
                <a:lnTo>
                  <a:pt x="61016" y="580801"/>
                </a:lnTo>
                <a:lnTo>
                  <a:pt x="58246" y="587360"/>
                </a:lnTo>
                <a:lnTo>
                  <a:pt x="37462" y="651256"/>
                </a:lnTo>
                <a:lnTo>
                  <a:pt x="35344" y="657589"/>
                </a:lnTo>
                <a:lnTo>
                  <a:pt x="35195" y="658226"/>
                </a:lnTo>
                <a:lnTo>
                  <a:pt x="33994" y="661917"/>
                </a:lnTo>
                <a:cubicBezTo>
                  <a:pt x="19882" y="712558"/>
                  <a:pt x="9949" y="764997"/>
                  <a:pt x="4602" y="818822"/>
                </a:cubicBezTo>
                <a:lnTo>
                  <a:pt x="4426" y="822387"/>
                </a:lnTo>
                <a:lnTo>
                  <a:pt x="4051" y="825062"/>
                </a:lnTo>
                <a:lnTo>
                  <a:pt x="2008" y="869160"/>
                </a:lnTo>
                <a:lnTo>
                  <a:pt x="1" y="869160"/>
                </a:lnTo>
                <a:lnTo>
                  <a:pt x="1" y="911944"/>
                </a:lnTo>
                <a:lnTo>
                  <a:pt x="0" y="911952"/>
                </a:lnTo>
                <a:lnTo>
                  <a:pt x="1" y="911961"/>
                </a:lnTo>
                <a:lnTo>
                  <a:pt x="1" y="912498"/>
                </a:lnTo>
                <a:lnTo>
                  <a:pt x="1" y="921144"/>
                </a:lnTo>
                <a:lnTo>
                  <a:pt x="0" y="921144"/>
                </a:lnTo>
                <a:lnTo>
                  <a:pt x="0" y="1330400"/>
                </a:lnTo>
                <a:lnTo>
                  <a:pt x="0" y="1339592"/>
                </a:lnTo>
                <a:lnTo>
                  <a:pt x="0" y="1475768"/>
                </a:lnTo>
                <a:lnTo>
                  <a:pt x="0" y="1475769"/>
                </a:lnTo>
                <a:lnTo>
                  <a:pt x="0" y="1475770"/>
                </a:lnTo>
                <a:lnTo>
                  <a:pt x="0" y="1833095"/>
                </a:lnTo>
                <a:lnTo>
                  <a:pt x="0" y="1894216"/>
                </a:lnTo>
                <a:lnTo>
                  <a:pt x="0" y="1894217"/>
                </a:lnTo>
                <a:lnTo>
                  <a:pt x="0" y="1894218"/>
                </a:lnTo>
                <a:lnTo>
                  <a:pt x="0" y="2251543"/>
                </a:lnTo>
                <a:lnTo>
                  <a:pt x="0" y="2396911"/>
                </a:lnTo>
                <a:lnTo>
                  <a:pt x="0" y="2815359"/>
                </a:lnTo>
                <a:lnTo>
                  <a:pt x="0" y="3308853"/>
                </a:lnTo>
                <a:close/>
              </a:path>
            </a:pathLst>
          </a:custGeom>
          <a:solidFill>
            <a:srgbClr val="1D316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359" name="Graphic 358">
            <a:extLst>
              <a:ext uri="{FF2B5EF4-FFF2-40B4-BE49-F238E27FC236}">
                <a16:creationId xmlns:a16="http://schemas.microsoft.com/office/drawing/2014/main" id="{1BDCE869-3CFA-F946-94D7-A6FE0C2ABB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100761" y="734815"/>
            <a:ext cx="686301" cy="693809"/>
          </a:xfrm>
          <a:prstGeom prst="rect">
            <a:avLst/>
          </a:prstGeom>
        </p:spPr>
      </p:pic>
      <p:sp>
        <p:nvSpPr>
          <p:cNvPr id="361" name="Freeform: Shape 90">
            <a:extLst>
              <a:ext uri="{FF2B5EF4-FFF2-40B4-BE49-F238E27FC236}">
                <a16:creationId xmlns:a16="http://schemas.microsoft.com/office/drawing/2014/main" id="{12DE67FE-FCDF-8D4C-8F8A-CA29008023C9}"/>
              </a:ext>
            </a:extLst>
          </p:cNvPr>
          <p:cNvSpPr/>
          <p:nvPr/>
        </p:nvSpPr>
        <p:spPr>
          <a:xfrm>
            <a:off x="856001" y="823838"/>
            <a:ext cx="3225573" cy="601998"/>
          </a:xfrm>
          <a:custGeom>
            <a:avLst/>
            <a:gdLst>
              <a:gd name="connsiteX0" fmla="*/ 325384 w 4047850"/>
              <a:gd name="connsiteY0" fmla="*/ 0 h 651348"/>
              <a:gd name="connsiteX1" fmla="*/ 593248 w 4047850"/>
              <a:gd name="connsiteY1" fmla="*/ 0 h 651348"/>
              <a:gd name="connsiteX2" fmla="*/ 1005630 w 4047850"/>
              <a:gd name="connsiteY2" fmla="*/ 0 h 651348"/>
              <a:gd name="connsiteX3" fmla="*/ 1022869 w 4047850"/>
              <a:gd name="connsiteY3" fmla="*/ 0 h 651348"/>
              <a:gd name="connsiteX4" fmla="*/ 3042220 w 4047850"/>
              <a:gd name="connsiteY4" fmla="*/ 0 h 651348"/>
              <a:gd name="connsiteX5" fmla="*/ 3394765 w 4047850"/>
              <a:gd name="connsiteY5" fmla="*/ 0 h 651348"/>
              <a:gd name="connsiteX6" fmla="*/ 3722465 w 4047850"/>
              <a:gd name="connsiteY6" fmla="*/ 0 h 651348"/>
              <a:gd name="connsiteX7" fmla="*/ 3739704 w 4047850"/>
              <a:gd name="connsiteY7" fmla="*/ 0 h 651348"/>
              <a:gd name="connsiteX8" fmla="*/ 3739704 w 4047850"/>
              <a:gd name="connsiteY8" fmla="*/ 385 h 651348"/>
              <a:gd name="connsiteX9" fmla="*/ 4047850 w 4047850"/>
              <a:gd name="connsiteY9" fmla="*/ 385 h 651348"/>
              <a:gd name="connsiteX10" fmla="*/ 4047850 w 4047850"/>
              <a:gd name="connsiteY10" fmla="*/ 325477 h 651348"/>
              <a:gd name="connsiteX11" fmla="*/ 4047850 w 4047850"/>
              <a:gd name="connsiteY11" fmla="*/ 325669 h 651348"/>
              <a:gd name="connsiteX12" fmla="*/ 4047850 w 4047850"/>
              <a:gd name="connsiteY12" fmla="*/ 325672 h 651348"/>
              <a:gd name="connsiteX13" fmla="*/ 4047850 w 4047850"/>
              <a:gd name="connsiteY13" fmla="*/ 325675 h 651348"/>
              <a:gd name="connsiteX14" fmla="*/ 4047850 w 4047850"/>
              <a:gd name="connsiteY14" fmla="*/ 340954 h 651348"/>
              <a:gd name="connsiteX15" fmla="*/ 4047117 w 4047850"/>
              <a:gd name="connsiteY15" fmla="*/ 340954 h 651348"/>
              <a:gd name="connsiteX16" fmla="*/ 4046371 w 4047850"/>
              <a:gd name="connsiteY16" fmla="*/ 356703 h 651348"/>
              <a:gd name="connsiteX17" fmla="*/ 4046235 w 4047850"/>
              <a:gd name="connsiteY17" fmla="*/ 357658 h 651348"/>
              <a:gd name="connsiteX18" fmla="*/ 4046171 w 4047850"/>
              <a:gd name="connsiteY18" fmla="*/ 358931 h 651348"/>
              <a:gd name="connsiteX19" fmla="*/ 4035441 w 4047850"/>
              <a:gd name="connsiteY19" fmla="*/ 414965 h 651348"/>
              <a:gd name="connsiteX20" fmla="*/ 4035003 w 4047850"/>
              <a:gd name="connsiteY20" fmla="*/ 416283 h 651348"/>
              <a:gd name="connsiteX21" fmla="*/ 4034948 w 4047850"/>
              <a:gd name="connsiteY21" fmla="*/ 416510 h 651348"/>
              <a:gd name="connsiteX22" fmla="*/ 4034176 w 4047850"/>
              <a:gd name="connsiteY22" fmla="*/ 418772 h 651348"/>
              <a:gd name="connsiteX23" fmla="*/ 4026589 w 4047850"/>
              <a:gd name="connsiteY23" fmla="*/ 441591 h 651348"/>
              <a:gd name="connsiteX24" fmla="*/ 4025578 w 4047850"/>
              <a:gd name="connsiteY24" fmla="*/ 443933 h 651348"/>
              <a:gd name="connsiteX25" fmla="*/ 4025273 w 4047850"/>
              <a:gd name="connsiteY25" fmla="*/ 444823 h 651348"/>
              <a:gd name="connsiteX26" fmla="*/ 4023116 w 4047850"/>
              <a:gd name="connsiteY26" fmla="*/ 449636 h 651348"/>
              <a:gd name="connsiteX27" fmla="*/ 4015559 w 4047850"/>
              <a:gd name="connsiteY27" fmla="*/ 467142 h 651348"/>
              <a:gd name="connsiteX28" fmla="*/ 4013802 w 4047850"/>
              <a:gd name="connsiteY28" fmla="*/ 470409 h 651348"/>
              <a:gd name="connsiteX29" fmla="*/ 4013136 w 4047850"/>
              <a:gd name="connsiteY29" fmla="*/ 471896 h 651348"/>
              <a:gd name="connsiteX30" fmla="*/ 4010197 w 4047850"/>
              <a:gd name="connsiteY30" fmla="*/ 477118 h 651348"/>
              <a:gd name="connsiteX31" fmla="*/ 4002462 w 4047850"/>
              <a:gd name="connsiteY31" fmla="*/ 491507 h 651348"/>
              <a:gd name="connsiteX32" fmla="*/ 3999801 w 4047850"/>
              <a:gd name="connsiteY32" fmla="*/ 495585 h 651348"/>
              <a:gd name="connsiteX33" fmla="*/ 3998671 w 4047850"/>
              <a:gd name="connsiteY33" fmla="*/ 497594 h 651348"/>
              <a:gd name="connsiteX34" fmla="*/ 3995246 w 4047850"/>
              <a:gd name="connsiteY34" fmla="*/ 502566 h 651348"/>
              <a:gd name="connsiteX35" fmla="*/ 3987410 w 4047850"/>
              <a:gd name="connsiteY35" fmla="*/ 514574 h 651348"/>
              <a:gd name="connsiteX36" fmla="*/ 3983699 w 4047850"/>
              <a:gd name="connsiteY36" fmla="*/ 519333 h 651348"/>
              <a:gd name="connsiteX37" fmla="*/ 3982012 w 4047850"/>
              <a:gd name="connsiteY37" fmla="*/ 521781 h 651348"/>
              <a:gd name="connsiteX38" fmla="*/ 3978310 w 4047850"/>
              <a:gd name="connsiteY38" fmla="*/ 526240 h 651348"/>
              <a:gd name="connsiteX39" fmla="*/ 3970514 w 4047850"/>
              <a:gd name="connsiteY39" fmla="*/ 536234 h 651348"/>
              <a:gd name="connsiteX40" fmla="*/ 3965618 w 4047850"/>
              <a:gd name="connsiteY40" fmla="*/ 541527 h 651348"/>
              <a:gd name="connsiteX41" fmla="*/ 3963295 w 4047850"/>
              <a:gd name="connsiteY41" fmla="*/ 544324 h 651348"/>
              <a:gd name="connsiteX42" fmla="*/ 3959482 w 4047850"/>
              <a:gd name="connsiteY42" fmla="*/ 548161 h 651348"/>
              <a:gd name="connsiteX43" fmla="*/ 3951885 w 4047850"/>
              <a:gd name="connsiteY43" fmla="*/ 556374 h 651348"/>
              <a:gd name="connsiteX44" fmla="*/ 3945682 w 4047850"/>
              <a:gd name="connsiteY44" fmla="*/ 562043 h 651348"/>
              <a:gd name="connsiteX45" fmla="*/ 3942656 w 4047850"/>
              <a:gd name="connsiteY45" fmla="*/ 565087 h 651348"/>
              <a:gd name="connsiteX46" fmla="*/ 3938872 w 4047850"/>
              <a:gd name="connsiteY46" fmla="*/ 568267 h 651348"/>
              <a:gd name="connsiteX47" fmla="*/ 3931633 w 4047850"/>
              <a:gd name="connsiteY47" fmla="*/ 574884 h 651348"/>
              <a:gd name="connsiteX48" fmla="*/ 3924011 w 4047850"/>
              <a:gd name="connsiteY48" fmla="*/ 580756 h 651348"/>
              <a:gd name="connsiteX49" fmla="*/ 3920227 w 4047850"/>
              <a:gd name="connsiteY49" fmla="*/ 583936 h 651348"/>
              <a:gd name="connsiteX50" fmla="*/ 3916599 w 4047850"/>
              <a:gd name="connsiteY50" fmla="*/ 586467 h 651348"/>
              <a:gd name="connsiteX51" fmla="*/ 3909870 w 4047850"/>
              <a:gd name="connsiteY51" fmla="*/ 591652 h 651348"/>
              <a:gd name="connsiteX52" fmla="*/ 3900723 w 4047850"/>
              <a:gd name="connsiteY52" fmla="*/ 597543 h 651348"/>
              <a:gd name="connsiteX53" fmla="*/ 3896145 w 4047850"/>
              <a:gd name="connsiteY53" fmla="*/ 600736 h 651348"/>
              <a:gd name="connsiteX54" fmla="*/ 3892785 w 4047850"/>
              <a:gd name="connsiteY54" fmla="*/ 602655 h 651348"/>
              <a:gd name="connsiteX55" fmla="*/ 3886706 w 4047850"/>
              <a:gd name="connsiteY55" fmla="*/ 606569 h 651348"/>
              <a:gd name="connsiteX56" fmla="*/ 3875923 w 4047850"/>
              <a:gd name="connsiteY56" fmla="*/ 612281 h 651348"/>
              <a:gd name="connsiteX57" fmla="*/ 3870544 w 4047850"/>
              <a:gd name="connsiteY57" fmla="*/ 615352 h 651348"/>
              <a:gd name="connsiteX58" fmla="*/ 3867552 w 4047850"/>
              <a:gd name="connsiteY58" fmla="*/ 616715 h 651348"/>
              <a:gd name="connsiteX59" fmla="*/ 3862253 w 4047850"/>
              <a:gd name="connsiteY59" fmla="*/ 619522 h 651348"/>
              <a:gd name="connsiteX60" fmla="*/ 3849702 w 4047850"/>
              <a:gd name="connsiteY60" fmla="*/ 624849 h 651348"/>
              <a:gd name="connsiteX61" fmla="*/ 3843559 w 4047850"/>
              <a:gd name="connsiteY61" fmla="*/ 627649 h 651348"/>
              <a:gd name="connsiteX62" fmla="*/ 3841026 w 4047850"/>
              <a:gd name="connsiteY62" fmla="*/ 628532 h 651348"/>
              <a:gd name="connsiteX63" fmla="*/ 3836622 w 4047850"/>
              <a:gd name="connsiteY63" fmla="*/ 630401 h 651348"/>
              <a:gd name="connsiteX64" fmla="*/ 3822109 w 4047850"/>
              <a:gd name="connsiteY64" fmla="*/ 635127 h 651348"/>
              <a:gd name="connsiteX65" fmla="*/ 3815324 w 4047850"/>
              <a:gd name="connsiteY65" fmla="*/ 637492 h 651348"/>
              <a:gd name="connsiteX66" fmla="*/ 3813334 w 4047850"/>
              <a:gd name="connsiteY66" fmla="*/ 637984 h 651348"/>
              <a:gd name="connsiteX67" fmla="*/ 3809924 w 4047850"/>
              <a:gd name="connsiteY67" fmla="*/ 639095 h 651348"/>
              <a:gd name="connsiteX68" fmla="*/ 3793067 w 4047850"/>
              <a:gd name="connsiteY68" fmla="*/ 642994 h 651348"/>
              <a:gd name="connsiteX69" fmla="*/ 3785975 w 4047850"/>
              <a:gd name="connsiteY69" fmla="*/ 644747 h 651348"/>
              <a:gd name="connsiteX70" fmla="*/ 3784601 w 4047850"/>
              <a:gd name="connsiteY70" fmla="*/ 644952 h 651348"/>
              <a:gd name="connsiteX71" fmla="*/ 3782269 w 4047850"/>
              <a:gd name="connsiteY71" fmla="*/ 645492 h 651348"/>
              <a:gd name="connsiteX72" fmla="*/ 3761990 w 4047850"/>
              <a:gd name="connsiteY72" fmla="*/ 648331 h 651348"/>
              <a:gd name="connsiteX73" fmla="*/ 3755647 w 4047850"/>
              <a:gd name="connsiteY73" fmla="*/ 649279 h 651348"/>
              <a:gd name="connsiteX74" fmla="*/ 3754979 w 4047850"/>
              <a:gd name="connsiteY74" fmla="*/ 649313 h 651348"/>
              <a:gd name="connsiteX75" fmla="*/ 3753769 w 4047850"/>
              <a:gd name="connsiteY75" fmla="*/ 649482 h 651348"/>
              <a:gd name="connsiteX76" fmla="*/ 3739704 w 4047850"/>
              <a:gd name="connsiteY76" fmla="*/ 650148 h 651348"/>
              <a:gd name="connsiteX77" fmla="*/ 3739704 w 4047850"/>
              <a:gd name="connsiteY77" fmla="*/ 650959 h 651348"/>
              <a:gd name="connsiteX78" fmla="*/ 3726737 w 4047850"/>
              <a:gd name="connsiteY78" fmla="*/ 650959 h 651348"/>
              <a:gd name="connsiteX79" fmla="*/ 3722563 w 4047850"/>
              <a:gd name="connsiteY79" fmla="*/ 650959 h 651348"/>
              <a:gd name="connsiteX80" fmla="*/ 3722465 w 4047850"/>
              <a:gd name="connsiteY80" fmla="*/ 650959 h 651348"/>
              <a:gd name="connsiteX81" fmla="*/ 3722465 w 4047850"/>
              <a:gd name="connsiteY81" fmla="*/ 651348 h 651348"/>
              <a:gd name="connsiteX82" fmla="*/ 3394765 w 4047850"/>
              <a:gd name="connsiteY82" fmla="*/ 651348 h 651348"/>
              <a:gd name="connsiteX83" fmla="*/ 3042220 w 4047850"/>
              <a:gd name="connsiteY83" fmla="*/ 651348 h 651348"/>
              <a:gd name="connsiteX84" fmla="*/ 3024981 w 4047850"/>
              <a:gd name="connsiteY84" fmla="*/ 651348 h 651348"/>
              <a:gd name="connsiteX85" fmla="*/ 1005630 w 4047850"/>
              <a:gd name="connsiteY85" fmla="*/ 651348 h 651348"/>
              <a:gd name="connsiteX86" fmla="*/ 593248 w 4047850"/>
              <a:gd name="connsiteY86" fmla="*/ 651348 h 651348"/>
              <a:gd name="connsiteX87" fmla="*/ 325384 w 4047850"/>
              <a:gd name="connsiteY87" fmla="*/ 651348 h 651348"/>
              <a:gd name="connsiteX88" fmla="*/ 308146 w 4047850"/>
              <a:gd name="connsiteY88" fmla="*/ 651348 h 651348"/>
              <a:gd name="connsiteX89" fmla="*/ 308146 w 4047850"/>
              <a:gd name="connsiteY89" fmla="*/ 650963 h 651348"/>
              <a:gd name="connsiteX90" fmla="*/ 0 w 4047850"/>
              <a:gd name="connsiteY90" fmla="*/ 650963 h 651348"/>
              <a:gd name="connsiteX91" fmla="*/ 0 w 4047850"/>
              <a:gd name="connsiteY91" fmla="*/ 325871 h 651348"/>
              <a:gd name="connsiteX92" fmla="*/ 0 w 4047850"/>
              <a:gd name="connsiteY92" fmla="*/ 325679 h 651348"/>
              <a:gd name="connsiteX93" fmla="*/ 0 w 4047850"/>
              <a:gd name="connsiteY93" fmla="*/ 325676 h 651348"/>
              <a:gd name="connsiteX94" fmla="*/ 0 w 4047850"/>
              <a:gd name="connsiteY94" fmla="*/ 325673 h 651348"/>
              <a:gd name="connsiteX95" fmla="*/ 0 w 4047850"/>
              <a:gd name="connsiteY95" fmla="*/ 310394 h 651348"/>
              <a:gd name="connsiteX96" fmla="*/ 733 w 4047850"/>
              <a:gd name="connsiteY96" fmla="*/ 310394 h 651348"/>
              <a:gd name="connsiteX97" fmla="*/ 1478 w 4047850"/>
              <a:gd name="connsiteY97" fmla="*/ 294646 h 651348"/>
              <a:gd name="connsiteX98" fmla="*/ 1615 w 4047850"/>
              <a:gd name="connsiteY98" fmla="*/ 293690 h 651348"/>
              <a:gd name="connsiteX99" fmla="*/ 1679 w 4047850"/>
              <a:gd name="connsiteY99" fmla="*/ 292417 h 651348"/>
              <a:gd name="connsiteX100" fmla="*/ 12408 w 4047850"/>
              <a:gd name="connsiteY100" fmla="*/ 236384 h 651348"/>
              <a:gd name="connsiteX101" fmla="*/ 12847 w 4047850"/>
              <a:gd name="connsiteY101" fmla="*/ 235065 h 651348"/>
              <a:gd name="connsiteX102" fmla="*/ 12901 w 4047850"/>
              <a:gd name="connsiteY102" fmla="*/ 234838 h 651348"/>
              <a:gd name="connsiteX103" fmla="*/ 13674 w 4047850"/>
              <a:gd name="connsiteY103" fmla="*/ 232576 h 651348"/>
              <a:gd name="connsiteX104" fmla="*/ 21261 w 4047850"/>
              <a:gd name="connsiteY104" fmla="*/ 209757 h 651348"/>
              <a:gd name="connsiteX105" fmla="*/ 22272 w 4047850"/>
              <a:gd name="connsiteY105" fmla="*/ 207415 h 651348"/>
              <a:gd name="connsiteX106" fmla="*/ 22576 w 4047850"/>
              <a:gd name="connsiteY106" fmla="*/ 206525 h 651348"/>
              <a:gd name="connsiteX107" fmla="*/ 24734 w 4047850"/>
              <a:gd name="connsiteY107" fmla="*/ 201713 h 651348"/>
              <a:gd name="connsiteX108" fmla="*/ 32291 w 4047850"/>
              <a:gd name="connsiteY108" fmla="*/ 184206 h 651348"/>
              <a:gd name="connsiteX109" fmla="*/ 34047 w 4047850"/>
              <a:gd name="connsiteY109" fmla="*/ 180939 h 651348"/>
              <a:gd name="connsiteX110" fmla="*/ 34714 w 4047850"/>
              <a:gd name="connsiteY110" fmla="*/ 179452 h 651348"/>
              <a:gd name="connsiteX111" fmla="*/ 37653 w 4047850"/>
              <a:gd name="connsiteY111" fmla="*/ 174231 h 651348"/>
              <a:gd name="connsiteX112" fmla="*/ 45388 w 4047850"/>
              <a:gd name="connsiteY112" fmla="*/ 159842 h 651348"/>
              <a:gd name="connsiteX113" fmla="*/ 48048 w 4047850"/>
              <a:gd name="connsiteY113" fmla="*/ 155764 h 651348"/>
              <a:gd name="connsiteX114" fmla="*/ 49179 w 4047850"/>
              <a:gd name="connsiteY114" fmla="*/ 153755 h 651348"/>
              <a:gd name="connsiteX115" fmla="*/ 52604 w 4047850"/>
              <a:gd name="connsiteY115" fmla="*/ 148783 h 651348"/>
              <a:gd name="connsiteX116" fmla="*/ 60439 w 4047850"/>
              <a:gd name="connsiteY116" fmla="*/ 136774 h 651348"/>
              <a:gd name="connsiteX117" fmla="*/ 64151 w 4047850"/>
              <a:gd name="connsiteY117" fmla="*/ 132016 h 651348"/>
              <a:gd name="connsiteX118" fmla="*/ 65838 w 4047850"/>
              <a:gd name="connsiteY118" fmla="*/ 129567 h 651348"/>
              <a:gd name="connsiteX119" fmla="*/ 69540 w 4047850"/>
              <a:gd name="connsiteY119" fmla="*/ 125108 h 651348"/>
              <a:gd name="connsiteX120" fmla="*/ 77336 w 4047850"/>
              <a:gd name="connsiteY120" fmla="*/ 115115 h 651348"/>
              <a:gd name="connsiteX121" fmla="*/ 82232 w 4047850"/>
              <a:gd name="connsiteY121" fmla="*/ 109821 h 651348"/>
              <a:gd name="connsiteX122" fmla="*/ 84554 w 4047850"/>
              <a:gd name="connsiteY122" fmla="*/ 107024 h 651348"/>
              <a:gd name="connsiteX123" fmla="*/ 88368 w 4047850"/>
              <a:gd name="connsiteY123" fmla="*/ 103188 h 651348"/>
              <a:gd name="connsiteX124" fmla="*/ 95965 w 4047850"/>
              <a:gd name="connsiteY124" fmla="*/ 94974 h 651348"/>
              <a:gd name="connsiteX125" fmla="*/ 102168 w 4047850"/>
              <a:gd name="connsiteY125" fmla="*/ 89305 h 651348"/>
              <a:gd name="connsiteX126" fmla="*/ 105194 w 4047850"/>
              <a:gd name="connsiteY126" fmla="*/ 86261 h 651348"/>
              <a:gd name="connsiteX127" fmla="*/ 108977 w 4047850"/>
              <a:gd name="connsiteY127" fmla="*/ 83081 h 651348"/>
              <a:gd name="connsiteX128" fmla="*/ 116217 w 4047850"/>
              <a:gd name="connsiteY128" fmla="*/ 76465 h 651348"/>
              <a:gd name="connsiteX129" fmla="*/ 123838 w 4047850"/>
              <a:gd name="connsiteY129" fmla="*/ 70592 h 651348"/>
              <a:gd name="connsiteX130" fmla="*/ 127623 w 4047850"/>
              <a:gd name="connsiteY130" fmla="*/ 67412 h 651348"/>
              <a:gd name="connsiteX131" fmla="*/ 131250 w 4047850"/>
              <a:gd name="connsiteY131" fmla="*/ 64881 h 651348"/>
              <a:gd name="connsiteX132" fmla="*/ 137980 w 4047850"/>
              <a:gd name="connsiteY132" fmla="*/ 59696 h 651348"/>
              <a:gd name="connsiteX133" fmla="*/ 147127 w 4047850"/>
              <a:gd name="connsiteY133" fmla="*/ 53805 h 651348"/>
              <a:gd name="connsiteX134" fmla="*/ 151705 w 4047850"/>
              <a:gd name="connsiteY134" fmla="*/ 50612 h 651348"/>
              <a:gd name="connsiteX135" fmla="*/ 155065 w 4047850"/>
              <a:gd name="connsiteY135" fmla="*/ 48694 h 651348"/>
              <a:gd name="connsiteX136" fmla="*/ 161144 w 4047850"/>
              <a:gd name="connsiteY136" fmla="*/ 44779 h 651348"/>
              <a:gd name="connsiteX137" fmla="*/ 171927 w 4047850"/>
              <a:gd name="connsiteY137" fmla="*/ 39067 h 651348"/>
              <a:gd name="connsiteX138" fmla="*/ 177306 w 4047850"/>
              <a:gd name="connsiteY138" fmla="*/ 35997 h 651348"/>
              <a:gd name="connsiteX139" fmla="*/ 180298 w 4047850"/>
              <a:gd name="connsiteY139" fmla="*/ 34633 h 651348"/>
              <a:gd name="connsiteX140" fmla="*/ 185596 w 4047850"/>
              <a:gd name="connsiteY140" fmla="*/ 31826 h 651348"/>
              <a:gd name="connsiteX141" fmla="*/ 198148 w 4047850"/>
              <a:gd name="connsiteY141" fmla="*/ 26499 h 651348"/>
              <a:gd name="connsiteX142" fmla="*/ 204291 w 4047850"/>
              <a:gd name="connsiteY142" fmla="*/ 23700 h 651348"/>
              <a:gd name="connsiteX143" fmla="*/ 206823 w 4047850"/>
              <a:gd name="connsiteY143" fmla="*/ 22817 h 651348"/>
              <a:gd name="connsiteX144" fmla="*/ 211228 w 4047850"/>
              <a:gd name="connsiteY144" fmla="*/ 20947 h 651348"/>
              <a:gd name="connsiteX145" fmla="*/ 225741 w 4047850"/>
              <a:gd name="connsiteY145" fmla="*/ 16221 h 651348"/>
              <a:gd name="connsiteX146" fmla="*/ 232526 w 4047850"/>
              <a:gd name="connsiteY146" fmla="*/ 13856 h 651348"/>
              <a:gd name="connsiteX147" fmla="*/ 234516 w 4047850"/>
              <a:gd name="connsiteY147" fmla="*/ 13364 h 651348"/>
              <a:gd name="connsiteX148" fmla="*/ 237926 w 4047850"/>
              <a:gd name="connsiteY148" fmla="*/ 12254 h 651348"/>
              <a:gd name="connsiteX149" fmla="*/ 254783 w 4047850"/>
              <a:gd name="connsiteY149" fmla="*/ 8354 h 651348"/>
              <a:gd name="connsiteX150" fmla="*/ 261875 w 4047850"/>
              <a:gd name="connsiteY150" fmla="*/ 6601 h 651348"/>
              <a:gd name="connsiteX151" fmla="*/ 263248 w 4047850"/>
              <a:gd name="connsiteY151" fmla="*/ 6396 h 651348"/>
              <a:gd name="connsiteX152" fmla="*/ 265581 w 4047850"/>
              <a:gd name="connsiteY152" fmla="*/ 5856 h 651348"/>
              <a:gd name="connsiteX153" fmla="*/ 285860 w 4047850"/>
              <a:gd name="connsiteY153" fmla="*/ 3017 h 651348"/>
              <a:gd name="connsiteX154" fmla="*/ 292203 w 4047850"/>
              <a:gd name="connsiteY154" fmla="*/ 2069 h 651348"/>
              <a:gd name="connsiteX155" fmla="*/ 292871 w 4047850"/>
              <a:gd name="connsiteY155" fmla="*/ 2036 h 651348"/>
              <a:gd name="connsiteX156" fmla="*/ 294080 w 4047850"/>
              <a:gd name="connsiteY156" fmla="*/ 1866 h 651348"/>
              <a:gd name="connsiteX157" fmla="*/ 308146 w 4047850"/>
              <a:gd name="connsiteY157" fmla="*/ 1201 h 651348"/>
              <a:gd name="connsiteX158" fmla="*/ 308146 w 4047850"/>
              <a:gd name="connsiteY158" fmla="*/ 389 h 651348"/>
              <a:gd name="connsiteX159" fmla="*/ 321113 w 4047850"/>
              <a:gd name="connsiteY159" fmla="*/ 389 h 651348"/>
              <a:gd name="connsiteX160" fmla="*/ 325287 w 4047850"/>
              <a:gd name="connsiteY160" fmla="*/ 389 h 651348"/>
              <a:gd name="connsiteX161" fmla="*/ 325384 w 4047850"/>
              <a:gd name="connsiteY161" fmla="*/ 389 h 651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4047850" h="651348">
                <a:moveTo>
                  <a:pt x="325384" y="0"/>
                </a:moveTo>
                <a:lnTo>
                  <a:pt x="593248" y="0"/>
                </a:lnTo>
                <a:lnTo>
                  <a:pt x="1005630" y="0"/>
                </a:lnTo>
                <a:lnTo>
                  <a:pt x="1022869" y="0"/>
                </a:lnTo>
                <a:lnTo>
                  <a:pt x="3042220" y="0"/>
                </a:lnTo>
                <a:lnTo>
                  <a:pt x="3394765" y="0"/>
                </a:lnTo>
                <a:lnTo>
                  <a:pt x="3722465" y="0"/>
                </a:lnTo>
                <a:lnTo>
                  <a:pt x="3739704" y="0"/>
                </a:lnTo>
                <a:lnTo>
                  <a:pt x="3739704" y="385"/>
                </a:lnTo>
                <a:lnTo>
                  <a:pt x="4047850" y="385"/>
                </a:lnTo>
                <a:lnTo>
                  <a:pt x="4047850" y="325477"/>
                </a:lnTo>
                <a:lnTo>
                  <a:pt x="4047850" y="325669"/>
                </a:lnTo>
                <a:lnTo>
                  <a:pt x="4047850" y="325672"/>
                </a:lnTo>
                <a:lnTo>
                  <a:pt x="4047850" y="325675"/>
                </a:lnTo>
                <a:lnTo>
                  <a:pt x="4047850" y="340954"/>
                </a:lnTo>
                <a:lnTo>
                  <a:pt x="4047117" y="340954"/>
                </a:lnTo>
                <a:lnTo>
                  <a:pt x="4046371" y="356703"/>
                </a:lnTo>
                <a:lnTo>
                  <a:pt x="4046235" y="357658"/>
                </a:lnTo>
                <a:lnTo>
                  <a:pt x="4046171" y="358931"/>
                </a:lnTo>
                <a:cubicBezTo>
                  <a:pt x="4044218" y="378153"/>
                  <a:pt x="4040593" y="396880"/>
                  <a:pt x="4035441" y="414965"/>
                </a:cubicBezTo>
                <a:lnTo>
                  <a:pt x="4035003" y="416283"/>
                </a:lnTo>
                <a:lnTo>
                  <a:pt x="4034948" y="416510"/>
                </a:lnTo>
                <a:lnTo>
                  <a:pt x="4034176" y="418772"/>
                </a:lnTo>
                <a:lnTo>
                  <a:pt x="4026589" y="441591"/>
                </a:lnTo>
                <a:lnTo>
                  <a:pt x="4025578" y="443933"/>
                </a:lnTo>
                <a:lnTo>
                  <a:pt x="4025273" y="444823"/>
                </a:lnTo>
                <a:lnTo>
                  <a:pt x="4023116" y="449636"/>
                </a:lnTo>
                <a:lnTo>
                  <a:pt x="4015559" y="467142"/>
                </a:lnTo>
                <a:lnTo>
                  <a:pt x="4013802" y="470409"/>
                </a:lnTo>
                <a:lnTo>
                  <a:pt x="4013136" y="471896"/>
                </a:lnTo>
                <a:lnTo>
                  <a:pt x="4010197" y="477118"/>
                </a:lnTo>
                <a:lnTo>
                  <a:pt x="4002462" y="491507"/>
                </a:lnTo>
                <a:lnTo>
                  <a:pt x="3999801" y="495585"/>
                </a:lnTo>
                <a:lnTo>
                  <a:pt x="3998671" y="497594"/>
                </a:lnTo>
                <a:lnTo>
                  <a:pt x="3995246" y="502566"/>
                </a:lnTo>
                <a:lnTo>
                  <a:pt x="3987410" y="514574"/>
                </a:lnTo>
                <a:lnTo>
                  <a:pt x="3983699" y="519333"/>
                </a:lnTo>
                <a:lnTo>
                  <a:pt x="3982012" y="521781"/>
                </a:lnTo>
                <a:lnTo>
                  <a:pt x="3978310" y="526240"/>
                </a:lnTo>
                <a:lnTo>
                  <a:pt x="3970514" y="536234"/>
                </a:lnTo>
                <a:lnTo>
                  <a:pt x="3965618" y="541527"/>
                </a:lnTo>
                <a:lnTo>
                  <a:pt x="3963295" y="544324"/>
                </a:lnTo>
                <a:lnTo>
                  <a:pt x="3959482" y="548161"/>
                </a:lnTo>
                <a:lnTo>
                  <a:pt x="3951885" y="556374"/>
                </a:lnTo>
                <a:lnTo>
                  <a:pt x="3945682" y="562043"/>
                </a:lnTo>
                <a:lnTo>
                  <a:pt x="3942656" y="565087"/>
                </a:lnTo>
                <a:lnTo>
                  <a:pt x="3938872" y="568267"/>
                </a:lnTo>
                <a:lnTo>
                  <a:pt x="3931633" y="574884"/>
                </a:lnTo>
                <a:lnTo>
                  <a:pt x="3924011" y="580756"/>
                </a:lnTo>
                <a:lnTo>
                  <a:pt x="3920227" y="583936"/>
                </a:lnTo>
                <a:lnTo>
                  <a:pt x="3916599" y="586467"/>
                </a:lnTo>
                <a:lnTo>
                  <a:pt x="3909870" y="591652"/>
                </a:lnTo>
                <a:lnTo>
                  <a:pt x="3900723" y="597543"/>
                </a:lnTo>
                <a:lnTo>
                  <a:pt x="3896145" y="600736"/>
                </a:lnTo>
                <a:lnTo>
                  <a:pt x="3892785" y="602655"/>
                </a:lnTo>
                <a:lnTo>
                  <a:pt x="3886706" y="606569"/>
                </a:lnTo>
                <a:lnTo>
                  <a:pt x="3875923" y="612281"/>
                </a:lnTo>
                <a:lnTo>
                  <a:pt x="3870544" y="615352"/>
                </a:lnTo>
                <a:lnTo>
                  <a:pt x="3867552" y="616715"/>
                </a:lnTo>
                <a:lnTo>
                  <a:pt x="3862253" y="619522"/>
                </a:lnTo>
                <a:lnTo>
                  <a:pt x="3849702" y="624849"/>
                </a:lnTo>
                <a:lnTo>
                  <a:pt x="3843559" y="627649"/>
                </a:lnTo>
                <a:lnTo>
                  <a:pt x="3841026" y="628532"/>
                </a:lnTo>
                <a:lnTo>
                  <a:pt x="3836622" y="630401"/>
                </a:lnTo>
                <a:lnTo>
                  <a:pt x="3822109" y="635127"/>
                </a:lnTo>
                <a:lnTo>
                  <a:pt x="3815324" y="637492"/>
                </a:lnTo>
                <a:lnTo>
                  <a:pt x="3813334" y="637984"/>
                </a:lnTo>
                <a:lnTo>
                  <a:pt x="3809924" y="639095"/>
                </a:lnTo>
                <a:lnTo>
                  <a:pt x="3793067" y="642994"/>
                </a:lnTo>
                <a:lnTo>
                  <a:pt x="3785975" y="644747"/>
                </a:lnTo>
                <a:lnTo>
                  <a:pt x="3784601" y="644952"/>
                </a:lnTo>
                <a:lnTo>
                  <a:pt x="3782269" y="645492"/>
                </a:lnTo>
                <a:lnTo>
                  <a:pt x="3761990" y="648331"/>
                </a:lnTo>
                <a:lnTo>
                  <a:pt x="3755647" y="649279"/>
                </a:lnTo>
                <a:lnTo>
                  <a:pt x="3754979" y="649313"/>
                </a:lnTo>
                <a:lnTo>
                  <a:pt x="3753769" y="649482"/>
                </a:lnTo>
                <a:lnTo>
                  <a:pt x="3739704" y="650148"/>
                </a:lnTo>
                <a:lnTo>
                  <a:pt x="3739704" y="650959"/>
                </a:lnTo>
                <a:lnTo>
                  <a:pt x="3726737" y="650959"/>
                </a:lnTo>
                <a:lnTo>
                  <a:pt x="3722563" y="650959"/>
                </a:lnTo>
                <a:lnTo>
                  <a:pt x="3722465" y="650959"/>
                </a:lnTo>
                <a:lnTo>
                  <a:pt x="3722465" y="651348"/>
                </a:lnTo>
                <a:lnTo>
                  <a:pt x="3394765" y="651348"/>
                </a:lnTo>
                <a:lnTo>
                  <a:pt x="3042220" y="651348"/>
                </a:lnTo>
                <a:lnTo>
                  <a:pt x="3024981" y="651348"/>
                </a:lnTo>
                <a:lnTo>
                  <a:pt x="1005630" y="651348"/>
                </a:lnTo>
                <a:lnTo>
                  <a:pt x="593248" y="651348"/>
                </a:lnTo>
                <a:lnTo>
                  <a:pt x="325384" y="651348"/>
                </a:lnTo>
                <a:lnTo>
                  <a:pt x="308146" y="651348"/>
                </a:lnTo>
                <a:lnTo>
                  <a:pt x="308146" y="650963"/>
                </a:lnTo>
                <a:lnTo>
                  <a:pt x="0" y="650963"/>
                </a:lnTo>
                <a:lnTo>
                  <a:pt x="0" y="325871"/>
                </a:lnTo>
                <a:lnTo>
                  <a:pt x="0" y="325679"/>
                </a:lnTo>
                <a:lnTo>
                  <a:pt x="0" y="325676"/>
                </a:lnTo>
                <a:lnTo>
                  <a:pt x="0" y="325673"/>
                </a:lnTo>
                <a:lnTo>
                  <a:pt x="0" y="310394"/>
                </a:lnTo>
                <a:lnTo>
                  <a:pt x="733" y="310394"/>
                </a:lnTo>
                <a:lnTo>
                  <a:pt x="1478" y="294646"/>
                </a:lnTo>
                <a:lnTo>
                  <a:pt x="1615" y="293690"/>
                </a:lnTo>
                <a:lnTo>
                  <a:pt x="1679" y="292417"/>
                </a:lnTo>
                <a:cubicBezTo>
                  <a:pt x="3631" y="273195"/>
                  <a:pt x="7257" y="254468"/>
                  <a:pt x="12408" y="236384"/>
                </a:cubicBezTo>
                <a:lnTo>
                  <a:pt x="12847" y="235065"/>
                </a:lnTo>
                <a:lnTo>
                  <a:pt x="12901" y="234838"/>
                </a:lnTo>
                <a:lnTo>
                  <a:pt x="13674" y="232576"/>
                </a:lnTo>
                <a:lnTo>
                  <a:pt x="21261" y="209757"/>
                </a:lnTo>
                <a:lnTo>
                  <a:pt x="22272" y="207415"/>
                </a:lnTo>
                <a:lnTo>
                  <a:pt x="22576" y="206525"/>
                </a:lnTo>
                <a:lnTo>
                  <a:pt x="24734" y="201713"/>
                </a:lnTo>
                <a:lnTo>
                  <a:pt x="32291" y="184206"/>
                </a:lnTo>
                <a:lnTo>
                  <a:pt x="34047" y="180939"/>
                </a:lnTo>
                <a:lnTo>
                  <a:pt x="34714" y="179452"/>
                </a:lnTo>
                <a:lnTo>
                  <a:pt x="37653" y="174231"/>
                </a:lnTo>
                <a:lnTo>
                  <a:pt x="45388" y="159842"/>
                </a:lnTo>
                <a:lnTo>
                  <a:pt x="48048" y="155764"/>
                </a:lnTo>
                <a:lnTo>
                  <a:pt x="49179" y="153755"/>
                </a:lnTo>
                <a:lnTo>
                  <a:pt x="52604" y="148783"/>
                </a:lnTo>
                <a:lnTo>
                  <a:pt x="60439" y="136774"/>
                </a:lnTo>
                <a:lnTo>
                  <a:pt x="64151" y="132016"/>
                </a:lnTo>
                <a:lnTo>
                  <a:pt x="65838" y="129567"/>
                </a:lnTo>
                <a:lnTo>
                  <a:pt x="69540" y="125108"/>
                </a:lnTo>
                <a:lnTo>
                  <a:pt x="77336" y="115115"/>
                </a:lnTo>
                <a:lnTo>
                  <a:pt x="82232" y="109821"/>
                </a:lnTo>
                <a:lnTo>
                  <a:pt x="84554" y="107024"/>
                </a:lnTo>
                <a:lnTo>
                  <a:pt x="88368" y="103188"/>
                </a:lnTo>
                <a:lnTo>
                  <a:pt x="95965" y="94974"/>
                </a:lnTo>
                <a:lnTo>
                  <a:pt x="102168" y="89305"/>
                </a:lnTo>
                <a:lnTo>
                  <a:pt x="105194" y="86261"/>
                </a:lnTo>
                <a:lnTo>
                  <a:pt x="108977" y="83081"/>
                </a:lnTo>
                <a:lnTo>
                  <a:pt x="116217" y="76465"/>
                </a:lnTo>
                <a:lnTo>
                  <a:pt x="123838" y="70592"/>
                </a:lnTo>
                <a:lnTo>
                  <a:pt x="127623" y="67412"/>
                </a:lnTo>
                <a:lnTo>
                  <a:pt x="131250" y="64881"/>
                </a:lnTo>
                <a:lnTo>
                  <a:pt x="137980" y="59696"/>
                </a:lnTo>
                <a:lnTo>
                  <a:pt x="147127" y="53805"/>
                </a:lnTo>
                <a:lnTo>
                  <a:pt x="151705" y="50612"/>
                </a:lnTo>
                <a:lnTo>
                  <a:pt x="155065" y="48694"/>
                </a:lnTo>
                <a:lnTo>
                  <a:pt x="161144" y="44779"/>
                </a:lnTo>
                <a:lnTo>
                  <a:pt x="171927" y="39067"/>
                </a:lnTo>
                <a:lnTo>
                  <a:pt x="177306" y="35997"/>
                </a:lnTo>
                <a:lnTo>
                  <a:pt x="180298" y="34633"/>
                </a:lnTo>
                <a:lnTo>
                  <a:pt x="185596" y="31826"/>
                </a:lnTo>
                <a:lnTo>
                  <a:pt x="198148" y="26499"/>
                </a:lnTo>
                <a:lnTo>
                  <a:pt x="204291" y="23700"/>
                </a:lnTo>
                <a:lnTo>
                  <a:pt x="206823" y="22817"/>
                </a:lnTo>
                <a:lnTo>
                  <a:pt x="211228" y="20947"/>
                </a:lnTo>
                <a:lnTo>
                  <a:pt x="225741" y="16221"/>
                </a:lnTo>
                <a:lnTo>
                  <a:pt x="232526" y="13856"/>
                </a:lnTo>
                <a:lnTo>
                  <a:pt x="234516" y="13364"/>
                </a:lnTo>
                <a:lnTo>
                  <a:pt x="237926" y="12254"/>
                </a:lnTo>
                <a:lnTo>
                  <a:pt x="254783" y="8354"/>
                </a:lnTo>
                <a:lnTo>
                  <a:pt x="261875" y="6601"/>
                </a:lnTo>
                <a:lnTo>
                  <a:pt x="263248" y="6396"/>
                </a:lnTo>
                <a:lnTo>
                  <a:pt x="265581" y="5856"/>
                </a:lnTo>
                <a:lnTo>
                  <a:pt x="285860" y="3017"/>
                </a:lnTo>
                <a:lnTo>
                  <a:pt x="292203" y="2069"/>
                </a:lnTo>
                <a:lnTo>
                  <a:pt x="292871" y="2036"/>
                </a:lnTo>
                <a:lnTo>
                  <a:pt x="294080" y="1866"/>
                </a:lnTo>
                <a:lnTo>
                  <a:pt x="308146" y="1201"/>
                </a:lnTo>
                <a:lnTo>
                  <a:pt x="308146" y="389"/>
                </a:lnTo>
                <a:lnTo>
                  <a:pt x="321113" y="389"/>
                </a:lnTo>
                <a:lnTo>
                  <a:pt x="325287" y="389"/>
                </a:lnTo>
                <a:lnTo>
                  <a:pt x="325384" y="389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82969F58-1F2B-3740-B712-6F43C1F303D8}"/>
              </a:ext>
            </a:extLst>
          </p:cNvPr>
          <p:cNvSpPr txBox="1"/>
          <p:nvPr/>
        </p:nvSpPr>
        <p:spPr>
          <a:xfrm>
            <a:off x="589283" y="940171"/>
            <a:ext cx="375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ROVINSI:</a:t>
            </a:r>
          </a:p>
        </p:txBody>
      </p:sp>
      <p:sp>
        <p:nvSpPr>
          <p:cNvPr id="368" name="Freeform: Shape 90">
            <a:extLst>
              <a:ext uri="{FF2B5EF4-FFF2-40B4-BE49-F238E27FC236}">
                <a16:creationId xmlns:a16="http://schemas.microsoft.com/office/drawing/2014/main" id="{9DF94C6E-72B3-F747-AA8F-A44157FA388D}"/>
              </a:ext>
            </a:extLst>
          </p:cNvPr>
          <p:cNvSpPr/>
          <p:nvPr/>
        </p:nvSpPr>
        <p:spPr>
          <a:xfrm>
            <a:off x="1569997" y="5596651"/>
            <a:ext cx="3225573" cy="601998"/>
          </a:xfrm>
          <a:custGeom>
            <a:avLst/>
            <a:gdLst>
              <a:gd name="connsiteX0" fmla="*/ 325384 w 4047850"/>
              <a:gd name="connsiteY0" fmla="*/ 0 h 651348"/>
              <a:gd name="connsiteX1" fmla="*/ 593248 w 4047850"/>
              <a:gd name="connsiteY1" fmla="*/ 0 h 651348"/>
              <a:gd name="connsiteX2" fmla="*/ 1005630 w 4047850"/>
              <a:gd name="connsiteY2" fmla="*/ 0 h 651348"/>
              <a:gd name="connsiteX3" fmla="*/ 1022869 w 4047850"/>
              <a:gd name="connsiteY3" fmla="*/ 0 h 651348"/>
              <a:gd name="connsiteX4" fmla="*/ 3042220 w 4047850"/>
              <a:gd name="connsiteY4" fmla="*/ 0 h 651348"/>
              <a:gd name="connsiteX5" fmla="*/ 3394765 w 4047850"/>
              <a:gd name="connsiteY5" fmla="*/ 0 h 651348"/>
              <a:gd name="connsiteX6" fmla="*/ 3722465 w 4047850"/>
              <a:gd name="connsiteY6" fmla="*/ 0 h 651348"/>
              <a:gd name="connsiteX7" fmla="*/ 3739704 w 4047850"/>
              <a:gd name="connsiteY7" fmla="*/ 0 h 651348"/>
              <a:gd name="connsiteX8" fmla="*/ 3739704 w 4047850"/>
              <a:gd name="connsiteY8" fmla="*/ 385 h 651348"/>
              <a:gd name="connsiteX9" fmla="*/ 4047850 w 4047850"/>
              <a:gd name="connsiteY9" fmla="*/ 385 h 651348"/>
              <a:gd name="connsiteX10" fmla="*/ 4047850 w 4047850"/>
              <a:gd name="connsiteY10" fmla="*/ 325477 h 651348"/>
              <a:gd name="connsiteX11" fmla="*/ 4047850 w 4047850"/>
              <a:gd name="connsiteY11" fmla="*/ 325669 h 651348"/>
              <a:gd name="connsiteX12" fmla="*/ 4047850 w 4047850"/>
              <a:gd name="connsiteY12" fmla="*/ 325672 h 651348"/>
              <a:gd name="connsiteX13" fmla="*/ 4047850 w 4047850"/>
              <a:gd name="connsiteY13" fmla="*/ 325675 h 651348"/>
              <a:gd name="connsiteX14" fmla="*/ 4047850 w 4047850"/>
              <a:gd name="connsiteY14" fmla="*/ 340954 h 651348"/>
              <a:gd name="connsiteX15" fmla="*/ 4047117 w 4047850"/>
              <a:gd name="connsiteY15" fmla="*/ 340954 h 651348"/>
              <a:gd name="connsiteX16" fmla="*/ 4046371 w 4047850"/>
              <a:gd name="connsiteY16" fmla="*/ 356703 h 651348"/>
              <a:gd name="connsiteX17" fmla="*/ 4046235 w 4047850"/>
              <a:gd name="connsiteY17" fmla="*/ 357658 h 651348"/>
              <a:gd name="connsiteX18" fmla="*/ 4046171 w 4047850"/>
              <a:gd name="connsiteY18" fmla="*/ 358931 h 651348"/>
              <a:gd name="connsiteX19" fmla="*/ 4035441 w 4047850"/>
              <a:gd name="connsiteY19" fmla="*/ 414965 h 651348"/>
              <a:gd name="connsiteX20" fmla="*/ 4035003 w 4047850"/>
              <a:gd name="connsiteY20" fmla="*/ 416283 h 651348"/>
              <a:gd name="connsiteX21" fmla="*/ 4034948 w 4047850"/>
              <a:gd name="connsiteY21" fmla="*/ 416510 h 651348"/>
              <a:gd name="connsiteX22" fmla="*/ 4034176 w 4047850"/>
              <a:gd name="connsiteY22" fmla="*/ 418772 h 651348"/>
              <a:gd name="connsiteX23" fmla="*/ 4026589 w 4047850"/>
              <a:gd name="connsiteY23" fmla="*/ 441591 h 651348"/>
              <a:gd name="connsiteX24" fmla="*/ 4025578 w 4047850"/>
              <a:gd name="connsiteY24" fmla="*/ 443933 h 651348"/>
              <a:gd name="connsiteX25" fmla="*/ 4025273 w 4047850"/>
              <a:gd name="connsiteY25" fmla="*/ 444823 h 651348"/>
              <a:gd name="connsiteX26" fmla="*/ 4023116 w 4047850"/>
              <a:gd name="connsiteY26" fmla="*/ 449636 h 651348"/>
              <a:gd name="connsiteX27" fmla="*/ 4015559 w 4047850"/>
              <a:gd name="connsiteY27" fmla="*/ 467142 h 651348"/>
              <a:gd name="connsiteX28" fmla="*/ 4013802 w 4047850"/>
              <a:gd name="connsiteY28" fmla="*/ 470409 h 651348"/>
              <a:gd name="connsiteX29" fmla="*/ 4013136 w 4047850"/>
              <a:gd name="connsiteY29" fmla="*/ 471896 h 651348"/>
              <a:gd name="connsiteX30" fmla="*/ 4010197 w 4047850"/>
              <a:gd name="connsiteY30" fmla="*/ 477118 h 651348"/>
              <a:gd name="connsiteX31" fmla="*/ 4002462 w 4047850"/>
              <a:gd name="connsiteY31" fmla="*/ 491507 h 651348"/>
              <a:gd name="connsiteX32" fmla="*/ 3999801 w 4047850"/>
              <a:gd name="connsiteY32" fmla="*/ 495585 h 651348"/>
              <a:gd name="connsiteX33" fmla="*/ 3998671 w 4047850"/>
              <a:gd name="connsiteY33" fmla="*/ 497594 h 651348"/>
              <a:gd name="connsiteX34" fmla="*/ 3995246 w 4047850"/>
              <a:gd name="connsiteY34" fmla="*/ 502566 h 651348"/>
              <a:gd name="connsiteX35" fmla="*/ 3987410 w 4047850"/>
              <a:gd name="connsiteY35" fmla="*/ 514574 h 651348"/>
              <a:gd name="connsiteX36" fmla="*/ 3983699 w 4047850"/>
              <a:gd name="connsiteY36" fmla="*/ 519333 h 651348"/>
              <a:gd name="connsiteX37" fmla="*/ 3982012 w 4047850"/>
              <a:gd name="connsiteY37" fmla="*/ 521781 h 651348"/>
              <a:gd name="connsiteX38" fmla="*/ 3978310 w 4047850"/>
              <a:gd name="connsiteY38" fmla="*/ 526240 h 651348"/>
              <a:gd name="connsiteX39" fmla="*/ 3970514 w 4047850"/>
              <a:gd name="connsiteY39" fmla="*/ 536234 h 651348"/>
              <a:gd name="connsiteX40" fmla="*/ 3965618 w 4047850"/>
              <a:gd name="connsiteY40" fmla="*/ 541527 h 651348"/>
              <a:gd name="connsiteX41" fmla="*/ 3963295 w 4047850"/>
              <a:gd name="connsiteY41" fmla="*/ 544324 h 651348"/>
              <a:gd name="connsiteX42" fmla="*/ 3959482 w 4047850"/>
              <a:gd name="connsiteY42" fmla="*/ 548161 h 651348"/>
              <a:gd name="connsiteX43" fmla="*/ 3951885 w 4047850"/>
              <a:gd name="connsiteY43" fmla="*/ 556374 h 651348"/>
              <a:gd name="connsiteX44" fmla="*/ 3945682 w 4047850"/>
              <a:gd name="connsiteY44" fmla="*/ 562043 h 651348"/>
              <a:gd name="connsiteX45" fmla="*/ 3942656 w 4047850"/>
              <a:gd name="connsiteY45" fmla="*/ 565087 h 651348"/>
              <a:gd name="connsiteX46" fmla="*/ 3938872 w 4047850"/>
              <a:gd name="connsiteY46" fmla="*/ 568267 h 651348"/>
              <a:gd name="connsiteX47" fmla="*/ 3931633 w 4047850"/>
              <a:gd name="connsiteY47" fmla="*/ 574884 h 651348"/>
              <a:gd name="connsiteX48" fmla="*/ 3924011 w 4047850"/>
              <a:gd name="connsiteY48" fmla="*/ 580756 h 651348"/>
              <a:gd name="connsiteX49" fmla="*/ 3920227 w 4047850"/>
              <a:gd name="connsiteY49" fmla="*/ 583936 h 651348"/>
              <a:gd name="connsiteX50" fmla="*/ 3916599 w 4047850"/>
              <a:gd name="connsiteY50" fmla="*/ 586467 h 651348"/>
              <a:gd name="connsiteX51" fmla="*/ 3909870 w 4047850"/>
              <a:gd name="connsiteY51" fmla="*/ 591652 h 651348"/>
              <a:gd name="connsiteX52" fmla="*/ 3900723 w 4047850"/>
              <a:gd name="connsiteY52" fmla="*/ 597543 h 651348"/>
              <a:gd name="connsiteX53" fmla="*/ 3896145 w 4047850"/>
              <a:gd name="connsiteY53" fmla="*/ 600736 h 651348"/>
              <a:gd name="connsiteX54" fmla="*/ 3892785 w 4047850"/>
              <a:gd name="connsiteY54" fmla="*/ 602655 h 651348"/>
              <a:gd name="connsiteX55" fmla="*/ 3886706 w 4047850"/>
              <a:gd name="connsiteY55" fmla="*/ 606569 h 651348"/>
              <a:gd name="connsiteX56" fmla="*/ 3875923 w 4047850"/>
              <a:gd name="connsiteY56" fmla="*/ 612281 h 651348"/>
              <a:gd name="connsiteX57" fmla="*/ 3870544 w 4047850"/>
              <a:gd name="connsiteY57" fmla="*/ 615352 h 651348"/>
              <a:gd name="connsiteX58" fmla="*/ 3867552 w 4047850"/>
              <a:gd name="connsiteY58" fmla="*/ 616715 h 651348"/>
              <a:gd name="connsiteX59" fmla="*/ 3862253 w 4047850"/>
              <a:gd name="connsiteY59" fmla="*/ 619522 h 651348"/>
              <a:gd name="connsiteX60" fmla="*/ 3849702 w 4047850"/>
              <a:gd name="connsiteY60" fmla="*/ 624849 h 651348"/>
              <a:gd name="connsiteX61" fmla="*/ 3843559 w 4047850"/>
              <a:gd name="connsiteY61" fmla="*/ 627649 h 651348"/>
              <a:gd name="connsiteX62" fmla="*/ 3841026 w 4047850"/>
              <a:gd name="connsiteY62" fmla="*/ 628532 h 651348"/>
              <a:gd name="connsiteX63" fmla="*/ 3836622 w 4047850"/>
              <a:gd name="connsiteY63" fmla="*/ 630401 h 651348"/>
              <a:gd name="connsiteX64" fmla="*/ 3822109 w 4047850"/>
              <a:gd name="connsiteY64" fmla="*/ 635127 h 651348"/>
              <a:gd name="connsiteX65" fmla="*/ 3815324 w 4047850"/>
              <a:gd name="connsiteY65" fmla="*/ 637492 h 651348"/>
              <a:gd name="connsiteX66" fmla="*/ 3813334 w 4047850"/>
              <a:gd name="connsiteY66" fmla="*/ 637984 h 651348"/>
              <a:gd name="connsiteX67" fmla="*/ 3809924 w 4047850"/>
              <a:gd name="connsiteY67" fmla="*/ 639095 h 651348"/>
              <a:gd name="connsiteX68" fmla="*/ 3793067 w 4047850"/>
              <a:gd name="connsiteY68" fmla="*/ 642994 h 651348"/>
              <a:gd name="connsiteX69" fmla="*/ 3785975 w 4047850"/>
              <a:gd name="connsiteY69" fmla="*/ 644747 h 651348"/>
              <a:gd name="connsiteX70" fmla="*/ 3784601 w 4047850"/>
              <a:gd name="connsiteY70" fmla="*/ 644952 h 651348"/>
              <a:gd name="connsiteX71" fmla="*/ 3782269 w 4047850"/>
              <a:gd name="connsiteY71" fmla="*/ 645492 h 651348"/>
              <a:gd name="connsiteX72" fmla="*/ 3761990 w 4047850"/>
              <a:gd name="connsiteY72" fmla="*/ 648331 h 651348"/>
              <a:gd name="connsiteX73" fmla="*/ 3755647 w 4047850"/>
              <a:gd name="connsiteY73" fmla="*/ 649279 h 651348"/>
              <a:gd name="connsiteX74" fmla="*/ 3754979 w 4047850"/>
              <a:gd name="connsiteY74" fmla="*/ 649313 h 651348"/>
              <a:gd name="connsiteX75" fmla="*/ 3753769 w 4047850"/>
              <a:gd name="connsiteY75" fmla="*/ 649482 h 651348"/>
              <a:gd name="connsiteX76" fmla="*/ 3739704 w 4047850"/>
              <a:gd name="connsiteY76" fmla="*/ 650148 h 651348"/>
              <a:gd name="connsiteX77" fmla="*/ 3739704 w 4047850"/>
              <a:gd name="connsiteY77" fmla="*/ 650959 h 651348"/>
              <a:gd name="connsiteX78" fmla="*/ 3726737 w 4047850"/>
              <a:gd name="connsiteY78" fmla="*/ 650959 h 651348"/>
              <a:gd name="connsiteX79" fmla="*/ 3722563 w 4047850"/>
              <a:gd name="connsiteY79" fmla="*/ 650959 h 651348"/>
              <a:gd name="connsiteX80" fmla="*/ 3722465 w 4047850"/>
              <a:gd name="connsiteY80" fmla="*/ 650959 h 651348"/>
              <a:gd name="connsiteX81" fmla="*/ 3722465 w 4047850"/>
              <a:gd name="connsiteY81" fmla="*/ 651348 h 651348"/>
              <a:gd name="connsiteX82" fmla="*/ 3394765 w 4047850"/>
              <a:gd name="connsiteY82" fmla="*/ 651348 h 651348"/>
              <a:gd name="connsiteX83" fmla="*/ 3042220 w 4047850"/>
              <a:gd name="connsiteY83" fmla="*/ 651348 h 651348"/>
              <a:gd name="connsiteX84" fmla="*/ 3024981 w 4047850"/>
              <a:gd name="connsiteY84" fmla="*/ 651348 h 651348"/>
              <a:gd name="connsiteX85" fmla="*/ 1005630 w 4047850"/>
              <a:gd name="connsiteY85" fmla="*/ 651348 h 651348"/>
              <a:gd name="connsiteX86" fmla="*/ 593248 w 4047850"/>
              <a:gd name="connsiteY86" fmla="*/ 651348 h 651348"/>
              <a:gd name="connsiteX87" fmla="*/ 325384 w 4047850"/>
              <a:gd name="connsiteY87" fmla="*/ 651348 h 651348"/>
              <a:gd name="connsiteX88" fmla="*/ 308146 w 4047850"/>
              <a:gd name="connsiteY88" fmla="*/ 651348 h 651348"/>
              <a:gd name="connsiteX89" fmla="*/ 308146 w 4047850"/>
              <a:gd name="connsiteY89" fmla="*/ 650963 h 651348"/>
              <a:gd name="connsiteX90" fmla="*/ 0 w 4047850"/>
              <a:gd name="connsiteY90" fmla="*/ 650963 h 651348"/>
              <a:gd name="connsiteX91" fmla="*/ 0 w 4047850"/>
              <a:gd name="connsiteY91" fmla="*/ 325871 h 651348"/>
              <a:gd name="connsiteX92" fmla="*/ 0 w 4047850"/>
              <a:gd name="connsiteY92" fmla="*/ 325679 h 651348"/>
              <a:gd name="connsiteX93" fmla="*/ 0 w 4047850"/>
              <a:gd name="connsiteY93" fmla="*/ 325676 h 651348"/>
              <a:gd name="connsiteX94" fmla="*/ 0 w 4047850"/>
              <a:gd name="connsiteY94" fmla="*/ 325673 h 651348"/>
              <a:gd name="connsiteX95" fmla="*/ 0 w 4047850"/>
              <a:gd name="connsiteY95" fmla="*/ 310394 h 651348"/>
              <a:gd name="connsiteX96" fmla="*/ 733 w 4047850"/>
              <a:gd name="connsiteY96" fmla="*/ 310394 h 651348"/>
              <a:gd name="connsiteX97" fmla="*/ 1478 w 4047850"/>
              <a:gd name="connsiteY97" fmla="*/ 294646 h 651348"/>
              <a:gd name="connsiteX98" fmla="*/ 1615 w 4047850"/>
              <a:gd name="connsiteY98" fmla="*/ 293690 h 651348"/>
              <a:gd name="connsiteX99" fmla="*/ 1679 w 4047850"/>
              <a:gd name="connsiteY99" fmla="*/ 292417 h 651348"/>
              <a:gd name="connsiteX100" fmla="*/ 12408 w 4047850"/>
              <a:gd name="connsiteY100" fmla="*/ 236384 h 651348"/>
              <a:gd name="connsiteX101" fmla="*/ 12847 w 4047850"/>
              <a:gd name="connsiteY101" fmla="*/ 235065 h 651348"/>
              <a:gd name="connsiteX102" fmla="*/ 12901 w 4047850"/>
              <a:gd name="connsiteY102" fmla="*/ 234838 h 651348"/>
              <a:gd name="connsiteX103" fmla="*/ 13674 w 4047850"/>
              <a:gd name="connsiteY103" fmla="*/ 232576 h 651348"/>
              <a:gd name="connsiteX104" fmla="*/ 21261 w 4047850"/>
              <a:gd name="connsiteY104" fmla="*/ 209757 h 651348"/>
              <a:gd name="connsiteX105" fmla="*/ 22272 w 4047850"/>
              <a:gd name="connsiteY105" fmla="*/ 207415 h 651348"/>
              <a:gd name="connsiteX106" fmla="*/ 22576 w 4047850"/>
              <a:gd name="connsiteY106" fmla="*/ 206525 h 651348"/>
              <a:gd name="connsiteX107" fmla="*/ 24734 w 4047850"/>
              <a:gd name="connsiteY107" fmla="*/ 201713 h 651348"/>
              <a:gd name="connsiteX108" fmla="*/ 32291 w 4047850"/>
              <a:gd name="connsiteY108" fmla="*/ 184206 h 651348"/>
              <a:gd name="connsiteX109" fmla="*/ 34047 w 4047850"/>
              <a:gd name="connsiteY109" fmla="*/ 180939 h 651348"/>
              <a:gd name="connsiteX110" fmla="*/ 34714 w 4047850"/>
              <a:gd name="connsiteY110" fmla="*/ 179452 h 651348"/>
              <a:gd name="connsiteX111" fmla="*/ 37653 w 4047850"/>
              <a:gd name="connsiteY111" fmla="*/ 174231 h 651348"/>
              <a:gd name="connsiteX112" fmla="*/ 45388 w 4047850"/>
              <a:gd name="connsiteY112" fmla="*/ 159842 h 651348"/>
              <a:gd name="connsiteX113" fmla="*/ 48048 w 4047850"/>
              <a:gd name="connsiteY113" fmla="*/ 155764 h 651348"/>
              <a:gd name="connsiteX114" fmla="*/ 49179 w 4047850"/>
              <a:gd name="connsiteY114" fmla="*/ 153755 h 651348"/>
              <a:gd name="connsiteX115" fmla="*/ 52604 w 4047850"/>
              <a:gd name="connsiteY115" fmla="*/ 148783 h 651348"/>
              <a:gd name="connsiteX116" fmla="*/ 60439 w 4047850"/>
              <a:gd name="connsiteY116" fmla="*/ 136774 h 651348"/>
              <a:gd name="connsiteX117" fmla="*/ 64151 w 4047850"/>
              <a:gd name="connsiteY117" fmla="*/ 132016 h 651348"/>
              <a:gd name="connsiteX118" fmla="*/ 65838 w 4047850"/>
              <a:gd name="connsiteY118" fmla="*/ 129567 h 651348"/>
              <a:gd name="connsiteX119" fmla="*/ 69540 w 4047850"/>
              <a:gd name="connsiteY119" fmla="*/ 125108 h 651348"/>
              <a:gd name="connsiteX120" fmla="*/ 77336 w 4047850"/>
              <a:gd name="connsiteY120" fmla="*/ 115115 h 651348"/>
              <a:gd name="connsiteX121" fmla="*/ 82232 w 4047850"/>
              <a:gd name="connsiteY121" fmla="*/ 109821 h 651348"/>
              <a:gd name="connsiteX122" fmla="*/ 84554 w 4047850"/>
              <a:gd name="connsiteY122" fmla="*/ 107024 h 651348"/>
              <a:gd name="connsiteX123" fmla="*/ 88368 w 4047850"/>
              <a:gd name="connsiteY123" fmla="*/ 103188 h 651348"/>
              <a:gd name="connsiteX124" fmla="*/ 95965 w 4047850"/>
              <a:gd name="connsiteY124" fmla="*/ 94974 h 651348"/>
              <a:gd name="connsiteX125" fmla="*/ 102168 w 4047850"/>
              <a:gd name="connsiteY125" fmla="*/ 89305 h 651348"/>
              <a:gd name="connsiteX126" fmla="*/ 105194 w 4047850"/>
              <a:gd name="connsiteY126" fmla="*/ 86261 h 651348"/>
              <a:gd name="connsiteX127" fmla="*/ 108977 w 4047850"/>
              <a:gd name="connsiteY127" fmla="*/ 83081 h 651348"/>
              <a:gd name="connsiteX128" fmla="*/ 116217 w 4047850"/>
              <a:gd name="connsiteY128" fmla="*/ 76465 h 651348"/>
              <a:gd name="connsiteX129" fmla="*/ 123838 w 4047850"/>
              <a:gd name="connsiteY129" fmla="*/ 70592 h 651348"/>
              <a:gd name="connsiteX130" fmla="*/ 127623 w 4047850"/>
              <a:gd name="connsiteY130" fmla="*/ 67412 h 651348"/>
              <a:gd name="connsiteX131" fmla="*/ 131250 w 4047850"/>
              <a:gd name="connsiteY131" fmla="*/ 64881 h 651348"/>
              <a:gd name="connsiteX132" fmla="*/ 137980 w 4047850"/>
              <a:gd name="connsiteY132" fmla="*/ 59696 h 651348"/>
              <a:gd name="connsiteX133" fmla="*/ 147127 w 4047850"/>
              <a:gd name="connsiteY133" fmla="*/ 53805 h 651348"/>
              <a:gd name="connsiteX134" fmla="*/ 151705 w 4047850"/>
              <a:gd name="connsiteY134" fmla="*/ 50612 h 651348"/>
              <a:gd name="connsiteX135" fmla="*/ 155065 w 4047850"/>
              <a:gd name="connsiteY135" fmla="*/ 48694 h 651348"/>
              <a:gd name="connsiteX136" fmla="*/ 161144 w 4047850"/>
              <a:gd name="connsiteY136" fmla="*/ 44779 h 651348"/>
              <a:gd name="connsiteX137" fmla="*/ 171927 w 4047850"/>
              <a:gd name="connsiteY137" fmla="*/ 39067 h 651348"/>
              <a:gd name="connsiteX138" fmla="*/ 177306 w 4047850"/>
              <a:gd name="connsiteY138" fmla="*/ 35997 h 651348"/>
              <a:gd name="connsiteX139" fmla="*/ 180298 w 4047850"/>
              <a:gd name="connsiteY139" fmla="*/ 34633 h 651348"/>
              <a:gd name="connsiteX140" fmla="*/ 185596 w 4047850"/>
              <a:gd name="connsiteY140" fmla="*/ 31826 h 651348"/>
              <a:gd name="connsiteX141" fmla="*/ 198148 w 4047850"/>
              <a:gd name="connsiteY141" fmla="*/ 26499 h 651348"/>
              <a:gd name="connsiteX142" fmla="*/ 204291 w 4047850"/>
              <a:gd name="connsiteY142" fmla="*/ 23700 h 651348"/>
              <a:gd name="connsiteX143" fmla="*/ 206823 w 4047850"/>
              <a:gd name="connsiteY143" fmla="*/ 22817 h 651348"/>
              <a:gd name="connsiteX144" fmla="*/ 211228 w 4047850"/>
              <a:gd name="connsiteY144" fmla="*/ 20947 h 651348"/>
              <a:gd name="connsiteX145" fmla="*/ 225741 w 4047850"/>
              <a:gd name="connsiteY145" fmla="*/ 16221 h 651348"/>
              <a:gd name="connsiteX146" fmla="*/ 232526 w 4047850"/>
              <a:gd name="connsiteY146" fmla="*/ 13856 h 651348"/>
              <a:gd name="connsiteX147" fmla="*/ 234516 w 4047850"/>
              <a:gd name="connsiteY147" fmla="*/ 13364 h 651348"/>
              <a:gd name="connsiteX148" fmla="*/ 237926 w 4047850"/>
              <a:gd name="connsiteY148" fmla="*/ 12254 h 651348"/>
              <a:gd name="connsiteX149" fmla="*/ 254783 w 4047850"/>
              <a:gd name="connsiteY149" fmla="*/ 8354 h 651348"/>
              <a:gd name="connsiteX150" fmla="*/ 261875 w 4047850"/>
              <a:gd name="connsiteY150" fmla="*/ 6601 h 651348"/>
              <a:gd name="connsiteX151" fmla="*/ 263248 w 4047850"/>
              <a:gd name="connsiteY151" fmla="*/ 6396 h 651348"/>
              <a:gd name="connsiteX152" fmla="*/ 265581 w 4047850"/>
              <a:gd name="connsiteY152" fmla="*/ 5856 h 651348"/>
              <a:gd name="connsiteX153" fmla="*/ 285860 w 4047850"/>
              <a:gd name="connsiteY153" fmla="*/ 3017 h 651348"/>
              <a:gd name="connsiteX154" fmla="*/ 292203 w 4047850"/>
              <a:gd name="connsiteY154" fmla="*/ 2069 h 651348"/>
              <a:gd name="connsiteX155" fmla="*/ 292871 w 4047850"/>
              <a:gd name="connsiteY155" fmla="*/ 2036 h 651348"/>
              <a:gd name="connsiteX156" fmla="*/ 294080 w 4047850"/>
              <a:gd name="connsiteY156" fmla="*/ 1866 h 651348"/>
              <a:gd name="connsiteX157" fmla="*/ 308146 w 4047850"/>
              <a:gd name="connsiteY157" fmla="*/ 1201 h 651348"/>
              <a:gd name="connsiteX158" fmla="*/ 308146 w 4047850"/>
              <a:gd name="connsiteY158" fmla="*/ 389 h 651348"/>
              <a:gd name="connsiteX159" fmla="*/ 321113 w 4047850"/>
              <a:gd name="connsiteY159" fmla="*/ 389 h 651348"/>
              <a:gd name="connsiteX160" fmla="*/ 325287 w 4047850"/>
              <a:gd name="connsiteY160" fmla="*/ 389 h 651348"/>
              <a:gd name="connsiteX161" fmla="*/ 325384 w 4047850"/>
              <a:gd name="connsiteY161" fmla="*/ 389 h 651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4047850" h="651348">
                <a:moveTo>
                  <a:pt x="325384" y="0"/>
                </a:moveTo>
                <a:lnTo>
                  <a:pt x="593248" y="0"/>
                </a:lnTo>
                <a:lnTo>
                  <a:pt x="1005630" y="0"/>
                </a:lnTo>
                <a:lnTo>
                  <a:pt x="1022869" y="0"/>
                </a:lnTo>
                <a:lnTo>
                  <a:pt x="3042220" y="0"/>
                </a:lnTo>
                <a:lnTo>
                  <a:pt x="3394765" y="0"/>
                </a:lnTo>
                <a:lnTo>
                  <a:pt x="3722465" y="0"/>
                </a:lnTo>
                <a:lnTo>
                  <a:pt x="3739704" y="0"/>
                </a:lnTo>
                <a:lnTo>
                  <a:pt x="3739704" y="385"/>
                </a:lnTo>
                <a:lnTo>
                  <a:pt x="4047850" y="385"/>
                </a:lnTo>
                <a:lnTo>
                  <a:pt x="4047850" y="325477"/>
                </a:lnTo>
                <a:lnTo>
                  <a:pt x="4047850" y="325669"/>
                </a:lnTo>
                <a:lnTo>
                  <a:pt x="4047850" y="325672"/>
                </a:lnTo>
                <a:lnTo>
                  <a:pt x="4047850" y="325675"/>
                </a:lnTo>
                <a:lnTo>
                  <a:pt x="4047850" y="340954"/>
                </a:lnTo>
                <a:lnTo>
                  <a:pt x="4047117" y="340954"/>
                </a:lnTo>
                <a:lnTo>
                  <a:pt x="4046371" y="356703"/>
                </a:lnTo>
                <a:lnTo>
                  <a:pt x="4046235" y="357658"/>
                </a:lnTo>
                <a:lnTo>
                  <a:pt x="4046171" y="358931"/>
                </a:lnTo>
                <a:cubicBezTo>
                  <a:pt x="4044218" y="378153"/>
                  <a:pt x="4040593" y="396880"/>
                  <a:pt x="4035441" y="414965"/>
                </a:cubicBezTo>
                <a:lnTo>
                  <a:pt x="4035003" y="416283"/>
                </a:lnTo>
                <a:lnTo>
                  <a:pt x="4034948" y="416510"/>
                </a:lnTo>
                <a:lnTo>
                  <a:pt x="4034176" y="418772"/>
                </a:lnTo>
                <a:lnTo>
                  <a:pt x="4026589" y="441591"/>
                </a:lnTo>
                <a:lnTo>
                  <a:pt x="4025578" y="443933"/>
                </a:lnTo>
                <a:lnTo>
                  <a:pt x="4025273" y="444823"/>
                </a:lnTo>
                <a:lnTo>
                  <a:pt x="4023116" y="449636"/>
                </a:lnTo>
                <a:lnTo>
                  <a:pt x="4015559" y="467142"/>
                </a:lnTo>
                <a:lnTo>
                  <a:pt x="4013802" y="470409"/>
                </a:lnTo>
                <a:lnTo>
                  <a:pt x="4013136" y="471896"/>
                </a:lnTo>
                <a:lnTo>
                  <a:pt x="4010197" y="477118"/>
                </a:lnTo>
                <a:lnTo>
                  <a:pt x="4002462" y="491507"/>
                </a:lnTo>
                <a:lnTo>
                  <a:pt x="3999801" y="495585"/>
                </a:lnTo>
                <a:lnTo>
                  <a:pt x="3998671" y="497594"/>
                </a:lnTo>
                <a:lnTo>
                  <a:pt x="3995246" y="502566"/>
                </a:lnTo>
                <a:lnTo>
                  <a:pt x="3987410" y="514574"/>
                </a:lnTo>
                <a:lnTo>
                  <a:pt x="3983699" y="519333"/>
                </a:lnTo>
                <a:lnTo>
                  <a:pt x="3982012" y="521781"/>
                </a:lnTo>
                <a:lnTo>
                  <a:pt x="3978310" y="526240"/>
                </a:lnTo>
                <a:lnTo>
                  <a:pt x="3970514" y="536234"/>
                </a:lnTo>
                <a:lnTo>
                  <a:pt x="3965618" y="541527"/>
                </a:lnTo>
                <a:lnTo>
                  <a:pt x="3963295" y="544324"/>
                </a:lnTo>
                <a:lnTo>
                  <a:pt x="3959482" y="548161"/>
                </a:lnTo>
                <a:lnTo>
                  <a:pt x="3951885" y="556374"/>
                </a:lnTo>
                <a:lnTo>
                  <a:pt x="3945682" y="562043"/>
                </a:lnTo>
                <a:lnTo>
                  <a:pt x="3942656" y="565087"/>
                </a:lnTo>
                <a:lnTo>
                  <a:pt x="3938872" y="568267"/>
                </a:lnTo>
                <a:lnTo>
                  <a:pt x="3931633" y="574884"/>
                </a:lnTo>
                <a:lnTo>
                  <a:pt x="3924011" y="580756"/>
                </a:lnTo>
                <a:lnTo>
                  <a:pt x="3920227" y="583936"/>
                </a:lnTo>
                <a:lnTo>
                  <a:pt x="3916599" y="586467"/>
                </a:lnTo>
                <a:lnTo>
                  <a:pt x="3909870" y="591652"/>
                </a:lnTo>
                <a:lnTo>
                  <a:pt x="3900723" y="597543"/>
                </a:lnTo>
                <a:lnTo>
                  <a:pt x="3896145" y="600736"/>
                </a:lnTo>
                <a:lnTo>
                  <a:pt x="3892785" y="602655"/>
                </a:lnTo>
                <a:lnTo>
                  <a:pt x="3886706" y="606569"/>
                </a:lnTo>
                <a:lnTo>
                  <a:pt x="3875923" y="612281"/>
                </a:lnTo>
                <a:lnTo>
                  <a:pt x="3870544" y="615352"/>
                </a:lnTo>
                <a:lnTo>
                  <a:pt x="3867552" y="616715"/>
                </a:lnTo>
                <a:lnTo>
                  <a:pt x="3862253" y="619522"/>
                </a:lnTo>
                <a:lnTo>
                  <a:pt x="3849702" y="624849"/>
                </a:lnTo>
                <a:lnTo>
                  <a:pt x="3843559" y="627649"/>
                </a:lnTo>
                <a:lnTo>
                  <a:pt x="3841026" y="628532"/>
                </a:lnTo>
                <a:lnTo>
                  <a:pt x="3836622" y="630401"/>
                </a:lnTo>
                <a:lnTo>
                  <a:pt x="3822109" y="635127"/>
                </a:lnTo>
                <a:lnTo>
                  <a:pt x="3815324" y="637492"/>
                </a:lnTo>
                <a:lnTo>
                  <a:pt x="3813334" y="637984"/>
                </a:lnTo>
                <a:lnTo>
                  <a:pt x="3809924" y="639095"/>
                </a:lnTo>
                <a:lnTo>
                  <a:pt x="3793067" y="642994"/>
                </a:lnTo>
                <a:lnTo>
                  <a:pt x="3785975" y="644747"/>
                </a:lnTo>
                <a:lnTo>
                  <a:pt x="3784601" y="644952"/>
                </a:lnTo>
                <a:lnTo>
                  <a:pt x="3782269" y="645492"/>
                </a:lnTo>
                <a:lnTo>
                  <a:pt x="3761990" y="648331"/>
                </a:lnTo>
                <a:lnTo>
                  <a:pt x="3755647" y="649279"/>
                </a:lnTo>
                <a:lnTo>
                  <a:pt x="3754979" y="649313"/>
                </a:lnTo>
                <a:lnTo>
                  <a:pt x="3753769" y="649482"/>
                </a:lnTo>
                <a:lnTo>
                  <a:pt x="3739704" y="650148"/>
                </a:lnTo>
                <a:lnTo>
                  <a:pt x="3739704" y="650959"/>
                </a:lnTo>
                <a:lnTo>
                  <a:pt x="3726737" y="650959"/>
                </a:lnTo>
                <a:lnTo>
                  <a:pt x="3722563" y="650959"/>
                </a:lnTo>
                <a:lnTo>
                  <a:pt x="3722465" y="650959"/>
                </a:lnTo>
                <a:lnTo>
                  <a:pt x="3722465" y="651348"/>
                </a:lnTo>
                <a:lnTo>
                  <a:pt x="3394765" y="651348"/>
                </a:lnTo>
                <a:lnTo>
                  <a:pt x="3042220" y="651348"/>
                </a:lnTo>
                <a:lnTo>
                  <a:pt x="3024981" y="651348"/>
                </a:lnTo>
                <a:lnTo>
                  <a:pt x="1005630" y="651348"/>
                </a:lnTo>
                <a:lnTo>
                  <a:pt x="593248" y="651348"/>
                </a:lnTo>
                <a:lnTo>
                  <a:pt x="325384" y="651348"/>
                </a:lnTo>
                <a:lnTo>
                  <a:pt x="308146" y="651348"/>
                </a:lnTo>
                <a:lnTo>
                  <a:pt x="308146" y="650963"/>
                </a:lnTo>
                <a:lnTo>
                  <a:pt x="0" y="650963"/>
                </a:lnTo>
                <a:lnTo>
                  <a:pt x="0" y="325871"/>
                </a:lnTo>
                <a:lnTo>
                  <a:pt x="0" y="325679"/>
                </a:lnTo>
                <a:lnTo>
                  <a:pt x="0" y="325676"/>
                </a:lnTo>
                <a:lnTo>
                  <a:pt x="0" y="325673"/>
                </a:lnTo>
                <a:lnTo>
                  <a:pt x="0" y="310394"/>
                </a:lnTo>
                <a:lnTo>
                  <a:pt x="733" y="310394"/>
                </a:lnTo>
                <a:lnTo>
                  <a:pt x="1478" y="294646"/>
                </a:lnTo>
                <a:lnTo>
                  <a:pt x="1615" y="293690"/>
                </a:lnTo>
                <a:lnTo>
                  <a:pt x="1679" y="292417"/>
                </a:lnTo>
                <a:cubicBezTo>
                  <a:pt x="3631" y="273195"/>
                  <a:pt x="7257" y="254468"/>
                  <a:pt x="12408" y="236384"/>
                </a:cubicBezTo>
                <a:lnTo>
                  <a:pt x="12847" y="235065"/>
                </a:lnTo>
                <a:lnTo>
                  <a:pt x="12901" y="234838"/>
                </a:lnTo>
                <a:lnTo>
                  <a:pt x="13674" y="232576"/>
                </a:lnTo>
                <a:lnTo>
                  <a:pt x="21261" y="209757"/>
                </a:lnTo>
                <a:lnTo>
                  <a:pt x="22272" y="207415"/>
                </a:lnTo>
                <a:lnTo>
                  <a:pt x="22576" y="206525"/>
                </a:lnTo>
                <a:lnTo>
                  <a:pt x="24734" y="201713"/>
                </a:lnTo>
                <a:lnTo>
                  <a:pt x="32291" y="184206"/>
                </a:lnTo>
                <a:lnTo>
                  <a:pt x="34047" y="180939"/>
                </a:lnTo>
                <a:lnTo>
                  <a:pt x="34714" y="179452"/>
                </a:lnTo>
                <a:lnTo>
                  <a:pt x="37653" y="174231"/>
                </a:lnTo>
                <a:lnTo>
                  <a:pt x="45388" y="159842"/>
                </a:lnTo>
                <a:lnTo>
                  <a:pt x="48048" y="155764"/>
                </a:lnTo>
                <a:lnTo>
                  <a:pt x="49179" y="153755"/>
                </a:lnTo>
                <a:lnTo>
                  <a:pt x="52604" y="148783"/>
                </a:lnTo>
                <a:lnTo>
                  <a:pt x="60439" y="136774"/>
                </a:lnTo>
                <a:lnTo>
                  <a:pt x="64151" y="132016"/>
                </a:lnTo>
                <a:lnTo>
                  <a:pt x="65838" y="129567"/>
                </a:lnTo>
                <a:lnTo>
                  <a:pt x="69540" y="125108"/>
                </a:lnTo>
                <a:lnTo>
                  <a:pt x="77336" y="115115"/>
                </a:lnTo>
                <a:lnTo>
                  <a:pt x="82232" y="109821"/>
                </a:lnTo>
                <a:lnTo>
                  <a:pt x="84554" y="107024"/>
                </a:lnTo>
                <a:lnTo>
                  <a:pt x="88368" y="103188"/>
                </a:lnTo>
                <a:lnTo>
                  <a:pt x="95965" y="94974"/>
                </a:lnTo>
                <a:lnTo>
                  <a:pt x="102168" y="89305"/>
                </a:lnTo>
                <a:lnTo>
                  <a:pt x="105194" y="86261"/>
                </a:lnTo>
                <a:lnTo>
                  <a:pt x="108977" y="83081"/>
                </a:lnTo>
                <a:lnTo>
                  <a:pt x="116217" y="76465"/>
                </a:lnTo>
                <a:lnTo>
                  <a:pt x="123838" y="70592"/>
                </a:lnTo>
                <a:lnTo>
                  <a:pt x="127623" y="67412"/>
                </a:lnTo>
                <a:lnTo>
                  <a:pt x="131250" y="64881"/>
                </a:lnTo>
                <a:lnTo>
                  <a:pt x="137980" y="59696"/>
                </a:lnTo>
                <a:lnTo>
                  <a:pt x="147127" y="53805"/>
                </a:lnTo>
                <a:lnTo>
                  <a:pt x="151705" y="50612"/>
                </a:lnTo>
                <a:lnTo>
                  <a:pt x="155065" y="48694"/>
                </a:lnTo>
                <a:lnTo>
                  <a:pt x="161144" y="44779"/>
                </a:lnTo>
                <a:lnTo>
                  <a:pt x="171927" y="39067"/>
                </a:lnTo>
                <a:lnTo>
                  <a:pt x="177306" y="35997"/>
                </a:lnTo>
                <a:lnTo>
                  <a:pt x="180298" y="34633"/>
                </a:lnTo>
                <a:lnTo>
                  <a:pt x="185596" y="31826"/>
                </a:lnTo>
                <a:lnTo>
                  <a:pt x="198148" y="26499"/>
                </a:lnTo>
                <a:lnTo>
                  <a:pt x="204291" y="23700"/>
                </a:lnTo>
                <a:lnTo>
                  <a:pt x="206823" y="22817"/>
                </a:lnTo>
                <a:lnTo>
                  <a:pt x="211228" y="20947"/>
                </a:lnTo>
                <a:lnTo>
                  <a:pt x="225741" y="16221"/>
                </a:lnTo>
                <a:lnTo>
                  <a:pt x="232526" y="13856"/>
                </a:lnTo>
                <a:lnTo>
                  <a:pt x="234516" y="13364"/>
                </a:lnTo>
                <a:lnTo>
                  <a:pt x="237926" y="12254"/>
                </a:lnTo>
                <a:lnTo>
                  <a:pt x="254783" y="8354"/>
                </a:lnTo>
                <a:lnTo>
                  <a:pt x="261875" y="6601"/>
                </a:lnTo>
                <a:lnTo>
                  <a:pt x="263248" y="6396"/>
                </a:lnTo>
                <a:lnTo>
                  <a:pt x="265581" y="5856"/>
                </a:lnTo>
                <a:lnTo>
                  <a:pt x="285860" y="3017"/>
                </a:lnTo>
                <a:lnTo>
                  <a:pt x="292203" y="2069"/>
                </a:lnTo>
                <a:lnTo>
                  <a:pt x="292871" y="2036"/>
                </a:lnTo>
                <a:lnTo>
                  <a:pt x="294080" y="1866"/>
                </a:lnTo>
                <a:lnTo>
                  <a:pt x="308146" y="1201"/>
                </a:lnTo>
                <a:lnTo>
                  <a:pt x="308146" y="389"/>
                </a:lnTo>
                <a:lnTo>
                  <a:pt x="321113" y="389"/>
                </a:lnTo>
                <a:lnTo>
                  <a:pt x="325287" y="389"/>
                </a:lnTo>
                <a:lnTo>
                  <a:pt x="325384" y="389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70" name="TextBox 369">
            <a:extLst>
              <a:ext uri="{FF2B5EF4-FFF2-40B4-BE49-F238E27FC236}">
                <a16:creationId xmlns:a16="http://schemas.microsoft.com/office/drawing/2014/main" id="{7B197106-4FAC-3342-9062-37E5553F9565}"/>
              </a:ext>
            </a:extLst>
          </p:cNvPr>
          <p:cNvSpPr txBox="1"/>
          <p:nvPr/>
        </p:nvSpPr>
        <p:spPr>
          <a:xfrm>
            <a:off x="443911" y="1124837"/>
            <a:ext cx="5147083" cy="4195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83101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2712" marR="0" lvl="0" indent="-222712" algn="just" defTabSz="583101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egiat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eng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sumbe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dana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APBD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rovins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; dan</a:t>
            </a:r>
          </a:p>
          <a:p>
            <a:pPr marL="222712" marR="0" lvl="0" indent="-222712" algn="just" defTabSz="583101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egiat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linta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abupate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/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ot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alam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satu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rovins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457200" marR="0" lvl="0" indent="-457200" algn="just" defTabSz="583101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egiat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yang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buk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menjad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ewenang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emerinta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Pusat </a:t>
            </a:r>
          </a:p>
          <a:p>
            <a:pPr marL="457200" marR="0" lvl="0" indent="-457200" algn="just" defTabSz="583101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egiat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yang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ibiaya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eng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dana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ar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masyaraka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atau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swast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</p:txBody>
      </p:sp>
      <p:sp>
        <p:nvSpPr>
          <p:cNvPr id="17" name="Freeform: Shape 46">
            <a:extLst>
              <a:ext uri="{FF2B5EF4-FFF2-40B4-BE49-F238E27FC236}">
                <a16:creationId xmlns:a16="http://schemas.microsoft.com/office/drawing/2014/main" id="{6AA52D8A-0333-0D41-82C1-52EFA4DB075D}"/>
              </a:ext>
            </a:extLst>
          </p:cNvPr>
          <p:cNvSpPr/>
          <p:nvPr/>
        </p:nvSpPr>
        <p:spPr>
          <a:xfrm rot="10800000" flipH="1">
            <a:off x="6121400" y="1195581"/>
            <a:ext cx="5746861" cy="4702069"/>
          </a:xfrm>
          <a:custGeom>
            <a:avLst/>
            <a:gdLst>
              <a:gd name="connsiteX0" fmla="*/ 0 w 5431992"/>
              <a:gd name="connsiteY0" fmla="*/ 3727301 h 3727301"/>
              <a:gd name="connsiteX1" fmla="*/ 844165 w 5431992"/>
              <a:gd name="connsiteY1" fmla="*/ 3727301 h 3727301"/>
              <a:gd name="connsiteX2" fmla="*/ 891390 w 5431992"/>
              <a:gd name="connsiteY2" fmla="*/ 3727301 h 3727301"/>
              <a:gd name="connsiteX3" fmla="*/ 2371823 w 5431992"/>
              <a:gd name="connsiteY3" fmla="*/ 3727301 h 3727301"/>
              <a:gd name="connsiteX4" fmla="*/ 2754923 w 5431992"/>
              <a:gd name="connsiteY4" fmla="*/ 3727301 h 3727301"/>
              <a:gd name="connsiteX5" fmla="*/ 4157501 w 5431992"/>
              <a:gd name="connsiteY5" fmla="*/ 3727301 h 3727301"/>
              <a:gd name="connsiteX6" fmla="*/ 4540601 w 5431992"/>
              <a:gd name="connsiteY6" fmla="*/ 3727301 h 3727301"/>
              <a:gd name="connsiteX7" fmla="*/ 4540601 w 5431992"/>
              <a:gd name="connsiteY7" fmla="*/ 3726212 h 3727301"/>
              <a:gd name="connsiteX8" fmla="*/ 4540602 w 5431992"/>
              <a:gd name="connsiteY8" fmla="*/ 3726212 h 3727301"/>
              <a:gd name="connsiteX9" fmla="*/ 4540868 w 5431992"/>
              <a:gd name="connsiteY9" fmla="*/ 3726212 h 3727301"/>
              <a:gd name="connsiteX10" fmla="*/ 4552303 w 5431992"/>
              <a:gd name="connsiteY10" fmla="*/ 3726212 h 3727301"/>
              <a:gd name="connsiteX11" fmla="*/ 4587827 w 5431992"/>
              <a:gd name="connsiteY11" fmla="*/ 3726212 h 3727301"/>
              <a:gd name="connsiteX12" fmla="*/ 4587827 w 5431992"/>
              <a:gd name="connsiteY12" fmla="*/ 3723939 h 3727301"/>
              <a:gd name="connsiteX13" fmla="*/ 4626359 w 5431992"/>
              <a:gd name="connsiteY13" fmla="*/ 3722075 h 3727301"/>
              <a:gd name="connsiteX14" fmla="*/ 4629673 w 5431992"/>
              <a:gd name="connsiteY14" fmla="*/ 3721600 h 3727301"/>
              <a:gd name="connsiteX15" fmla="*/ 4631501 w 5431992"/>
              <a:gd name="connsiteY15" fmla="*/ 3721506 h 3727301"/>
              <a:gd name="connsiteX16" fmla="*/ 4648879 w 5431992"/>
              <a:gd name="connsiteY16" fmla="*/ 3718852 h 3727301"/>
              <a:gd name="connsiteX17" fmla="*/ 4704433 w 5431992"/>
              <a:gd name="connsiteY17" fmla="*/ 3710902 h 3727301"/>
              <a:gd name="connsiteX18" fmla="*/ 4710823 w 5431992"/>
              <a:gd name="connsiteY18" fmla="*/ 3709391 h 3727301"/>
              <a:gd name="connsiteX19" fmla="*/ 4714586 w 5431992"/>
              <a:gd name="connsiteY19" fmla="*/ 3708817 h 3727301"/>
              <a:gd name="connsiteX20" fmla="*/ 4734014 w 5431992"/>
              <a:gd name="connsiteY20" fmla="*/ 3703907 h 3727301"/>
              <a:gd name="connsiteX21" fmla="*/ 4780194 w 5431992"/>
              <a:gd name="connsiteY21" fmla="*/ 3692988 h 3727301"/>
              <a:gd name="connsiteX22" fmla="*/ 4789537 w 5431992"/>
              <a:gd name="connsiteY22" fmla="*/ 3689878 h 3727301"/>
              <a:gd name="connsiteX23" fmla="*/ 4794988 w 5431992"/>
              <a:gd name="connsiteY23" fmla="*/ 3688501 h 3727301"/>
              <a:gd name="connsiteX24" fmla="*/ 4813574 w 5431992"/>
              <a:gd name="connsiteY24" fmla="*/ 3681879 h 3727301"/>
              <a:gd name="connsiteX25" fmla="*/ 4853335 w 5431992"/>
              <a:gd name="connsiteY25" fmla="*/ 3668644 h 3727301"/>
              <a:gd name="connsiteX26" fmla="*/ 4865400 w 5431992"/>
              <a:gd name="connsiteY26" fmla="*/ 3663410 h 3727301"/>
              <a:gd name="connsiteX27" fmla="*/ 4872337 w 5431992"/>
              <a:gd name="connsiteY27" fmla="*/ 3660937 h 3727301"/>
              <a:gd name="connsiteX28" fmla="*/ 4889166 w 5431992"/>
              <a:gd name="connsiteY28" fmla="*/ 3653099 h 3727301"/>
              <a:gd name="connsiteX29" fmla="*/ 4923551 w 5431992"/>
              <a:gd name="connsiteY29" fmla="*/ 3638182 h 3727301"/>
              <a:gd name="connsiteX30" fmla="*/ 4938066 w 5431992"/>
              <a:gd name="connsiteY30" fmla="*/ 3630322 h 3727301"/>
              <a:gd name="connsiteX31" fmla="*/ 4946263 w 5431992"/>
              <a:gd name="connsiteY31" fmla="*/ 3626504 h 3727301"/>
              <a:gd name="connsiteX32" fmla="*/ 4960997 w 5431992"/>
              <a:gd name="connsiteY32" fmla="*/ 3617905 h 3727301"/>
              <a:gd name="connsiteX33" fmla="*/ 4990539 w 5431992"/>
              <a:gd name="connsiteY33" fmla="*/ 3601910 h 3727301"/>
              <a:gd name="connsiteX34" fmla="*/ 5007191 w 5431992"/>
              <a:gd name="connsiteY34" fmla="*/ 3590949 h 3727301"/>
              <a:gd name="connsiteX35" fmla="*/ 5016397 w 5431992"/>
              <a:gd name="connsiteY35" fmla="*/ 3585577 h 3727301"/>
              <a:gd name="connsiteX36" fmla="*/ 5028936 w 5431992"/>
              <a:gd name="connsiteY36" fmla="*/ 3576636 h 3727301"/>
              <a:gd name="connsiteX37" fmla="*/ 5053995 w 5431992"/>
              <a:gd name="connsiteY37" fmla="*/ 3560142 h 3727301"/>
              <a:gd name="connsiteX38" fmla="*/ 5072432 w 5431992"/>
              <a:gd name="connsiteY38" fmla="*/ 3545621 h 3727301"/>
              <a:gd name="connsiteX39" fmla="*/ 5082370 w 5431992"/>
              <a:gd name="connsiteY39" fmla="*/ 3538535 h 3727301"/>
              <a:gd name="connsiteX40" fmla="*/ 5092737 w 5431992"/>
              <a:gd name="connsiteY40" fmla="*/ 3529630 h 3727301"/>
              <a:gd name="connsiteX41" fmla="*/ 5113615 w 5431992"/>
              <a:gd name="connsiteY41" fmla="*/ 3513186 h 3727301"/>
              <a:gd name="connsiteX42" fmla="*/ 5133448 w 5431992"/>
              <a:gd name="connsiteY42" fmla="*/ 3494657 h 3727301"/>
              <a:gd name="connsiteX43" fmla="*/ 5143812 w 5431992"/>
              <a:gd name="connsiteY43" fmla="*/ 3485754 h 3727301"/>
              <a:gd name="connsiteX44" fmla="*/ 5152102 w 5431992"/>
              <a:gd name="connsiteY44" fmla="*/ 3477230 h 3727301"/>
              <a:gd name="connsiteX45" fmla="*/ 5169095 w 5431992"/>
              <a:gd name="connsiteY45" fmla="*/ 3461355 h 3727301"/>
              <a:gd name="connsiteX46" fmla="*/ 5189909 w 5431992"/>
              <a:gd name="connsiteY46" fmla="*/ 3438356 h 3727301"/>
              <a:gd name="connsiteX47" fmla="*/ 5200355 w 5431992"/>
              <a:gd name="connsiteY47" fmla="*/ 3427614 h 3727301"/>
              <a:gd name="connsiteX48" fmla="*/ 5206717 w 5431992"/>
              <a:gd name="connsiteY48" fmla="*/ 3419781 h 3727301"/>
              <a:gd name="connsiteX49" fmla="*/ 5220131 w 5431992"/>
              <a:gd name="connsiteY49" fmla="*/ 3404959 h 3727301"/>
              <a:gd name="connsiteX50" fmla="*/ 5241486 w 5431992"/>
              <a:gd name="connsiteY50" fmla="*/ 3376975 h 3727301"/>
              <a:gd name="connsiteX51" fmla="*/ 5251629 w 5431992"/>
              <a:gd name="connsiteY51" fmla="*/ 3364490 h 3727301"/>
              <a:gd name="connsiteX52" fmla="*/ 5256249 w 5431992"/>
              <a:gd name="connsiteY52" fmla="*/ 3357632 h 3727301"/>
              <a:gd name="connsiteX53" fmla="*/ 5266418 w 5431992"/>
              <a:gd name="connsiteY53" fmla="*/ 3344309 h 3727301"/>
              <a:gd name="connsiteX54" fmla="*/ 5287884 w 5431992"/>
              <a:gd name="connsiteY54" fmla="*/ 3310683 h 3727301"/>
              <a:gd name="connsiteX55" fmla="*/ 5297265 w 5431992"/>
              <a:gd name="connsiteY55" fmla="*/ 3296759 h 3727301"/>
              <a:gd name="connsiteX56" fmla="*/ 5300364 w 5431992"/>
              <a:gd name="connsiteY56" fmla="*/ 3291135 h 3727301"/>
              <a:gd name="connsiteX57" fmla="*/ 5307652 w 5431992"/>
              <a:gd name="connsiteY57" fmla="*/ 3279716 h 3727301"/>
              <a:gd name="connsiteX58" fmla="*/ 5328841 w 5431992"/>
              <a:gd name="connsiteY58" fmla="*/ 3239424 h 3727301"/>
              <a:gd name="connsiteX59" fmla="*/ 5336893 w 5431992"/>
              <a:gd name="connsiteY59" fmla="*/ 3224802 h 3727301"/>
              <a:gd name="connsiteX60" fmla="*/ 5338719 w 5431992"/>
              <a:gd name="connsiteY60" fmla="*/ 3220638 h 3727301"/>
              <a:gd name="connsiteX61" fmla="*/ 5343530 w 5431992"/>
              <a:gd name="connsiteY61" fmla="*/ 3211490 h 3727301"/>
              <a:gd name="connsiteX62" fmla="*/ 5364233 w 5431992"/>
              <a:gd name="connsiteY62" fmla="*/ 3162469 h 3727301"/>
              <a:gd name="connsiteX63" fmla="*/ 5370144 w 5431992"/>
              <a:gd name="connsiteY63" fmla="*/ 3148994 h 3727301"/>
              <a:gd name="connsiteX64" fmla="*/ 5370977 w 5431992"/>
              <a:gd name="connsiteY64" fmla="*/ 3146500 h 3727301"/>
              <a:gd name="connsiteX65" fmla="*/ 5373748 w 5431992"/>
              <a:gd name="connsiteY65" fmla="*/ 3139941 h 3727301"/>
              <a:gd name="connsiteX66" fmla="*/ 5394531 w 5431992"/>
              <a:gd name="connsiteY66" fmla="*/ 3076045 h 3727301"/>
              <a:gd name="connsiteX67" fmla="*/ 5396648 w 5431992"/>
              <a:gd name="connsiteY67" fmla="*/ 3069712 h 3727301"/>
              <a:gd name="connsiteX68" fmla="*/ 5396798 w 5431992"/>
              <a:gd name="connsiteY68" fmla="*/ 3069075 h 3727301"/>
              <a:gd name="connsiteX69" fmla="*/ 5397999 w 5431992"/>
              <a:gd name="connsiteY69" fmla="*/ 3065384 h 3727301"/>
              <a:gd name="connsiteX70" fmla="*/ 5427392 w 5431992"/>
              <a:gd name="connsiteY70" fmla="*/ 2908479 h 3727301"/>
              <a:gd name="connsiteX71" fmla="*/ 5427567 w 5431992"/>
              <a:gd name="connsiteY71" fmla="*/ 2904915 h 3727301"/>
              <a:gd name="connsiteX72" fmla="*/ 5427942 w 5431992"/>
              <a:gd name="connsiteY72" fmla="*/ 2902239 h 3727301"/>
              <a:gd name="connsiteX73" fmla="*/ 5429984 w 5431992"/>
              <a:gd name="connsiteY73" fmla="*/ 2858141 h 3727301"/>
              <a:gd name="connsiteX74" fmla="*/ 5431992 w 5431992"/>
              <a:gd name="connsiteY74" fmla="*/ 2858141 h 3727301"/>
              <a:gd name="connsiteX75" fmla="*/ 5431992 w 5431992"/>
              <a:gd name="connsiteY75" fmla="*/ 2815358 h 3727301"/>
              <a:gd name="connsiteX76" fmla="*/ 5431992 w 5431992"/>
              <a:gd name="connsiteY76" fmla="*/ 2815349 h 3727301"/>
              <a:gd name="connsiteX77" fmla="*/ 5431992 w 5431992"/>
              <a:gd name="connsiteY77" fmla="*/ 2815340 h 3727301"/>
              <a:gd name="connsiteX78" fmla="*/ 5431992 w 5431992"/>
              <a:gd name="connsiteY78" fmla="*/ 2814803 h 3727301"/>
              <a:gd name="connsiteX79" fmla="*/ 5431992 w 5431992"/>
              <a:gd name="connsiteY79" fmla="*/ 2806157 h 3727301"/>
              <a:gd name="connsiteX80" fmla="*/ 5431992 w 5431992"/>
              <a:gd name="connsiteY80" fmla="*/ 2439693 h 3727301"/>
              <a:gd name="connsiteX81" fmla="*/ 5431992 w 5431992"/>
              <a:gd name="connsiteY81" fmla="*/ 2396910 h 3727301"/>
              <a:gd name="connsiteX82" fmla="*/ 5431992 w 5431992"/>
              <a:gd name="connsiteY82" fmla="*/ 2396901 h 3727301"/>
              <a:gd name="connsiteX83" fmla="*/ 5431992 w 5431992"/>
              <a:gd name="connsiteY83" fmla="*/ 2396892 h 3727301"/>
              <a:gd name="connsiteX84" fmla="*/ 5431992 w 5431992"/>
              <a:gd name="connsiteY84" fmla="*/ 2396355 h 3727301"/>
              <a:gd name="connsiteX85" fmla="*/ 5431992 w 5431992"/>
              <a:gd name="connsiteY85" fmla="*/ 2387709 h 3727301"/>
              <a:gd name="connsiteX86" fmla="*/ 5431992 w 5431992"/>
              <a:gd name="connsiteY86" fmla="*/ 2251532 h 3727301"/>
              <a:gd name="connsiteX87" fmla="*/ 5431992 w 5431992"/>
              <a:gd name="connsiteY87" fmla="*/ 1894207 h 3727301"/>
              <a:gd name="connsiteX88" fmla="*/ 5431992 w 5431992"/>
              <a:gd name="connsiteY88" fmla="*/ 1833084 h 3727301"/>
              <a:gd name="connsiteX89" fmla="*/ 5431992 w 5431992"/>
              <a:gd name="connsiteY89" fmla="*/ 1475759 h 3727301"/>
              <a:gd name="connsiteX90" fmla="*/ 5431992 w 5431992"/>
              <a:gd name="connsiteY90" fmla="*/ 1330390 h 3727301"/>
              <a:gd name="connsiteX91" fmla="*/ 5431992 w 5431992"/>
              <a:gd name="connsiteY91" fmla="*/ 911942 h 3727301"/>
              <a:gd name="connsiteX92" fmla="*/ 5431992 w 5431992"/>
              <a:gd name="connsiteY92" fmla="*/ 418448 h 3727301"/>
              <a:gd name="connsiteX93" fmla="*/ 5431992 w 5431992"/>
              <a:gd name="connsiteY93" fmla="*/ 0 h 3727301"/>
              <a:gd name="connsiteX94" fmla="*/ 4587827 w 5431992"/>
              <a:gd name="connsiteY94" fmla="*/ 0 h 3727301"/>
              <a:gd name="connsiteX95" fmla="*/ 4540602 w 5431992"/>
              <a:gd name="connsiteY95" fmla="*/ 0 h 3727301"/>
              <a:gd name="connsiteX96" fmla="*/ 3646314 w 5431992"/>
              <a:gd name="connsiteY96" fmla="*/ 0 h 3727301"/>
              <a:gd name="connsiteX97" fmla="*/ 3060170 w 5431992"/>
              <a:gd name="connsiteY97" fmla="*/ 0 h 3727301"/>
              <a:gd name="connsiteX98" fmla="*/ 2802149 w 5431992"/>
              <a:gd name="connsiteY98" fmla="*/ 0 h 3727301"/>
              <a:gd name="connsiteX99" fmla="*/ 2754924 w 5431992"/>
              <a:gd name="connsiteY99" fmla="*/ 0 h 3727301"/>
              <a:gd name="connsiteX100" fmla="*/ 2677069 w 5431992"/>
              <a:gd name="connsiteY100" fmla="*/ 0 h 3727301"/>
              <a:gd name="connsiteX101" fmla="*/ 1274492 w 5431992"/>
              <a:gd name="connsiteY101" fmla="*/ 0 h 3727301"/>
              <a:gd name="connsiteX102" fmla="*/ 891391 w 5431992"/>
              <a:gd name="connsiteY102" fmla="*/ 0 h 3727301"/>
              <a:gd name="connsiteX103" fmla="*/ 891391 w 5431992"/>
              <a:gd name="connsiteY103" fmla="*/ 1089 h 3727301"/>
              <a:gd name="connsiteX104" fmla="*/ 891390 w 5431992"/>
              <a:gd name="connsiteY104" fmla="*/ 1089 h 3727301"/>
              <a:gd name="connsiteX105" fmla="*/ 891124 w 5431992"/>
              <a:gd name="connsiteY105" fmla="*/ 1089 h 3727301"/>
              <a:gd name="connsiteX106" fmla="*/ 879689 w 5431992"/>
              <a:gd name="connsiteY106" fmla="*/ 1089 h 3727301"/>
              <a:gd name="connsiteX107" fmla="*/ 844165 w 5431992"/>
              <a:gd name="connsiteY107" fmla="*/ 1089 h 3727301"/>
              <a:gd name="connsiteX108" fmla="*/ 844165 w 5431992"/>
              <a:gd name="connsiteY108" fmla="*/ 3362 h 3727301"/>
              <a:gd name="connsiteX109" fmla="*/ 805634 w 5431992"/>
              <a:gd name="connsiteY109" fmla="*/ 5226 h 3727301"/>
              <a:gd name="connsiteX110" fmla="*/ 802321 w 5431992"/>
              <a:gd name="connsiteY110" fmla="*/ 5701 h 3727301"/>
              <a:gd name="connsiteX111" fmla="*/ 800491 w 5431992"/>
              <a:gd name="connsiteY111" fmla="*/ 5795 h 3727301"/>
              <a:gd name="connsiteX112" fmla="*/ 783113 w 5431992"/>
              <a:gd name="connsiteY112" fmla="*/ 8449 h 3727301"/>
              <a:gd name="connsiteX113" fmla="*/ 727559 w 5431992"/>
              <a:gd name="connsiteY113" fmla="*/ 16399 h 3727301"/>
              <a:gd name="connsiteX114" fmla="*/ 721169 w 5431992"/>
              <a:gd name="connsiteY114" fmla="*/ 17910 h 3727301"/>
              <a:gd name="connsiteX115" fmla="*/ 717406 w 5431992"/>
              <a:gd name="connsiteY115" fmla="*/ 18484 h 3727301"/>
              <a:gd name="connsiteX116" fmla="*/ 697980 w 5431992"/>
              <a:gd name="connsiteY116" fmla="*/ 23394 h 3727301"/>
              <a:gd name="connsiteX117" fmla="*/ 651798 w 5431992"/>
              <a:gd name="connsiteY117" fmla="*/ 34313 h 3727301"/>
              <a:gd name="connsiteX118" fmla="*/ 642455 w 5431992"/>
              <a:gd name="connsiteY118" fmla="*/ 37423 h 3727301"/>
              <a:gd name="connsiteX119" fmla="*/ 637004 w 5431992"/>
              <a:gd name="connsiteY119" fmla="*/ 38800 h 3727301"/>
              <a:gd name="connsiteX120" fmla="*/ 618418 w 5431992"/>
              <a:gd name="connsiteY120" fmla="*/ 45422 h 3727301"/>
              <a:gd name="connsiteX121" fmla="*/ 578659 w 5431992"/>
              <a:gd name="connsiteY121" fmla="*/ 58657 h 3727301"/>
              <a:gd name="connsiteX122" fmla="*/ 566594 w 5431992"/>
              <a:gd name="connsiteY122" fmla="*/ 63891 h 3727301"/>
              <a:gd name="connsiteX123" fmla="*/ 559656 w 5431992"/>
              <a:gd name="connsiteY123" fmla="*/ 66364 h 3727301"/>
              <a:gd name="connsiteX124" fmla="*/ 542827 w 5431992"/>
              <a:gd name="connsiteY124" fmla="*/ 74202 h 3727301"/>
              <a:gd name="connsiteX125" fmla="*/ 508443 w 5431992"/>
              <a:gd name="connsiteY125" fmla="*/ 89119 h 3727301"/>
              <a:gd name="connsiteX126" fmla="*/ 493927 w 5431992"/>
              <a:gd name="connsiteY126" fmla="*/ 96979 h 3727301"/>
              <a:gd name="connsiteX127" fmla="*/ 485730 w 5431992"/>
              <a:gd name="connsiteY127" fmla="*/ 100797 h 3727301"/>
              <a:gd name="connsiteX128" fmla="*/ 470995 w 5431992"/>
              <a:gd name="connsiteY128" fmla="*/ 109396 h 3727301"/>
              <a:gd name="connsiteX129" fmla="*/ 441454 w 5431992"/>
              <a:gd name="connsiteY129" fmla="*/ 125391 h 3727301"/>
              <a:gd name="connsiteX130" fmla="*/ 424802 w 5431992"/>
              <a:gd name="connsiteY130" fmla="*/ 136352 h 3727301"/>
              <a:gd name="connsiteX131" fmla="*/ 415596 w 5431992"/>
              <a:gd name="connsiteY131" fmla="*/ 141724 h 3727301"/>
              <a:gd name="connsiteX132" fmla="*/ 403056 w 5431992"/>
              <a:gd name="connsiteY132" fmla="*/ 150665 h 3727301"/>
              <a:gd name="connsiteX133" fmla="*/ 377997 w 5431992"/>
              <a:gd name="connsiteY133" fmla="*/ 167159 h 3727301"/>
              <a:gd name="connsiteX134" fmla="*/ 359561 w 5431992"/>
              <a:gd name="connsiteY134" fmla="*/ 181680 h 3727301"/>
              <a:gd name="connsiteX135" fmla="*/ 349622 w 5431992"/>
              <a:gd name="connsiteY135" fmla="*/ 188766 h 3727301"/>
              <a:gd name="connsiteX136" fmla="*/ 339257 w 5431992"/>
              <a:gd name="connsiteY136" fmla="*/ 197671 h 3727301"/>
              <a:gd name="connsiteX137" fmla="*/ 318377 w 5431992"/>
              <a:gd name="connsiteY137" fmla="*/ 214115 h 3727301"/>
              <a:gd name="connsiteX138" fmla="*/ 298544 w 5431992"/>
              <a:gd name="connsiteY138" fmla="*/ 232644 h 3727301"/>
              <a:gd name="connsiteX139" fmla="*/ 288180 w 5431992"/>
              <a:gd name="connsiteY139" fmla="*/ 241547 h 3727301"/>
              <a:gd name="connsiteX140" fmla="*/ 279890 w 5431992"/>
              <a:gd name="connsiteY140" fmla="*/ 250071 h 3727301"/>
              <a:gd name="connsiteX141" fmla="*/ 262898 w 5431992"/>
              <a:gd name="connsiteY141" fmla="*/ 265946 h 3727301"/>
              <a:gd name="connsiteX142" fmla="*/ 242085 w 5431992"/>
              <a:gd name="connsiteY142" fmla="*/ 288944 h 3727301"/>
              <a:gd name="connsiteX143" fmla="*/ 231637 w 5431992"/>
              <a:gd name="connsiteY143" fmla="*/ 299687 h 3727301"/>
              <a:gd name="connsiteX144" fmla="*/ 225275 w 5431992"/>
              <a:gd name="connsiteY144" fmla="*/ 307520 h 3727301"/>
              <a:gd name="connsiteX145" fmla="*/ 211862 w 5431992"/>
              <a:gd name="connsiteY145" fmla="*/ 322342 h 3727301"/>
              <a:gd name="connsiteX146" fmla="*/ 190506 w 5431992"/>
              <a:gd name="connsiteY146" fmla="*/ 350326 h 3727301"/>
              <a:gd name="connsiteX147" fmla="*/ 180363 w 5431992"/>
              <a:gd name="connsiteY147" fmla="*/ 362811 h 3727301"/>
              <a:gd name="connsiteX148" fmla="*/ 175743 w 5431992"/>
              <a:gd name="connsiteY148" fmla="*/ 369669 h 3727301"/>
              <a:gd name="connsiteX149" fmla="*/ 165574 w 5431992"/>
              <a:gd name="connsiteY149" fmla="*/ 382992 h 3727301"/>
              <a:gd name="connsiteX150" fmla="*/ 144110 w 5431992"/>
              <a:gd name="connsiteY150" fmla="*/ 416618 h 3727301"/>
              <a:gd name="connsiteX151" fmla="*/ 134728 w 5431992"/>
              <a:gd name="connsiteY151" fmla="*/ 430542 h 3727301"/>
              <a:gd name="connsiteX152" fmla="*/ 131630 w 5431992"/>
              <a:gd name="connsiteY152" fmla="*/ 436167 h 3727301"/>
              <a:gd name="connsiteX153" fmla="*/ 124340 w 5431992"/>
              <a:gd name="connsiteY153" fmla="*/ 447585 h 3727301"/>
              <a:gd name="connsiteX154" fmla="*/ 103153 w 5431992"/>
              <a:gd name="connsiteY154" fmla="*/ 487877 h 3727301"/>
              <a:gd name="connsiteX155" fmla="*/ 95100 w 5431992"/>
              <a:gd name="connsiteY155" fmla="*/ 502499 h 3727301"/>
              <a:gd name="connsiteX156" fmla="*/ 93274 w 5431992"/>
              <a:gd name="connsiteY156" fmla="*/ 506663 h 3727301"/>
              <a:gd name="connsiteX157" fmla="*/ 88463 w 5431992"/>
              <a:gd name="connsiteY157" fmla="*/ 515811 h 3727301"/>
              <a:gd name="connsiteX158" fmla="*/ 67759 w 5431992"/>
              <a:gd name="connsiteY158" fmla="*/ 564832 h 3727301"/>
              <a:gd name="connsiteX159" fmla="*/ 61850 w 5431992"/>
              <a:gd name="connsiteY159" fmla="*/ 578307 h 3727301"/>
              <a:gd name="connsiteX160" fmla="*/ 61016 w 5431992"/>
              <a:gd name="connsiteY160" fmla="*/ 580801 h 3727301"/>
              <a:gd name="connsiteX161" fmla="*/ 58246 w 5431992"/>
              <a:gd name="connsiteY161" fmla="*/ 587360 h 3727301"/>
              <a:gd name="connsiteX162" fmla="*/ 37462 w 5431992"/>
              <a:gd name="connsiteY162" fmla="*/ 651256 h 3727301"/>
              <a:gd name="connsiteX163" fmla="*/ 35344 w 5431992"/>
              <a:gd name="connsiteY163" fmla="*/ 657589 h 3727301"/>
              <a:gd name="connsiteX164" fmla="*/ 35195 w 5431992"/>
              <a:gd name="connsiteY164" fmla="*/ 658226 h 3727301"/>
              <a:gd name="connsiteX165" fmla="*/ 33994 w 5431992"/>
              <a:gd name="connsiteY165" fmla="*/ 661917 h 3727301"/>
              <a:gd name="connsiteX166" fmla="*/ 4602 w 5431992"/>
              <a:gd name="connsiteY166" fmla="*/ 818822 h 3727301"/>
              <a:gd name="connsiteX167" fmla="*/ 4426 w 5431992"/>
              <a:gd name="connsiteY167" fmla="*/ 822387 h 3727301"/>
              <a:gd name="connsiteX168" fmla="*/ 4051 w 5431992"/>
              <a:gd name="connsiteY168" fmla="*/ 825062 h 3727301"/>
              <a:gd name="connsiteX169" fmla="*/ 2008 w 5431992"/>
              <a:gd name="connsiteY169" fmla="*/ 869160 h 3727301"/>
              <a:gd name="connsiteX170" fmla="*/ 1 w 5431992"/>
              <a:gd name="connsiteY170" fmla="*/ 869160 h 3727301"/>
              <a:gd name="connsiteX171" fmla="*/ 1 w 5431992"/>
              <a:gd name="connsiteY171" fmla="*/ 911944 h 3727301"/>
              <a:gd name="connsiteX172" fmla="*/ 0 w 5431992"/>
              <a:gd name="connsiteY172" fmla="*/ 911952 h 3727301"/>
              <a:gd name="connsiteX173" fmla="*/ 1 w 5431992"/>
              <a:gd name="connsiteY173" fmla="*/ 911961 h 3727301"/>
              <a:gd name="connsiteX174" fmla="*/ 1 w 5431992"/>
              <a:gd name="connsiteY174" fmla="*/ 912498 h 3727301"/>
              <a:gd name="connsiteX175" fmla="*/ 1 w 5431992"/>
              <a:gd name="connsiteY175" fmla="*/ 921144 h 3727301"/>
              <a:gd name="connsiteX176" fmla="*/ 0 w 5431992"/>
              <a:gd name="connsiteY176" fmla="*/ 921144 h 3727301"/>
              <a:gd name="connsiteX177" fmla="*/ 0 w 5431992"/>
              <a:gd name="connsiteY177" fmla="*/ 1330400 h 3727301"/>
              <a:gd name="connsiteX178" fmla="*/ 0 w 5431992"/>
              <a:gd name="connsiteY178" fmla="*/ 1339592 h 3727301"/>
              <a:gd name="connsiteX179" fmla="*/ 0 w 5431992"/>
              <a:gd name="connsiteY179" fmla="*/ 1475768 h 3727301"/>
              <a:gd name="connsiteX180" fmla="*/ 0 w 5431992"/>
              <a:gd name="connsiteY180" fmla="*/ 1475769 h 3727301"/>
              <a:gd name="connsiteX181" fmla="*/ 0 w 5431992"/>
              <a:gd name="connsiteY181" fmla="*/ 1475770 h 3727301"/>
              <a:gd name="connsiteX182" fmla="*/ 0 w 5431992"/>
              <a:gd name="connsiteY182" fmla="*/ 1833095 h 3727301"/>
              <a:gd name="connsiteX183" fmla="*/ 0 w 5431992"/>
              <a:gd name="connsiteY183" fmla="*/ 1894216 h 3727301"/>
              <a:gd name="connsiteX184" fmla="*/ 0 w 5431992"/>
              <a:gd name="connsiteY184" fmla="*/ 1894217 h 3727301"/>
              <a:gd name="connsiteX185" fmla="*/ 0 w 5431992"/>
              <a:gd name="connsiteY185" fmla="*/ 1894218 h 3727301"/>
              <a:gd name="connsiteX186" fmla="*/ 0 w 5431992"/>
              <a:gd name="connsiteY186" fmla="*/ 2251543 h 3727301"/>
              <a:gd name="connsiteX187" fmla="*/ 0 w 5431992"/>
              <a:gd name="connsiteY187" fmla="*/ 2396911 h 3727301"/>
              <a:gd name="connsiteX188" fmla="*/ 0 w 5431992"/>
              <a:gd name="connsiteY188" fmla="*/ 2815359 h 3727301"/>
              <a:gd name="connsiteX189" fmla="*/ 0 w 5431992"/>
              <a:gd name="connsiteY189" fmla="*/ 3308853 h 3727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5431992" h="3727301">
                <a:moveTo>
                  <a:pt x="0" y="3727301"/>
                </a:moveTo>
                <a:lnTo>
                  <a:pt x="844165" y="3727301"/>
                </a:lnTo>
                <a:lnTo>
                  <a:pt x="891390" y="3727301"/>
                </a:lnTo>
                <a:lnTo>
                  <a:pt x="2371823" y="3727301"/>
                </a:lnTo>
                <a:lnTo>
                  <a:pt x="2754923" y="3727301"/>
                </a:lnTo>
                <a:lnTo>
                  <a:pt x="4157501" y="3727301"/>
                </a:lnTo>
                <a:lnTo>
                  <a:pt x="4540601" y="3727301"/>
                </a:lnTo>
                <a:lnTo>
                  <a:pt x="4540601" y="3726212"/>
                </a:lnTo>
                <a:lnTo>
                  <a:pt x="4540602" y="3726212"/>
                </a:lnTo>
                <a:lnTo>
                  <a:pt x="4540868" y="3726212"/>
                </a:lnTo>
                <a:lnTo>
                  <a:pt x="4552303" y="3726212"/>
                </a:lnTo>
                <a:lnTo>
                  <a:pt x="4587827" y="3726212"/>
                </a:lnTo>
                <a:lnTo>
                  <a:pt x="4587827" y="3723939"/>
                </a:lnTo>
                <a:lnTo>
                  <a:pt x="4626359" y="3722075"/>
                </a:lnTo>
                <a:lnTo>
                  <a:pt x="4629673" y="3721600"/>
                </a:lnTo>
                <a:lnTo>
                  <a:pt x="4631501" y="3721506"/>
                </a:lnTo>
                <a:lnTo>
                  <a:pt x="4648879" y="3718852"/>
                </a:lnTo>
                <a:lnTo>
                  <a:pt x="4704433" y="3710902"/>
                </a:lnTo>
                <a:lnTo>
                  <a:pt x="4710823" y="3709391"/>
                </a:lnTo>
                <a:lnTo>
                  <a:pt x="4714586" y="3708817"/>
                </a:lnTo>
                <a:lnTo>
                  <a:pt x="4734014" y="3703907"/>
                </a:lnTo>
                <a:lnTo>
                  <a:pt x="4780194" y="3692988"/>
                </a:lnTo>
                <a:lnTo>
                  <a:pt x="4789537" y="3689878"/>
                </a:lnTo>
                <a:lnTo>
                  <a:pt x="4794988" y="3688501"/>
                </a:lnTo>
                <a:lnTo>
                  <a:pt x="4813574" y="3681879"/>
                </a:lnTo>
                <a:lnTo>
                  <a:pt x="4853335" y="3668644"/>
                </a:lnTo>
                <a:lnTo>
                  <a:pt x="4865400" y="3663410"/>
                </a:lnTo>
                <a:lnTo>
                  <a:pt x="4872337" y="3660937"/>
                </a:lnTo>
                <a:lnTo>
                  <a:pt x="4889166" y="3653099"/>
                </a:lnTo>
                <a:lnTo>
                  <a:pt x="4923551" y="3638182"/>
                </a:lnTo>
                <a:lnTo>
                  <a:pt x="4938066" y="3630322"/>
                </a:lnTo>
                <a:lnTo>
                  <a:pt x="4946263" y="3626504"/>
                </a:lnTo>
                <a:lnTo>
                  <a:pt x="4960997" y="3617905"/>
                </a:lnTo>
                <a:lnTo>
                  <a:pt x="4990539" y="3601910"/>
                </a:lnTo>
                <a:lnTo>
                  <a:pt x="5007191" y="3590949"/>
                </a:lnTo>
                <a:lnTo>
                  <a:pt x="5016397" y="3585577"/>
                </a:lnTo>
                <a:lnTo>
                  <a:pt x="5028936" y="3576636"/>
                </a:lnTo>
                <a:lnTo>
                  <a:pt x="5053995" y="3560142"/>
                </a:lnTo>
                <a:lnTo>
                  <a:pt x="5072432" y="3545621"/>
                </a:lnTo>
                <a:lnTo>
                  <a:pt x="5082370" y="3538535"/>
                </a:lnTo>
                <a:lnTo>
                  <a:pt x="5092737" y="3529630"/>
                </a:lnTo>
                <a:lnTo>
                  <a:pt x="5113615" y="3513186"/>
                </a:lnTo>
                <a:lnTo>
                  <a:pt x="5133448" y="3494657"/>
                </a:lnTo>
                <a:lnTo>
                  <a:pt x="5143812" y="3485754"/>
                </a:lnTo>
                <a:lnTo>
                  <a:pt x="5152102" y="3477230"/>
                </a:lnTo>
                <a:lnTo>
                  <a:pt x="5169095" y="3461355"/>
                </a:lnTo>
                <a:lnTo>
                  <a:pt x="5189909" y="3438356"/>
                </a:lnTo>
                <a:lnTo>
                  <a:pt x="5200355" y="3427614"/>
                </a:lnTo>
                <a:lnTo>
                  <a:pt x="5206717" y="3419781"/>
                </a:lnTo>
                <a:lnTo>
                  <a:pt x="5220131" y="3404959"/>
                </a:lnTo>
                <a:lnTo>
                  <a:pt x="5241486" y="3376975"/>
                </a:lnTo>
                <a:lnTo>
                  <a:pt x="5251629" y="3364490"/>
                </a:lnTo>
                <a:lnTo>
                  <a:pt x="5256249" y="3357632"/>
                </a:lnTo>
                <a:lnTo>
                  <a:pt x="5266418" y="3344309"/>
                </a:lnTo>
                <a:lnTo>
                  <a:pt x="5287884" y="3310683"/>
                </a:lnTo>
                <a:lnTo>
                  <a:pt x="5297265" y="3296759"/>
                </a:lnTo>
                <a:lnTo>
                  <a:pt x="5300364" y="3291135"/>
                </a:lnTo>
                <a:lnTo>
                  <a:pt x="5307652" y="3279716"/>
                </a:lnTo>
                <a:lnTo>
                  <a:pt x="5328841" y="3239424"/>
                </a:lnTo>
                <a:lnTo>
                  <a:pt x="5336893" y="3224802"/>
                </a:lnTo>
                <a:lnTo>
                  <a:pt x="5338719" y="3220638"/>
                </a:lnTo>
                <a:lnTo>
                  <a:pt x="5343530" y="3211490"/>
                </a:lnTo>
                <a:lnTo>
                  <a:pt x="5364233" y="3162469"/>
                </a:lnTo>
                <a:lnTo>
                  <a:pt x="5370144" y="3148994"/>
                </a:lnTo>
                <a:lnTo>
                  <a:pt x="5370977" y="3146500"/>
                </a:lnTo>
                <a:lnTo>
                  <a:pt x="5373748" y="3139941"/>
                </a:lnTo>
                <a:lnTo>
                  <a:pt x="5394531" y="3076045"/>
                </a:lnTo>
                <a:lnTo>
                  <a:pt x="5396648" y="3069712"/>
                </a:lnTo>
                <a:lnTo>
                  <a:pt x="5396798" y="3069075"/>
                </a:lnTo>
                <a:lnTo>
                  <a:pt x="5397999" y="3065384"/>
                </a:lnTo>
                <a:cubicBezTo>
                  <a:pt x="5412111" y="3014743"/>
                  <a:pt x="5422044" y="2962304"/>
                  <a:pt x="5427392" y="2908479"/>
                </a:cubicBezTo>
                <a:lnTo>
                  <a:pt x="5427567" y="2904915"/>
                </a:lnTo>
                <a:lnTo>
                  <a:pt x="5427942" y="2902239"/>
                </a:lnTo>
                <a:lnTo>
                  <a:pt x="5429984" y="2858141"/>
                </a:lnTo>
                <a:lnTo>
                  <a:pt x="5431992" y="2858141"/>
                </a:lnTo>
                <a:lnTo>
                  <a:pt x="5431992" y="2815358"/>
                </a:lnTo>
                <a:lnTo>
                  <a:pt x="5431992" y="2815349"/>
                </a:lnTo>
                <a:lnTo>
                  <a:pt x="5431992" y="2815340"/>
                </a:lnTo>
                <a:lnTo>
                  <a:pt x="5431992" y="2814803"/>
                </a:lnTo>
                <a:lnTo>
                  <a:pt x="5431992" y="2806157"/>
                </a:lnTo>
                <a:lnTo>
                  <a:pt x="5431992" y="2439693"/>
                </a:lnTo>
                <a:lnTo>
                  <a:pt x="5431992" y="2396910"/>
                </a:lnTo>
                <a:lnTo>
                  <a:pt x="5431992" y="2396901"/>
                </a:lnTo>
                <a:lnTo>
                  <a:pt x="5431992" y="2396892"/>
                </a:lnTo>
                <a:lnTo>
                  <a:pt x="5431992" y="2396355"/>
                </a:lnTo>
                <a:lnTo>
                  <a:pt x="5431992" y="2387709"/>
                </a:lnTo>
                <a:lnTo>
                  <a:pt x="5431992" y="2251532"/>
                </a:lnTo>
                <a:lnTo>
                  <a:pt x="5431992" y="1894207"/>
                </a:lnTo>
                <a:lnTo>
                  <a:pt x="5431992" y="1833084"/>
                </a:lnTo>
                <a:lnTo>
                  <a:pt x="5431992" y="1475759"/>
                </a:lnTo>
                <a:lnTo>
                  <a:pt x="5431992" y="1330390"/>
                </a:lnTo>
                <a:lnTo>
                  <a:pt x="5431992" y="911942"/>
                </a:lnTo>
                <a:lnTo>
                  <a:pt x="5431992" y="418448"/>
                </a:lnTo>
                <a:lnTo>
                  <a:pt x="5431992" y="0"/>
                </a:lnTo>
                <a:lnTo>
                  <a:pt x="4587827" y="0"/>
                </a:lnTo>
                <a:lnTo>
                  <a:pt x="4540602" y="0"/>
                </a:lnTo>
                <a:lnTo>
                  <a:pt x="3646314" y="0"/>
                </a:lnTo>
                <a:lnTo>
                  <a:pt x="3060170" y="0"/>
                </a:lnTo>
                <a:lnTo>
                  <a:pt x="2802149" y="0"/>
                </a:lnTo>
                <a:lnTo>
                  <a:pt x="2754924" y="0"/>
                </a:lnTo>
                <a:lnTo>
                  <a:pt x="2677069" y="0"/>
                </a:lnTo>
                <a:lnTo>
                  <a:pt x="1274492" y="0"/>
                </a:lnTo>
                <a:lnTo>
                  <a:pt x="891391" y="0"/>
                </a:lnTo>
                <a:lnTo>
                  <a:pt x="891391" y="1089"/>
                </a:lnTo>
                <a:lnTo>
                  <a:pt x="891390" y="1089"/>
                </a:lnTo>
                <a:lnTo>
                  <a:pt x="891124" y="1089"/>
                </a:lnTo>
                <a:lnTo>
                  <a:pt x="879689" y="1089"/>
                </a:lnTo>
                <a:lnTo>
                  <a:pt x="844165" y="1089"/>
                </a:lnTo>
                <a:lnTo>
                  <a:pt x="844165" y="3362"/>
                </a:lnTo>
                <a:lnTo>
                  <a:pt x="805634" y="5226"/>
                </a:lnTo>
                <a:lnTo>
                  <a:pt x="802321" y="5701"/>
                </a:lnTo>
                <a:lnTo>
                  <a:pt x="800491" y="5795"/>
                </a:lnTo>
                <a:lnTo>
                  <a:pt x="783113" y="8449"/>
                </a:lnTo>
                <a:lnTo>
                  <a:pt x="727559" y="16399"/>
                </a:lnTo>
                <a:lnTo>
                  <a:pt x="721169" y="17910"/>
                </a:lnTo>
                <a:lnTo>
                  <a:pt x="717406" y="18484"/>
                </a:lnTo>
                <a:lnTo>
                  <a:pt x="697980" y="23394"/>
                </a:lnTo>
                <a:lnTo>
                  <a:pt x="651798" y="34313"/>
                </a:lnTo>
                <a:lnTo>
                  <a:pt x="642455" y="37423"/>
                </a:lnTo>
                <a:lnTo>
                  <a:pt x="637004" y="38800"/>
                </a:lnTo>
                <a:lnTo>
                  <a:pt x="618418" y="45422"/>
                </a:lnTo>
                <a:lnTo>
                  <a:pt x="578659" y="58657"/>
                </a:lnTo>
                <a:lnTo>
                  <a:pt x="566594" y="63891"/>
                </a:lnTo>
                <a:lnTo>
                  <a:pt x="559656" y="66364"/>
                </a:lnTo>
                <a:lnTo>
                  <a:pt x="542827" y="74202"/>
                </a:lnTo>
                <a:lnTo>
                  <a:pt x="508443" y="89119"/>
                </a:lnTo>
                <a:lnTo>
                  <a:pt x="493927" y="96979"/>
                </a:lnTo>
                <a:lnTo>
                  <a:pt x="485730" y="100797"/>
                </a:lnTo>
                <a:lnTo>
                  <a:pt x="470995" y="109396"/>
                </a:lnTo>
                <a:lnTo>
                  <a:pt x="441454" y="125391"/>
                </a:lnTo>
                <a:lnTo>
                  <a:pt x="424802" y="136352"/>
                </a:lnTo>
                <a:lnTo>
                  <a:pt x="415596" y="141724"/>
                </a:lnTo>
                <a:lnTo>
                  <a:pt x="403056" y="150665"/>
                </a:lnTo>
                <a:lnTo>
                  <a:pt x="377997" y="167159"/>
                </a:lnTo>
                <a:lnTo>
                  <a:pt x="359561" y="181680"/>
                </a:lnTo>
                <a:lnTo>
                  <a:pt x="349622" y="188766"/>
                </a:lnTo>
                <a:lnTo>
                  <a:pt x="339257" y="197671"/>
                </a:lnTo>
                <a:lnTo>
                  <a:pt x="318377" y="214115"/>
                </a:lnTo>
                <a:lnTo>
                  <a:pt x="298544" y="232644"/>
                </a:lnTo>
                <a:lnTo>
                  <a:pt x="288180" y="241547"/>
                </a:lnTo>
                <a:lnTo>
                  <a:pt x="279890" y="250071"/>
                </a:lnTo>
                <a:lnTo>
                  <a:pt x="262898" y="265946"/>
                </a:lnTo>
                <a:lnTo>
                  <a:pt x="242085" y="288944"/>
                </a:lnTo>
                <a:lnTo>
                  <a:pt x="231637" y="299687"/>
                </a:lnTo>
                <a:lnTo>
                  <a:pt x="225275" y="307520"/>
                </a:lnTo>
                <a:lnTo>
                  <a:pt x="211862" y="322342"/>
                </a:lnTo>
                <a:lnTo>
                  <a:pt x="190506" y="350326"/>
                </a:lnTo>
                <a:lnTo>
                  <a:pt x="180363" y="362811"/>
                </a:lnTo>
                <a:lnTo>
                  <a:pt x="175743" y="369669"/>
                </a:lnTo>
                <a:lnTo>
                  <a:pt x="165574" y="382992"/>
                </a:lnTo>
                <a:lnTo>
                  <a:pt x="144110" y="416618"/>
                </a:lnTo>
                <a:lnTo>
                  <a:pt x="134728" y="430542"/>
                </a:lnTo>
                <a:lnTo>
                  <a:pt x="131630" y="436167"/>
                </a:lnTo>
                <a:lnTo>
                  <a:pt x="124340" y="447585"/>
                </a:lnTo>
                <a:lnTo>
                  <a:pt x="103153" y="487877"/>
                </a:lnTo>
                <a:lnTo>
                  <a:pt x="95100" y="502499"/>
                </a:lnTo>
                <a:lnTo>
                  <a:pt x="93274" y="506663"/>
                </a:lnTo>
                <a:lnTo>
                  <a:pt x="88463" y="515811"/>
                </a:lnTo>
                <a:lnTo>
                  <a:pt x="67759" y="564832"/>
                </a:lnTo>
                <a:lnTo>
                  <a:pt x="61850" y="578307"/>
                </a:lnTo>
                <a:lnTo>
                  <a:pt x="61016" y="580801"/>
                </a:lnTo>
                <a:lnTo>
                  <a:pt x="58246" y="587360"/>
                </a:lnTo>
                <a:lnTo>
                  <a:pt x="37462" y="651256"/>
                </a:lnTo>
                <a:lnTo>
                  <a:pt x="35344" y="657589"/>
                </a:lnTo>
                <a:lnTo>
                  <a:pt x="35195" y="658226"/>
                </a:lnTo>
                <a:lnTo>
                  <a:pt x="33994" y="661917"/>
                </a:lnTo>
                <a:cubicBezTo>
                  <a:pt x="19882" y="712558"/>
                  <a:pt x="9949" y="764997"/>
                  <a:pt x="4602" y="818822"/>
                </a:cubicBezTo>
                <a:lnTo>
                  <a:pt x="4426" y="822387"/>
                </a:lnTo>
                <a:lnTo>
                  <a:pt x="4051" y="825062"/>
                </a:lnTo>
                <a:lnTo>
                  <a:pt x="2008" y="869160"/>
                </a:lnTo>
                <a:lnTo>
                  <a:pt x="1" y="869160"/>
                </a:lnTo>
                <a:lnTo>
                  <a:pt x="1" y="911944"/>
                </a:lnTo>
                <a:lnTo>
                  <a:pt x="0" y="911952"/>
                </a:lnTo>
                <a:lnTo>
                  <a:pt x="1" y="911961"/>
                </a:lnTo>
                <a:lnTo>
                  <a:pt x="1" y="912498"/>
                </a:lnTo>
                <a:lnTo>
                  <a:pt x="1" y="921144"/>
                </a:lnTo>
                <a:lnTo>
                  <a:pt x="0" y="921144"/>
                </a:lnTo>
                <a:lnTo>
                  <a:pt x="0" y="1330400"/>
                </a:lnTo>
                <a:lnTo>
                  <a:pt x="0" y="1339592"/>
                </a:lnTo>
                <a:lnTo>
                  <a:pt x="0" y="1475768"/>
                </a:lnTo>
                <a:lnTo>
                  <a:pt x="0" y="1475769"/>
                </a:lnTo>
                <a:lnTo>
                  <a:pt x="0" y="1475770"/>
                </a:lnTo>
                <a:lnTo>
                  <a:pt x="0" y="1833095"/>
                </a:lnTo>
                <a:lnTo>
                  <a:pt x="0" y="1894216"/>
                </a:lnTo>
                <a:lnTo>
                  <a:pt x="0" y="1894217"/>
                </a:lnTo>
                <a:lnTo>
                  <a:pt x="0" y="1894218"/>
                </a:lnTo>
                <a:lnTo>
                  <a:pt x="0" y="2251543"/>
                </a:lnTo>
                <a:lnTo>
                  <a:pt x="0" y="2396911"/>
                </a:lnTo>
                <a:lnTo>
                  <a:pt x="0" y="2815359"/>
                </a:lnTo>
                <a:lnTo>
                  <a:pt x="0" y="3308853"/>
                </a:lnTo>
                <a:close/>
              </a:path>
            </a:pathLst>
          </a:custGeom>
          <a:solidFill>
            <a:srgbClr val="1D316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CAFE9BDD-42DE-304E-AC74-19B57769594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5912807" y="831295"/>
            <a:ext cx="686301" cy="693809"/>
          </a:xfrm>
          <a:prstGeom prst="rect">
            <a:avLst/>
          </a:prstGeom>
        </p:spPr>
      </p:pic>
      <p:sp>
        <p:nvSpPr>
          <p:cNvPr id="19" name="Freeform: Shape 90">
            <a:extLst>
              <a:ext uri="{FF2B5EF4-FFF2-40B4-BE49-F238E27FC236}">
                <a16:creationId xmlns:a16="http://schemas.microsoft.com/office/drawing/2014/main" id="{5AA12142-B01B-3049-9CD8-74BA2CBF2DAD}"/>
              </a:ext>
            </a:extLst>
          </p:cNvPr>
          <p:cNvSpPr/>
          <p:nvPr/>
        </p:nvSpPr>
        <p:spPr>
          <a:xfrm>
            <a:off x="6668047" y="920318"/>
            <a:ext cx="3225573" cy="601998"/>
          </a:xfrm>
          <a:custGeom>
            <a:avLst/>
            <a:gdLst>
              <a:gd name="connsiteX0" fmla="*/ 325384 w 4047850"/>
              <a:gd name="connsiteY0" fmla="*/ 0 h 651348"/>
              <a:gd name="connsiteX1" fmla="*/ 593248 w 4047850"/>
              <a:gd name="connsiteY1" fmla="*/ 0 h 651348"/>
              <a:gd name="connsiteX2" fmla="*/ 1005630 w 4047850"/>
              <a:gd name="connsiteY2" fmla="*/ 0 h 651348"/>
              <a:gd name="connsiteX3" fmla="*/ 1022869 w 4047850"/>
              <a:gd name="connsiteY3" fmla="*/ 0 h 651348"/>
              <a:gd name="connsiteX4" fmla="*/ 3042220 w 4047850"/>
              <a:gd name="connsiteY4" fmla="*/ 0 h 651348"/>
              <a:gd name="connsiteX5" fmla="*/ 3394765 w 4047850"/>
              <a:gd name="connsiteY5" fmla="*/ 0 h 651348"/>
              <a:gd name="connsiteX6" fmla="*/ 3722465 w 4047850"/>
              <a:gd name="connsiteY6" fmla="*/ 0 h 651348"/>
              <a:gd name="connsiteX7" fmla="*/ 3739704 w 4047850"/>
              <a:gd name="connsiteY7" fmla="*/ 0 h 651348"/>
              <a:gd name="connsiteX8" fmla="*/ 3739704 w 4047850"/>
              <a:gd name="connsiteY8" fmla="*/ 385 h 651348"/>
              <a:gd name="connsiteX9" fmla="*/ 4047850 w 4047850"/>
              <a:gd name="connsiteY9" fmla="*/ 385 h 651348"/>
              <a:gd name="connsiteX10" fmla="*/ 4047850 w 4047850"/>
              <a:gd name="connsiteY10" fmla="*/ 325477 h 651348"/>
              <a:gd name="connsiteX11" fmla="*/ 4047850 w 4047850"/>
              <a:gd name="connsiteY11" fmla="*/ 325669 h 651348"/>
              <a:gd name="connsiteX12" fmla="*/ 4047850 w 4047850"/>
              <a:gd name="connsiteY12" fmla="*/ 325672 h 651348"/>
              <a:gd name="connsiteX13" fmla="*/ 4047850 w 4047850"/>
              <a:gd name="connsiteY13" fmla="*/ 325675 h 651348"/>
              <a:gd name="connsiteX14" fmla="*/ 4047850 w 4047850"/>
              <a:gd name="connsiteY14" fmla="*/ 340954 h 651348"/>
              <a:gd name="connsiteX15" fmla="*/ 4047117 w 4047850"/>
              <a:gd name="connsiteY15" fmla="*/ 340954 h 651348"/>
              <a:gd name="connsiteX16" fmla="*/ 4046371 w 4047850"/>
              <a:gd name="connsiteY16" fmla="*/ 356703 h 651348"/>
              <a:gd name="connsiteX17" fmla="*/ 4046235 w 4047850"/>
              <a:gd name="connsiteY17" fmla="*/ 357658 h 651348"/>
              <a:gd name="connsiteX18" fmla="*/ 4046171 w 4047850"/>
              <a:gd name="connsiteY18" fmla="*/ 358931 h 651348"/>
              <a:gd name="connsiteX19" fmla="*/ 4035441 w 4047850"/>
              <a:gd name="connsiteY19" fmla="*/ 414965 h 651348"/>
              <a:gd name="connsiteX20" fmla="*/ 4035003 w 4047850"/>
              <a:gd name="connsiteY20" fmla="*/ 416283 h 651348"/>
              <a:gd name="connsiteX21" fmla="*/ 4034948 w 4047850"/>
              <a:gd name="connsiteY21" fmla="*/ 416510 h 651348"/>
              <a:gd name="connsiteX22" fmla="*/ 4034176 w 4047850"/>
              <a:gd name="connsiteY22" fmla="*/ 418772 h 651348"/>
              <a:gd name="connsiteX23" fmla="*/ 4026589 w 4047850"/>
              <a:gd name="connsiteY23" fmla="*/ 441591 h 651348"/>
              <a:gd name="connsiteX24" fmla="*/ 4025578 w 4047850"/>
              <a:gd name="connsiteY24" fmla="*/ 443933 h 651348"/>
              <a:gd name="connsiteX25" fmla="*/ 4025273 w 4047850"/>
              <a:gd name="connsiteY25" fmla="*/ 444823 h 651348"/>
              <a:gd name="connsiteX26" fmla="*/ 4023116 w 4047850"/>
              <a:gd name="connsiteY26" fmla="*/ 449636 h 651348"/>
              <a:gd name="connsiteX27" fmla="*/ 4015559 w 4047850"/>
              <a:gd name="connsiteY27" fmla="*/ 467142 h 651348"/>
              <a:gd name="connsiteX28" fmla="*/ 4013802 w 4047850"/>
              <a:gd name="connsiteY28" fmla="*/ 470409 h 651348"/>
              <a:gd name="connsiteX29" fmla="*/ 4013136 w 4047850"/>
              <a:gd name="connsiteY29" fmla="*/ 471896 h 651348"/>
              <a:gd name="connsiteX30" fmla="*/ 4010197 w 4047850"/>
              <a:gd name="connsiteY30" fmla="*/ 477118 h 651348"/>
              <a:gd name="connsiteX31" fmla="*/ 4002462 w 4047850"/>
              <a:gd name="connsiteY31" fmla="*/ 491507 h 651348"/>
              <a:gd name="connsiteX32" fmla="*/ 3999801 w 4047850"/>
              <a:gd name="connsiteY32" fmla="*/ 495585 h 651348"/>
              <a:gd name="connsiteX33" fmla="*/ 3998671 w 4047850"/>
              <a:gd name="connsiteY33" fmla="*/ 497594 h 651348"/>
              <a:gd name="connsiteX34" fmla="*/ 3995246 w 4047850"/>
              <a:gd name="connsiteY34" fmla="*/ 502566 h 651348"/>
              <a:gd name="connsiteX35" fmla="*/ 3987410 w 4047850"/>
              <a:gd name="connsiteY35" fmla="*/ 514574 h 651348"/>
              <a:gd name="connsiteX36" fmla="*/ 3983699 w 4047850"/>
              <a:gd name="connsiteY36" fmla="*/ 519333 h 651348"/>
              <a:gd name="connsiteX37" fmla="*/ 3982012 w 4047850"/>
              <a:gd name="connsiteY37" fmla="*/ 521781 h 651348"/>
              <a:gd name="connsiteX38" fmla="*/ 3978310 w 4047850"/>
              <a:gd name="connsiteY38" fmla="*/ 526240 h 651348"/>
              <a:gd name="connsiteX39" fmla="*/ 3970514 w 4047850"/>
              <a:gd name="connsiteY39" fmla="*/ 536234 h 651348"/>
              <a:gd name="connsiteX40" fmla="*/ 3965618 w 4047850"/>
              <a:gd name="connsiteY40" fmla="*/ 541527 h 651348"/>
              <a:gd name="connsiteX41" fmla="*/ 3963295 w 4047850"/>
              <a:gd name="connsiteY41" fmla="*/ 544324 h 651348"/>
              <a:gd name="connsiteX42" fmla="*/ 3959482 w 4047850"/>
              <a:gd name="connsiteY42" fmla="*/ 548161 h 651348"/>
              <a:gd name="connsiteX43" fmla="*/ 3951885 w 4047850"/>
              <a:gd name="connsiteY43" fmla="*/ 556374 h 651348"/>
              <a:gd name="connsiteX44" fmla="*/ 3945682 w 4047850"/>
              <a:gd name="connsiteY44" fmla="*/ 562043 h 651348"/>
              <a:gd name="connsiteX45" fmla="*/ 3942656 w 4047850"/>
              <a:gd name="connsiteY45" fmla="*/ 565087 h 651348"/>
              <a:gd name="connsiteX46" fmla="*/ 3938872 w 4047850"/>
              <a:gd name="connsiteY46" fmla="*/ 568267 h 651348"/>
              <a:gd name="connsiteX47" fmla="*/ 3931633 w 4047850"/>
              <a:gd name="connsiteY47" fmla="*/ 574884 h 651348"/>
              <a:gd name="connsiteX48" fmla="*/ 3924011 w 4047850"/>
              <a:gd name="connsiteY48" fmla="*/ 580756 h 651348"/>
              <a:gd name="connsiteX49" fmla="*/ 3920227 w 4047850"/>
              <a:gd name="connsiteY49" fmla="*/ 583936 h 651348"/>
              <a:gd name="connsiteX50" fmla="*/ 3916599 w 4047850"/>
              <a:gd name="connsiteY50" fmla="*/ 586467 h 651348"/>
              <a:gd name="connsiteX51" fmla="*/ 3909870 w 4047850"/>
              <a:gd name="connsiteY51" fmla="*/ 591652 h 651348"/>
              <a:gd name="connsiteX52" fmla="*/ 3900723 w 4047850"/>
              <a:gd name="connsiteY52" fmla="*/ 597543 h 651348"/>
              <a:gd name="connsiteX53" fmla="*/ 3896145 w 4047850"/>
              <a:gd name="connsiteY53" fmla="*/ 600736 h 651348"/>
              <a:gd name="connsiteX54" fmla="*/ 3892785 w 4047850"/>
              <a:gd name="connsiteY54" fmla="*/ 602655 h 651348"/>
              <a:gd name="connsiteX55" fmla="*/ 3886706 w 4047850"/>
              <a:gd name="connsiteY55" fmla="*/ 606569 h 651348"/>
              <a:gd name="connsiteX56" fmla="*/ 3875923 w 4047850"/>
              <a:gd name="connsiteY56" fmla="*/ 612281 h 651348"/>
              <a:gd name="connsiteX57" fmla="*/ 3870544 w 4047850"/>
              <a:gd name="connsiteY57" fmla="*/ 615352 h 651348"/>
              <a:gd name="connsiteX58" fmla="*/ 3867552 w 4047850"/>
              <a:gd name="connsiteY58" fmla="*/ 616715 h 651348"/>
              <a:gd name="connsiteX59" fmla="*/ 3862253 w 4047850"/>
              <a:gd name="connsiteY59" fmla="*/ 619522 h 651348"/>
              <a:gd name="connsiteX60" fmla="*/ 3849702 w 4047850"/>
              <a:gd name="connsiteY60" fmla="*/ 624849 h 651348"/>
              <a:gd name="connsiteX61" fmla="*/ 3843559 w 4047850"/>
              <a:gd name="connsiteY61" fmla="*/ 627649 h 651348"/>
              <a:gd name="connsiteX62" fmla="*/ 3841026 w 4047850"/>
              <a:gd name="connsiteY62" fmla="*/ 628532 h 651348"/>
              <a:gd name="connsiteX63" fmla="*/ 3836622 w 4047850"/>
              <a:gd name="connsiteY63" fmla="*/ 630401 h 651348"/>
              <a:gd name="connsiteX64" fmla="*/ 3822109 w 4047850"/>
              <a:gd name="connsiteY64" fmla="*/ 635127 h 651348"/>
              <a:gd name="connsiteX65" fmla="*/ 3815324 w 4047850"/>
              <a:gd name="connsiteY65" fmla="*/ 637492 h 651348"/>
              <a:gd name="connsiteX66" fmla="*/ 3813334 w 4047850"/>
              <a:gd name="connsiteY66" fmla="*/ 637984 h 651348"/>
              <a:gd name="connsiteX67" fmla="*/ 3809924 w 4047850"/>
              <a:gd name="connsiteY67" fmla="*/ 639095 h 651348"/>
              <a:gd name="connsiteX68" fmla="*/ 3793067 w 4047850"/>
              <a:gd name="connsiteY68" fmla="*/ 642994 h 651348"/>
              <a:gd name="connsiteX69" fmla="*/ 3785975 w 4047850"/>
              <a:gd name="connsiteY69" fmla="*/ 644747 h 651348"/>
              <a:gd name="connsiteX70" fmla="*/ 3784601 w 4047850"/>
              <a:gd name="connsiteY70" fmla="*/ 644952 h 651348"/>
              <a:gd name="connsiteX71" fmla="*/ 3782269 w 4047850"/>
              <a:gd name="connsiteY71" fmla="*/ 645492 h 651348"/>
              <a:gd name="connsiteX72" fmla="*/ 3761990 w 4047850"/>
              <a:gd name="connsiteY72" fmla="*/ 648331 h 651348"/>
              <a:gd name="connsiteX73" fmla="*/ 3755647 w 4047850"/>
              <a:gd name="connsiteY73" fmla="*/ 649279 h 651348"/>
              <a:gd name="connsiteX74" fmla="*/ 3754979 w 4047850"/>
              <a:gd name="connsiteY74" fmla="*/ 649313 h 651348"/>
              <a:gd name="connsiteX75" fmla="*/ 3753769 w 4047850"/>
              <a:gd name="connsiteY75" fmla="*/ 649482 h 651348"/>
              <a:gd name="connsiteX76" fmla="*/ 3739704 w 4047850"/>
              <a:gd name="connsiteY76" fmla="*/ 650148 h 651348"/>
              <a:gd name="connsiteX77" fmla="*/ 3739704 w 4047850"/>
              <a:gd name="connsiteY77" fmla="*/ 650959 h 651348"/>
              <a:gd name="connsiteX78" fmla="*/ 3726737 w 4047850"/>
              <a:gd name="connsiteY78" fmla="*/ 650959 h 651348"/>
              <a:gd name="connsiteX79" fmla="*/ 3722563 w 4047850"/>
              <a:gd name="connsiteY79" fmla="*/ 650959 h 651348"/>
              <a:gd name="connsiteX80" fmla="*/ 3722465 w 4047850"/>
              <a:gd name="connsiteY80" fmla="*/ 650959 h 651348"/>
              <a:gd name="connsiteX81" fmla="*/ 3722465 w 4047850"/>
              <a:gd name="connsiteY81" fmla="*/ 651348 h 651348"/>
              <a:gd name="connsiteX82" fmla="*/ 3394765 w 4047850"/>
              <a:gd name="connsiteY82" fmla="*/ 651348 h 651348"/>
              <a:gd name="connsiteX83" fmla="*/ 3042220 w 4047850"/>
              <a:gd name="connsiteY83" fmla="*/ 651348 h 651348"/>
              <a:gd name="connsiteX84" fmla="*/ 3024981 w 4047850"/>
              <a:gd name="connsiteY84" fmla="*/ 651348 h 651348"/>
              <a:gd name="connsiteX85" fmla="*/ 1005630 w 4047850"/>
              <a:gd name="connsiteY85" fmla="*/ 651348 h 651348"/>
              <a:gd name="connsiteX86" fmla="*/ 593248 w 4047850"/>
              <a:gd name="connsiteY86" fmla="*/ 651348 h 651348"/>
              <a:gd name="connsiteX87" fmla="*/ 325384 w 4047850"/>
              <a:gd name="connsiteY87" fmla="*/ 651348 h 651348"/>
              <a:gd name="connsiteX88" fmla="*/ 308146 w 4047850"/>
              <a:gd name="connsiteY88" fmla="*/ 651348 h 651348"/>
              <a:gd name="connsiteX89" fmla="*/ 308146 w 4047850"/>
              <a:gd name="connsiteY89" fmla="*/ 650963 h 651348"/>
              <a:gd name="connsiteX90" fmla="*/ 0 w 4047850"/>
              <a:gd name="connsiteY90" fmla="*/ 650963 h 651348"/>
              <a:gd name="connsiteX91" fmla="*/ 0 w 4047850"/>
              <a:gd name="connsiteY91" fmla="*/ 325871 h 651348"/>
              <a:gd name="connsiteX92" fmla="*/ 0 w 4047850"/>
              <a:gd name="connsiteY92" fmla="*/ 325679 h 651348"/>
              <a:gd name="connsiteX93" fmla="*/ 0 w 4047850"/>
              <a:gd name="connsiteY93" fmla="*/ 325676 h 651348"/>
              <a:gd name="connsiteX94" fmla="*/ 0 w 4047850"/>
              <a:gd name="connsiteY94" fmla="*/ 325673 h 651348"/>
              <a:gd name="connsiteX95" fmla="*/ 0 w 4047850"/>
              <a:gd name="connsiteY95" fmla="*/ 310394 h 651348"/>
              <a:gd name="connsiteX96" fmla="*/ 733 w 4047850"/>
              <a:gd name="connsiteY96" fmla="*/ 310394 h 651348"/>
              <a:gd name="connsiteX97" fmla="*/ 1478 w 4047850"/>
              <a:gd name="connsiteY97" fmla="*/ 294646 h 651348"/>
              <a:gd name="connsiteX98" fmla="*/ 1615 w 4047850"/>
              <a:gd name="connsiteY98" fmla="*/ 293690 h 651348"/>
              <a:gd name="connsiteX99" fmla="*/ 1679 w 4047850"/>
              <a:gd name="connsiteY99" fmla="*/ 292417 h 651348"/>
              <a:gd name="connsiteX100" fmla="*/ 12408 w 4047850"/>
              <a:gd name="connsiteY100" fmla="*/ 236384 h 651348"/>
              <a:gd name="connsiteX101" fmla="*/ 12847 w 4047850"/>
              <a:gd name="connsiteY101" fmla="*/ 235065 h 651348"/>
              <a:gd name="connsiteX102" fmla="*/ 12901 w 4047850"/>
              <a:gd name="connsiteY102" fmla="*/ 234838 h 651348"/>
              <a:gd name="connsiteX103" fmla="*/ 13674 w 4047850"/>
              <a:gd name="connsiteY103" fmla="*/ 232576 h 651348"/>
              <a:gd name="connsiteX104" fmla="*/ 21261 w 4047850"/>
              <a:gd name="connsiteY104" fmla="*/ 209757 h 651348"/>
              <a:gd name="connsiteX105" fmla="*/ 22272 w 4047850"/>
              <a:gd name="connsiteY105" fmla="*/ 207415 h 651348"/>
              <a:gd name="connsiteX106" fmla="*/ 22576 w 4047850"/>
              <a:gd name="connsiteY106" fmla="*/ 206525 h 651348"/>
              <a:gd name="connsiteX107" fmla="*/ 24734 w 4047850"/>
              <a:gd name="connsiteY107" fmla="*/ 201713 h 651348"/>
              <a:gd name="connsiteX108" fmla="*/ 32291 w 4047850"/>
              <a:gd name="connsiteY108" fmla="*/ 184206 h 651348"/>
              <a:gd name="connsiteX109" fmla="*/ 34047 w 4047850"/>
              <a:gd name="connsiteY109" fmla="*/ 180939 h 651348"/>
              <a:gd name="connsiteX110" fmla="*/ 34714 w 4047850"/>
              <a:gd name="connsiteY110" fmla="*/ 179452 h 651348"/>
              <a:gd name="connsiteX111" fmla="*/ 37653 w 4047850"/>
              <a:gd name="connsiteY111" fmla="*/ 174231 h 651348"/>
              <a:gd name="connsiteX112" fmla="*/ 45388 w 4047850"/>
              <a:gd name="connsiteY112" fmla="*/ 159842 h 651348"/>
              <a:gd name="connsiteX113" fmla="*/ 48048 w 4047850"/>
              <a:gd name="connsiteY113" fmla="*/ 155764 h 651348"/>
              <a:gd name="connsiteX114" fmla="*/ 49179 w 4047850"/>
              <a:gd name="connsiteY114" fmla="*/ 153755 h 651348"/>
              <a:gd name="connsiteX115" fmla="*/ 52604 w 4047850"/>
              <a:gd name="connsiteY115" fmla="*/ 148783 h 651348"/>
              <a:gd name="connsiteX116" fmla="*/ 60439 w 4047850"/>
              <a:gd name="connsiteY116" fmla="*/ 136774 h 651348"/>
              <a:gd name="connsiteX117" fmla="*/ 64151 w 4047850"/>
              <a:gd name="connsiteY117" fmla="*/ 132016 h 651348"/>
              <a:gd name="connsiteX118" fmla="*/ 65838 w 4047850"/>
              <a:gd name="connsiteY118" fmla="*/ 129567 h 651348"/>
              <a:gd name="connsiteX119" fmla="*/ 69540 w 4047850"/>
              <a:gd name="connsiteY119" fmla="*/ 125108 h 651348"/>
              <a:gd name="connsiteX120" fmla="*/ 77336 w 4047850"/>
              <a:gd name="connsiteY120" fmla="*/ 115115 h 651348"/>
              <a:gd name="connsiteX121" fmla="*/ 82232 w 4047850"/>
              <a:gd name="connsiteY121" fmla="*/ 109821 h 651348"/>
              <a:gd name="connsiteX122" fmla="*/ 84554 w 4047850"/>
              <a:gd name="connsiteY122" fmla="*/ 107024 h 651348"/>
              <a:gd name="connsiteX123" fmla="*/ 88368 w 4047850"/>
              <a:gd name="connsiteY123" fmla="*/ 103188 h 651348"/>
              <a:gd name="connsiteX124" fmla="*/ 95965 w 4047850"/>
              <a:gd name="connsiteY124" fmla="*/ 94974 h 651348"/>
              <a:gd name="connsiteX125" fmla="*/ 102168 w 4047850"/>
              <a:gd name="connsiteY125" fmla="*/ 89305 h 651348"/>
              <a:gd name="connsiteX126" fmla="*/ 105194 w 4047850"/>
              <a:gd name="connsiteY126" fmla="*/ 86261 h 651348"/>
              <a:gd name="connsiteX127" fmla="*/ 108977 w 4047850"/>
              <a:gd name="connsiteY127" fmla="*/ 83081 h 651348"/>
              <a:gd name="connsiteX128" fmla="*/ 116217 w 4047850"/>
              <a:gd name="connsiteY128" fmla="*/ 76465 h 651348"/>
              <a:gd name="connsiteX129" fmla="*/ 123838 w 4047850"/>
              <a:gd name="connsiteY129" fmla="*/ 70592 h 651348"/>
              <a:gd name="connsiteX130" fmla="*/ 127623 w 4047850"/>
              <a:gd name="connsiteY130" fmla="*/ 67412 h 651348"/>
              <a:gd name="connsiteX131" fmla="*/ 131250 w 4047850"/>
              <a:gd name="connsiteY131" fmla="*/ 64881 h 651348"/>
              <a:gd name="connsiteX132" fmla="*/ 137980 w 4047850"/>
              <a:gd name="connsiteY132" fmla="*/ 59696 h 651348"/>
              <a:gd name="connsiteX133" fmla="*/ 147127 w 4047850"/>
              <a:gd name="connsiteY133" fmla="*/ 53805 h 651348"/>
              <a:gd name="connsiteX134" fmla="*/ 151705 w 4047850"/>
              <a:gd name="connsiteY134" fmla="*/ 50612 h 651348"/>
              <a:gd name="connsiteX135" fmla="*/ 155065 w 4047850"/>
              <a:gd name="connsiteY135" fmla="*/ 48694 h 651348"/>
              <a:gd name="connsiteX136" fmla="*/ 161144 w 4047850"/>
              <a:gd name="connsiteY136" fmla="*/ 44779 h 651348"/>
              <a:gd name="connsiteX137" fmla="*/ 171927 w 4047850"/>
              <a:gd name="connsiteY137" fmla="*/ 39067 h 651348"/>
              <a:gd name="connsiteX138" fmla="*/ 177306 w 4047850"/>
              <a:gd name="connsiteY138" fmla="*/ 35997 h 651348"/>
              <a:gd name="connsiteX139" fmla="*/ 180298 w 4047850"/>
              <a:gd name="connsiteY139" fmla="*/ 34633 h 651348"/>
              <a:gd name="connsiteX140" fmla="*/ 185596 w 4047850"/>
              <a:gd name="connsiteY140" fmla="*/ 31826 h 651348"/>
              <a:gd name="connsiteX141" fmla="*/ 198148 w 4047850"/>
              <a:gd name="connsiteY141" fmla="*/ 26499 h 651348"/>
              <a:gd name="connsiteX142" fmla="*/ 204291 w 4047850"/>
              <a:gd name="connsiteY142" fmla="*/ 23700 h 651348"/>
              <a:gd name="connsiteX143" fmla="*/ 206823 w 4047850"/>
              <a:gd name="connsiteY143" fmla="*/ 22817 h 651348"/>
              <a:gd name="connsiteX144" fmla="*/ 211228 w 4047850"/>
              <a:gd name="connsiteY144" fmla="*/ 20947 h 651348"/>
              <a:gd name="connsiteX145" fmla="*/ 225741 w 4047850"/>
              <a:gd name="connsiteY145" fmla="*/ 16221 h 651348"/>
              <a:gd name="connsiteX146" fmla="*/ 232526 w 4047850"/>
              <a:gd name="connsiteY146" fmla="*/ 13856 h 651348"/>
              <a:gd name="connsiteX147" fmla="*/ 234516 w 4047850"/>
              <a:gd name="connsiteY147" fmla="*/ 13364 h 651348"/>
              <a:gd name="connsiteX148" fmla="*/ 237926 w 4047850"/>
              <a:gd name="connsiteY148" fmla="*/ 12254 h 651348"/>
              <a:gd name="connsiteX149" fmla="*/ 254783 w 4047850"/>
              <a:gd name="connsiteY149" fmla="*/ 8354 h 651348"/>
              <a:gd name="connsiteX150" fmla="*/ 261875 w 4047850"/>
              <a:gd name="connsiteY150" fmla="*/ 6601 h 651348"/>
              <a:gd name="connsiteX151" fmla="*/ 263248 w 4047850"/>
              <a:gd name="connsiteY151" fmla="*/ 6396 h 651348"/>
              <a:gd name="connsiteX152" fmla="*/ 265581 w 4047850"/>
              <a:gd name="connsiteY152" fmla="*/ 5856 h 651348"/>
              <a:gd name="connsiteX153" fmla="*/ 285860 w 4047850"/>
              <a:gd name="connsiteY153" fmla="*/ 3017 h 651348"/>
              <a:gd name="connsiteX154" fmla="*/ 292203 w 4047850"/>
              <a:gd name="connsiteY154" fmla="*/ 2069 h 651348"/>
              <a:gd name="connsiteX155" fmla="*/ 292871 w 4047850"/>
              <a:gd name="connsiteY155" fmla="*/ 2036 h 651348"/>
              <a:gd name="connsiteX156" fmla="*/ 294080 w 4047850"/>
              <a:gd name="connsiteY156" fmla="*/ 1866 h 651348"/>
              <a:gd name="connsiteX157" fmla="*/ 308146 w 4047850"/>
              <a:gd name="connsiteY157" fmla="*/ 1201 h 651348"/>
              <a:gd name="connsiteX158" fmla="*/ 308146 w 4047850"/>
              <a:gd name="connsiteY158" fmla="*/ 389 h 651348"/>
              <a:gd name="connsiteX159" fmla="*/ 321113 w 4047850"/>
              <a:gd name="connsiteY159" fmla="*/ 389 h 651348"/>
              <a:gd name="connsiteX160" fmla="*/ 325287 w 4047850"/>
              <a:gd name="connsiteY160" fmla="*/ 389 h 651348"/>
              <a:gd name="connsiteX161" fmla="*/ 325384 w 4047850"/>
              <a:gd name="connsiteY161" fmla="*/ 389 h 651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4047850" h="651348">
                <a:moveTo>
                  <a:pt x="325384" y="0"/>
                </a:moveTo>
                <a:lnTo>
                  <a:pt x="593248" y="0"/>
                </a:lnTo>
                <a:lnTo>
                  <a:pt x="1005630" y="0"/>
                </a:lnTo>
                <a:lnTo>
                  <a:pt x="1022869" y="0"/>
                </a:lnTo>
                <a:lnTo>
                  <a:pt x="3042220" y="0"/>
                </a:lnTo>
                <a:lnTo>
                  <a:pt x="3394765" y="0"/>
                </a:lnTo>
                <a:lnTo>
                  <a:pt x="3722465" y="0"/>
                </a:lnTo>
                <a:lnTo>
                  <a:pt x="3739704" y="0"/>
                </a:lnTo>
                <a:lnTo>
                  <a:pt x="3739704" y="385"/>
                </a:lnTo>
                <a:lnTo>
                  <a:pt x="4047850" y="385"/>
                </a:lnTo>
                <a:lnTo>
                  <a:pt x="4047850" y="325477"/>
                </a:lnTo>
                <a:lnTo>
                  <a:pt x="4047850" y="325669"/>
                </a:lnTo>
                <a:lnTo>
                  <a:pt x="4047850" y="325672"/>
                </a:lnTo>
                <a:lnTo>
                  <a:pt x="4047850" y="325675"/>
                </a:lnTo>
                <a:lnTo>
                  <a:pt x="4047850" y="340954"/>
                </a:lnTo>
                <a:lnTo>
                  <a:pt x="4047117" y="340954"/>
                </a:lnTo>
                <a:lnTo>
                  <a:pt x="4046371" y="356703"/>
                </a:lnTo>
                <a:lnTo>
                  <a:pt x="4046235" y="357658"/>
                </a:lnTo>
                <a:lnTo>
                  <a:pt x="4046171" y="358931"/>
                </a:lnTo>
                <a:cubicBezTo>
                  <a:pt x="4044218" y="378153"/>
                  <a:pt x="4040593" y="396880"/>
                  <a:pt x="4035441" y="414965"/>
                </a:cubicBezTo>
                <a:lnTo>
                  <a:pt x="4035003" y="416283"/>
                </a:lnTo>
                <a:lnTo>
                  <a:pt x="4034948" y="416510"/>
                </a:lnTo>
                <a:lnTo>
                  <a:pt x="4034176" y="418772"/>
                </a:lnTo>
                <a:lnTo>
                  <a:pt x="4026589" y="441591"/>
                </a:lnTo>
                <a:lnTo>
                  <a:pt x="4025578" y="443933"/>
                </a:lnTo>
                <a:lnTo>
                  <a:pt x="4025273" y="444823"/>
                </a:lnTo>
                <a:lnTo>
                  <a:pt x="4023116" y="449636"/>
                </a:lnTo>
                <a:lnTo>
                  <a:pt x="4015559" y="467142"/>
                </a:lnTo>
                <a:lnTo>
                  <a:pt x="4013802" y="470409"/>
                </a:lnTo>
                <a:lnTo>
                  <a:pt x="4013136" y="471896"/>
                </a:lnTo>
                <a:lnTo>
                  <a:pt x="4010197" y="477118"/>
                </a:lnTo>
                <a:lnTo>
                  <a:pt x="4002462" y="491507"/>
                </a:lnTo>
                <a:lnTo>
                  <a:pt x="3999801" y="495585"/>
                </a:lnTo>
                <a:lnTo>
                  <a:pt x="3998671" y="497594"/>
                </a:lnTo>
                <a:lnTo>
                  <a:pt x="3995246" y="502566"/>
                </a:lnTo>
                <a:lnTo>
                  <a:pt x="3987410" y="514574"/>
                </a:lnTo>
                <a:lnTo>
                  <a:pt x="3983699" y="519333"/>
                </a:lnTo>
                <a:lnTo>
                  <a:pt x="3982012" y="521781"/>
                </a:lnTo>
                <a:lnTo>
                  <a:pt x="3978310" y="526240"/>
                </a:lnTo>
                <a:lnTo>
                  <a:pt x="3970514" y="536234"/>
                </a:lnTo>
                <a:lnTo>
                  <a:pt x="3965618" y="541527"/>
                </a:lnTo>
                <a:lnTo>
                  <a:pt x="3963295" y="544324"/>
                </a:lnTo>
                <a:lnTo>
                  <a:pt x="3959482" y="548161"/>
                </a:lnTo>
                <a:lnTo>
                  <a:pt x="3951885" y="556374"/>
                </a:lnTo>
                <a:lnTo>
                  <a:pt x="3945682" y="562043"/>
                </a:lnTo>
                <a:lnTo>
                  <a:pt x="3942656" y="565087"/>
                </a:lnTo>
                <a:lnTo>
                  <a:pt x="3938872" y="568267"/>
                </a:lnTo>
                <a:lnTo>
                  <a:pt x="3931633" y="574884"/>
                </a:lnTo>
                <a:lnTo>
                  <a:pt x="3924011" y="580756"/>
                </a:lnTo>
                <a:lnTo>
                  <a:pt x="3920227" y="583936"/>
                </a:lnTo>
                <a:lnTo>
                  <a:pt x="3916599" y="586467"/>
                </a:lnTo>
                <a:lnTo>
                  <a:pt x="3909870" y="591652"/>
                </a:lnTo>
                <a:lnTo>
                  <a:pt x="3900723" y="597543"/>
                </a:lnTo>
                <a:lnTo>
                  <a:pt x="3896145" y="600736"/>
                </a:lnTo>
                <a:lnTo>
                  <a:pt x="3892785" y="602655"/>
                </a:lnTo>
                <a:lnTo>
                  <a:pt x="3886706" y="606569"/>
                </a:lnTo>
                <a:lnTo>
                  <a:pt x="3875923" y="612281"/>
                </a:lnTo>
                <a:lnTo>
                  <a:pt x="3870544" y="615352"/>
                </a:lnTo>
                <a:lnTo>
                  <a:pt x="3867552" y="616715"/>
                </a:lnTo>
                <a:lnTo>
                  <a:pt x="3862253" y="619522"/>
                </a:lnTo>
                <a:lnTo>
                  <a:pt x="3849702" y="624849"/>
                </a:lnTo>
                <a:lnTo>
                  <a:pt x="3843559" y="627649"/>
                </a:lnTo>
                <a:lnTo>
                  <a:pt x="3841026" y="628532"/>
                </a:lnTo>
                <a:lnTo>
                  <a:pt x="3836622" y="630401"/>
                </a:lnTo>
                <a:lnTo>
                  <a:pt x="3822109" y="635127"/>
                </a:lnTo>
                <a:lnTo>
                  <a:pt x="3815324" y="637492"/>
                </a:lnTo>
                <a:lnTo>
                  <a:pt x="3813334" y="637984"/>
                </a:lnTo>
                <a:lnTo>
                  <a:pt x="3809924" y="639095"/>
                </a:lnTo>
                <a:lnTo>
                  <a:pt x="3793067" y="642994"/>
                </a:lnTo>
                <a:lnTo>
                  <a:pt x="3785975" y="644747"/>
                </a:lnTo>
                <a:lnTo>
                  <a:pt x="3784601" y="644952"/>
                </a:lnTo>
                <a:lnTo>
                  <a:pt x="3782269" y="645492"/>
                </a:lnTo>
                <a:lnTo>
                  <a:pt x="3761990" y="648331"/>
                </a:lnTo>
                <a:lnTo>
                  <a:pt x="3755647" y="649279"/>
                </a:lnTo>
                <a:lnTo>
                  <a:pt x="3754979" y="649313"/>
                </a:lnTo>
                <a:lnTo>
                  <a:pt x="3753769" y="649482"/>
                </a:lnTo>
                <a:lnTo>
                  <a:pt x="3739704" y="650148"/>
                </a:lnTo>
                <a:lnTo>
                  <a:pt x="3739704" y="650959"/>
                </a:lnTo>
                <a:lnTo>
                  <a:pt x="3726737" y="650959"/>
                </a:lnTo>
                <a:lnTo>
                  <a:pt x="3722563" y="650959"/>
                </a:lnTo>
                <a:lnTo>
                  <a:pt x="3722465" y="650959"/>
                </a:lnTo>
                <a:lnTo>
                  <a:pt x="3722465" y="651348"/>
                </a:lnTo>
                <a:lnTo>
                  <a:pt x="3394765" y="651348"/>
                </a:lnTo>
                <a:lnTo>
                  <a:pt x="3042220" y="651348"/>
                </a:lnTo>
                <a:lnTo>
                  <a:pt x="3024981" y="651348"/>
                </a:lnTo>
                <a:lnTo>
                  <a:pt x="1005630" y="651348"/>
                </a:lnTo>
                <a:lnTo>
                  <a:pt x="593248" y="651348"/>
                </a:lnTo>
                <a:lnTo>
                  <a:pt x="325384" y="651348"/>
                </a:lnTo>
                <a:lnTo>
                  <a:pt x="308146" y="651348"/>
                </a:lnTo>
                <a:lnTo>
                  <a:pt x="308146" y="650963"/>
                </a:lnTo>
                <a:lnTo>
                  <a:pt x="0" y="650963"/>
                </a:lnTo>
                <a:lnTo>
                  <a:pt x="0" y="325871"/>
                </a:lnTo>
                <a:lnTo>
                  <a:pt x="0" y="325679"/>
                </a:lnTo>
                <a:lnTo>
                  <a:pt x="0" y="325676"/>
                </a:lnTo>
                <a:lnTo>
                  <a:pt x="0" y="325673"/>
                </a:lnTo>
                <a:lnTo>
                  <a:pt x="0" y="310394"/>
                </a:lnTo>
                <a:lnTo>
                  <a:pt x="733" y="310394"/>
                </a:lnTo>
                <a:lnTo>
                  <a:pt x="1478" y="294646"/>
                </a:lnTo>
                <a:lnTo>
                  <a:pt x="1615" y="293690"/>
                </a:lnTo>
                <a:lnTo>
                  <a:pt x="1679" y="292417"/>
                </a:lnTo>
                <a:cubicBezTo>
                  <a:pt x="3631" y="273195"/>
                  <a:pt x="7257" y="254468"/>
                  <a:pt x="12408" y="236384"/>
                </a:cubicBezTo>
                <a:lnTo>
                  <a:pt x="12847" y="235065"/>
                </a:lnTo>
                <a:lnTo>
                  <a:pt x="12901" y="234838"/>
                </a:lnTo>
                <a:lnTo>
                  <a:pt x="13674" y="232576"/>
                </a:lnTo>
                <a:lnTo>
                  <a:pt x="21261" y="209757"/>
                </a:lnTo>
                <a:lnTo>
                  <a:pt x="22272" y="207415"/>
                </a:lnTo>
                <a:lnTo>
                  <a:pt x="22576" y="206525"/>
                </a:lnTo>
                <a:lnTo>
                  <a:pt x="24734" y="201713"/>
                </a:lnTo>
                <a:lnTo>
                  <a:pt x="32291" y="184206"/>
                </a:lnTo>
                <a:lnTo>
                  <a:pt x="34047" y="180939"/>
                </a:lnTo>
                <a:lnTo>
                  <a:pt x="34714" y="179452"/>
                </a:lnTo>
                <a:lnTo>
                  <a:pt x="37653" y="174231"/>
                </a:lnTo>
                <a:lnTo>
                  <a:pt x="45388" y="159842"/>
                </a:lnTo>
                <a:lnTo>
                  <a:pt x="48048" y="155764"/>
                </a:lnTo>
                <a:lnTo>
                  <a:pt x="49179" y="153755"/>
                </a:lnTo>
                <a:lnTo>
                  <a:pt x="52604" y="148783"/>
                </a:lnTo>
                <a:lnTo>
                  <a:pt x="60439" y="136774"/>
                </a:lnTo>
                <a:lnTo>
                  <a:pt x="64151" y="132016"/>
                </a:lnTo>
                <a:lnTo>
                  <a:pt x="65838" y="129567"/>
                </a:lnTo>
                <a:lnTo>
                  <a:pt x="69540" y="125108"/>
                </a:lnTo>
                <a:lnTo>
                  <a:pt x="77336" y="115115"/>
                </a:lnTo>
                <a:lnTo>
                  <a:pt x="82232" y="109821"/>
                </a:lnTo>
                <a:lnTo>
                  <a:pt x="84554" y="107024"/>
                </a:lnTo>
                <a:lnTo>
                  <a:pt x="88368" y="103188"/>
                </a:lnTo>
                <a:lnTo>
                  <a:pt x="95965" y="94974"/>
                </a:lnTo>
                <a:lnTo>
                  <a:pt x="102168" y="89305"/>
                </a:lnTo>
                <a:lnTo>
                  <a:pt x="105194" y="86261"/>
                </a:lnTo>
                <a:lnTo>
                  <a:pt x="108977" y="83081"/>
                </a:lnTo>
                <a:lnTo>
                  <a:pt x="116217" y="76465"/>
                </a:lnTo>
                <a:lnTo>
                  <a:pt x="123838" y="70592"/>
                </a:lnTo>
                <a:lnTo>
                  <a:pt x="127623" y="67412"/>
                </a:lnTo>
                <a:lnTo>
                  <a:pt x="131250" y="64881"/>
                </a:lnTo>
                <a:lnTo>
                  <a:pt x="137980" y="59696"/>
                </a:lnTo>
                <a:lnTo>
                  <a:pt x="147127" y="53805"/>
                </a:lnTo>
                <a:lnTo>
                  <a:pt x="151705" y="50612"/>
                </a:lnTo>
                <a:lnTo>
                  <a:pt x="155065" y="48694"/>
                </a:lnTo>
                <a:lnTo>
                  <a:pt x="161144" y="44779"/>
                </a:lnTo>
                <a:lnTo>
                  <a:pt x="171927" y="39067"/>
                </a:lnTo>
                <a:lnTo>
                  <a:pt x="177306" y="35997"/>
                </a:lnTo>
                <a:lnTo>
                  <a:pt x="180298" y="34633"/>
                </a:lnTo>
                <a:lnTo>
                  <a:pt x="185596" y="31826"/>
                </a:lnTo>
                <a:lnTo>
                  <a:pt x="198148" y="26499"/>
                </a:lnTo>
                <a:lnTo>
                  <a:pt x="204291" y="23700"/>
                </a:lnTo>
                <a:lnTo>
                  <a:pt x="206823" y="22817"/>
                </a:lnTo>
                <a:lnTo>
                  <a:pt x="211228" y="20947"/>
                </a:lnTo>
                <a:lnTo>
                  <a:pt x="225741" y="16221"/>
                </a:lnTo>
                <a:lnTo>
                  <a:pt x="232526" y="13856"/>
                </a:lnTo>
                <a:lnTo>
                  <a:pt x="234516" y="13364"/>
                </a:lnTo>
                <a:lnTo>
                  <a:pt x="237926" y="12254"/>
                </a:lnTo>
                <a:lnTo>
                  <a:pt x="254783" y="8354"/>
                </a:lnTo>
                <a:lnTo>
                  <a:pt x="261875" y="6601"/>
                </a:lnTo>
                <a:lnTo>
                  <a:pt x="263248" y="6396"/>
                </a:lnTo>
                <a:lnTo>
                  <a:pt x="265581" y="5856"/>
                </a:lnTo>
                <a:lnTo>
                  <a:pt x="285860" y="3017"/>
                </a:lnTo>
                <a:lnTo>
                  <a:pt x="292203" y="2069"/>
                </a:lnTo>
                <a:lnTo>
                  <a:pt x="292871" y="2036"/>
                </a:lnTo>
                <a:lnTo>
                  <a:pt x="294080" y="1866"/>
                </a:lnTo>
                <a:lnTo>
                  <a:pt x="308146" y="1201"/>
                </a:lnTo>
                <a:lnTo>
                  <a:pt x="308146" y="389"/>
                </a:lnTo>
                <a:lnTo>
                  <a:pt x="321113" y="389"/>
                </a:lnTo>
                <a:lnTo>
                  <a:pt x="325287" y="389"/>
                </a:lnTo>
                <a:lnTo>
                  <a:pt x="325384" y="389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0C51590-305A-E547-B6B0-F326D269387A}"/>
              </a:ext>
            </a:extLst>
          </p:cNvPr>
          <p:cNvSpPr txBox="1"/>
          <p:nvPr/>
        </p:nvSpPr>
        <p:spPr>
          <a:xfrm>
            <a:off x="6401329" y="1036651"/>
            <a:ext cx="375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ABUPATEN/KOTA: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5B2D429-EDD5-3F4A-B864-A55042BB6FC0}"/>
              </a:ext>
            </a:extLst>
          </p:cNvPr>
          <p:cNvSpPr txBox="1"/>
          <p:nvPr/>
        </p:nvSpPr>
        <p:spPr>
          <a:xfrm>
            <a:off x="6268561" y="1680688"/>
            <a:ext cx="554712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egiat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eng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sumbe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dana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APBD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abupate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/Kot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457200" marR="0" lvl="0" indent="-457200" algn="l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egiat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yang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ibiaya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eng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dana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dar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masyaraka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swast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atau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bada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usah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yang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buk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menjad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ewenang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emerinta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Pusat da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emerinta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Daerah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rovins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. </a:t>
            </a:r>
          </a:p>
          <a:p>
            <a:pPr marL="457200" marR="0" lvl="0" indent="-457200" algn="l" defTabSz="583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tertib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usah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Jasa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terhadap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BUJK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ualifikas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menenga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, BUJK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ualifikas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keci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, da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usah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 orang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perseoranga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23" name="Freeform: Shape 90">
            <a:extLst>
              <a:ext uri="{FF2B5EF4-FFF2-40B4-BE49-F238E27FC236}">
                <a16:creationId xmlns:a16="http://schemas.microsoft.com/office/drawing/2014/main" id="{523652D7-D0DA-C247-A299-8B390B7FA78B}"/>
              </a:ext>
            </a:extLst>
          </p:cNvPr>
          <p:cNvSpPr/>
          <p:nvPr/>
        </p:nvSpPr>
        <p:spPr>
          <a:xfrm>
            <a:off x="7869197" y="5570357"/>
            <a:ext cx="3225573" cy="601998"/>
          </a:xfrm>
          <a:custGeom>
            <a:avLst/>
            <a:gdLst>
              <a:gd name="connsiteX0" fmla="*/ 325384 w 4047850"/>
              <a:gd name="connsiteY0" fmla="*/ 0 h 651348"/>
              <a:gd name="connsiteX1" fmla="*/ 593248 w 4047850"/>
              <a:gd name="connsiteY1" fmla="*/ 0 h 651348"/>
              <a:gd name="connsiteX2" fmla="*/ 1005630 w 4047850"/>
              <a:gd name="connsiteY2" fmla="*/ 0 h 651348"/>
              <a:gd name="connsiteX3" fmla="*/ 1022869 w 4047850"/>
              <a:gd name="connsiteY3" fmla="*/ 0 h 651348"/>
              <a:gd name="connsiteX4" fmla="*/ 3042220 w 4047850"/>
              <a:gd name="connsiteY4" fmla="*/ 0 h 651348"/>
              <a:gd name="connsiteX5" fmla="*/ 3394765 w 4047850"/>
              <a:gd name="connsiteY5" fmla="*/ 0 h 651348"/>
              <a:gd name="connsiteX6" fmla="*/ 3722465 w 4047850"/>
              <a:gd name="connsiteY6" fmla="*/ 0 h 651348"/>
              <a:gd name="connsiteX7" fmla="*/ 3739704 w 4047850"/>
              <a:gd name="connsiteY7" fmla="*/ 0 h 651348"/>
              <a:gd name="connsiteX8" fmla="*/ 3739704 w 4047850"/>
              <a:gd name="connsiteY8" fmla="*/ 385 h 651348"/>
              <a:gd name="connsiteX9" fmla="*/ 4047850 w 4047850"/>
              <a:gd name="connsiteY9" fmla="*/ 385 h 651348"/>
              <a:gd name="connsiteX10" fmla="*/ 4047850 w 4047850"/>
              <a:gd name="connsiteY10" fmla="*/ 325477 h 651348"/>
              <a:gd name="connsiteX11" fmla="*/ 4047850 w 4047850"/>
              <a:gd name="connsiteY11" fmla="*/ 325669 h 651348"/>
              <a:gd name="connsiteX12" fmla="*/ 4047850 w 4047850"/>
              <a:gd name="connsiteY12" fmla="*/ 325672 h 651348"/>
              <a:gd name="connsiteX13" fmla="*/ 4047850 w 4047850"/>
              <a:gd name="connsiteY13" fmla="*/ 325675 h 651348"/>
              <a:gd name="connsiteX14" fmla="*/ 4047850 w 4047850"/>
              <a:gd name="connsiteY14" fmla="*/ 340954 h 651348"/>
              <a:gd name="connsiteX15" fmla="*/ 4047117 w 4047850"/>
              <a:gd name="connsiteY15" fmla="*/ 340954 h 651348"/>
              <a:gd name="connsiteX16" fmla="*/ 4046371 w 4047850"/>
              <a:gd name="connsiteY16" fmla="*/ 356703 h 651348"/>
              <a:gd name="connsiteX17" fmla="*/ 4046235 w 4047850"/>
              <a:gd name="connsiteY17" fmla="*/ 357658 h 651348"/>
              <a:gd name="connsiteX18" fmla="*/ 4046171 w 4047850"/>
              <a:gd name="connsiteY18" fmla="*/ 358931 h 651348"/>
              <a:gd name="connsiteX19" fmla="*/ 4035441 w 4047850"/>
              <a:gd name="connsiteY19" fmla="*/ 414965 h 651348"/>
              <a:gd name="connsiteX20" fmla="*/ 4035003 w 4047850"/>
              <a:gd name="connsiteY20" fmla="*/ 416283 h 651348"/>
              <a:gd name="connsiteX21" fmla="*/ 4034948 w 4047850"/>
              <a:gd name="connsiteY21" fmla="*/ 416510 h 651348"/>
              <a:gd name="connsiteX22" fmla="*/ 4034176 w 4047850"/>
              <a:gd name="connsiteY22" fmla="*/ 418772 h 651348"/>
              <a:gd name="connsiteX23" fmla="*/ 4026589 w 4047850"/>
              <a:gd name="connsiteY23" fmla="*/ 441591 h 651348"/>
              <a:gd name="connsiteX24" fmla="*/ 4025578 w 4047850"/>
              <a:gd name="connsiteY24" fmla="*/ 443933 h 651348"/>
              <a:gd name="connsiteX25" fmla="*/ 4025273 w 4047850"/>
              <a:gd name="connsiteY25" fmla="*/ 444823 h 651348"/>
              <a:gd name="connsiteX26" fmla="*/ 4023116 w 4047850"/>
              <a:gd name="connsiteY26" fmla="*/ 449636 h 651348"/>
              <a:gd name="connsiteX27" fmla="*/ 4015559 w 4047850"/>
              <a:gd name="connsiteY27" fmla="*/ 467142 h 651348"/>
              <a:gd name="connsiteX28" fmla="*/ 4013802 w 4047850"/>
              <a:gd name="connsiteY28" fmla="*/ 470409 h 651348"/>
              <a:gd name="connsiteX29" fmla="*/ 4013136 w 4047850"/>
              <a:gd name="connsiteY29" fmla="*/ 471896 h 651348"/>
              <a:gd name="connsiteX30" fmla="*/ 4010197 w 4047850"/>
              <a:gd name="connsiteY30" fmla="*/ 477118 h 651348"/>
              <a:gd name="connsiteX31" fmla="*/ 4002462 w 4047850"/>
              <a:gd name="connsiteY31" fmla="*/ 491507 h 651348"/>
              <a:gd name="connsiteX32" fmla="*/ 3999801 w 4047850"/>
              <a:gd name="connsiteY32" fmla="*/ 495585 h 651348"/>
              <a:gd name="connsiteX33" fmla="*/ 3998671 w 4047850"/>
              <a:gd name="connsiteY33" fmla="*/ 497594 h 651348"/>
              <a:gd name="connsiteX34" fmla="*/ 3995246 w 4047850"/>
              <a:gd name="connsiteY34" fmla="*/ 502566 h 651348"/>
              <a:gd name="connsiteX35" fmla="*/ 3987410 w 4047850"/>
              <a:gd name="connsiteY35" fmla="*/ 514574 h 651348"/>
              <a:gd name="connsiteX36" fmla="*/ 3983699 w 4047850"/>
              <a:gd name="connsiteY36" fmla="*/ 519333 h 651348"/>
              <a:gd name="connsiteX37" fmla="*/ 3982012 w 4047850"/>
              <a:gd name="connsiteY37" fmla="*/ 521781 h 651348"/>
              <a:gd name="connsiteX38" fmla="*/ 3978310 w 4047850"/>
              <a:gd name="connsiteY38" fmla="*/ 526240 h 651348"/>
              <a:gd name="connsiteX39" fmla="*/ 3970514 w 4047850"/>
              <a:gd name="connsiteY39" fmla="*/ 536234 h 651348"/>
              <a:gd name="connsiteX40" fmla="*/ 3965618 w 4047850"/>
              <a:gd name="connsiteY40" fmla="*/ 541527 h 651348"/>
              <a:gd name="connsiteX41" fmla="*/ 3963295 w 4047850"/>
              <a:gd name="connsiteY41" fmla="*/ 544324 h 651348"/>
              <a:gd name="connsiteX42" fmla="*/ 3959482 w 4047850"/>
              <a:gd name="connsiteY42" fmla="*/ 548161 h 651348"/>
              <a:gd name="connsiteX43" fmla="*/ 3951885 w 4047850"/>
              <a:gd name="connsiteY43" fmla="*/ 556374 h 651348"/>
              <a:gd name="connsiteX44" fmla="*/ 3945682 w 4047850"/>
              <a:gd name="connsiteY44" fmla="*/ 562043 h 651348"/>
              <a:gd name="connsiteX45" fmla="*/ 3942656 w 4047850"/>
              <a:gd name="connsiteY45" fmla="*/ 565087 h 651348"/>
              <a:gd name="connsiteX46" fmla="*/ 3938872 w 4047850"/>
              <a:gd name="connsiteY46" fmla="*/ 568267 h 651348"/>
              <a:gd name="connsiteX47" fmla="*/ 3931633 w 4047850"/>
              <a:gd name="connsiteY47" fmla="*/ 574884 h 651348"/>
              <a:gd name="connsiteX48" fmla="*/ 3924011 w 4047850"/>
              <a:gd name="connsiteY48" fmla="*/ 580756 h 651348"/>
              <a:gd name="connsiteX49" fmla="*/ 3920227 w 4047850"/>
              <a:gd name="connsiteY49" fmla="*/ 583936 h 651348"/>
              <a:gd name="connsiteX50" fmla="*/ 3916599 w 4047850"/>
              <a:gd name="connsiteY50" fmla="*/ 586467 h 651348"/>
              <a:gd name="connsiteX51" fmla="*/ 3909870 w 4047850"/>
              <a:gd name="connsiteY51" fmla="*/ 591652 h 651348"/>
              <a:gd name="connsiteX52" fmla="*/ 3900723 w 4047850"/>
              <a:gd name="connsiteY52" fmla="*/ 597543 h 651348"/>
              <a:gd name="connsiteX53" fmla="*/ 3896145 w 4047850"/>
              <a:gd name="connsiteY53" fmla="*/ 600736 h 651348"/>
              <a:gd name="connsiteX54" fmla="*/ 3892785 w 4047850"/>
              <a:gd name="connsiteY54" fmla="*/ 602655 h 651348"/>
              <a:gd name="connsiteX55" fmla="*/ 3886706 w 4047850"/>
              <a:gd name="connsiteY55" fmla="*/ 606569 h 651348"/>
              <a:gd name="connsiteX56" fmla="*/ 3875923 w 4047850"/>
              <a:gd name="connsiteY56" fmla="*/ 612281 h 651348"/>
              <a:gd name="connsiteX57" fmla="*/ 3870544 w 4047850"/>
              <a:gd name="connsiteY57" fmla="*/ 615352 h 651348"/>
              <a:gd name="connsiteX58" fmla="*/ 3867552 w 4047850"/>
              <a:gd name="connsiteY58" fmla="*/ 616715 h 651348"/>
              <a:gd name="connsiteX59" fmla="*/ 3862253 w 4047850"/>
              <a:gd name="connsiteY59" fmla="*/ 619522 h 651348"/>
              <a:gd name="connsiteX60" fmla="*/ 3849702 w 4047850"/>
              <a:gd name="connsiteY60" fmla="*/ 624849 h 651348"/>
              <a:gd name="connsiteX61" fmla="*/ 3843559 w 4047850"/>
              <a:gd name="connsiteY61" fmla="*/ 627649 h 651348"/>
              <a:gd name="connsiteX62" fmla="*/ 3841026 w 4047850"/>
              <a:gd name="connsiteY62" fmla="*/ 628532 h 651348"/>
              <a:gd name="connsiteX63" fmla="*/ 3836622 w 4047850"/>
              <a:gd name="connsiteY63" fmla="*/ 630401 h 651348"/>
              <a:gd name="connsiteX64" fmla="*/ 3822109 w 4047850"/>
              <a:gd name="connsiteY64" fmla="*/ 635127 h 651348"/>
              <a:gd name="connsiteX65" fmla="*/ 3815324 w 4047850"/>
              <a:gd name="connsiteY65" fmla="*/ 637492 h 651348"/>
              <a:gd name="connsiteX66" fmla="*/ 3813334 w 4047850"/>
              <a:gd name="connsiteY66" fmla="*/ 637984 h 651348"/>
              <a:gd name="connsiteX67" fmla="*/ 3809924 w 4047850"/>
              <a:gd name="connsiteY67" fmla="*/ 639095 h 651348"/>
              <a:gd name="connsiteX68" fmla="*/ 3793067 w 4047850"/>
              <a:gd name="connsiteY68" fmla="*/ 642994 h 651348"/>
              <a:gd name="connsiteX69" fmla="*/ 3785975 w 4047850"/>
              <a:gd name="connsiteY69" fmla="*/ 644747 h 651348"/>
              <a:gd name="connsiteX70" fmla="*/ 3784601 w 4047850"/>
              <a:gd name="connsiteY70" fmla="*/ 644952 h 651348"/>
              <a:gd name="connsiteX71" fmla="*/ 3782269 w 4047850"/>
              <a:gd name="connsiteY71" fmla="*/ 645492 h 651348"/>
              <a:gd name="connsiteX72" fmla="*/ 3761990 w 4047850"/>
              <a:gd name="connsiteY72" fmla="*/ 648331 h 651348"/>
              <a:gd name="connsiteX73" fmla="*/ 3755647 w 4047850"/>
              <a:gd name="connsiteY73" fmla="*/ 649279 h 651348"/>
              <a:gd name="connsiteX74" fmla="*/ 3754979 w 4047850"/>
              <a:gd name="connsiteY74" fmla="*/ 649313 h 651348"/>
              <a:gd name="connsiteX75" fmla="*/ 3753769 w 4047850"/>
              <a:gd name="connsiteY75" fmla="*/ 649482 h 651348"/>
              <a:gd name="connsiteX76" fmla="*/ 3739704 w 4047850"/>
              <a:gd name="connsiteY76" fmla="*/ 650148 h 651348"/>
              <a:gd name="connsiteX77" fmla="*/ 3739704 w 4047850"/>
              <a:gd name="connsiteY77" fmla="*/ 650959 h 651348"/>
              <a:gd name="connsiteX78" fmla="*/ 3726737 w 4047850"/>
              <a:gd name="connsiteY78" fmla="*/ 650959 h 651348"/>
              <a:gd name="connsiteX79" fmla="*/ 3722563 w 4047850"/>
              <a:gd name="connsiteY79" fmla="*/ 650959 h 651348"/>
              <a:gd name="connsiteX80" fmla="*/ 3722465 w 4047850"/>
              <a:gd name="connsiteY80" fmla="*/ 650959 h 651348"/>
              <a:gd name="connsiteX81" fmla="*/ 3722465 w 4047850"/>
              <a:gd name="connsiteY81" fmla="*/ 651348 h 651348"/>
              <a:gd name="connsiteX82" fmla="*/ 3394765 w 4047850"/>
              <a:gd name="connsiteY82" fmla="*/ 651348 h 651348"/>
              <a:gd name="connsiteX83" fmla="*/ 3042220 w 4047850"/>
              <a:gd name="connsiteY83" fmla="*/ 651348 h 651348"/>
              <a:gd name="connsiteX84" fmla="*/ 3024981 w 4047850"/>
              <a:gd name="connsiteY84" fmla="*/ 651348 h 651348"/>
              <a:gd name="connsiteX85" fmla="*/ 1005630 w 4047850"/>
              <a:gd name="connsiteY85" fmla="*/ 651348 h 651348"/>
              <a:gd name="connsiteX86" fmla="*/ 593248 w 4047850"/>
              <a:gd name="connsiteY86" fmla="*/ 651348 h 651348"/>
              <a:gd name="connsiteX87" fmla="*/ 325384 w 4047850"/>
              <a:gd name="connsiteY87" fmla="*/ 651348 h 651348"/>
              <a:gd name="connsiteX88" fmla="*/ 308146 w 4047850"/>
              <a:gd name="connsiteY88" fmla="*/ 651348 h 651348"/>
              <a:gd name="connsiteX89" fmla="*/ 308146 w 4047850"/>
              <a:gd name="connsiteY89" fmla="*/ 650963 h 651348"/>
              <a:gd name="connsiteX90" fmla="*/ 0 w 4047850"/>
              <a:gd name="connsiteY90" fmla="*/ 650963 h 651348"/>
              <a:gd name="connsiteX91" fmla="*/ 0 w 4047850"/>
              <a:gd name="connsiteY91" fmla="*/ 325871 h 651348"/>
              <a:gd name="connsiteX92" fmla="*/ 0 w 4047850"/>
              <a:gd name="connsiteY92" fmla="*/ 325679 h 651348"/>
              <a:gd name="connsiteX93" fmla="*/ 0 w 4047850"/>
              <a:gd name="connsiteY93" fmla="*/ 325676 h 651348"/>
              <a:gd name="connsiteX94" fmla="*/ 0 w 4047850"/>
              <a:gd name="connsiteY94" fmla="*/ 325673 h 651348"/>
              <a:gd name="connsiteX95" fmla="*/ 0 w 4047850"/>
              <a:gd name="connsiteY95" fmla="*/ 310394 h 651348"/>
              <a:gd name="connsiteX96" fmla="*/ 733 w 4047850"/>
              <a:gd name="connsiteY96" fmla="*/ 310394 h 651348"/>
              <a:gd name="connsiteX97" fmla="*/ 1478 w 4047850"/>
              <a:gd name="connsiteY97" fmla="*/ 294646 h 651348"/>
              <a:gd name="connsiteX98" fmla="*/ 1615 w 4047850"/>
              <a:gd name="connsiteY98" fmla="*/ 293690 h 651348"/>
              <a:gd name="connsiteX99" fmla="*/ 1679 w 4047850"/>
              <a:gd name="connsiteY99" fmla="*/ 292417 h 651348"/>
              <a:gd name="connsiteX100" fmla="*/ 12408 w 4047850"/>
              <a:gd name="connsiteY100" fmla="*/ 236384 h 651348"/>
              <a:gd name="connsiteX101" fmla="*/ 12847 w 4047850"/>
              <a:gd name="connsiteY101" fmla="*/ 235065 h 651348"/>
              <a:gd name="connsiteX102" fmla="*/ 12901 w 4047850"/>
              <a:gd name="connsiteY102" fmla="*/ 234838 h 651348"/>
              <a:gd name="connsiteX103" fmla="*/ 13674 w 4047850"/>
              <a:gd name="connsiteY103" fmla="*/ 232576 h 651348"/>
              <a:gd name="connsiteX104" fmla="*/ 21261 w 4047850"/>
              <a:gd name="connsiteY104" fmla="*/ 209757 h 651348"/>
              <a:gd name="connsiteX105" fmla="*/ 22272 w 4047850"/>
              <a:gd name="connsiteY105" fmla="*/ 207415 h 651348"/>
              <a:gd name="connsiteX106" fmla="*/ 22576 w 4047850"/>
              <a:gd name="connsiteY106" fmla="*/ 206525 h 651348"/>
              <a:gd name="connsiteX107" fmla="*/ 24734 w 4047850"/>
              <a:gd name="connsiteY107" fmla="*/ 201713 h 651348"/>
              <a:gd name="connsiteX108" fmla="*/ 32291 w 4047850"/>
              <a:gd name="connsiteY108" fmla="*/ 184206 h 651348"/>
              <a:gd name="connsiteX109" fmla="*/ 34047 w 4047850"/>
              <a:gd name="connsiteY109" fmla="*/ 180939 h 651348"/>
              <a:gd name="connsiteX110" fmla="*/ 34714 w 4047850"/>
              <a:gd name="connsiteY110" fmla="*/ 179452 h 651348"/>
              <a:gd name="connsiteX111" fmla="*/ 37653 w 4047850"/>
              <a:gd name="connsiteY111" fmla="*/ 174231 h 651348"/>
              <a:gd name="connsiteX112" fmla="*/ 45388 w 4047850"/>
              <a:gd name="connsiteY112" fmla="*/ 159842 h 651348"/>
              <a:gd name="connsiteX113" fmla="*/ 48048 w 4047850"/>
              <a:gd name="connsiteY113" fmla="*/ 155764 h 651348"/>
              <a:gd name="connsiteX114" fmla="*/ 49179 w 4047850"/>
              <a:gd name="connsiteY114" fmla="*/ 153755 h 651348"/>
              <a:gd name="connsiteX115" fmla="*/ 52604 w 4047850"/>
              <a:gd name="connsiteY115" fmla="*/ 148783 h 651348"/>
              <a:gd name="connsiteX116" fmla="*/ 60439 w 4047850"/>
              <a:gd name="connsiteY116" fmla="*/ 136774 h 651348"/>
              <a:gd name="connsiteX117" fmla="*/ 64151 w 4047850"/>
              <a:gd name="connsiteY117" fmla="*/ 132016 h 651348"/>
              <a:gd name="connsiteX118" fmla="*/ 65838 w 4047850"/>
              <a:gd name="connsiteY118" fmla="*/ 129567 h 651348"/>
              <a:gd name="connsiteX119" fmla="*/ 69540 w 4047850"/>
              <a:gd name="connsiteY119" fmla="*/ 125108 h 651348"/>
              <a:gd name="connsiteX120" fmla="*/ 77336 w 4047850"/>
              <a:gd name="connsiteY120" fmla="*/ 115115 h 651348"/>
              <a:gd name="connsiteX121" fmla="*/ 82232 w 4047850"/>
              <a:gd name="connsiteY121" fmla="*/ 109821 h 651348"/>
              <a:gd name="connsiteX122" fmla="*/ 84554 w 4047850"/>
              <a:gd name="connsiteY122" fmla="*/ 107024 h 651348"/>
              <a:gd name="connsiteX123" fmla="*/ 88368 w 4047850"/>
              <a:gd name="connsiteY123" fmla="*/ 103188 h 651348"/>
              <a:gd name="connsiteX124" fmla="*/ 95965 w 4047850"/>
              <a:gd name="connsiteY124" fmla="*/ 94974 h 651348"/>
              <a:gd name="connsiteX125" fmla="*/ 102168 w 4047850"/>
              <a:gd name="connsiteY125" fmla="*/ 89305 h 651348"/>
              <a:gd name="connsiteX126" fmla="*/ 105194 w 4047850"/>
              <a:gd name="connsiteY126" fmla="*/ 86261 h 651348"/>
              <a:gd name="connsiteX127" fmla="*/ 108977 w 4047850"/>
              <a:gd name="connsiteY127" fmla="*/ 83081 h 651348"/>
              <a:gd name="connsiteX128" fmla="*/ 116217 w 4047850"/>
              <a:gd name="connsiteY128" fmla="*/ 76465 h 651348"/>
              <a:gd name="connsiteX129" fmla="*/ 123838 w 4047850"/>
              <a:gd name="connsiteY129" fmla="*/ 70592 h 651348"/>
              <a:gd name="connsiteX130" fmla="*/ 127623 w 4047850"/>
              <a:gd name="connsiteY130" fmla="*/ 67412 h 651348"/>
              <a:gd name="connsiteX131" fmla="*/ 131250 w 4047850"/>
              <a:gd name="connsiteY131" fmla="*/ 64881 h 651348"/>
              <a:gd name="connsiteX132" fmla="*/ 137980 w 4047850"/>
              <a:gd name="connsiteY132" fmla="*/ 59696 h 651348"/>
              <a:gd name="connsiteX133" fmla="*/ 147127 w 4047850"/>
              <a:gd name="connsiteY133" fmla="*/ 53805 h 651348"/>
              <a:gd name="connsiteX134" fmla="*/ 151705 w 4047850"/>
              <a:gd name="connsiteY134" fmla="*/ 50612 h 651348"/>
              <a:gd name="connsiteX135" fmla="*/ 155065 w 4047850"/>
              <a:gd name="connsiteY135" fmla="*/ 48694 h 651348"/>
              <a:gd name="connsiteX136" fmla="*/ 161144 w 4047850"/>
              <a:gd name="connsiteY136" fmla="*/ 44779 h 651348"/>
              <a:gd name="connsiteX137" fmla="*/ 171927 w 4047850"/>
              <a:gd name="connsiteY137" fmla="*/ 39067 h 651348"/>
              <a:gd name="connsiteX138" fmla="*/ 177306 w 4047850"/>
              <a:gd name="connsiteY138" fmla="*/ 35997 h 651348"/>
              <a:gd name="connsiteX139" fmla="*/ 180298 w 4047850"/>
              <a:gd name="connsiteY139" fmla="*/ 34633 h 651348"/>
              <a:gd name="connsiteX140" fmla="*/ 185596 w 4047850"/>
              <a:gd name="connsiteY140" fmla="*/ 31826 h 651348"/>
              <a:gd name="connsiteX141" fmla="*/ 198148 w 4047850"/>
              <a:gd name="connsiteY141" fmla="*/ 26499 h 651348"/>
              <a:gd name="connsiteX142" fmla="*/ 204291 w 4047850"/>
              <a:gd name="connsiteY142" fmla="*/ 23700 h 651348"/>
              <a:gd name="connsiteX143" fmla="*/ 206823 w 4047850"/>
              <a:gd name="connsiteY143" fmla="*/ 22817 h 651348"/>
              <a:gd name="connsiteX144" fmla="*/ 211228 w 4047850"/>
              <a:gd name="connsiteY144" fmla="*/ 20947 h 651348"/>
              <a:gd name="connsiteX145" fmla="*/ 225741 w 4047850"/>
              <a:gd name="connsiteY145" fmla="*/ 16221 h 651348"/>
              <a:gd name="connsiteX146" fmla="*/ 232526 w 4047850"/>
              <a:gd name="connsiteY146" fmla="*/ 13856 h 651348"/>
              <a:gd name="connsiteX147" fmla="*/ 234516 w 4047850"/>
              <a:gd name="connsiteY147" fmla="*/ 13364 h 651348"/>
              <a:gd name="connsiteX148" fmla="*/ 237926 w 4047850"/>
              <a:gd name="connsiteY148" fmla="*/ 12254 h 651348"/>
              <a:gd name="connsiteX149" fmla="*/ 254783 w 4047850"/>
              <a:gd name="connsiteY149" fmla="*/ 8354 h 651348"/>
              <a:gd name="connsiteX150" fmla="*/ 261875 w 4047850"/>
              <a:gd name="connsiteY150" fmla="*/ 6601 h 651348"/>
              <a:gd name="connsiteX151" fmla="*/ 263248 w 4047850"/>
              <a:gd name="connsiteY151" fmla="*/ 6396 h 651348"/>
              <a:gd name="connsiteX152" fmla="*/ 265581 w 4047850"/>
              <a:gd name="connsiteY152" fmla="*/ 5856 h 651348"/>
              <a:gd name="connsiteX153" fmla="*/ 285860 w 4047850"/>
              <a:gd name="connsiteY153" fmla="*/ 3017 h 651348"/>
              <a:gd name="connsiteX154" fmla="*/ 292203 w 4047850"/>
              <a:gd name="connsiteY154" fmla="*/ 2069 h 651348"/>
              <a:gd name="connsiteX155" fmla="*/ 292871 w 4047850"/>
              <a:gd name="connsiteY155" fmla="*/ 2036 h 651348"/>
              <a:gd name="connsiteX156" fmla="*/ 294080 w 4047850"/>
              <a:gd name="connsiteY156" fmla="*/ 1866 h 651348"/>
              <a:gd name="connsiteX157" fmla="*/ 308146 w 4047850"/>
              <a:gd name="connsiteY157" fmla="*/ 1201 h 651348"/>
              <a:gd name="connsiteX158" fmla="*/ 308146 w 4047850"/>
              <a:gd name="connsiteY158" fmla="*/ 389 h 651348"/>
              <a:gd name="connsiteX159" fmla="*/ 321113 w 4047850"/>
              <a:gd name="connsiteY159" fmla="*/ 389 h 651348"/>
              <a:gd name="connsiteX160" fmla="*/ 325287 w 4047850"/>
              <a:gd name="connsiteY160" fmla="*/ 389 h 651348"/>
              <a:gd name="connsiteX161" fmla="*/ 325384 w 4047850"/>
              <a:gd name="connsiteY161" fmla="*/ 389 h 651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4047850" h="651348">
                <a:moveTo>
                  <a:pt x="325384" y="0"/>
                </a:moveTo>
                <a:lnTo>
                  <a:pt x="593248" y="0"/>
                </a:lnTo>
                <a:lnTo>
                  <a:pt x="1005630" y="0"/>
                </a:lnTo>
                <a:lnTo>
                  <a:pt x="1022869" y="0"/>
                </a:lnTo>
                <a:lnTo>
                  <a:pt x="3042220" y="0"/>
                </a:lnTo>
                <a:lnTo>
                  <a:pt x="3394765" y="0"/>
                </a:lnTo>
                <a:lnTo>
                  <a:pt x="3722465" y="0"/>
                </a:lnTo>
                <a:lnTo>
                  <a:pt x="3739704" y="0"/>
                </a:lnTo>
                <a:lnTo>
                  <a:pt x="3739704" y="385"/>
                </a:lnTo>
                <a:lnTo>
                  <a:pt x="4047850" y="385"/>
                </a:lnTo>
                <a:lnTo>
                  <a:pt x="4047850" y="325477"/>
                </a:lnTo>
                <a:lnTo>
                  <a:pt x="4047850" y="325669"/>
                </a:lnTo>
                <a:lnTo>
                  <a:pt x="4047850" y="325672"/>
                </a:lnTo>
                <a:lnTo>
                  <a:pt x="4047850" y="325675"/>
                </a:lnTo>
                <a:lnTo>
                  <a:pt x="4047850" y="340954"/>
                </a:lnTo>
                <a:lnTo>
                  <a:pt x="4047117" y="340954"/>
                </a:lnTo>
                <a:lnTo>
                  <a:pt x="4046371" y="356703"/>
                </a:lnTo>
                <a:lnTo>
                  <a:pt x="4046235" y="357658"/>
                </a:lnTo>
                <a:lnTo>
                  <a:pt x="4046171" y="358931"/>
                </a:lnTo>
                <a:cubicBezTo>
                  <a:pt x="4044218" y="378153"/>
                  <a:pt x="4040593" y="396880"/>
                  <a:pt x="4035441" y="414965"/>
                </a:cubicBezTo>
                <a:lnTo>
                  <a:pt x="4035003" y="416283"/>
                </a:lnTo>
                <a:lnTo>
                  <a:pt x="4034948" y="416510"/>
                </a:lnTo>
                <a:lnTo>
                  <a:pt x="4034176" y="418772"/>
                </a:lnTo>
                <a:lnTo>
                  <a:pt x="4026589" y="441591"/>
                </a:lnTo>
                <a:lnTo>
                  <a:pt x="4025578" y="443933"/>
                </a:lnTo>
                <a:lnTo>
                  <a:pt x="4025273" y="444823"/>
                </a:lnTo>
                <a:lnTo>
                  <a:pt x="4023116" y="449636"/>
                </a:lnTo>
                <a:lnTo>
                  <a:pt x="4015559" y="467142"/>
                </a:lnTo>
                <a:lnTo>
                  <a:pt x="4013802" y="470409"/>
                </a:lnTo>
                <a:lnTo>
                  <a:pt x="4013136" y="471896"/>
                </a:lnTo>
                <a:lnTo>
                  <a:pt x="4010197" y="477118"/>
                </a:lnTo>
                <a:lnTo>
                  <a:pt x="4002462" y="491507"/>
                </a:lnTo>
                <a:lnTo>
                  <a:pt x="3999801" y="495585"/>
                </a:lnTo>
                <a:lnTo>
                  <a:pt x="3998671" y="497594"/>
                </a:lnTo>
                <a:lnTo>
                  <a:pt x="3995246" y="502566"/>
                </a:lnTo>
                <a:lnTo>
                  <a:pt x="3987410" y="514574"/>
                </a:lnTo>
                <a:lnTo>
                  <a:pt x="3983699" y="519333"/>
                </a:lnTo>
                <a:lnTo>
                  <a:pt x="3982012" y="521781"/>
                </a:lnTo>
                <a:lnTo>
                  <a:pt x="3978310" y="526240"/>
                </a:lnTo>
                <a:lnTo>
                  <a:pt x="3970514" y="536234"/>
                </a:lnTo>
                <a:lnTo>
                  <a:pt x="3965618" y="541527"/>
                </a:lnTo>
                <a:lnTo>
                  <a:pt x="3963295" y="544324"/>
                </a:lnTo>
                <a:lnTo>
                  <a:pt x="3959482" y="548161"/>
                </a:lnTo>
                <a:lnTo>
                  <a:pt x="3951885" y="556374"/>
                </a:lnTo>
                <a:lnTo>
                  <a:pt x="3945682" y="562043"/>
                </a:lnTo>
                <a:lnTo>
                  <a:pt x="3942656" y="565087"/>
                </a:lnTo>
                <a:lnTo>
                  <a:pt x="3938872" y="568267"/>
                </a:lnTo>
                <a:lnTo>
                  <a:pt x="3931633" y="574884"/>
                </a:lnTo>
                <a:lnTo>
                  <a:pt x="3924011" y="580756"/>
                </a:lnTo>
                <a:lnTo>
                  <a:pt x="3920227" y="583936"/>
                </a:lnTo>
                <a:lnTo>
                  <a:pt x="3916599" y="586467"/>
                </a:lnTo>
                <a:lnTo>
                  <a:pt x="3909870" y="591652"/>
                </a:lnTo>
                <a:lnTo>
                  <a:pt x="3900723" y="597543"/>
                </a:lnTo>
                <a:lnTo>
                  <a:pt x="3896145" y="600736"/>
                </a:lnTo>
                <a:lnTo>
                  <a:pt x="3892785" y="602655"/>
                </a:lnTo>
                <a:lnTo>
                  <a:pt x="3886706" y="606569"/>
                </a:lnTo>
                <a:lnTo>
                  <a:pt x="3875923" y="612281"/>
                </a:lnTo>
                <a:lnTo>
                  <a:pt x="3870544" y="615352"/>
                </a:lnTo>
                <a:lnTo>
                  <a:pt x="3867552" y="616715"/>
                </a:lnTo>
                <a:lnTo>
                  <a:pt x="3862253" y="619522"/>
                </a:lnTo>
                <a:lnTo>
                  <a:pt x="3849702" y="624849"/>
                </a:lnTo>
                <a:lnTo>
                  <a:pt x="3843559" y="627649"/>
                </a:lnTo>
                <a:lnTo>
                  <a:pt x="3841026" y="628532"/>
                </a:lnTo>
                <a:lnTo>
                  <a:pt x="3836622" y="630401"/>
                </a:lnTo>
                <a:lnTo>
                  <a:pt x="3822109" y="635127"/>
                </a:lnTo>
                <a:lnTo>
                  <a:pt x="3815324" y="637492"/>
                </a:lnTo>
                <a:lnTo>
                  <a:pt x="3813334" y="637984"/>
                </a:lnTo>
                <a:lnTo>
                  <a:pt x="3809924" y="639095"/>
                </a:lnTo>
                <a:lnTo>
                  <a:pt x="3793067" y="642994"/>
                </a:lnTo>
                <a:lnTo>
                  <a:pt x="3785975" y="644747"/>
                </a:lnTo>
                <a:lnTo>
                  <a:pt x="3784601" y="644952"/>
                </a:lnTo>
                <a:lnTo>
                  <a:pt x="3782269" y="645492"/>
                </a:lnTo>
                <a:lnTo>
                  <a:pt x="3761990" y="648331"/>
                </a:lnTo>
                <a:lnTo>
                  <a:pt x="3755647" y="649279"/>
                </a:lnTo>
                <a:lnTo>
                  <a:pt x="3754979" y="649313"/>
                </a:lnTo>
                <a:lnTo>
                  <a:pt x="3753769" y="649482"/>
                </a:lnTo>
                <a:lnTo>
                  <a:pt x="3739704" y="650148"/>
                </a:lnTo>
                <a:lnTo>
                  <a:pt x="3739704" y="650959"/>
                </a:lnTo>
                <a:lnTo>
                  <a:pt x="3726737" y="650959"/>
                </a:lnTo>
                <a:lnTo>
                  <a:pt x="3722563" y="650959"/>
                </a:lnTo>
                <a:lnTo>
                  <a:pt x="3722465" y="650959"/>
                </a:lnTo>
                <a:lnTo>
                  <a:pt x="3722465" y="651348"/>
                </a:lnTo>
                <a:lnTo>
                  <a:pt x="3394765" y="651348"/>
                </a:lnTo>
                <a:lnTo>
                  <a:pt x="3042220" y="651348"/>
                </a:lnTo>
                <a:lnTo>
                  <a:pt x="3024981" y="651348"/>
                </a:lnTo>
                <a:lnTo>
                  <a:pt x="1005630" y="651348"/>
                </a:lnTo>
                <a:lnTo>
                  <a:pt x="593248" y="651348"/>
                </a:lnTo>
                <a:lnTo>
                  <a:pt x="325384" y="651348"/>
                </a:lnTo>
                <a:lnTo>
                  <a:pt x="308146" y="651348"/>
                </a:lnTo>
                <a:lnTo>
                  <a:pt x="308146" y="650963"/>
                </a:lnTo>
                <a:lnTo>
                  <a:pt x="0" y="650963"/>
                </a:lnTo>
                <a:lnTo>
                  <a:pt x="0" y="325871"/>
                </a:lnTo>
                <a:lnTo>
                  <a:pt x="0" y="325679"/>
                </a:lnTo>
                <a:lnTo>
                  <a:pt x="0" y="325676"/>
                </a:lnTo>
                <a:lnTo>
                  <a:pt x="0" y="325673"/>
                </a:lnTo>
                <a:lnTo>
                  <a:pt x="0" y="310394"/>
                </a:lnTo>
                <a:lnTo>
                  <a:pt x="733" y="310394"/>
                </a:lnTo>
                <a:lnTo>
                  <a:pt x="1478" y="294646"/>
                </a:lnTo>
                <a:lnTo>
                  <a:pt x="1615" y="293690"/>
                </a:lnTo>
                <a:lnTo>
                  <a:pt x="1679" y="292417"/>
                </a:lnTo>
                <a:cubicBezTo>
                  <a:pt x="3631" y="273195"/>
                  <a:pt x="7257" y="254468"/>
                  <a:pt x="12408" y="236384"/>
                </a:cubicBezTo>
                <a:lnTo>
                  <a:pt x="12847" y="235065"/>
                </a:lnTo>
                <a:lnTo>
                  <a:pt x="12901" y="234838"/>
                </a:lnTo>
                <a:lnTo>
                  <a:pt x="13674" y="232576"/>
                </a:lnTo>
                <a:lnTo>
                  <a:pt x="21261" y="209757"/>
                </a:lnTo>
                <a:lnTo>
                  <a:pt x="22272" y="207415"/>
                </a:lnTo>
                <a:lnTo>
                  <a:pt x="22576" y="206525"/>
                </a:lnTo>
                <a:lnTo>
                  <a:pt x="24734" y="201713"/>
                </a:lnTo>
                <a:lnTo>
                  <a:pt x="32291" y="184206"/>
                </a:lnTo>
                <a:lnTo>
                  <a:pt x="34047" y="180939"/>
                </a:lnTo>
                <a:lnTo>
                  <a:pt x="34714" y="179452"/>
                </a:lnTo>
                <a:lnTo>
                  <a:pt x="37653" y="174231"/>
                </a:lnTo>
                <a:lnTo>
                  <a:pt x="45388" y="159842"/>
                </a:lnTo>
                <a:lnTo>
                  <a:pt x="48048" y="155764"/>
                </a:lnTo>
                <a:lnTo>
                  <a:pt x="49179" y="153755"/>
                </a:lnTo>
                <a:lnTo>
                  <a:pt x="52604" y="148783"/>
                </a:lnTo>
                <a:lnTo>
                  <a:pt x="60439" y="136774"/>
                </a:lnTo>
                <a:lnTo>
                  <a:pt x="64151" y="132016"/>
                </a:lnTo>
                <a:lnTo>
                  <a:pt x="65838" y="129567"/>
                </a:lnTo>
                <a:lnTo>
                  <a:pt x="69540" y="125108"/>
                </a:lnTo>
                <a:lnTo>
                  <a:pt x="77336" y="115115"/>
                </a:lnTo>
                <a:lnTo>
                  <a:pt x="82232" y="109821"/>
                </a:lnTo>
                <a:lnTo>
                  <a:pt x="84554" y="107024"/>
                </a:lnTo>
                <a:lnTo>
                  <a:pt x="88368" y="103188"/>
                </a:lnTo>
                <a:lnTo>
                  <a:pt x="95965" y="94974"/>
                </a:lnTo>
                <a:lnTo>
                  <a:pt x="102168" y="89305"/>
                </a:lnTo>
                <a:lnTo>
                  <a:pt x="105194" y="86261"/>
                </a:lnTo>
                <a:lnTo>
                  <a:pt x="108977" y="83081"/>
                </a:lnTo>
                <a:lnTo>
                  <a:pt x="116217" y="76465"/>
                </a:lnTo>
                <a:lnTo>
                  <a:pt x="123838" y="70592"/>
                </a:lnTo>
                <a:lnTo>
                  <a:pt x="127623" y="67412"/>
                </a:lnTo>
                <a:lnTo>
                  <a:pt x="131250" y="64881"/>
                </a:lnTo>
                <a:lnTo>
                  <a:pt x="137980" y="59696"/>
                </a:lnTo>
                <a:lnTo>
                  <a:pt x="147127" y="53805"/>
                </a:lnTo>
                <a:lnTo>
                  <a:pt x="151705" y="50612"/>
                </a:lnTo>
                <a:lnTo>
                  <a:pt x="155065" y="48694"/>
                </a:lnTo>
                <a:lnTo>
                  <a:pt x="161144" y="44779"/>
                </a:lnTo>
                <a:lnTo>
                  <a:pt x="171927" y="39067"/>
                </a:lnTo>
                <a:lnTo>
                  <a:pt x="177306" y="35997"/>
                </a:lnTo>
                <a:lnTo>
                  <a:pt x="180298" y="34633"/>
                </a:lnTo>
                <a:lnTo>
                  <a:pt x="185596" y="31826"/>
                </a:lnTo>
                <a:lnTo>
                  <a:pt x="198148" y="26499"/>
                </a:lnTo>
                <a:lnTo>
                  <a:pt x="204291" y="23700"/>
                </a:lnTo>
                <a:lnTo>
                  <a:pt x="206823" y="22817"/>
                </a:lnTo>
                <a:lnTo>
                  <a:pt x="211228" y="20947"/>
                </a:lnTo>
                <a:lnTo>
                  <a:pt x="225741" y="16221"/>
                </a:lnTo>
                <a:lnTo>
                  <a:pt x="232526" y="13856"/>
                </a:lnTo>
                <a:lnTo>
                  <a:pt x="234516" y="13364"/>
                </a:lnTo>
                <a:lnTo>
                  <a:pt x="237926" y="12254"/>
                </a:lnTo>
                <a:lnTo>
                  <a:pt x="254783" y="8354"/>
                </a:lnTo>
                <a:lnTo>
                  <a:pt x="261875" y="6601"/>
                </a:lnTo>
                <a:lnTo>
                  <a:pt x="263248" y="6396"/>
                </a:lnTo>
                <a:lnTo>
                  <a:pt x="265581" y="5856"/>
                </a:lnTo>
                <a:lnTo>
                  <a:pt x="285860" y="3017"/>
                </a:lnTo>
                <a:lnTo>
                  <a:pt x="292203" y="2069"/>
                </a:lnTo>
                <a:lnTo>
                  <a:pt x="292871" y="2036"/>
                </a:lnTo>
                <a:lnTo>
                  <a:pt x="294080" y="1866"/>
                </a:lnTo>
                <a:lnTo>
                  <a:pt x="308146" y="1201"/>
                </a:lnTo>
                <a:lnTo>
                  <a:pt x="308146" y="389"/>
                </a:lnTo>
                <a:lnTo>
                  <a:pt x="321113" y="389"/>
                </a:lnTo>
                <a:lnTo>
                  <a:pt x="325287" y="389"/>
                </a:lnTo>
                <a:lnTo>
                  <a:pt x="325384" y="389"/>
                </a:lnTo>
                <a:close/>
              </a:path>
            </a:pathLst>
          </a:custGeom>
          <a:solidFill>
            <a:srgbClr val="FEB8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8CA1E155-95B3-E147-B14A-512542B63954}"/>
              </a:ext>
            </a:extLst>
          </p:cNvPr>
          <p:cNvSpPr txBox="1">
            <a:spLocks/>
          </p:cNvSpPr>
          <p:nvPr/>
        </p:nvSpPr>
        <p:spPr>
          <a:xfrm>
            <a:off x="7654063" y="5649825"/>
            <a:ext cx="3655839" cy="443061"/>
          </a:xfrm>
          <a:prstGeom prst="rect">
            <a:avLst/>
          </a:prstGeom>
        </p:spPr>
        <p:txBody>
          <a:bodyPr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PASAL 5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BF630F07-269F-F94E-A0E7-405CA883CAFB}"/>
              </a:ext>
            </a:extLst>
          </p:cNvPr>
          <p:cNvSpPr txBox="1">
            <a:spLocks/>
          </p:cNvSpPr>
          <p:nvPr/>
        </p:nvSpPr>
        <p:spPr>
          <a:xfrm>
            <a:off x="1403973" y="5676119"/>
            <a:ext cx="3655839" cy="443061"/>
          </a:xfrm>
          <a:prstGeom prst="rect">
            <a:avLst/>
          </a:prstGeom>
        </p:spPr>
        <p:txBody>
          <a:bodyPr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PASAL 4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550A71-BA13-62B4-963F-31AF96075592}"/>
              </a:ext>
            </a:extLst>
          </p:cNvPr>
          <p:cNvSpPr txBox="1">
            <a:spLocks/>
          </p:cNvSpPr>
          <p:nvPr/>
        </p:nvSpPr>
        <p:spPr>
          <a:xfrm>
            <a:off x="6121399" y="6277594"/>
            <a:ext cx="5746861" cy="443061"/>
          </a:xfrm>
          <a:prstGeom prst="rect">
            <a:avLst/>
          </a:prstGeom>
        </p:spPr>
        <p:txBody>
          <a:bodyPr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just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 err="1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Catatan</a:t>
            </a:r>
            <a:r>
              <a:rPr kumimoji="0" lang="en-US" b="1" i="0" u="none" strike="noStrike" kern="1200" cap="none" spc="0" normalizeH="0" baseline="0" noProof="0" dirty="0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tertib</a:t>
            </a:r>
            <a:r>
              <a:rPr kumimoji="0" lang="en-US" b="1" i="0" u="none" strike="noStrike" kern="1200" cap="none" spc="0" normalizeH="0" baseline="0" noProof="0" dirty="0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Usaha Jasa </a:t>
            </a:r>
            <a:r>
              <a:rPr kumimoji="0" lang="en-US" b="1" i="0" u="none" strike="noStrike" kern="1200" cap="none" spc="0" normalizeH="0" baseline="0" noProof="0" dirty="0" err="1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Konstruksi</a:t>
            </a:r>
            <a:r>
              <a:rPr kumimoji="0" lang="en-US" b="1" i="0" u="none" strike="noStrike" kern="1200" cap="none" spc="0" normalizeH="0" baseline="0" noProof="0" dirty="0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BUJK </a:t>
            </a:r>
            <a:r>
              <a:rPr kumimoji="0" lang="en-US" b="1" i="0" u="none" strike="noStrike" kern="1200" cap="none" spc="0" normalizeH="0" baseline="0" noProof="0" dirty="0" err="1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Kualifikasi</a:t>
            </a:r>
            <a:r>
              <a:rPr kumimoji="0" lang="en-US" b="1" i="0" u="none" strike="noStrike" kern="1200" cap="none" spc="0" normalizeH="0" baseline="0" noProof="0" dirty="0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Besar</a:t>
            </a:r>
            <a:r>
              <a:rPr kumimoji="0" lang="en-US" b="1" i="0" u="none" strike="noStrike" kern="1200" cap="none" spc="0" normalizeH="0" baseline="0" noProof="0" dirty="0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menjadi</a:t>
            </a:r>
            <a:r>
              <a:rPr kumimoji="0" lang="en-US" b="1" i="0" u="none" strike="noStrike" kern="1200" cap="none" spc="0" normalizeH="0" baseline="0" noProof="0" dirty="0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kewenangan</a:t>
            </a:r>
            <a:r>
              <a:rPr kumimoji="0" lang="en-US" b="1" i="0" u="none" strike="noStrike" kern="1200" cap="none" spc="0" normalizeH="0" baseline="0" noProof="0" dirty="0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Pemerintah</a:t>
            </a:r>
            <a:r>
              <a:rPr kumimoji="0" lang="en-US" b="1" i="0" u="none" strike="noStrike" kern="1200" cap="none" spc="0" normalizeH="0" baseline="0" noProof="0" dirty="0">
                <a:ln w="0"/>
                <a:solidFill>
                  <a:srgbClr val="1D3166"/>
                </a:solidFill>
                <a:effectLst/>
                <a:uLnTx/>
                <a:uFillTx/>
                <a:latin typeface="Montserrat" pitchFamily="2" charset="77"/>
                <a:ea typeface="Tahoma" pitchFamily="34" charset="0"/>
                <a:cs typeface="Tahoma" pitchFamily="34" charset="0"/>
                <a:sym typeface="Arial"/>
              </a:rPr>
              <a:t> Pusat </a:t>
            </a:r>
          </a:p>
        </p:txBody>
      </p:sp>
      <p:pic>
        <p:nvPicPr>
          <p:cNvPr id="3" name="Picture 2" descr="A blue letter u on a black background&#10;&#10;Description automatically generated">
            <a:extLst>
              <a:ext uri="{FF2B5EF4-FFF2-40B4-BE49-F238E27FC236}">
                <a16:creationId xmlns:a16="http://schemas.microsoft.com/office/drawing/2014/main" id="{6FC6A866-92D5-95F0-FB75-8262323B4D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894" y="231185"/>
            <a:ext cx="1567790" cy="31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3575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Ke_bBdwbDcySV3NOK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9jAC4oYHPm6orQiqKt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OjK0IgOKae1W7qE8Nd9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mV3RMrI1F8rWSKoK7A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N1zSCAwiolOoyNIVg8E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Ke_bBdwbDcySV3NOKV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R_ON5fyLD3gB_shsip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sy_NkYH6cOOEiIPZ9H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QnI1dL5cDZw9Bq53jU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IG5IQHOsrna5P_WTnX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sOWD45KHDTY8OgwtwB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kOy5FSkuly5hzYk8zsu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9ZUIjy8dg_DP6thXw4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qoms7yKcShj3BwfHXf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Ke_bBdwbDcySV3NOK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erMen PUPR Pengawasan Penyelenggaraan Jasa Konstruksi 271222" id="{B0245666-DC57-8A42-816D-32762B684638}" vid="{03E5E510-5361-A645-850D-2C27611B9D9D}"/>
    </a:ext>
  </a:extLst>
</a:theme>
</file>

<file path=ppt/theme/theme10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3">
      <a:majorFont>
        <a:latin typeface="Segoe U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>
            <a:alpha val="50000"/>
          </a:schemeClr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erMen PUPR Pengawasan Penyelenggaraan Jasa Konstruksi 271222" id="{B0245666-DC57-8A42-816D-32762B684638}" vid="{3F87E82F-7EBA-B840-A496-0FEDEF599873}"/>
    </a:ext>
  </a:extLst>
</a:theme>
</file>

<file path=ppt/theme/theme12.xml><?xml version="1.0" encoding="utf-8"?>
<a:theme xmlns:a="http://schemas.openxmlformats.org/drawingml/2006/main" name="12_Office Theme">
  <a:themeElements>
    <a:clrScheme name="Blue Midnight">
      <a:dk1>
        <a:sysClr val="windowText" lastClr="000000"/>
      </a:dk1>
      <a:lt1>
        <a:sysClr val="window" lastClr="FFFFFF"/>
      </a:lt1>
      <a:dk2>
        <a:srgbClr val="464646"/>
      </a:dk2>
      <a:lt2>
        <a:srgbClr val="FFFFFF"/>
      </a:lt2>
      <a:accent1>
        <a:srgbClr val="0D60AE"/>
      </a:accent1>
      <a:accent2>
        <a:srgbClr val="143B86"/>
      </a:accent2>
      <a:accent3>
        <a:srgbClr val="094882"/>
      </a:accent3>
      <a:accent4>
        <a:srgbClr val="001A49"/>
      </a:accent4>
      <a:accent5>
        <a:srgbClr val="0040B6"/>
      </a:accent5>
      <a:accent6>
        <a:srgbClr val="0E2C64"/>
      </a:accent6>
      <a:hlink>
        <a:srgbClr val="A05024"/>
      </a:hlink>
      <a:folHlink>
        <a:srgbClr val="FEC037"/>
      </a:folHlink>
    </a:clrScheme>
    <a:fontScheme name="Custom 5">
      <a:majorFont>
        <a:latin typeface="Cabin SemiBold"/>
        <a:ea typeface=""/>
        <a:cs typeface=""/>
      </a:majorFont>
      <a:minorFont>
        <a:latin typeface="Bitte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24D8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24D8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>
            <a:alpha val="50000"/>
          </a:schemeClr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erMen PUPR Pengawasan Penyelenggaraan Jasa Konstruksi 271222" id="{B0245666-DC57-8A42-816D-32762B684638}" vid="{D1E1EB7D-652F-144E-9F72-40D58A4E6F16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3">
      <a:majorFont>
        <a:latin typeface="Segoe U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erMen PUPR Pengawasan Penyelenggaraan Jasa Konstruksi 271222" id="{B0245666-DC57-8A42-816D-32762B684638}" vid="{EC85757C-1F52-3D41-984A-15B4559599D0}"/>
    </a:ext>
  </a:extLst>
</a:theme>
</file>

<file path=ppt/theme/theme3.xml><?xml version="1.0" encoding="utf-8"?>
<a:theme xmlns:a="http://schemas.openxmlformats.org/drawingml/2006/main" name="7_Office Theme">
  <a:themeElements>
    <a:clrScheme name="Blue Midnight">
      <a:dk1>
        <a:sysClr val="windowText" lastClr="000000"/>
      </a:dk1>
      <a:lt1>
        <a:sysClr val="window" lastClr="FFFFFF"/>
      </a:lt1>
      <a:dk2>
        <a:srgbClr val="464646"/>
      </a:dk2>
      <a:lt2>
        <a:srgbClr val="FFFFFF"/>
      </a:lt2>
      <a:accent1>
        <a:srgbClr val="0D60AE"/>
      </a:accent1>
      <a:accent2>
        <a:srgbClr val="143B86"/>
      </a:accent2>
      <a:accent3>
        <a:srgbClr val="094882"/>
      </a:accent3>
      <a:accent4>
        <a:srgbClr val="001A49"/>
      </a:accent4>
      <a:accent5>
        <a:srgbClr val="0040B6"/>
      </a:accent5>
      <a:accent6>
        <a:srgbClr val="0E2C64"/>
      </a:accent6>
      <a:hlink>
        <a:srgbClr val="A05024"/>
      </a:hlink>
      <a:folHlink>
        <a:srgbClr val="FEC037"/>
      </a:folHlink>
    </a:clrScheme>
    <a:fontScheme name="Custom 5">
      <a:majorFont>
        <a:latin typeface="Cabin SemiBold"/>
        <a:ea typeface=""/>
        <a:cs typeface=""/>
      </a:majorFont>
      <a:minorFont>
        <a:latin typeface="Bitte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erMen PUPR Pengawasan Penyelenggaraan Jasa Konstruksi 271222" id="{B0245666-DC57-8A42-816D-32762B684638}" vid="{E6174C6C-D050-2F4C-9EF7-516B75E435CF}"/>
    </a:ext>
  </a:extLst>
</a:theme>
</file>

<file path=ppt/theme/theme4.xml><?xml version="1.0" encoding="utf-8"?>
<a:theme xmlns:a="http://schemas.openxmlformats.org/drawingml/2006/main" name="2_Office Theme">
  <a:themeElements>
    <a:clrScheme name="Custom 1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28706"/>
      </a:accent1>
      <a:accent2>
        <a:srgbClr val="F19E05"/>
      </a:accent2>
      <a:accent3>
        <a:srgbClr val="F2B703"/>
      </a:accent3>
      <a:accent4>
        <a:srgbClr val="EFEFF2"/>
      </a:accent4>
      <a:accent5>
        <a:srgbClr val="221626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erMen PUPR Pengawasan Penyelenggaraan Jasa Konstruksi 271222" id="{B0245666-DC57-8A42-816D-32762B684638}" vid="{D31351E9-09D4-4D4D-B3AE-57F1C0B66404}"/>
    </a:ext>
  </a:extLst>
</a:theme>
</file>

<file path=ppt/theme/theme5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3">
      <a:majorFont>
        <a:latin typeface="Segoe U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erMen PUPR Pengawasan Penyelenggaraan Jasa Konstruksi 271222" id="{B0245666-DC57-8A42-816D-32762B684638}" vid="{42ACBDFF-8D58-7341-A063-A60B80E19EE1}"/>
    </a:ext>
  </a:extLst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>
            <a:alpha val="50000"/>
          </a:schemeClr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erMen PUPR Pengawasan Penyelenggaraan Jasa Konstruksi 271222" id="{B0245666-DC57-8A42-816D-32762B684638}" vid="{09A9AF5E-32B0-F342-8F3F-BB1F36D6F117}"/>
    </a:ext>
  </a:extLst>
</a:theme>
</file>

<file path=ppt/theme/theme7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>
            <a:alpha val="50000"/>
          </a:schemeClr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erMen PUPR Pengawasan Penyelenggaraan Jasa Konstruksi 271222" id="{B0245666-DC57-8A42-816D-32762B684638}" vid="{A0597AF4-4BDC-D74E-B9D6-F9066DD721AB}"/>
    </a:ext>
  </a:extLst>
</a:theme>
</file>

<file path=ppt/theme/theme8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5_Office Theme">
  <a:themeElements>
    <a:clrScheme name="Custom 1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28706"/>
      </a:accent1>
      <a:accent2>
        <a:srgbClr val="F19E05"/>
      </a:accent2>
      <a:accent3>
        <a:srgbClr val="F2B703"/>
      </a:accent3>
      <a:accent4>
        <a:srgbClr val="EFEFF2"/>
      </a:accent4>
      <a:accent5>
        <a:srgbClr val="221626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erMen PUPR Pengawasan Penyelenggaraan Jasa Konstruksi 271222" id="{B0245666-DC57-8A42-816D-32762B684638}" vid="{43191DBE-8A2B-3C41-96C8-5548CEA0A04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65</TotalTime>
  <Words>5779</Words>
  <Application>Microsoft Macintosh PowerPoint</Application>
  <PresentationFormat>Widescreen</PresentationFormat>
  <Paragraphs>1328</Paragraphs>
  <Slides>37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69" baseType="lpstr">
      <vt:lpstr>Arial</vt:lpstr>
      <vt:lpstr>Arvo</vt:lpstr>
      <vt:lpstr>Bitter</vt:lpstr>
      <vt:lpstr>Calibri</vt:lpstr>
      <vt:lpstr>Calibri Light</vt:lpstr>
      <vt:lpstr>Century Gothic</vt:lpstr>
      <vt:lpstr>Chalkboard SE</vt:lpstr>
      <vt:lpstr>Helvetica</vt:lpstr>
      <vt:lpstr>Montserrat</vt:lpstr>
      <vt:lpstr>Montserrat Medium</vt:lpstr>
      <vt:lpstr>Open Sans</vt:lpstr>
      <vt:lpstr>Segoe UI</vt:lpstr>
      <vt:lpstr>Segoe UI Light</vt:lpstr>
      <vt:lpstr>Times New Roman</vt:lpstr>
      <vt:lpstr>Wingdings</vt:lpstr>
      <vt:lpstr>Office Theme</vt:lpstr>
      <vt:lpstr>6_Office Theme</vt:lpstr>
      <vt:lpstr>7_Office Theme</vt:lpstr>
      <vt:lpstr>2_Office Theme</vt:lpstr>
      <vt:lpstr>8_Office Theme</vt:lpstr>
      <vt:lpstr>1_Office Theme</vt:lpstr>
      <vt:lpstr>9_Office Theme</vt:lpstr>
      <vt:lpstr>3_Office Theme</vt:lpstr>
      <vt:lpstr>5_Office Theme</vt:lpstr>
      <vt:lpstr>10_Office Theme</vt:lpstr>
      <vt:lpstr>4_Office Theme</vt:lpstr>
      <vt:lpstr>12_Office Theme</vt:lpstr>
      <vt:lpstr>11_Office Theme</vt:lpstr>
      <vt:lpstr>13_Office Theme</vt:lpstr>
      <vt:lpstr>14_Office Theme</vt:lpstr>
      <vt:lpstr>15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hendra fauzi ansory</dc:creator>
  <cp:lastModifiedBy>Hady Amrullah</cp:lastModifiedBy>
  <cp:revision>26</cp:revision>
  <dcterms:created xsi:type="dcterms:W3CDTF">2023-01-16T02:20:03Z</dcterms:created>
  <dcterms:modified xsi:type="dcterms:W3CDTF">2025-07-16T04:38:11Z</dcterms:modified>
</cp:coreProperties>
</file>